
<file path=[Content_Types].xml><?xml version="1.0" encoding="utf-8"?>
<Types xmlns="http://schemas.openxmlformats.org/package/2006/content-types">
  <Default ContentType="image/jpeg" Extension="jpg"/>
  <Default ContentType="application/vnd.openxmlformats-officedocument.spreadsheetml.sheet" Extension="xlsx"/>
  <Default ContentType="application/vnd.openxmlformats-officedocument.vmlDrawing" Extension="vml"/>
  <Default ContentType="application/x-fontdata" Extension="fntdata"/>
  <Default ContentType="application/vnd.openxmlformats-officedocument.oleObject" Extension="bin"/>
  <Default ContentType="application/xml" Extension="xml"/>
  <Default ContentType="image/png" Extension="png"/>
  <Default ContentType="application/vnd.openxmlformats-package.relationships+xml" Extension="rels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6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2.xml"/>
  <Override ContentType="application/vnd.openxmlformats-officedocument.presentationml.slide+xml" PartName="/ppt/slides/slide4.xml"/>
  <Override ContentType="application/vnd.openxmlformats-officedocument.presentationml.slide+xml" PartName="/ppt/slides/slide11.xml"/>
  <Override ContentType="application/vnd.openxmlformats-officedocument.presentationml.slide+xml" PartName="/ppt/slides/slide1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6.xml"/>
  <Override ContentType="application/vnd.openxmlformats-officedocument.presentationml.slide+xml" PartName="/ppt/slides/slide9.xml"/>
  <Override ContentType="application/vnd.openxmlformats-officedocument.presentationml.slide+xml" PartName="/ppt/slides/slide5.xml"/>
  <Override ContentType="application/vnd.openxmlformats-officedocument.presentationml.slide+xml" PartName="/ppt/slides/slide8.xml"/>
  <Override ContentType="application/vnd.openxmlformats-officedocument.presentationml.slide+xml" PartName="/ppt/slides/slide7.xml"/>
  <Override ContentType="application/vnd.openxmlformats-officedocument.oleObject" PartName="/ppt/embeddings/oleObject3.bin"/>
  <Override ContentType="application/vnd.openxmlformats-officedocument.oleObject" PartName="/ppt/embeddings/oleObject6.bin"/>
  <Override ContentType="application/vnd.openxmlformats-officedocument.oleObject" PartName="/ppt/embeddings/oleObject5.bin"/>
  <Override ContentType="application/vnd.openxmlformats-officedocument.oleObject" PartName="/ppt/embeddings/oleObject4.bin"/>
  <Override ContentType="application/vnd.openxmlformats-officedocument.oleObject" PartName="/ppt/embeddings/oleObject7.bin"/>
  <Override ContentType="application/vnd.openxmlformats-officedocument.oleObject" PartName="/ppt/embeddings/oleObject2.bin"/>
  <Override ContentType="application/vnd.openxmlformats-officedocument.oleObject" PartName="/ppt/embeddings/oleObject1.bin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10.xml"/>
  <Override ContentType="application/vnd.openxmlformats-officedocument.spreadsheetml.sheet" PartName="/ppt/embeddings/Microsoft_Excel_Sheet2.xlsx"/>
  <Override ContentType="application/vnd.openxmlformats-officedocument.spreadsheetml.sheet" PartName="/ppt/embeddings/Microsoft_Excel_Sheet1.xlsx"/>
  <Override ContentType="application/binary" PartName="/ppt/metadata"/>
  <Override ContentType="application/vnd.openxmlformats-officedocument.presentationml.notesMaster+xml" PartName="/ppt/notesMasters/notesMaster1.xml"/>
  <Override ContentType="application/vnd.openxmlformats-officedocument.presentationml.presProps+xml" PartName="/ppt/presProps.xml"/>
  <Override ContentType="application/vnd.openxmlformats-officedocument.presentationml.viewProps+xml" PartName="/ppt/viewProps.xml"/>
</Types>
</file>

<file path=_rels/.rels><?xml version="1.0" encoding="UTF-8" standalone="yes"?>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embedTrueTypeFonts="1" strictFirstAndLastChars="0" saveSubsetFonts="1" showSpecialPlsOnTitleSld="0">
  <p:sldMasterIdLst>
    <p:sldMasterId id="2147483648" r:id="rId4"/>
  </p:sldMasterIdLst>
  <p:notesMasterIdLst>
    <p:notesMasterId r:id="rId5"/>
  </p:notesMasterIdLst>
  <p:sldIdLst>
    <p:sldId id="256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</p:sldIdLst>
  <p:sldSz cy="6858000" cx="12192000"/>
  <p:notesSz cx="6858000" cy="9144000"/>
  <p:embeddedFontLst>
    <p:embeddedFont>
      <p:font typeface="Raleway Thin"/>
      <p:regular r:id="rId18"/>
      <p:bold r:id="rId19"/>
      <p:italic r:id="rId20"/>
      <p:boldItalic r:id="rId21"/>
    </p:embeddedFont>
  </p:embeddedFontLst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>
        <p15:guide id="1" orient="horz" pos="247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  <p:ext uri="http://customooxmlschemas.google.com/">
      <go:slidesCustomData xmlns:go="http://customooxmlschemas.google.com/" r:id="rId22" roundtripDataSignature="AMtx7mhKHIFY+sNtTLIEwC3BtxSMaxWJb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2478" orient="horz"/>
        <p:guide pos="210" orient="horz"/>
        <p:guide pos="981" orient="horz"/>
        <p:guide pos="3838" orient="horz"/>
        <p:guide pos="211"/>
        <p:guide pos="7469"/>
        <p:guide pos="6955"/>
        <p:guide pos="3840"/>
      </p:guideLst>
    </p:cSldViewPr>
  </p:slideViewPr>
</p:viewPr>
</file>

<file path=ppt/_rels/presentation.xml.rels><?xml version="1.0" encoding="UTF-8" standalone="yes"?><Relationships xmlns="http://schemas.openxmlformats.org/package/2006/relationships"><Relationship Id="rId20" Type="http://schemas.openxmlformats.org/officeDocument/2006/relationships/font" Target="fonts/RalewayThin-italic.fntdata"/><Relationship Id="rId11" Type="http://schemas.openxmlformats.org/officeDocument/2006/relationships/slide" Target="slides/slide6.xml"/><Relationship Id="rId22" Type="http://customschemas.google.com/relationships/presentationmetadata" Target="metadata"/><Relationship Id="rId10" Type="http://schemas.openxmlformats.org/officeDocument/2006/relationships/slide" Target="slides/slide5.xml"/><Relationship Id="rId21" Type="http://schemas.openxmlformats.org/officeDocument/2006/relationships/font" Target="fonts/RalewayThin-boldItalic.fntdata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" Type="http://schemas.openxmlformats.org/officeDocument/2006/relationships/theme" Target="theme/theme2.xml"/><Relationship Id="rId2" Type="http://schemas.openxmlformats.org/officeDocument/2006/relationships/viewProps" Target="viewProps.xml"/><Relationship Id="rId3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5" Type="http://schemas.openxmlformats.org/officeDocument/2006/relationships/notesMaster" Target="notesMasters/notesMaster1.xml"/><Relationship Id="rId19" Type="http://schemas.openxmlformats.org/officeDocument/2006/relationships/font" Target="fonts/RalewayThin-bold.fntdata"/><Relationship Id="rId6" Type="http://schemas.openxmlformats.org/officeDocument/2006/relationships/slide" Target="slides/slide1.xml"/><Relationship Id="rId18" Type="http://schemas.openxmlformats.org/officeDocument/2006/relationships/font" Target="fonts/RalewayThin-regular.fntdata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3.vml.rels><?xml version="1.0" encoding="UTF-8" standalone="yes"?>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4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5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6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7.vml.rels><?xml version="1.0" encoding="UTF-8" standalone="yes"?>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8.vml.rels><?xml version="1.0" encoding="UTF-8" standalone="yes"?>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9.vml.rels><?xml version="1.0" encoding="UTF-8" standalone="yes"?><Relationships xmlns="http://schemas.openxmlformats.org/package/2006/relationships"><Relationship Id="rId1" Type="http://schemas.openxmlformats.org/officeDocument/2006/relationships/image" Target="../media/image7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/>
          <p:nvPr>
            <p:ph idx="2" type="hd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4" name="Google Shape;4;n"/>
          <p:cNvSpPr txBox="1"/>
          <p:nvPr>
            <p:ph idx="10" type="dt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lvl="0" marR="0" rtl="0" algn="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5" name="Google Shape;5;n"/>
          <p:cNvSpPr/>
          <p:nvPr>
            <p:ph idx="3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12700">
            <a:solidFill>
              <a:srgbClr val="000000"/>
            </a:solidFill>
            <a:prstDash val="solid"/>
            <a:round/>
            <a:headEnd len="sm" w="sm" type="none"/>
            <a:tailEnd len="sm" w="sm" type="none"/>
          </a:ln>
        </p:spPr>
      </p:sp>
      <p:sp>
        <p:nvSpPr>
          <p:cNvPr id="6" name="Google Shape;6;n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>
            <a:lvl1pPr indent="-228600" lvl="0" marL="4572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indent="-228600" lvl="1" marL="9144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indent="-228600" lvl="2" marL="13716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indent="-228600" lvl="3" marL="18288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indent="-228600" lvl="4" marL="22860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indent="-228600" lvl="5" marL="27432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-228600" lvl="6" marL="32004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-228600" lvl="7" marL="36576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-228600" lvl="8" marL="41148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7" name="Google Shape;7;n"/>
          <p:cNvSpPr txBox="1"/>
          <p:nvPr>
            <p:ph idx="11" type="ftr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8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8" name="Google Shape;8;n"/>
          <p:cNvSpPr txBox="1"/>
          <p:nvPr>
            <p:ph idx="12" type="sldNum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b="0" i="0" lang="en-US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b="0" i="0" sz="12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6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8" name="Google Shape;48;p1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84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Google Shape;485;p10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86" name="Google Shape;486;p10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503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11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05" name="Google Shape;505;p11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515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" name="Google Shape;516;p12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12700">
            <a:solidFill>
              <a:srgbClr val="000000"/>
            </a:solidFill>
            <a:prstDash val="solid"/>
            <a:round/>
            <a:headEnd len="sm" w="sm" type="none"/>
            <a:tailEnd len="sm" w="sm" type="none"/>
          </a:ln>
        </p:spPr>
      </p:sp>
      <p:sp>
        <p:nvSpPr>
          <p:cNvPr id="517" name="Google Shape;517;p12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18" name="Google Shape;518;p12:notes"/>
          <p:cNvSpPr txBox="1"/>
          <p:nvPr>
            <p:ph idx="12" type="sldNum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6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63" name="Google Shape;63;p2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79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1" name="Google Shape;81;p3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65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4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1- WHICH KPIS, HOW DO WE CONNECT THE DATABASE, HOW MANY DATABASES WE HAVE?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- TRAFFIC, REVENUE, SALES?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3- WEEKLY, MONTHLY?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4- ERP SYSTEMS, GOOGLE ANALYTICS, ONLINE SYSTEMS?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5- AFTER TWO WEEKS, 1 MONTH?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6- POWER BI, TABLEAU, EXCEL? </a:t>
            </a:r>
            <a:endParaRPr/>
          </a:p>
        </p:txBody>
      </p:sp>
      <p:sp>
        <p:nvSpPr>
          <p:cNvPr id="367" name="Google Shape;367;p4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397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5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12700">
            <a:solidFill>
              <a:srgbClr val="000000"/>
            </a:solidFill>
            <a:prstDash val="solid"/>
            <a:round/>
            <a:headEnd len="sm" w="sm" type="none"/>
            <a:tailEnd len="sm" w="sm" type="none"/>
          </a:ln>
        </p:spPr>
      </p:sp>
      <p:sp>
        <p:nvSpPr>
          <p:cNvPr id="399" name="Google Shape;399;p5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1. Financial perspective: 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apturing the success of all perspective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. Acquisition cost (price per package), order receipt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3. Gross Margin, EBIT, DB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. Frontend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Performance of the eCommerce system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ite availability, size, loading time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Visits, page impressions, cancellation rate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3. Internal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Tbd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4. Customer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ptimize customer satisfaction and increase returning customer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ustomer index (=change in number of </a:t>
            </a:r>
            <a:r>
              <a:rPr lang="en-US"/>
              <a:t>registered</a:t>
            </a:r>
            <a:r>
              <a:rPr lang="en-US"/>
              <a:t> users)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umber &amp; evaluation of support tickets, purchase &amp; product ratings, returns management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5. Online marketing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easurement &amp; success assessment of online marketing activitie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Visits, Unique Visitors, Page Views, Visiting Depth, Bounce Rate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ost-per-conversion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ewsletter Click &amp; Opening Rates, Number of Social Media Fans &amp; Follower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6. Basic key figure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t/>
            </a:r>
            <a:endParaRPr/>
          </a:p>
          <a:p>
            <a:pPr indent="-95250" lvl="1" marL="62865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t/>
            </a:r>
            <a:endParaRPr/>
          </a:p>
          <a:p>
            <a:pPr indent="-152400" lvl="1" marL="68580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t/>
            </a:r>
            <a:endParaRPr/>
          </a:p>
        </p:txBody>
      </p:sp>
      <p:sp>
        <p:nvSpPr>
          <p:cNvPr id="400" name="Google Shape;400;p5:notes"/>
          <p:cNvSpPr txBox="1"/>
          <p:nvPr>
            <p:ph idx="12" type="sldNum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50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Google Shape;451;p6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52" name="Google Shape;452;p6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57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p7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59" name="Google Shape;459;p7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65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Google Shape;466;p8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67" name="Google Shape;467;p8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MasterPhAnim="0" showMasterSp="0">
  <p:cSld>
    <p:spTree>
      <p:nvGrpSpPr>
        <p:cNvPr id="472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9:notes"/>
          <p:cNvSpPr txBox="1"/>
          <p:nvPr>
            <p:ph idx="1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74" name="Google Shape;474;p9:notes"/>
          <p:cNvSpPr/>
          <p:nvPr>
            <p:ph idx="2" type="sldImg"/>
          </p:nvPr>
        </p:nvSpPr>
        <p:spPr>
          <a:xfrm>
            <a:off x="381000" y="685800"/>
            <a:ext cx="6096000" cy="34290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1.png"/></Relationships>
</file>

<file path=ppt/slideLayouts/_rels/slideLayout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2.vml"/><Relationship Id="rId3" Type="http://schemas.openxmlformats.org/officeDocument/2006/relationships/oleObject" Target="../embeddings/oleObject2.bin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png"/></Relationships>
</file>

<file path=ppt/slideLayouts/_rels/slideLayout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3.vml"/><Relationship Id="rId3" Type="http://schemas.openxmlformats.org/officeDocument/2006/relationships/oleObject" Target="../embeddings/oleObject3.bin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rocus Master - 13">
  <p:cSld name="Crocus Master - 13">
    <p:spTree>
      <p:nvGrpSpPr>
        <p:cNvPr id="15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6;p14"/>
          <p:cNvGrpSpPr/>
          <p:nvPr/>
        </p:nvGrpSpPr>
        <p:grpSpPr>
          <a:xfrm rot="10800000">
            <a:off x="0" y="5915113"/>
            <a:ext cx="12192001" cy="513850"/>
            <a:chOff x="1" y="4291088"/>
            <a:chExt cx="9144000" cy="513850"/>
          </a:xfrm>
        </p:grpSpPr>
        <p:pic>
          <p:nvPicPr>
            <p:cNvPr id="17" name="Google Shape;17;p14"/>
            <p:cNvPicPr preferRelativeResize="0"/>
            <p:nvPr/>
          </p:nvPicPr>
          <p:blipFill rotWithShape="1">
            <a:blip r:embed="rId2">
              <a:alphaModFix/>
            </a:blip>
            <a:srcRect b="0" l="0" r="0" t="0"/>
            <a:stretch/>
          </p:blipFill>
          <p:spPr>
            <a:xfrm>
              <a:off x="1" y="4291088"/>
              <a:ext cx="9144000" cy="5138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8" name="Google Shape;18;p14"/>
            <p:cNvSpPr/>
            <p:nvPr/>
          </p:nvSpPr>
          <p:spPr>
            <a:xfrm>
              <a:off x="1" y="4291088"/>
              <a:ext cx="9143998" cy="441325"/>
            </a:xfrm>
            <a:custGeom>
              <a:rect b="b" l="l" r="r" t="t"/>
              <a:pathLst>
                <a:path extrusionOk="0" h="148" w="2704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9" name="Google Shape;19;p14"/>
          <p:cNvGrpSpPr/>
          <p:nvPr/>
        </p:nvGrpSpPr>
        <p:grpSpPr>
          <a:xfrm>
            <a:off x="0" y="3578941"/>
            <a:ext cx="12192001" cy="513850"/>
            <a:chOff x="1" y="4291088"/>
            <a:chExt cx="9144000" cy="513850"/>
          </a:xfrm>
        </p:grpSpPr>
        <p:pic>
          <p:nvPicPr>
            <p:cNvPr id="20" name="Google Shape;20;p14"/>
            <p:cNvPicPr preferRelativeResize="0"/>
            <p:nvPr/>
          </p:nvPicPr>
          <p:blipFill rotWithShape="1">
            <a:blip r:embed="rId2">
              <a:alphaModFix/>
            </a:blip>
            <a:srcRect b="0" l="0" r="0" t="0"/>
            <a:stretch/>
          </p:blipFill>
          <p:spPr>
            <a:xfrm>
              <a:off x="1" y="4291088"/>
              <a:ext cx="9144000" cy="5138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1" name="Google Shape;21;p14"/>
            <p:cNvSpPr/>
            <p:nvPr/>
          </p:nvSpPr>
          <p:spPr>
            <a:xfrm>
              <a:off x="1" y="4291088"/>
              <a:ext cx="9143998" cy="441325"/>
            </a:xfrm>
            <a:custGeom>
              <a:rect b="b" l="l" r="r" t="t"/>
              <a:pathLst>
                <a:path extrusionOk="0" h="148" w="2704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22;p14"/>
          <p:cNvSpPr/>
          <p:nvPr>
            <p:ph idx="2" type="pic"/>
          </p:nvPr>
        </p:nvSpPr>
        <p:spPr>
          <a:xfrm>
            <a:off x="-1" y="0"/>
            <a:ext cx="12192000" cy="685799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anchorCtr="0" anchor="t" bIns="93600" lIns="180000" spcFirstLastPara="1" rIns="180000" wrap="square" tIns="93600">
            <a:normAutofit/>
          </a:bodyPr>
          <a:lstStyle>
            <a:lvl1pPr lvl="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400"/>
              <a:buFont typeface="Arial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2000">
        <p14:reveal dir="l"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k_headline">
  <p:cSld name="tk_headline">
    <p:spTree>
      <p:nvGrpSpPr>
        <p:cNvPr id="23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5" name="Google Shape;25;p15"/>
          <p:cNvSpPr txBox="1"/>
          <p:nvPr>
            <p:ph idx="1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1pPr>
            <a:lvl2pPr indent="-342900" lvl="1" marL="914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2pPr>
            <a:lvl3pPr indent="-342900" lvl="2" marL="1371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4pPr>
            <a:lvl5pPr indent="-342900" lvl="4" marL="22860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5pPr>
            <a:lvl6pPr indent="-342900" lvl="5" marL="27432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6pPr>
            <a:lvl7pPr indent="-342900" lvl="6" marL="3200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7pPr>
            <a:lvl8pPr indent="-342900" lvl="7" marL="3657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8pPr>
            <a:lvl9pPr indent="-342900" lvl="8" marL="4114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rocus Master - 87">
  <p:cSld name="Crocus Master - 87">
    <p:spTree>
      <p:nvGrpSpPr>
        <p:cNvPr id="26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6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grpSp>
        <p:nvGrpSpPr>
          <p:cNvPr id="28" name="Google Shape;28;p16"/>
          <p:cNvGrpSpPr/>
          <p:nvPr/>
        </p:nvGrpSpPr>
        <p:grpSpPr>
          <a:xfrm>
            <a:off x="2423592" y="1808820"/>
            <a:ext cx="5112926" cy="6858000"/>
            <a:chOff x="2394624" y="1467544"/>
            <a:chExt cx="5112926" cy="6858000"/>
          </a:xfrm>
        </p:grpSpPr>
        <p:pic>
          <p:nvPicPr>
            <p:cNvPr id="29" name="Google Shape;29;p16"/>
            <p:cNvPicPr preferRelativeResize="0"/>
            <p:nvPr/>
          </p:nvPicPr>
          <p:blipFill rotWithShape="1">
            <a:blip r:embed="rId2">
              <a:alphaModFix/>
            </a:blip>
            <a:srcRect b="0" l="0" r="0" t="0"/>
            <a:stretch/>
          </p:blipFill>
          <p:spPr>
            <a:xfrm>
              <a:off x="2394624" y="1467544"/>
              <a:ext cx="5112926" cy="685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" name="Google Shape;30;p16"/>
            <p:cNvPicPr preferRelativeResize="0"/>
            <p:nvPr/>
          </p:nvPicPr>
          <p:blipFill rotWithShape="1">
            <a:blip r:embed="rId3">
              <a:alphaModFix/>
            </a:blip>
            <a:srcRect b="0" l="3533" r="3534" t="0"/>
            <a:stretch/>
          </p:blipFill>
          <p:spPr>
            <a:xfrm>
              <a:off x="5202210" y="2012899"/>
              <a:ext cx="1787580" cy="3290649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  <mc:AlternateContent>
    <mc:Choice Requires="p14">
      <p:transition spd="slow" p14:dur="2000">
        <p14:window dir="vert"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k_headline + text">
  <p:cSld name="tk_headline + text">
    <p:spTree>
      <p:nvGrpSpPr>
        <p:cNvPr id="3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Google Shape;32;p17"/>
          <p:cNvGraphicFramePr/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>
              <mc:Choice Requires="v">
                <p:oleObj r:id="rId3" imgH="1587" imgW="2116" progId="TCLayout.ActiveDocument.1" spid="_x0000_s1">
                  <p:embed/>
                </p:oleObj>
              </mc:Choice>
              <mc:Fallback>
                <p:oleObj r:id="rId4" imgH="1587" imgW="2116" progId="TCLayout.ActiveDocument.1">
                  <p:embed/>
                  <p:pic>
                    <p:nvPicPr>
                      <p:cNvPr id="32" name="Google Shape;32;p1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Google Shape;33;p17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4" name="Google Shape;34;p17"/>
          <p:cNvSpPr txBox="1"/>
          <p:nvPr>
            <p:ph idx="1" type="body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indent="-342900" lvl="1" marL="914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2pPr>
            <a:lvl3pPr indent="-342900" lvl="2" marL="1371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4pPr>
            <a:lvl5pPr indent="-342900" lvl="4" marL="22860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5pPr>
            <a:lvl6pPr indent="-342900" lvl="5" marL="27432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6pPr>
            <a:lvl7pPr indent="-342900" lvl="6" marL="3200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7pPr>
            <a:lvl8pPr indent="-342900" lvl="7" marL="3657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8pPr>
            <a:lvl9pPr indent="-342900" lvl="8" marL="4114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5" name="Google Shape;35;p17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1pPr>
            <a:lvl2pPr indent="-342900" lvl="1" marL="914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2pPr>
            <a:lvl3pPr indent="-342900" lvl="2" marL="1371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4pPr>
            <a:lvl5pPr indent="-342900" lvl="4" marL="22860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5pPr>
            <a:lvl6pPr indent="-342900" lvl="5" marL="27432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6pPr>
            <a:lvl7pPr indent="-342900" lvl="6" marL="3200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7pPr>
            <a:lvl8pPr indent="-342900" lvl="7" marL="3657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8pPr>
            <a:lvl9pPr indent="-342900" lvl="8" marL="4114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k_headline + text + content">
  <p:cSld name="tk_headline + text + content">
    <p:spTree>
      <p:nvGrpSpPr>
        <p:cNvPr id="36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8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8" name="Google Shape;38;p18"/>
          <p:cNvSpPr txBox="1"/>
          <p:nvPr>
            <p:ph idx="1" type="body"/>
          </p:nvPr>
        </p:nvSpPr>
        <p:spPr>
          <a:xfrm>
            <a:off x="6331200" y="1522799"/>
            <a:ext cx="5519973" cy="4536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indent="-342900" lvl="1" marL="914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2pPr>
            <a:lvl3pPr indent="-342900" lvl="2" marL="1371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4pPr>
            <a:lvl5pPr indent="-342900" lvl="4" marL="22860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5pPr>
            <a:lvl6pPr indent="-342900" lvl="5" marL="27432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6pPr>
            <a:lvl7pPr indent="-342900" lvl="6" marL="3200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7pPr>
            <a:lvl8pPr indent="-342900" lvl="7" marL="3657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8pPr>
            <a:lvl9pPr indent="-342900" lvl="8" marL="4114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9pPr>
          </a:lstStyle>
          <a:p/>
        </p:txBody>
      </p:sp>
      <p:sp>
        <p:nvSpPr>
          <p:cNvPr id="39" name="Google Shape;39;p18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/>
            </a:lvl1pPr>
            <a:lvl2pPr indent="-342900" lvl="1" marL="914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2pPr>
            <a:lvl3pPr indent="-342900" lvl="2" marL="1371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3pPr>
            <a:lvl4pPr indent="-342900" lvl="3" marL="1828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4pPr>
            <a:lvl5pPr indent="-342900" lvl="4" marL="22860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5pPr>
            <a:lvl6pPr indent="-342900" lvl="5" marL="27432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6pPr>
            <a:lvl7pPr indent="-342900" lvl="6" marL="32004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7pPr>
            <a:lvl8pPr indent="-342900" lvl="7" marL="36576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8pPr>
            <a:lvl9pPr indent="-342900" lvl="8" marL="4114800" algn="l">
              <a:spcBef>
                <a:spcPts val="1200"/>
              </a:spcBef>
              <a:spcAft>
                <a:spcPts val="0"/>
              </a:spcAft>
              <a:buSzPts val="1800"/>
              <a:buChar char="−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Crocus Master - 147">
  <p:cSld name="Crocus Master - 147">
    <p:spTree>
      <p:nvGrpSpPr>
        <p:cNvPr id="40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9"/>
          <p:cNvSpPr/>
          <p:nvPr>
            <p:ph idx="2" type="pic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anchorCtr="0" anchor="t" bIns="93600" lIns="180000" spcFirstLastPara="1" rIns="180000" wrap="square" tIns="93600">
            <a:normAutofit/>
          </a:bodyPr>
          <a:lstStyle>
            <a:lvl1pPr lvl="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400"/>
              <a:buFont typeface="Arial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42" name="Google Shape;42;p19"/>
          <p:cNvSpPr txBox="1"/>
          <p:nvPr>
            <p:ph type="ctrTitle"/>
          </p:nvPr>
        </p:nvSpPr>
        <p:spPr>
          <a:xfrm>
            <a:off x="2160760" y="2923591"/>
            <a:ext cx="7870480" cy="743026"/>
          </a:xfrm>
          <a:prstGeom prst="rect">
            <a:avLst/>
          </a:prstGeom>
          <a:noFill/>
          <a:ln>
            <a:noFill/>
          </a:ln>
        </p:spPr>
        <p:txBody>
          <a:bodyPr anchorCtr="0" anchor="t" bIns="93600" lIns="180000" spcFirstLastPara="1" rIns="180000" wrap="square" tIns="9360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Arial"/>
              <a:buNone/>
              <a:defRPr b="1" sz="3600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3" name="Google Shape;43;p19"/>
          <p:cNvSpPr txBox="1"/>
          <p:nvPr>
            <p:ph idx="1" type="subTitle"/>
          </p:nvPr>
        </p:nvSpPr>
        <p:spPr>
          <a:xfrm>
            <a:off x="2530414" y="2475109"/>
            <a:ext cx="7108167" cy="404472"/>
          </a:xfrm>
          <a:prstGeom prst="rect">
            <a:avLst/>
          </a:prstGeom>
          <a:noFill/>
          <a:ln>
            <a:noFill/>
          </a:ln>
        </p:spPr>
        <p:txBody>
          <a:bodyPr anchorCtr="0" anchor="b" bIns="93600" lIns="180000" spcFirstLastPara="1" rIns="180000" wrap="square" tIns="93600">
            <a:spAutoFit/>
          </a:bodyPr>
          <a:lstStyle>
            <a:lvl1pPr lvl="0" algn="ctr">
              <a:spcBef>
                <a:spcPts val="28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3pPr>
            <a:lvl4pPr lvl="3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4pPr>
            <a:lvl5pPr lvl="4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5pPr>
            <a:lvl6pPr lvl="5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6pPr>
            <a:lvl7pPr lvl="6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7pPr>
            <a:lvl8pPr lvl="7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8pPr>
            <a:lvl9pPr lvl="8" algn="ctr">
              <a:spcBef>
                <a:spcPts val="1200"/>
              </a:spcBef>
              <a:spcAft>
                <a:spcPts val="0"/>
              </a:spcAft>
              <a:buSzPts val="1600"/>
              <a:buNone/>
              <a:defRPr>
                <a:solidFill>
                  <a:srgbClr val="8C8C8C"/>
                </a:solidFill>
              </a:defRPr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2000">
        <p14:window dir="vert"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matchingName="tk_title blue" showMasterSp="0">
  <p:cSld name="tk_title blue">
    <p:spTree>
      <p:nvGrpSpPr>
        <p:cNvPr id="44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Google Shape;45;p20"/>
          <p:cNvGraphicFramePr/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>
              <mc:Choice Requires="v">
                <p:oleObj r:id="rId3" imgH="1587" imgW="2116" progId="TCLayout.ActiveDocument.1" spid="_x0000_s1">
                  <p:embed/>
                </p:oleObj>
              </mc:Choice>
              <mc:Fallback>
                <p:oleObj r:id="rId4" imgH="1587" imgW="2116" progId="TCLayout.ActiveDocument.1">
                  <p:embed/>
                  <p:pic>
                    <p:nvPicPr>
                      <p:cNvPr id="45" name="Google Shape;45;p20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oleObject" Target="../embeddings/oleObject1.bin"/><Relationship Id="rId3" Type="http://schemas.openxmlformats.org/officeDocument/2006/relationships/image" Target="../media/image4.png"/><Relationship Id="rId4" Type="http://schemas.openxmlformats.org/officeDocument/2006/relationships/slideLayout" Target="../slideLayouts/slideLayout1.xml"/><Relationship Id="rId11" Type="http://schemas.openxmlformats.org/officeDocument/2006/relationships/theme" Target="../theme/theme2.xml"/><Relationship Id="rId10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9" Type="http://schemas.openxmlformats.org/officeDocument/2006/relationships/slideLayout" Target="../slideLayouts/slideLayout6.xml"/><Relationship Id="rId5" Type="http://schemas.openxmlformats.org/officeDocument/2006/relationships/slideLayout" Target="../slideLayouts/slideLayout2.xml"/><Relationship Id="rId6" Type="http://schemas.openxmlformats.org/officeDocument/2006/relationships/slideLayout" Target="../slideLayouts/slideLayout3.xml"/><Relationship Id="rId7" Type="http://schemas.openxmlformats.org/officeDocument/2006/relationships/slideLayout" Target="../slideLayouts/slideLayout4.xml"/><Relationship Id="rId8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bg>
      <p:bgPr>
        <a:solidFill>
          <a:schemeClr val="lt1"/>
        </a:solidFill>
      </p:bgPr>
    </p:bg>
    <p:spTree>
      <p:nvGrpSpPr>
        <p:cNvPr id="9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3"/>
          <p:cNvGraphicFramePr/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>
              <mc:Choice Requires="v">
                <p:oleObj r:id="rId1" imgH="1587" imgW="2116" progId="TCLayout.ActiveDocument.1" spid="_x0000_s1">
                  <p:embed/>
                </p:oleObj>
              </mc:Choice>
              <mc:Fallback>
                <p:oleObj r:id="rId2" imgH="1587" imgW="2116" progId="TCLayout.ActiveDocument.1">
                  <p:embed/>
                  <p:pic>
                    <p:nvPicPr>
                      <p:cNvPr id="10" name="Google Shape;10;p13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13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  <a:defRPr b="0" i="0" sz="2200" u="none" cap="none" strike="noStrik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/>
        </p:txBody>
      </p:sp>
      <p:sp>
        <p:nvSpPr>
          <p:cNvPr id="12" name="Google Shape;12;p13"/>
          <p:cNvSpPr txBox="1"/>
          <p:nvPr>
            <p:ph idx="1" type="body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30200" lvl="0" marL="4572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30200" lvl="1" marL="9144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30200" lvl="2" marL="13716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30200" lvl="3" marL="18288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30200" lvl="4" marL="22860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30200" lvl="5" marL="27432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30200" lvl="6" marL="32004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30200" lvl="7" marL="36576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30200" lvl="8" marL="4114800" marR="0" rtl="0" algn="l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−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3" name="Google Shape;13;p13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800"/>
              <a:buFont typeface="Arial"/>
              <a:buNone/>
            </a:pPr>
            <a:fld id="{00000000-1234-1234-1234-123412341234}" type="slidenum">
              <a:rPr b="0" i="0" lang="en-US" sz="800" u="none" cap="none" strike="noStrike">
                <a:solidFill>
                  <a:srgbClr val="42424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b="0" i="0" sz="800" u="none" cap="none" strike="noStrike">
              <a:solidFill>
                <a:srgbClr val="42424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4;p13"/>
          <p:cNvSpPr txBox="1"/>
          <p:nvPr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800"/>
              <a:buFont typeface="Arial"/>
              <a:buNone/>
            </a:pPr>
            <a:r>
              <a:rPr b="0" i="0" lang="en-US" sz="800" u="none" cap="none" strike="noStrike">
                <a:solidFill>
                  <a:srgbClr val="424242"/>
                </a:solidFill>
                <a:latin typeface="Arial"/>
                <a:ea typeface="Arial"/>
                <a:cs typeface="Arial"/>
                <a:sym typeface="Arial"/>
              </a:rPr>
              <a:t>|  24.02.2020  |  Final Project | CIS-597 SPEC.TOP. DATA ENGINEERING | Max Franke, Mariah Bastos</a:t>
            </a:r>
            <a:endParaRPr/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4"/>
    <p:sldLayoutId id="2147483650" r:id="rId5"/>
    <p:sldLayoutId id="2147483651" r:id="rId6"/>
    <p:sldLayoutId id="2147483652" r:id="rId7"/>
    <p:sldLayoutId id="2147483653" r:id="rId8"/>
    <p:sldLayoutId id="2147483654" r:id="rId9"/>
    <p:sldLayoutId id="2147483655" r:id="rId10"/>
  </p:sldLayoutIdLst>
  <p:hf dt="0" ftr="0" hdr="0" sldNum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3.jpg"/></Relationships>
</file>

<file path=ppt/slides/_rels/slide1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9.jpg"/><Relationship Id="rId4" Type="http://schemas.openxmlformats.org/officeDocument/2006/relationships/image" Target="../media/image15.png"/><Relationship Id="rId5" Type="http://schemas.openxmlformats.org/officeDocument/2006/relationships/image" Target="../media/image20.png"/><Relationship Id="rId6" Type="http://schemas.openxmlformats.org/officeDocument/2006/relationships/image" Target="../media/image18.png"/><Relationship Id="rId7" Type="http://schemas.openxmlformats.org/officeDocument/2006/relationships/image" Target="../media/image17.png"/><Relationship Id="rId8" Type="http://schemas.openxmlformats.org/officeDocument/2006/relationships/image" Target="../media/image16.png"/></Relationships>
</file>

<file path=ppt/slides/_rels/slide1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3.jpg"/></Relationships>
</file>

<file path=ppt/slides/_rels/slide12.xml.rels><?xml version="1.0" encoding="UTF-8" standalone="yes"?><Relationships xmlns="http://schemas.openxmlformats.org/package/2006/relationships"><Relationship Id="rId11" Type="http://schemas.openxmlformats.org/officeDocument/2006/relationships/image" Target="../media/image21.png"/><Relationship Id="rId10" Type="http://schemas.openxmlformats.org/officeDocument/2006/relationships/image" Target="../media/image25.png"/><Relationship Id="rId13" Type="http://schemas.openxmlformats.org/officeDocument/2006/relationships/image" Target="../media/image24.png"/><Relationship Id="rId1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2.xml"/><Relationship Id="rId3" Type="http://schemas.openxmlformats.org/officeDocument/2006/relationships/vmlDrawing" Target="../drawings/vmlDrawing9.vml"/><Relationship Id="rId4" Type="http://schemas.openxmlformats.org/officeDocument/2006/relationships/oleObject" Target="../embeddings/oleObject7.bin"/><Relationship Id="rId9" Type="http://schemas.openxmlformats.org/officeDocument/2006/relationships/image" Target="../media/image23.png"/><Relationship Id="rId5" Type="http://schemas.openxmlformats.org/officeDocument/2006/relationships/oleObject" Target="../embeddings/oleObject7.bin"/><Relationship Id="rId6" Type="http://schemas.openxmlformats.org/officeDocument/2006/relationships/image" Target="../media/image7.png"/><Relationship Id="rId7" Type="http://schemas.openxmlformats.org/officeDocument/2006/relationships/image" Target="../media/image26.png"/><Relationship Id="rId8" Type="http://schemas.openxmlformats.org/officeDocument/2006/relationships/image" Target="../media/image22.png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vmlDrawing" Target="../drawings/vmlDrawing4.vml"/><Relationship Id="rId4" Type="http://schemas.openxmlformats.org/officeDocument/2006/relationships/slide" Target="/ppt/slides/slide4.xml"/><Relationship Id="rId10" Type="http://schemas.openxmlformats.org/officeDocument/2006/relationships/image" Target="../media/image7.png"/><Relationship Id="rId9" Type="http://schemas.openxmlformats.org/officeDocument/2006/relationships/oleObject" Target="../embeddings/oleObject4.bin"/><Relationship Id="rId5" Type="http://schemas.openxmlformats.org/officeDocument/2006/relationships/slide" Target="/ppt/slides/slide4.xml"/><Relationship Id="rId6" Type="http://schemas.openxmlformats.org/officeDocument/2006/relationships/slide" Target="/ppt/slides/slide2.xml"/><Relationship Id="rId7" Type="http://schemas.openxmlformats.org/officeDocument/2006/relationships/slide" Target="/ppt/slides/slide2.xml"/><Relationship Id="rId8" Type="http://schemas.openxmlformats.org/officeDocument/2006/relationships/oleObject" Target="../embeddings/oleObject4.bin"/></Relationships>
</file>

<file path=ppt/slides/_rels/slide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4.png"/></Relationships>
</file>

<file path=ppt/slides/_rels/slide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Relationship Id="rId3" Type="http://schemas.openxmlformats.org/officeDocument/2006/relationships/vmlDrawing" Target="../drawings/vmlDrawing5.vml"/><Relationship Id="rId4" Type="http://schemas.openxmlformats.org/officeDocument/2006/relationships/oleObject" Target="../embeddings/oleObject5.bin"/><Relationship Id="rId5" Type="http://schemas.openxmlformats.org/officeDocument/2006/relationships/oleObject" Target="../embeddings/oleObject5.bin"/><Relationship Id="rId6" Type="http://schemas.openxmlformats.org/officeDocument/2006/relationships/image" Target="../media/image7.png"/></Relationships>
</file>

<file path=ppt/slides/_rels/slide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vmlDrawing" Target="../drawings/vmlDrawing6.vml"/><Relationship Id="rId4" Type="http://schemas.openxmlformats.org/officeDocument/2006/relationships/oleObject" Target="../embeddings/oleObject6.bin"/><Relationship Id="rId5" Type="http://schemas.openxmlformats.org/officeDocument/2006/relationships/oleObject" Target="../embeddings/oleObject6.bin"/><Relationship Id="rId6" Type="http://schemas.openxmlformats.org/officeDocument/2006/relationships/image" Target="../media/image7.png"/></Relationships>
</file>

<file path=ppt/slides/_rels/slide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vmlDrawing" Target="../drawings/vmlDrawing7.vml"/><Relationship Id="rId4" Type="http://schemas.openxmlformats.org/officeDocument/2006/relationships/package" Target="../embeddings/Microsoft_Excel_Sheet1.xlsx"/><Relationship Id="rId5" Type="http://schemas.openxmlformats.org/officeDocument/2006/relationships/package" Target="../embeddings/Microsoft_Excel_Sheet1.xlsx"/><Relationship Id="rId6" Type="http://schemas.openxmlformats.org/officeDocument/2006/relationships/image" Target="../media/image6.png"/></Relationships>
</file>

<file path=ppt/slides/_rels/slide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Relationship Id="rId3" Type="http://schemas.openxmlformats.org/officeDocument/2006/relationships/vmlDrawing" Target="../drawings/vmlDrawing8.vml"/><Relationship Id="rId4" Type="http://schemas.openxmlformats.org/officeDocument/2006/relationships/package" Target="../embeddings/Microsoft_Excel_Sheet2.xlsx"/><Relationship Id="rId5" Type="http://schemas.openxmlformats.org/officeDocument/2006/relationships/package" Target="../embeddings/Microsoft_Excel_Sheet2.xlsx"/><Relationship Id="rId6" Type="http://schemas.openxmlformats.org/officeDocument/2006/relationships/image" Target="../media/image8.png"/></Relationships>
</file>

<file path=ppt/slides/_rels/slide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1.png"/></Relationships>
</file>

<file path=ppt/slides/_rels/slide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0.png"/><Relationship Id="rId4" Type="http://schemas.openxmlformats.org/officeDocument/2006/relationships/image" Target="../media/image5.png"/><Relationship Id="rId5" Type="http://schemas.openxmlformats.org/officeDocument/2006/relationships/image" Target="../media/image2.png"/><Relationship Id="rId6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9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oogle Shape;50;p1"/>
          <p:cNvPicPr preferRelativeResize="0"/>
          <p:nvPr>
            <p:ph idx="2" type="pic"/>
          </p:nvPr>
        </p:nvPicPr>
        <p:blipFill rotWithShape="1">
          <a:blip r:embed="rId3">
            <a:alphaModFix/>
          </a:blip>
          <a:srcRect b="8122" l="0" r="0" t="8121"/>
          <a:stretch/>
        </p:blipFill>
        <p:spPr>
          <a:xfrm>
            <a:off x="-1" y="0"/>
            <a:ext cx="12192000" cy="6857998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grpSp>
        <p:nvGrpSpPr>
          <p:cNvPr id="51" name="Google Shape;51;p1"/>
          <p:cNvGrpSpPr/>
          <p:nvPr/>
        </p:nvGrpSpPr>
        <p:grpSpPr>
          <a:xfrm>
            <a:off x="578880" y="3955414"/>
            <a:ext cx="11034241" cy="1768900"/>
            <a:chOff x="336431" y="3955414"/>
            <a:chExt cx="8471139" cy="1768900"/>
          </a:xfrm>
        </p:grpSpPr>
        <p:grpSp>
          <p:nvGrpSpPr>
            <p:cNvPr id="52" name="Google Shape;52;p1"/>
            <p:cNvGrpSpPr/>
            <p:nvPr/>
          </p:nvGrpSpPr>
          <p:grpSpPr>
            <a:xfrm>
              <a:off x="585000" y="3955414"/>
              <a:ext cx="7974000" cy="1723167"/>
              <a:chOff x="585000" y="3955414"/>
              <a:chExt cx="7974000" cy="1723167"/>
            </a:xfrm>
          </p:grpSpPr>
          <p:sp>
            <p:nvSpPr>
              <p:cNvPr id="53" name="Google Shape;53;p1"/>
              <p:cNvSpPr/>
              <p:nvPr/>
            </p:nvSpPr>
            <p:spPr>
              <a:xfrm>
                <a:off x="585000" y="5030069"/>
                <a:ext cx="7974000" cy="648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anchorCtr="0" anchor="t" bIns="46800" lIns="90000" spcFirstLastPara="1" rIns="90000" wrap="square" tIns="46800">
                <a:spAutoFit/>
              </a:bodyPr>
              <a:lstStyle/>
              <a:p>
                <a:pPr indent="0" lvl="0" marL="0" marR="0" rtl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4.02.2020  |  FINAL PROJECT | CIS-597 SPEC.TOP. DATA ENGINEERING | </a:t>
                </a:r>
                <a:endParaRPr/>
              </a:p>
              <a:p>
                <a:pPr indent="0" lvl="0" marL="0" marR="0" rtl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MAX FRANKE, MARIAH BASTOS</a:t>
                </a:r>
                <a:endParaRPr/>
              </a:p>
            </p:txBody>
          </p:sp>
          <p:sp>
            <p:nvSpPr>
              <p:cNvPr id="54" name="Google Shape;54;p1"/>
              <p:cNvSpPr/>
              <p:nvPr/>
            </p:nvSpPr>
            <p:spPr>
              <a:xfrm>
                <a:off x="585000" y="3955414"/>
                <a:ext cx="7974000" cy="1079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Ctr="0" anchor="b" bIns="46800" lIns="90000" spcFirstLastPara="1" rIns="90000" wrap="square" tIns="46800">
                <a:spAutoFit/>
              </a:bodyPr>
              <a:lstStyle/>
              <a:p>
                <a:pPr indent="0" lvl="0" marL="0" marR="0" rtl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b="1" lang="en-US" sz="3200" cap="none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ARTING WITH KEY PERFORMANCE INDICATORS </a:t>
                </a:r>
                <a:endParaRPr/>
              </a:p>
              <a:p>
                <a:pPr indent="0" lvl="0" marL="0" marR="0" rtl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b="1" lang="en-US" sz="3200" cap="none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O A DATABASE SCHEMA FOR AN ONLINE SHOP</a:t>
                </a:r>
                <a:endParaRPr/>
              </a:p>
            </p:txBody>
          </p:sp>
        </p:grpSp>
        <p:grpSp>
          <p:nvGrpSpPr>
            <p:cNvPr id="55" name="Google Shape;55;p1"/>
            <p:cNvGrpSpPr/>
            <p:nvPr/>
          </p:nvGrpSpPr>
          <p:grpSpPr>
            <a:xfrm>
              <a:off x="336431" y="4447856"/>
              <a:ext cx="8471139" cy="1276458"/>
              <a:chOff x="336431" y="4447856"/>
              <a:chExt cx="8471139" cy="1276458"/>
            </a:xfrm>
          </p:grpSpPr>
          <p:grpSp>
            <p:nvGrpSpPr>
              <p:cNvPr id="56" name="Google Shape;56;p1"/>
              <p:cNvGrpSpPr/>
              <p:nvPr/>
            </p:nvGrpSpPr>
            <p:grpSpPr>
              <a:xfrm>
                <a:off x="586766" y="4447856"/>
                <a:ext cx="7970468" cy="1276458"/>
                <a:chOff x="585000" y="4447856"/>
                <a:chExt cx="7970468" cy="1276458"/>
              </a:xfrm>
            </p:grpSpPr>
            <p:cxnSp>
              <p:nvCxnSpPr>
                <p:cNvPr id="57" name="Google Shape;57;p1"/>
                <p:cNvCxnSpPr/>
                <p:nvPr/>
              </p:nvCxnSpPr>
              <p:spPr>
                <a:xfrm>
                  <a:off x="585000" y="4447856"/>
                  <a:ext cx="0" cy="1276458"/>
                </a:xfrm>
                <a:prstGeom prst="straightConnector1">
                  <a:avLst/>
                </a:prstGeom>
                <a:noFill/>
                <a:ln cap="sq" cmpd="sng" w="12700">
                  <a:solidFill>
                    <a:schemeClr val="dk1"/>
                  </a:solidFill>
                  <a:prstDash val="dash"/>
                  <a:miter lim="800000"/>
                  <a:headEnd len="sm" w="sm" type="none"/>
                  <a:tailEnd len="sm" w="sm" type="none"/>
                </a:ln>
              </p:spPr>
            </p:cxnSp>
            <p:cxnSp>
              <p:nvCxnSpPr>
                <p:cNvPr id="58" name="Google Shape;58;p1"/>
                <p:cNvCxnSpPr/>
                <p:nvPr/>
              </p:nvCxnSpPr>
              <p:spPr>
                <a:xfrm>
                  <a:off x="8555468" y="4447856"/>
                  <a:ext cx="0" cy="1276458"/>
                </a:xfrm>
                <a:prstGeom prst="straightConnector1">
                  <a:avLst/>
                </a:prstGeom>
                <a:noFill/>
                <a:ln cap="sq" cmpd="sng" w="12700">
                  <a:solidFill>
                    <a:schemeClr val="dk1"/>
                  </a:solidFill>
                  <a:prstDash val="dash"/>
                  <a:miter lim="800000"/>
                  <a:headEnd len="sm" w="sm" type="none"/>
                  <a:tailEnd len="sm" w="sm" type="none"/>
                </a:ln>
              </p:spPr>
            </p:cxnSp>
          </p:grpSp>
          <p:cxnSp>
            <p:nvCxnSpPr>
              <p:cNvPr id="59" name="Google Shape;59;p1"/>
              <p:cNvCxnSpPr/>
              <p:nvPr/>
            </p:nvCxnSpPr>
            <p:spPr>
              <a:xfrm>
                <a:off x="336431" y="5030069"/>
                <a:ext cx="8471139" cy="0"/>
              </a:xfrm>
              <a:prstGeom prst="straightConnector1">
                <a:avLst/>
              </a:prstGeom>
              <a:noFill/>
              <a:ln cap="sq" cmpd="sng" w="12700">
                <a:solidFill>
                  <a:schemeClr val="dk1"/>
                </a:solidFill>
                <a:prstDash val="dash"/>
                <a:miter lim="800000"/>
                <a:headEnd len="sm" w="sm" type="none"/>
                <a:tailEnd len="sm" w="sm" type="none"/>
              </a:ln>
            </p:spPr>
          </p:cxnSp>
        </p:grpSp>
      </p:grpSp>
      <p:sp>
        <p:nvSpPr>
          <p:cNvPr id="60" name="Google Shape;60;p1"/>
          <p:cNvSpPr/>
          <p:nvPr/>
        </p:nvSpPr>
        <p:spPr>
          <a:xfrm>
            <a:off x="1270000" y="1270000"/>
            <a:ext cx="63500" cy="762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87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Google Shape;488;p10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All data sources can also directly import into PowerBi </a:t>
            </a:r>
            <a:endParaRPr/>
          </a:p>
        </p:txBody>
      </p:sp>
      <p:sp>
        <p:nvSpPr>
          <p:cNvPr id="489" name="Google Shape;489;p10"/>
          <p:cNvSpPr txBox="1"/>
          <p:nvPr>
            <p:ph idx="1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t/>
            </a:r>
            <a:endParaRPr/>
          </a:p>
        </p:txBody>
      </p:sp>
      <p:pic>
        <p:nvPicPr>
          <p:cNvPr descr="Related image" id="490" name="Google Shape;490;p10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912873" y="1658760"/>
            <a:ext cx="755849" cy="529094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Image result for newsletter to go" id="491" name="Google Shape;491;p10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771552" y="3932907"/>
            <a:ext cx="834119" cy="612068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Image result for google analytics logo" id="492" name="Google Shape;492;p10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730314" y="2311609"/>
            <a:ext cx="1089945" cy="825218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Image result for similarweb" id="493" name="Google Shape;493;p10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804470" y="3240869"/>
            <a:ext cx="941633" cy="4812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4" name="Google Shape;494;p10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804470" y="4942147"/>
            <a:ext cx="976817" cy="331827"/>
          </a:xfrm>
          <a:prstGeom prst="rect">
            <a:avLst/>
          </a:prstGeom>
          <a:noFill/>
          <a:ln>
            <a:noFill/>
          </a:ln>
        </p:spPr>
      </p:pic>
      <p:pic>
        <p:nvPicPr>
          <p:cNvPr id="495" name="Google Shape;495;p10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3828124" y="1125510"/>
            <a:ext cx="8027876" cy="435261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96" name="Google Shape;496;p10"/>
          <p:cNvCxnSpPr>
            <a:stCxn id="490" idx="3"/>
            <a:endCxn id="495" idx="1"/>
          </p:cNvCxnSpPr>
          <p:nvPr/>
        </p:nvCxnSpPr>
        <p:spPr>
          <a:xfrm>
            <a:off x="1668722" y="1923307"/>
            <a:ext cx="2159400" cy="1378500"/>
          </a:xfrm>
          <a:prstGeom prst="curvedConnector3">
            <a:avLst>
              <a:gd fmla="val 50000" name="adj1"/>
            </a:avLst>
          </a:prstGeom>
          <a:noFill/>
          <a:ln cap="flat" cmpd="sng" w="19050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497" name="Google Shape;497;p10"/>
          <p:cNvCxnSpPr>
            <a:stCxn id="492" idx="3"/>
            <a:endCxn id="495" idx="1"/>
          </p:cNvCxnSpPr>
          <p:nvPr/>
        </p:nvCxnSpPr>
        <p:spPr>
          <a:xfrm>
            <a:off x="1820259" y="2724218"/>
            <a:ext cx="2007900" cy="577500"/>
          </a:xfrm>
          <a:prstGeom prst="curvedConnector3">
            <a:avLst>
              <a:gd fmla="val 49999" name="adj1"/>
            </a:avLst>
          </a:prstGeom>
          <a:noFill/>
          <a:ln cap="flat" cmpd="sng" w="19050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498" name="Google Shape;498;p10"/>
          <p:cNvCxnSpPr>
            <a:stCxn id="493" idx="3"/>
            <a:endCxn id="495" idx="1"/>
          </p:cNvCxnSpPr>
          <p:nvPr/>
        </p:nvCxnSpPr>
        <p:spPr>
          <a:xfrm flipH="1" rot="10800000">
            <a:off x="1746103" y="3301795"/>
            <a:ext cx="2082000" cy="179700"/>
          </a:xfrm>
          <a:prstGeom prst="curvedConnector3">
            <a:avLst>
              <a:gd fmla="val 50001" name="adj1"/>
            </a:avLst>
          </a:prstGeom>
          <a:noFill/>
          <a:ln cap="flat" cmpd="sng" w="19050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499" name="Google Shape;499;p10"/>
          <p:cNvCxnSpPr>
            <a:stCxn id="491" idx="3"/>
            <a:endCxn id="495" idx="1"/>
          </p:cNvCxnSpPr>
          <p:nvPr/>
        </p:nvCxnSpPr>
        <p:spPr>
          <a:xfrm flipH="1" rot="10800000">
            <a:off x="1605671" y="3301741"/>
            <a:ext cx="2222400" cy="937200"/>
          </a:xfrm>
          <a:prstGeom prst="curvedConnector3">
            <a:avLst>
              <a:gd fmla="val 50001" name="adj1"/>
            </a:avLst>
          </a:prstGeom>
          <a:noFill/>
          <a:ln cap="flat" cmpd="sng" w="19050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500" name="Google Shape;500;p10"/>
          <p:cNvCxnSpPr>
            <a:stCxn id="494" idx="3"/>
            <a:endCxn id="495" idx="1"/>
          </p:cNvCxnSpPr>
          <p:nvPr/>
        </p:nvCxnSpPr>
        <p:spPr>
          <a:xfrm flipH="1" rot="10800000">
            <a:off x="1781287" y="3301760"/>
            <a:ext cx="2046900" cy="1806300"/>
          </a:xfrm>
          <a:prstGeom prst="curvedConnector3">
            <a:avLst>
              <a:gd fmla="val 49998" name="adj1"/>
            </a:avLst>
          </a:prstGeom>
          <a:noFill/>
          <a:ln cap="flat" cmpd="sng" w="19050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sp>
        <p:nvSpPr>
          <p:cNvPr id="501" name="Google Shape;501;p10"/>
          <p:cNvSpPr txBox="1"/>
          <p:nvPr/>
        </p:nvSpPr>
        <p:spPr>
          <a:xfrm>
            <a:off x="299001" y="4705870"/>
            <a:ext cx="3150637" cy="2215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ustomer Support Ticket</a:t>
            </a:r>
            <a:endParaRPr/>
          </a:p>
        </p:txBody>
      </p:sp>
      <p:sp>
        <p:nvSpPr>
          <p:cNvPr id="502" name="Google Shape;502;p10"/>
          <p:cNvSpPr txBox="1"/>
          <p:nvPr/>
        </p:nvSpPr>
        <p:spPr>
          <a:xfrm>
            <a:off x="643639" y="3772012"/>
            <a:ext cx="3150637" cy="2215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l Software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506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7" name="Google Shape;507;p11"/>
          <p:cNvPicPr preferRelativeResize="0"/>
          <p:nvPr>
            <p:ph idx="2" type="pic"/>
          </p:nvPr>
        </p:nvPicPr>
        <p:blipFill rotWithShape="1">
          <a:blip r:embed="rId3">
            <a:alphaModFix/>
          </a:blip>
          <a:srcRect b="8123" l="0" r="0" t="812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508" name="Google Shape;508;p11"/>
          <p:cNvSpPr/>
          <p:nvPr/>
        </p:nvSpPr>
        <p:spPr>
          <a:xfrm>
            <a:off x="617" y="0"/>
            <a:ext cx="12191382" cy="6876000"/>
          </a:xfrm>
          <a:prstGeom prst="rect">
            <a:avLst/>
          </a:prstGeom>
          <a:gradFill>
            <a:gsLst>
              <a:gs pos="0">
                <a:srgbClr val="FF6600">
                  <a:alpha val="74901"/>
                </a:srgbClr>
              </a:gs>
              <a:gs pos="72000">
                <a:srgbClr val="5F83C5">
                  <a:alpha val="74901"/>
                </a:srgbClr>
              </a:gs>
              <a:gs pos="100000">
                <a:srgbClr val="5F83C5">
                  <a:alpha val="74901"/>
                </a:srgbClr>
              </a:gs>
            </a:gsLst>
            <a:lin ang="2700000" scaled="0"/>
          </a:gra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9" name="Google Shape;509;p11"/>
          <p:cNvSpPr txBox="1"/>
          <p:nvPr>
            <p:ph type="ctrTitle"/>
          </p:nvPr>
        </p:nvSpPr>
        <p:spPr>
          <a:xfrm>
            <a:off x="2160760" y="2923591"/>
            <a:ext cx="7870480" cy="743026"/>
          </a:xfrm>
          <a:prstGeom prst="rect">
            <a:avLst/>
          </a:prstGeom>
          <a:noFill/>
          <a:ln>
            <a:noFill/>
          </a:ln>
        </p:spPr>
        <p:txBody>
          <a:bodyPr anchorCtr="0" anchor="t" bIns="93600" lIns="180000" spcFirstLastPara="1" rIns="180000" wrap="square" tIns="93600">
            <a:sp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Arial"/>
              <a:buNone/>
            </a:pPr>
            <a:r>
              <a:rPr lang="en-US"/>
              <a:t>THANK YOU</a:t>
            </a:r>
            <a:endParaRPr/>
          </a:p>
        </p:txBody>
      </p:sp>
      <p:sp>
        <p:nvSpPr>
          <p:cNvPr id="510" name="Google Shape;510;p11"/>
          <p:cNvSpPr txBox="1"/>
          <p:nvPr>
            <p:ph idx="1" type="subTitle"/>
          </p:nvPr>
        </p:nvSpPr>
        <p:spPr>
          <a:xfrm>
            <a:off x="2530414" y="2475109"/>
            <a:ext cx="7108167" cy="404472"/>
          </a:xfrm>
          <a:prstGeom prst="rect">
            <a:avLst/>
          </a:prstGeom>
          <a:noFill/>
          <a:ln>
            <a:noFill/>
          </a:ln>
        </p:spPr>
        <p:txBody>
          <a:bodyPr anchorCtr="0" anchor="b" bIns="93600" lIns="180000" spcFirstLastPara="1" rIns="180000" wrap="square" tIns="93600">
            <a:sp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US"/>
              <a:t>Max Franke | Mariah Bastos</a:t>
            </a:r>
            <a:endParaRPr/>
          </a:p>
        </p:txBody>
      </p:sp>
      <p:grpSp>
        <p:nvGrpSpPr>
          <p:cNvPr id="511" name="Google Shape;511;p11"/>
          <p:cNvGrpSpPr/>
          <p:nvPr/>
        </p:nvGrpSpPr>
        <p:grpSpPr>
          <a:xfrm flipH="1" rot="10800000">
            <a:off x="309" y="2717321"/>
            <a:ext cx="12191383" cy="1017917"/>
            <a:chOff x="0" y="2717321"/>
            <a:chExt cx="9144000" cy="1017917"/>
          </a:xfrm>
        </p:grpSpPr>
        <p:cxnSp>
          <p:nvCxnSpPr>
            <p:cNvPr id="512" name="Google Shape;512;p11"/>
            <p:cNvCxnSpPr/>
            <p:nvPr/>
          </p:nvCxnSpPr>
          <p:spPr>
            <a:xfrm>
              <a:off x="0" y="3204712"/>
              <a:ext cx="1620570" cy="0"/>
            </a:xfrm>
            <a:prstGeom prst="straightConnector1">
              <a:avLst/>
            </a:prstGeom>
            <a:noFill/>
            <a:ln cap="flat" cmpd="sng" w="76200">
              <a:solidFill>
                <a:srgbClr val="FFFFFF"/>
              </a:solidFill>
              <a:prstDash val="solid"/>
              <a:miter lim="800000"/>
              <a:headEnd len="sm" w="sm" type="none"/>
              <a:tailEnd len="sm" w="sm" type="none"/>
            </a:ln>
          </p:spPr>
        </p:cxnSp>
        <p:sp>
          <p:nvSpPr>
            <p:cNvPr id="513" name="Google Shape;513;p11"/>
            <p:cNvSpPr/>
            <p:nvPr/>
          </p:nvSpPr>
          <p:spPr>
            <a:xfrm>
              <a:off x="1620570" y="2717321"/>
              <a:ext cx="5902860" cy="1017917"/>
            </a:xfrm>
            <a:custGeom>
              <a:rect b="b" l="l" r="r" t="t"/>
              <a:pathLst>
                <a:path extrusionOk="0" h="433" w="5756">
                  <a:moveTo>
                    <a:pt x="5457" y="433"/>
                  </a:moveTo>
                  <a:lnTo>
                    <a:pt x="5756" y="433"/>
                  </a:lnTo>
                  <a:lnTo>
                    <a:pt x="5756" y="0"/>
                  </a:lnTo>
                  <a:lnTo>
                    <a:pt x="0" y="0"/>
                  </a:lnTo>
                  <a:lnTo>
                    <a:pt x="0" y="433"/>
                  </a:lnTo>
                  <a:lnTo>
                    <a:pt x="299" y="433"/>
                  </a:lnTo>
                </a:path>
              </a:pathLst>
            </a:custGeom>
            <a:noFill/>
            <a:ln cap="flat" cmpd="sng" w="76200">
              <a:solidFill>
                <a:srgbClr val="FFFFFF"/>
              </a:solidFill>
              <a:prstDash val="solid"/>
              <a:miter lim="800000"/>
              <a:headEnd len="sm" w="sm" type="none"/>
              <a:tailEnd len="sm" w="sm" type="none"/>
            </a:ln>
          </p:spPr>
          <p:txBody>
            <a:bodyPr anchorCtr="0" anchor="ctr" bIns="46800" lIns="90000" spcFirstLastPara="1" rIns="90000" wrap="square" tIns="46800">
              <a:noAutofit/>
            </a:bodyPr>
            <a:lstStyle/>
            <a:p>
              <a:pPr indent="0" lvl="0" marL="0" marR="0" rtl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9599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14" name="Google Shape;514;p11"/>
            <p:cNvCxnSpPr/>
            <p:nvPr/>
          </p:nvCxnSpPr>
          <p:spPr>
            <a:xfrm>
              <a:off x="7523430" y="3226279"/>
              <a:ext cx="1620570" cy="0"/>
            </a:xfrm>
            <a:prstGeom prst="straightConnector1">
              <a:avLst/>
            </a:prstGeom>
            <a:noFill/>
            <a:ln cap="flat" cmpd="sng" w="76200">
              <a:solidFill>
                <a:srgbClr val="FFFFFF"/>
              </a:solidFill>
              <a:prstDash val="solid"/>
              <a:round/>
              <a:headEnd len="sm" w="sm" type="none"/>
              <a:tailEnd len="sm" w="sm" type="none"/>
            </a:ln>
          </p:spPr>
        </p:cxn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519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0" name="Google Shape;520;p12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520" name="Google Shape;520;p12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1" name="Google Shape;521;p12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Literature – eCommerce Performance</a:t>
            </a:r>
            <a:endParaRPr/>
          </a:p>
        </p:txBody>
      </p:sp>
      <p:sp>
        <p:nvSpPr>
          <p:cNvPr id="522" name="Google Shape;522;p12"/>
          <p:cNvSpPr txBox="1"/>
          <p:nvPr>
            <p:ph idx="1" type="body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-342900" lvl="0" marL="342900" rtl="0" algn="l">
              <a:spcBef>
                <a:spcPts val="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Performance Marketing [I. Kamps, D. Schetter], 2018</a:t>
            </a:r>
            <a:endParaRPr/>
          </a:p>
          <a:p>
            <a:pPr indent="-342900" lvl="0" marL="342900" rtl="0" algn="l">
              <a:spcBef>
                <a:spcPts val="1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Case Study: Social Data-Analyse [Bonduelle, talkwalker], 2018</a:t>
            </a:r>
            <a:endParaRPr/>
          </a:p>
          <a:p>
            <a:pPr indent="-342900" lvl="0" marL="342900" rtl="0" algn="l">
              <a:spcBef>
                <a:spcPts val="1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Whitepaper: KPIs im E-Commerce [dotsource], 2018</a:t>
            </a:r>
            <a:endParaRPr/>
          </a:p>
          <a:p>
            <a:pPr indent="-342900" lvl="0" marL="342900" rtl="0" algn="l">
              <a:spcBef>
                <a:spcPts val="1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Kennzahlenmodell zur Erfolgsbewertung des E-Commerce [C. Hienerth], 2007</a:t>
            </a:r>
            <a:endParaRPr/>
          </a:p>
          <a:p>
            <a:pPr indent="-342900" lvl="0" marL="342900" rtl="0" algn="l">
              <a:spcBef>
                <a:spcPts val="1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Trend Studie 2018 [Trakken], 2018</a:t>
            </a:r>
            <a:endParaRPr/>
          </a:p>
          <a:p>
            <a:pPr indent="-342900" lvl="0" marL="342900" rtl="0" algn="l">
              <a:spcBef>
                <a:spcPts val="1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Whitepaper: Search-Engine Advertising optimieren [dotsource], 2016</a:t>
            </a:r>
            <a:endParaRPr/>
          </a:p>
          <a:p>
            <a:pPr indent="-342900" lvl="0" marL="342900" rtl="0" algn="l">
              <a:spcBef>
                <a:spcPts val="1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en-US"/>
              <a:t>Google Analytics und Co [H. Haller, M. Hartwig], 2010</a:t>
            </a:r>
            <a:endParaRPr/>
          </a:p>
        </p:txBody>
      </p:sp>
      <p:sp>
        <p:nvSpPr>
          <p:cNvPr id="523" name="Google Shape;523;p12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t/>
            </a:r>
            <a:endParaRPr/>
          </a:p>
        </p:txBody>
      </p:sp>
      <p:pic>
        <p:nvPicPr>
          <p:cNvPr id="524" name="Google Shape;524;p12"/>
          <p:cNvPicPr preferRelativeResize="0"/>
          <p:nvPr/>
        </p:nvPicPr>
        <p:blipFill rotWithShape="1">
          <a:blip r:embed="rId7">
            <a:alphaModFix/>
          </a:blip>
          <a:srcRect b="0" l="0" r="0" t="0"/>
          <a:stretch/>
        </p:blipFill>
        <p:spPr>
          <a:xfrm>
            <a:off x="5183094" y="1246226"/>
            <a:ext cx="468052" cy="668155"/>
          </a:xfrm>
          <a:prstGeom prst="rect">
            <a:avLst/>
          </a:prstGeom>
          <a:noFill/>
          <a:ln>
            <a:noFill/>
          </a:ln>
        </p:spPr>
      </p:pic>
      <p:pic>
        <p:nvPicPr>
          <p:cNvPr id="525" name="Google Shape;525;p12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6023992" y="1771575"/>
            <a:ext cx="653592" cy="605329"/>
          </a:xfrm>
          <a:prstGeom prst="rect">
            <a:avLst/>
          </a:prstGeom>
          <a:noFill/>
          <a:ln>
            <a:noFill/>
          </a:ln>
        </p:spPr>
      </p:pic>
      <p:pic>
        <p:nvPicPr>
          <p:cNvPr id="526" name="Google Shape;526;p12"/>
          <p:cNvPicPr preferRelativeResize="0"/>
          <p:nvPr/>
        </p:nvPicPr>
        <p:blipFill rotWithShape="1">
          <a:blip r:embed="rId9">
            <a:alphaModFix/>
          </a:blip>
          <a:srcRect b="0" l="0" r="0" t="0"/>
          <a:stretch/>
        </p:blipFill>
        <p:spPr>
          <a:xfrm>
            <a:off x="5147090" y="2376904"/>
            <a:ext cx="504056" cy="504794"/>
          </a:xfrm>
          <a:prstGeom prst="rect">
            <a:avLst/>
          </a:prstGeom>
          <a:noFill/>
          <a:ln>
            <a:noFill/>
          </a:ln>
        </p:spPr>
      </p:pic>
      <p:pic>
        <p:nvPicPr>
          <p:cNvPr id="527" name="Google Shape;527;p12"/>
          <p:cNvPicPr preferRelativeResize="0"/>
          <p:nvPr/>
        </p:nvPicPr>
        <p:blipFill rotWithShape="1">
          <a:blip r:embed="rId10">
            <a:alphaModFix/>
          </a:blip>
          <a:srcRect b="0" l="0" r="0" t="0"/>
          <a:stretch/>
        </p:blipFill>
        <p:spPr>
          <a:xfrm>
            <a:off x="7257641" y="2742445"/>
            <a:ext cx="451200" cy="638032"/>
          </a:xfrm>
          <a:prstGeom prst="rect">
            <a:avLst/>
          </a:prstGeom>
          <a:noFill/>
          <a:ln>
            <a:noFill/>
          </a:ln>
        </p:spPr>
      </p:pic>
      <p:pic>
        <p:nvPicPr>
          <p:cNvPr id="528" name="Google Shape;528;p12"/>
          <p:cNvPicPr preferRelativeResize="0"/>
          <p:nvPr/>
        </p:nvPicPr>
        <p:blipFill rotWithShape="1">
          <a:blip r:embed="rId11">
            <a:alphaModFix/>
          </a:blip>
          <a:srcRect b="0" l="0" r="0" t="0"/>
          <a:stretch/>
        </p:blipFill>
        <p:spPr>
          <a:xfrm>
            <a:off x="3647728" y="3284984"/>
            <a:ext cx="406316" cy="5780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29" name="Google Shape;529;p12"/>
          <p:cNvPicPr preferRelativeResize="0"/>
          <p:nvPr/>
        </p:nvPicPr>
        <p:blipFill rotWithShape="1">
          <a:blip r:embed="rId12">
            <a:alphaModFix/>
          </a:blip>
          <a:srcRect b="0" l="0" r="0" t="0"/>
          <a:stretch/>
        </p:blipFill>
        <p:spPr>
          <a:xfrm>
            <a:off x="6492044" y="3788803"/>
            <a:ext cx="479357" cy="4785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30" name="Google Shape;530;p12"/>
          <p:cNvPicPr preferRelativeResize="0"/>
          <p:nvPr/>
        </p:nvPicPr>
        <p:blipFill rotWithShape="1">
          <a:blip r:embed="rId13">
            <a:alphaModFix/>
          </a:blip>
          <a:srcRect b="0" l="0" r="0" t="0"/>
          <a:stretch/>
        </p:blipFill>
        <p:spPr>
          <a:xfrm>
            <a:off x="5200896" y="4184670"/>
            <a:ext cx="396444" cy="584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64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2"/>
          <p:cNvSpPr/>
          <p:nvPr/>
        </p:nvSpPr>
        <p:spPr>
          <a:xfrm>
            <a:off x="0" y="2656484"/>
            <a:ext cx="11855999" cy="359073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00">
              <a:solidFill>
                <a:srgbClr val="4B556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0" y="3213943"/>
            <a:ext cx="11855999" cy="359073"/>
          </a:xfrm>
          <a:prstGeom prst="rect">
            <a:avLst/>
          </a:prstGeom>
          <a:solidFill>
            <a:srgbClr val="D4B483"/>
          </a:solidFill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00">
              <a:solidFill>
                <a:srgbClr val="4B556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2"/>
          <p:cNvSpPr/>
          <p:nvPr/>
        </p:nvSpPr>
        <p:spPr>
          <a:xfrm>
            <a:off x="2906" y="2106910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00">
              <a:solidFill>
                <a:srgbClr val="4B556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68;p2"/>
          <p:cNvSpPr/>
          <p:nvPr/>
        </p:nvSpPr>
        <p:spPr>
          <a:xfrm>
            <a:off x="844000" y="3206057"/>
            <a:ext cx="2522358" cy="359073"/>
          </a:xfrm>
          <a:prstGeom prst="rect">
            <a:avLst/>
          </a:prstGeom>
          <a:noFill/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base &amp; SQL</a:t>
            </a:r>
            <a:endParaRPr/>
          </a:p>
        </p:txBody>
      </p:sp>
      <p:sp>
        <p:nvSpPr>
          <p:cNvPr id="69" name="Google Shape;69;p2"/>
          <p:cNvSpPr/>
          <p:nvPr/>
        </p:nvSpPr>
        <p:spPr>
          <a:xfrm>
            <a:off x="336000" y="3206057"/>
            <a:ext cx="508000" cy="359073"/>
          </a:xfrm>
          <a:prstGeom prst="rect">
            <a:avLst/>
          </a:prstGeom>
          <a:noFill/>
          <a:ln>
            <a:noFill/>
          </a:ln>
        </p:spPr>
        <p:txBody>
          <a:bodyPr anchorCtr="0" anchor="ctr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/>
          </a:p>
        </p:txBody>
      </p:sp>
      <p:sp>
        <p:nvSpPr>
          <p:cNvPr id="70" name="Google Shape;70;p2"/>
          <p:cNvSpPr/>
          <p:nvPr/>
        </p:nvSpPr>
        <p:spPr>
          <a:xfrm>
            <a:off x="844000" y="2656475"/>
            <a:ext cx="6512100" cy="359100"/>
          </a:xfrm>
          <a:prstGeom prst="rect">
            <a:avLst/>
          </a:prstGeom>
          <a:noFill/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finition of the KPI’s for an Online Shop</a:t>
            </a:r>
            <a:endParaRPr/>
          </a:p>
        </p:txBody>
      </p:sp>
      <p:sp>
        <p:nvSpPr>
          <p:cNvPr id="71" name="Google Shape;71;p2"/>
          <p:cNvSpPr/>
          <p:nvPr/>
        </p:nvSpPr>
        <p:spPr>
          <a:xfrm>
            <a:off x="336000" y="2656484"/>
            <a:ext cx="508000" cy="359073"/>
          </a:xfrm>
          <a:prstGeom prst="rect">
            <a:avLst/>
          </a:prstGeom>
          <a:noFill/>
          <a:ln>
            <a:noFill/>
          </a:ln>
        </p:spPr>
        <p:txBody>
          <a:bodyPr anchorCtr="0" anchor="ctr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sp>
        <p:nvSpPr>
          <p:cNvPr id="72" name="Google Shape;72;p2">
            <a:hlinkClick action="ppaction://hlinksldjump" r:id="rId4"/>
          </p:cNvPr>
          <p:cNvSpPr/>
          <p:nvPr/>
        </p:nvSpPr>
        <p:spPr>
          <a:xfrm>
            <a:off x="844000" y="2106911"/>
            <a:ext cx="6512140" cy="359073"/>
          </a:xfrm>
          <a:prstGeom prst="rect">
            <a:avLst/>
          </a:prstGeom>
          <a:noFill/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uilding a database - 6 steps to Business Intelligence</a:t>
            </a: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73;p2">
            <a:hlinkClick action="ppaction://hlinksldjump" r:id="rId5"/>
          </p:cNvPr>
          <p:cNvSpPr/>
          <p:nvPr/>
        </p:nvSpPr>
        <p:spPr>
          <a:xfrm>
            <a:off x="336000" y="2106911"/>
            <a:ext cx="508000" cy="359073"/>
          </a:xfrm>
          <a:prstGeom prst="rect">
            <a:avLst/>
          </a:prstGeom>
          <a:noFill/>
          <a:ln>
            <a:noFill/>
          </a:ln>
        </p:spPr>
        <p:txBody>
          <a:bodyPr anchorCtr="0" anchor="ctr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74" name="Google Shape;74;p2"/>
          <p:cNvSpPr/>
          <p:nvPr/>
        </p:nvSpPr>
        <p:spPr>
          <a:xfrm>
            <a:off x="0" y="1557338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00">
              <a:solidFill>
                <a:srgbClr val="4B556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2">
            <a:hlinkClick action="ppaction://hlinksldjump" r:id="rId6"/>
          </p:cNvPr>
          <p:cNvSpPr/>
          <p:nvPr/>
        </p:nvSpPr>
        <p:spPr>
          <a:xfrm>
            <a:off x="844000" y="1557288"/>
            <a:ext cx="4296600" cy="359100"/>
          </a:xfrm>
          <a:prstGeom prst="rect">
            <a:avLst/>
          </a:prstGeom>
          <a:noFill/>
          <a:ln>
            <a:noFill/>
          </a:ln>
        </p:spPr>
        <p:txBody>
          <a:bodyPr anchorCtr="0" anchor="t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itial situation in the </a:t>
            </a:r>
            <a:r>
              <a:rPr lang="en-US" sz="1600">
                <a:solidFill>
                  <a:srgbClr val="FFFFFF"/>
                </a:solidFill>
              </a:rPr>
              <a:t>company</a:t>
            </a:r>
            <a:endParaRPr/>
          </a:p>
        </p:txBody>
      </p:sp>
      <p:sp>
        <p:nvSpPr>
          <p:cNvPr id="76" name="Google Shape;76;p2">
            <a:hlinkClick action="ppaction://hlinksldjump" r:id="rId7"/>
          </p:cNvPr>
          <p:cNvSpPr/>
          <p:nvPr/>
        </p:nvSpPr>
        <p:spPr>
          <a:xfrm>
            <a:off x="336000" y="1557338"/>
            <a:ext cx="508000" cy="359073"/>
          </a:xfrm>
          <a:prstGeom prst="rect">
            <a:avLst/>
          </a:prstGeom>
          <a:noFill/>
          <a:ln>
            <a:noFill/>
          </a:ln>
        </p:spPr>
        <p:txBody>
          <a:bodyPr anchorCtr="0" anchor="ctr" bIns="55875" lIns="0" spcFirstLastPara="1" rIns="0" wrap="square" tIns="55875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/>
          </a:p>
        </p:txBody>
      </p:sp>
      <p:sp>
        <p:nvSpPr>
          <p:cNvPr id="77" name="Google Shape;77;p2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Agenda</a:t>
            </a:r>
            <a:endParaRPr/>
          </a:p>
        </p:txBody>
      </p:sp>
      <p:graphicFrame>
        <p:nvGraphicFramePr>
          <p:cNvPr id="78" name="Google Shape;78;p2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8" imgH="1588" imgW="1588" progId="TCLayout.ActiveDocument.1" spid="_x0000_s1">
                  <p:embed/>
                </p:oleObj>
              </mc:Choice>
              <mc:Fallback>
                <p:oleObj r:id="rId9" imgH="1588" imgW="1588" progId="TCLayout.ActiveDocument.1">
                  <p:embed/>
                  <p:pic>
                    <p:nvPicPr>
                      <p:cNvPr id="78" name="Google Shape;78;p2"/>
                      <p:cNvPicPr preferRelativeResize="0"/>
                      <p:nvPr/>
                    </p:nvPicPr>
                    <p:blipFill rotWithShape="1">
                      <a:blip r:embed="rId10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82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Initial situation in the company</a:t>
            </a:r>
            <a:endParaRPr/>
          </a:p>
        </p:txBody>
      </p:sp>
      <p:pic>
        <p:nvPicPr>
          <p:cNvPr id="84" name="Google Shape;84;p3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 rot="10800000">
            <a:off x="1" y="1556792"/>
            <a:ext cx="12191999" cy="97026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3"/>
          <p:cNvSpPr txBox="1"/>
          <p:nvPr/>
        </p:nvSpPr>
        <p:spPr>
          <a:xfrm>
            <a:off x="0" y="1340768"/>
            <a:ext cx="5951984" cy="287242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efore the project (without an Online Shop)</a:t>
            </a:r>
            <a:endParaRPr/>
          </a:p>
        </p:txBody>
      </p:sp>
      <p:sp>
        <p:nvSpPr>
          <p:cNvPr id="86" name="Google Shape;86;p3"/>
          <p:cNvSpPr txBox="1"/>
          <p:nvPr/>
        </p:nvSpPr>
        <p:spPr>
          <a:xfrm>
            <a:off x="6240016" y="1340768"/>
            <a:ext cx="5951984" cy="287242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After the project (Aim of the Project)</a:t>
            </a:r>
            <a:endParaRPr/>
          </a:p>
        </p:txBody>
      </p:sp>
      <p:grpSp>
        <p:nvGrpSpPr>
          <p:cNvPr id="87" name="Google Shape;87;p3"/>
          <p:cNvGrpSpPr/>
          <p:nvPr/>
        </p:nvGrpSpPr>
        <p:grpSpPr>
          <a:xfrm>
            <a:off x="1063899" y="4465263"/>
            <a:ext cx="2628292" cy="1718265"/>
            <a:chOff x="395536" y="1718241"/>
            <a:chExt cx="5040000" cy="3294935"/>
          </a:xfrm>
        </p:grpSpPr>
        <p:sp>
          <p:nvSpPr>
            <p:cNvPr id="88" name="Google Shape;88;p3"/>
            <p:cNvSpPr/>
            <p:nvPr/>
          </p:nvSpPr>
          <p:spPr>
            <a:xfrm>
              <a:off x="775199" y="1718241"/>
              <a:ext cx="628133" cy="466157"/>
            </a:xfrm>
            <a:custGeom>
              <a:rect b="b" l="l" r="r" t="t"/>
              <a:pathLst>
                <a:path extrusionOk="0" h="190" w="257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solidFill>
              <a:schemeClr val="accent3"/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89;p3"/>
            <p:cNvSpPr/>
            <p:nvPr/>
          </p:nvSpPr>
          <p:spPr>
            <a:xfrm>
              <a:off x="1713054" y="3359917"/>
              <a:ext cx="659974" cy="677517"/>
            </a:xfrm>
            <a:custGeom>
              <a:rect b="b" l="l" r="r" t="t"/>
              <a:pathLst>
                <a:path extrusionOk="0" h="234" w="228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90;p3"/>
            <p:cNvSpPr/>
            <p:nvPr/>
          </p:nvSpPr>
          <p:spPr>
            <a:xfrm>
              <a:off x="1959093" y="3487314"/>
              <a:ext cx="1308369" cy="1291337"/>
            </a:xfrm>
            <a:custGeom>
              <a:rect b="b" l="l" r="r" t="t"/>
              <a:pathLst>
                <a:path extrusionOk="0" h="446" w="452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solidFill>
              <a:schemeClr val="accent3"/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91;p3"/>
            <p:cNvSpPr/>
            <p:nvPr/>
          </p:nvSpPr>
          <p:spPr>
            <a:xfrm>
              <a:off x="1177548" y="3278845"/>
              <a:ext cx="633921" cy="747006"/>
            </a:xfrm>
            <a:custGeom>
              <a:rect b="b" l="l" r="r" t="t"/>
              <a:pathLst>
                <a:path extrusionOk="0" h="304" w="259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92;p3"/>
            <p:cNvSpPr/>
            <p:nvPr/>
          </p:nvSpPr>
          <p:spPr>
            <a:xfrm>
              <a:off x="534942" y="2473933"/>
              <a:ext cx="743917" cy="1288442"/>
            </a:xfrm>
            <a:custGeom>
              <a:rect b="b" l="l" r="r" t="t"/>
              <a:pathLst>
                <a:path extrusionOk="0" h="445" w="257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solidFill>
              <a:schemeClr val="accent2"/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93;p3"/>
            <p:cNvSpPr/>
            <p:nvPr/>
          </p:nvSpPr>
          <p:spPr>
            <a:xfrm>
              <a:off x="2361450" y="3426512"/>
              <a:ext cx="813388" cy="437204"/>
            </a:xfrm>
            <a:custGeom>
              <a:rect b="b" l="l" r="r" t="t"/>
              <a:pathLst>
                <a:path extrusionOk="0" h="178" w="332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94;p3"/>
            <p:cNvSpPr/>
            <p:nvPr/>
          </p:nvSpPr>
          <p:spPr>
            <a:xfrm>
              <a:off x="2465654" y="3073276"/>
              <a:ext cx="688919" cy="382191"/>
            </a:xfrm>
            <a:custGeom>
              <a:rect b="b" l="l" r="r" t="t"/>
              <a:pathLst>
                <a:path extrusionOk="0" h="156" w="282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95;p3"/>
            <p:cNvSpPr/>
            <p:nvPr/>
          </p:nvSpPr>
          <p:spPr>
            <a:xfrm>
              <a:off x="2320925" y="2708459"/>
              <a:ext cx="767074" cy="387982"/>
            </a:xfrm>
            <a:custGeom>
              <a:rect b="b" l="l" r="r" t="t"/>
              <a:pathLst>
                <a:path extrusionOk="0" h="158" w="313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96;p3"/>
            <p:cNvSpPr/>
            <p:nvPr/>
          </p:nvSpPr>
          <p:spPr>
            <a:xfrm>
              <a:off x="2344080" y="2361014"/>
              <a:ext cx="659974" cy="440098"/>
            </a:xfrm>
            <a:custGeom>
              <a:rect b="b" l="l" r="r" t="t"/>
              <a:pathLst>
                <a:path extrusionOk="0" h="180" w="269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97;p3"/>
            <p:cNvSpPr/>
            <p:nvPr/>
          </p:nvSpPr>
          <p:spPr>
            <a:xfrm>
              <a:off x="1707265" y="2392861"/>
              <a:ext cx="662868" cy="547226"/>
            </a:xfrm>
            <a:custGeom>
              <a:rect b="b" l="l" r="r" t="t"/>
              <a:pathLst>
                <a:path extrusionOk="0" h="189" w="22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98;p3"/>
            <p:cNvSpPr/>
            <p:nvPr/>
          </p:nvSpPr>
          <p:spPr>
            <a:xfrm>
              <a:off x="2378816" y="1999091"/>
              <a:ext cx="616554" cy="396669"/>
            </a:xfrm>
            <a:custGeom>
              <a:rect b="b" l="l" r="r" t="t"/>
              <a:pathLst>
                <a:path extrusionOk="0" h="162" w="251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99;p3"/>
            <p:cNvSpPr/>
            <p:nvPr/>
          </p:nvSpPr>
          <p:spPr>
            <a:xfrm>
              <a:off x="1811472" y="2890868"/>
              <a:ext cx="688919" cy="541436"/>
            </a:xfrm>
            <a:custGeom>
              <a:rect b="b" l="l" r="r" t="t"/>
              <a:pathLst>
                <a:path extrusionOk="0" h="221" w="28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00;p3"/>
            <p:cNvSpPr/>
            <p:nvPr/>
          </p:nvSpPr>
          <p:spPr>
            <a:xfrm>
              <a:off x="1354122" y="2696877"/>
              <a:ext cx="529715" cy="663042"/>
            </a:xfrm>
            <a:custGeom>
              <a:rect b="b" l="l" r="r" t="t"/>
              <a:pathLst>
                <a:path extrusionOk="0" h="229" w="183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101;p3"/>
            <p:cNvSpPr/>
            <p:nvPr/>
          </p:nvSpPr>
          <p:spPr>
            <a:xfrm>
              <a:off x="859141" y="2575272"/>
              <a:ext cx="607871" cy="920728"/>
            </a:xfrm>
            <a:custGeom>
              <a:rect b="b" l="l" r="r" t="t"/>
              <a:pathLst>
                <a:path extrusionOk="0" h="375" w="248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02;p3"/>
            <p:cNvSpPr/>
            <p:nvPr/>
          </p:nvSpPr>
          <p:spPr>
            <a:xfrm>
              <a:off x="601521" y="2001986"/>
              <a:ext cx="755495" cy="639878"/>
            </a:xfrm>
            <a:custGeom>
              <a:rect b="b" l="l" r="r" t="t"/>
              <a:pathLst>
                <a:path extrusionOk="0" h="261" w="308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103;p3"/>
            <p:cNvSpPr/>
            <p:nvPr/>
          </p:nvSpPr>
          <p:spPr>
            <a:xfrm>
              <a:off x="1218072" y="1831160"/>
              <a:ext cx="558661" cy="914937"/>
            </a:xfrm>
            <a:custGeom>
              <a:rect b="b" l="l" r="r" t="t"/>
              <a:pathLst>
                <a:path extrusionOk="0" h="373" w="228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104;p3"/>
            <p:cNvSpPr/>
            <p:nvPr/>
          </p:nvSpPr>
          <p:spPr>
            <a:xfrm>
              <a:off x="1455432" y="1851427"/>
              <a:ext cx="958119" cy="619611"/>
            </a:xfrm>
            <a:custGeom>
              <a:rect b="b" l="l" r="r" t="t"/>
              <a:pathLst>
                <a:path extrusionOk="0" h="252" w="391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105;p3"/>
            <p:cNvSpPr/>
            <p:nvPr/>
          </p:nvSpPr>
          <p:spPr>
            <a:xfrm>
              <a:off x="5096865" y="1926709"/>
              <a:ext cx="338671" cy="541436"/>
            </a:xfrm>
            <a:custGeom>
              <a:rect b="b" l="l" r="r" t="t"/>
              <a:pathLst>
                <a:path extrusionOk="0" h="187" w="11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" name="Google Shape;106;p3"/>
            <p:cNvSpPr/>
            <p:nvPr/>
          </p:nvSpPr>
          <p:spPr>
            <a:xfrm>
              <a:off x="4445576" y="2297317"/>
              <a:ext cx="700498" cy="515377"/>
            </a:xfrm>
            <a:custGeom>
              <a:rect b="b" l="l" r="r" t="t"/>
              <a:pathLst>
                <a:path extrusionOk="0" h="178" w="242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1"/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107;p3"/>
            <p:cNvSpPr/>
            <p:nvPr/>
          </p:nvSpPr>
          <p:spPr>
            <a:xfrm>
              <a:off x="4917400" y="2262572"/>
              <a:ext cx="162100" cy="292433"/>
            </a:xfrm>
            <a:custGeom>
              <a:rect b="b" l="l" r="r" t="t"/>
              <a:pathLst>
                <a:path extrusionOk="0" h="101" w="56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08;p3"/>
            <p:cNvSpPr/>
            <p:nvPr/>
          </p:nvSpPr>
          <p:spPr>
            <a:xfrm>
              <a:off x="5044760" y="2224931"/>
              <a:ext cx="144732" cy="321387"/>
            </a:xfrm>
            <a:custGeom>
              <a:rect b="b" l="l" r="r" t="t"/>
              <a:pathLst>
                <a:path extrusionOk="0" h="111" w="50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109;p3"/>
            <p:cNvSpPr/>
            <p:nvPr/>
          </p:nvSpPr>
          <p:spPr>
            <a:xfrm>
              <a:off x="4989764" y="2615806"/>
              <a:ext cx="162100" cy="147665"/>
            </a:xfrm>
            <a:custGeom>
              <a:rect b="b" l="l" r="r" t="t"/>
              <a:pathLst>
                <a:path extrusionOk="0" h="51" w="56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110;p3"/>
            <p:cNvSpPr/>
            <p:nvPr/>
          </p:nvSpPr>
          <p:spPr>
            <a:xfrm>
              <a:off x="5134497" y="2601329"/>
              <a:ext cx="69471" cy="89757"/>
            </a:xfrm>
            <a:custGeom>
              <a:rect b="b" l="l" r="r" t="t"/>
              <a:pathLst>
                <a:path extrusionOk="0" h="31" w="24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11;p3"/>
            <p:cNvSpPr/>
            <p:nvPr/>
          </p:nvSpPr>
          <p:spPr>
            <a:xfrm>
              <a:off x="4989764" y="2497095"/>
              <a:ext cx="315513" cy="159247"/>
            </a:xfrm>
            <a:custGeom>
              <a:rect b="b" l="l" r="r" t="t"/>
              <a:pathLst>
                <a:path extrusionOk="0" h="55" w="109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112;p3"/>
            <p:cNvSpPr/>
            <p:nvPr/>
          </p:nvSpPr>
          <p:spPr>
            <a:xfrm>
              <a:off x="5232914" y="2644759"/>
              <a:ext cx="28945" cy="20270"/>
            </a:xfrm>
            <a:custGeom>
              <a:rect b="b" l="l" r="r" t="t"/>
              <a:pathLst>
                <a:path extrusionOk="0" h="9" w="12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113;p3"/>
            <p:cNvSpPr/>
            <p:nvPr/>
          </p:nvSpPr>
          <p:spPr>
            <a:xfrm>
              <a:off x="4868192" y="2754786"/>
              <a:ext cx="121573" cy="272164"/>
            </a:xfrm>
            <a:custGeom>
              <a:rect b="b" l="l" r="r" t="t"/>
              <a:pathLst>
                <a:path extrusionOk="0" h="94" w="42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114;p3"/>
            <p:cNvSpPr/>
            <p:nvPr/>
          </p:nvSpPr>
          <p:spPr>
            <a:xfrm>
              <a:off x="4845036" y="2942984"/>
              <a:ext cx="95521" cy="156350"/>
            </a:xfrm>
            <a:custGeom>
              <a:rect b="b" l="l" r="r" t="t"/>
              <a:pathLst>
                <a:path extrusionOk="0" h="54" w="33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115;p3"/>
            <p:cNvSpPr/>
            <p:nvPr/>
          </p:nvSpPr>
          <p:spPr>
            <a:xfrm>
              <a:off x="4381896" y="2682398"/>
              <a:ext cx="544188" cy="353236"/>
            </a:xfrm>
            <a:custGeom>
              <a:rect b="b" l="l" r="r" t="t"/>
              <a:pathLst>
                <a:path extrusionOk="0" h="122" w="188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116;p3"/>
            <p:cNvSpPr/>
            <p:nvPr/>
          </p:nvSpPr>
          <p:spPr>
            <a:xfrm>
              <a:off x="3872443" y="4098239"/>
              <a:ext cx="842333" cy="660146"/>
            </a:xfrm>
            <a:custGeom>
              <a:rect b="b" l="l" r="r" t="t"/>
              <a:pathLst>
                <a:path extrusionOk="0" h="228" w="291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accent2"/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117;p3"/>
            <p:cNvSpPr/>
            <p:nvPr/>
          </p:nvSpPr>
          <p:spPr>
            <a:xfrm>
              <a:off x="3218258" y="3924514"/>
              <a:ext cx="526821" cy="466157"/>
            </a:xfrm>
            <a:custGeom>
              <a:rect b="b" l="l" r="r" t="t"/>
              <a:pathLst>
                <a:path extrusionOk="0" h="161" w="182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" name="Google Shape;118;p3"/>
            <p:cNvSpPr/>
            <p:nvPr/>
          </p:nvSpPr>
          <p:spPr>
            <a:xfrm>
              <a:off x="3154575" y="3507582"/>
              <a:ext cx="471823" cy="425622"/>
            </a:xfrm>
            <a:custGeom>
              <a:rect b="b" l="l" r="r" t="t"/>
              <a:pathLst>
                <a:path extrusionOk="0" h="147" w="163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" name="Google Shape;119;p3"/>
            <p:cNvSpPr/>
            <p:nvPr/>
          </p:nvSpPr>
          <p:spPr>
            <a:xfrm>
              <a:off x="3577191" y="3420721"/>
              <a:ext cx="798915" cy="260582"/>
            </a:xfrm>
            <a:custGeom>
              <a:rect b="b" l="l" r="r" t="t"/>
              <a:pathLst>
                <a:path extrusionOk="0" h="107" w="326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" name="Google Shape;120;p3"/>
            <p:cNvSpPr/>
            <p:nvPr/>
          </p:nvSpPr>
          <p:spPr>
            <a:xfrm>
              <a:off x="4144538" y="3333858"/>
              <a:ext cx="798915" cy="353236"/>
            </a:xfrm>
            <a:custGeom>
              <a:rect b="b" l="l" r="r" t="t"/>
              <a:pathLst>
                <a:path extrusionOk="0" h="144" w="326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121;p3"/>
            <p:cNvSpPr/>
            <p:nvPr/>
          </p:nvSpPr>
          <p:spPr>
            <a:xfrm>
              <a:off x="4028752" y="3623397"/>
              <a:ext cx="492086" cy="529856"/>
            </a:xfrm>
            <a:custGeom>
              <a:rect b="b" l="l" r="r" t="t"/>
              <a:pathLst>
                <a:path extrusionOk="0" h="216" w="201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22;p3"/>
            <p:cNvSpPr/>
            <p:nvPr/>
          </p:nvSpPr>
          <p:spPr>
            <a:xfrm>
              <a:off x="4190851" y="3035636"/>
              <a:ext cx="717867" cy="402457"/>
            </a:xfrm>
            <a:custGeom>
              <a:rect b="b" l="l" r="r" t="t"/>
              <a:pathLst>
                <a:path extrusionOk="0" h="139" w="248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123;p3"/>
            <p:cNvSpPr/>
            <p:nvPr/>
          </p:nvSpPr>
          <p:spPr>
            <a:xfrm>
              <a:off x="4254532" y="3579966"/>
              <a:ext cx="463140" cy="359027"/>
            </a:xfrm>
            <a:custGeom>
              <a:rect b="b" l="l" r="r" t="t"/>
              <a:pathLst>
                <a:path extrusionOk="0" h="147" w="189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124;p3"/>
            <p:cNvSpPr/>
            <p:nvPr/>
          </p:nvSpPr>
          <p:spPr>
            <a:xfrm>
              <a:off x="3776919" y="3646559"/>
              <a:ext cx="364723" cy="584865"/>
            </a:xfrm>
            <a:custGeom>
              <a:rect b="b" l="l" r="r" t="t"/>
              <a:pathLst>
                <a:path extrusionOk="0" h="202" w="126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125;p3"/>
            <p:cNvSpPr/>
            <p:nvPr/>
          </p:nvSpPr>
          <p:spPr>
            <a:xfrm>
              <a:off x="3458510" y="3666827"/>
              <a:ext cx="335777" cy="587761"/>
            </a:xfrm>
            <a:custGeom>
              <a:rect b="b" l="l" r="r" t="t"/>
              <a:pathLst>
                <a:path extrusionOk="0" h="203" w="116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126;p3"/>
            <p:cNvSpPr/>
            <p:nvPr/>
          </p:nvSpPr>
          <p:spPr>
            <a:xfrm>
              <a:off x="4517942" y="2957460"/>
              <a:ext cx="416826" cy="304015"/>
            </a:xfrm>
            <a:custGeom>
              <a:rect b="b" l="l" r="r" t="t"/>
              <a:pathLst>
                <a:path extrusionOk="0" h="123" w="170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127;p3"/>
            <p:cNvSpPr/>
            <p:nvPr/>
          </p:nvSpPr>
          <p:spPr>
            <a:xfrm>
              <a:off x="4263213" y="2922716"/>
              <a:ext cx="428405" cy="422725"/>
            </a:xfrm>
            <a:custGeom>
              <a:rect b="b" l="l" r="r" t="t"/>
              <a:pathLst>
                <a:path extrusionOk="0" h="146" w="148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" name="Google Shape;128;p3"/>
            <p:cNvSpPr/>
            <p:nvPr/>
          </p:nvSpPr>
          <p:spPr>
            <a:xfrm>
              <a:off x="3635081" y="3148555"/>
              <a:ext cx="683130" cy="353236"/>
            </a:xfrm>
            <a:custGeom>
              <a:rect b="b" l="l" r="r" t="t"/>
              <a:pathLst>
                <a:path extrusionOk="0" h="122" w="236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" name="Google Shape;129;p3"/>
            <p:cNvSpPr/>
            <p:nvPr/>
          </p:nvSpPr>
          <p:spPr>
            <a:xfrm>
              <a:off x="3053261" y="3024054"/>
              <a:ext cx="622344" cy="541436"/>
            </a:xfrm>
            <a:custGeom>
              <a:rect b="b" l="l" r="r" t="t"/>
              <a:pathLst>
                <a:path extrusionOk="0" h="221" w="254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" name="Google Shape;130;p3"/>
            <p:cNvSpPr/>
            <p:nvPr/>
          </p:nvSpPr>
          <p:spPr>
            <a:xfrm>
              <a:off x="2943265" y="1984614"/>
              <a:ext cx="602081" cy="700681"/>
            </a:xfrm>
            <a:custGeom>
              <a:rect b="b" l="l" r="r" t="t"/>
              <a:pathLst>
                <a:path extrusionOk="0" h="242" w="208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31" name="Google Shape;131;p3"/>
            <p:cNvCxnSpPr/>
            <p:nvPr/>
          </p:nvCxnSpPr>
          <p:spPr>
            <a:xfrm>
              <a:off x="3354303" y="2317582"/>
              <a:ext cx="0" cy="0"/>
            </a:xfrm>
            <a:prstGeom prst="straightConnector1">
              <a:avLst/>
            </a:pr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med" w="med" type="none"/>
              <a:tailEnd len="med" w="med" type="none"/>
            </a:ln>
          </p:spPr>
        </p:cxnSp>
        <p:cxnSp>
          <p:nvCxnSpPr>
            <p:cNvPr id="132" name="Google Shape;132;p3"/>
            <p:cNvCxnSpPr/>
            <p:nvPr/>
          </p:nvCxnSpPr>
          <p:spPr>
            <a:xfrm>
              <a:off x="3354303" y="2317582"/>
              <a:ext cx="0" cy="0"/>
            </a:xfrm>
            <a:prstGeom prst="straightConnector1">
              <a:avLst/>
            </a:pr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med" w="med" type="none"/>
              <a:tailEnd len="med" w="med" type="none"/>
            </a:ln>
          </p:spPr>
        </p:cxnSp>
        <p:sp>
          <p:nvSpPr>
            <p:cNvPr id="133" name="Google Shape;133;p3"/>
            <p:cNvSpPr/>
            <p:nvPr/>
          </p:nvSpPr>
          <p:spPr>
            <a:xfrm>
              <a:off x="3496141" y="2190187"/>
              <a:ext cx="703392" cy="663042"/>
            </a:xfrm>
            <a:custGeom>
              <a:rect b="b" l="l" r="r" t="t"/>
              <a:pathLst>
                <a:path extrusionOk="0" h="270" w="287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" name="Google Shape;134;p3"/>
            <p:cNvSpPr/>
            <p:nvPr/>
          </p:nvSpPr>
          <p:spPr>
            <a:xfrm>
              <a:off x="3296411" y="2268361"/>
              <a:ext cx="492086" cy="524064"/>
            </a:xfrm>
            <a:custGeom>
              <a:rect b="b" l="l" r="r" t="t"/>
              <a:pathLst>
                <a:path extrusionOk="0" h="213" w="201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" name="Google Shape;135;p3"/>
            <p:cNvSpPr/>
            <p:nvPr/>
          </p:nvSpPr>
          <p:spPr>
            <a:xfrm>
              <a:off x="4017171" y="2763469"/>
              <a:ext cx="393670" cy="451678"/>
            </a:xfrm>
            <a:custGeom>
              <a:rect b="b" l="l" r="r" t="t"/>
              <a:pathLst>
                <a:path extrusionOk="0" h="156" w="13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" name="Google Shape;136;p3"/>
            <p:cNvSpPr/>
            <p:nvPr/>
          </p:nvSpPr>
          <p:spPr>
            <a:xfrm>
              <a:off x="3762446" y="2841647"/>
              <a:ext cx="289461" cy="498004"/>
            </a:xfrm>
            <a:custGeom>
              <a:rect b="b" l="l" r="r" t="t"/>
              <a:pathLst>
                <a:path extrusionOk="0" h="172" w="100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" name="Google Shape;137;p3"/>
            <p:cNvSpPr/>
            <p:nvPr/>
          </p:nvSpPr>
          <p:spPr>
            <a:xfrm>
              <a:off x="3435354" y="2777948"/>
              <a:ext cx="373406" cy="654355"/>
            </a:xfrm>
            <a:custGeom>
              <a:rect b="b" l="l" r="r" t="t"/>
              <a:pathLst>
                <a:path extrusionOk="0" h="226" w="129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Google Shape;138;p3"/>
            <p:cNvSpPr/>
            <p:nvPr/>
          </p:nvSpPr>
          <p:spPr>
            <a:xfrm>
              <a:off x="2978004" y="2633178"/>
              <a:ext cx="567346" cy="416934"/>
            </a:xfrm>
            <a:custGeom>
              <a:rect b="b" l="l" r="r" t="t"/>
              <a:pathLst>
                <a:path extrusionOk="0" h="170" w="231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139;p3"/>
            <p:cNvSpPr/>
            <p:nvPr/>
          </p:nvSpPr>
          <p:spPr>
            <a:xfrm>
              <a:off x="395536" y="4031644"/>
              <a:ext cx="1262520" cy="981532"/>
            </a:xfrm>
            <a:custGeom>
              <a:rect b="b" l="l" r="r" t="t"/>
              <a:pathLst>
                <a:path extrusionOk="0" h="599162" w="770887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140;p3"/>
            <p:cNvSpPr/>
            <p:nvPr/>
          </p:nvSpPr>
          <p:spPr>
            <a:xfrm>
              <a:off x="1768054" y="4494903"/>
              <a:ext cx="769968" cy="489320"/>
            </a:xfrm>
            <a:custGeom>
              <a:rect b="b" l="l" r="r" t="t"/>
              <a:pathLst>
                <a:path extrusionOk="0" h="298698" w="47013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solidFill>
              <a:srgbClr val="E6E6E6">
                <a:alpha val="49803"/>
              </a:srgbClr>
            </a:solidFill>
            <a:ln cap="flat" cmpd="sng" w="9525">
              <a:solidFill>
                <a:srgbClr val="B1B1B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t" bIns="93600" lIns="180000" spcFirstLastPara="1" rIns="180000" wrap="square" tIns="936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1" name="Google Shape;141;p3"/>
          <p:cNvSpPr txBox="1"/>
          <p:nvPr/>
        </p:nvSpPr>
        <p:spPr>
          <a:xfrm>
            <a:off x="1060145" y="1787986"/>
            <a:ext cx="3488331" cy="743048"/>
          </a:xfrm>
          <a:prstGeom prst="rect">
            <a:avLst/>
          </a:prstGeom>
          <a:noFill/>
          <a:ln>
            <a:noFill/>
          </a:ln>
        </p:spPr>
        <p:txBody>
          <a:bodyPr anchorCtr="0" anchor="b" bIns="93600" lIns="180000" spcFirstLastPara="1" rIns="180000" wrap="square" tIns="93600">
            <a:sp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ales of car parts as a wholesaler to distributors</a:t>
            </a:r>
            <a:endParaRPr/>
          </a:p>
        </p:txBody>
      </p:sp>
      <p:sp>
        <p:nvSpPr>
          <p:cNvPr id="142" name="Google Shape;142;p3"/>
          <p:cNvSpPr txBox="1"/>
          <p:nvPr/>
        </p:nvSpPr>
        <p:spPr>
          <a:xfrm>
            <a:off x="1061697" y="2688017"/>
            <a:ext cx="4134203" cy="743048"/>
          </a:xfrm>
          <a:prstGeom prst="rect">
            <a:avLst/>
          </a:prstGeom>
          <a:noFill/>
          <a:ln>
            <a:noFill/>
          </a:ln>
        </p:spPr>
        <p:txBody>
          <a:bodyPr anchorCtr="0" anchor="b" bIns="93600" lIns="180000" spcFirstLastPara="1" rIns="180000" wrap="square" tIns="93600">
            <a:sp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ny existing customers, acquisition of new customers is difficult</a:t>
            </a:r>
            <a:endParaRPr/>
          </a:p>
        </p:txBody>
      </p:sp>
      <p:sp>
        <p:nvSpPr>
          <p:cNvPr id="143" name="Google Shape;143;p3"/>
          <p:cNvSpPr txBox="1"/>
          <p:nvPr/>
        </p:nvSpPr>
        <p:spPr>
          <a:xfrm>
            <a:off x="1061697" y="3673018"/>
            <a:ext cx="3488331" cy="466049"/>
          </a:xfrm>
          <a:prstGeom prst="rect">
            <a:avLst/>
          </a:prstGeom>
          <a:noFill/>
          <a:ln>
            <a:noFill/>
          </a:ln>
        </p:spPr>
        <p:txBody>
          <a:bodyPr anchorCtr="0" anchor="b" bIns="93600" lIns="180000" spcFirstLastPara="1" rIns="180000" wrap="square" tIns="93600">
            <a:spAutoFit/>
          </a:bodyPr>
          <a:lstStyle/>
          <a:p>
            <a:pPr indent="0" lvl="0" marL="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0"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stributors reduce the margin</a:t>
            </a:r>
            <a:endParaRPr/>
          </a:p>
        </p:txBody>
      </p:sp>
      <p:sp>
        <p:nvSpPr>
          <p:cNvPr id="144" name="Google Shape;144;p3"/>
          <p:cNvSpPr/>
          <p:nvPr/>
        </p:nvSpPr>
        <p:spPr>
          <a:xfrm>
            <a:off x="336000" y="1839470"/>
            <a:ext cx="640080" cy="6400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Ctr="0" anchor="b" bIns="93600" lIns="180000" spcFirstLastPara="1" rIns="180000" wrap="square" tIns="93600">
            <a:normAutofit/>
          </a:bodyPr>
          <a:lstStyle/>
          <a:p>
            <a:pPr indent="0" lvl="0" marL="0" marR="0" rt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/>
          </a:p>
        </p:txBody>
      </p:sp>
      <p:sp>
        <p:nvSpPr>
          <p:cNvPr id="145" name="Google Shape;145;p3"/>
          <p:cNvSpPr/>
          <p:nvPr/>
        </p:nvSpPr>
        <p:spPr>
          <a:xfrm>
            <a:off x="336000" y="2704389"/>
            <a:ext cx="640080" cy="6400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Ctr="0" anchor="b" bIns="93600" lIns="180000" spcFirstLastPara="1" rIns="180000" wrap="square" tIns="93600">
            <a:normAutofit/>
          </a:bodyPr>
          <a:lstStyle/>
          <a:p>
            <a:pPr indent="0" lvl="0" marL="0" marR="0" rt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146" name="Google Shape;146;p3"/>
          <p:cNvSpPr/>
          <p:nvPr/>
        </p:nvSpPr>
        <p:spPr>
          <a:xfrm>
            <a:off x="336000" y="3588204"/>
            <a:ext cx="640080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Ctr="0" anchor="b" bIns="93600" lIns="180000" spcFirstLastPara="1" rIns="180000" wrap="square" tIns="93600">
            <a:normAutofit/>
          </a:bodyPr>
          <a:lstStyle/>
          <a:p>
            <a:pPr indent="0" lvl="0" marL="0" marR="0" rt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grpSp>
        <p:nvGrpSpPr>
          <p:cNvPr id="147" name="Google Shape;147;p3"/>
          <p:cNvGrpSpPr/>
          <p:nvPr/>
        </p:nvGrpSpPr>
        <p:grpSpPr>
          <a:xfrm>
            <a:off x="7750215" y="3393804"/>
            <a:ext cx="2708706" cy="1568198"/>
            <a:chOff x="2053017" y="2714328"/>
            <a:chExt cx="4035970" cy="2336614"/>
          </a:xfrm>
        </p:grpSpPr>
        <p:sp>
          <p:nvSpPr>
            <p:cNvPr id="148" name="Google Shape;148;p3"/>
            <p:cNvSpPr/>
            <p:nvPr/>
          </p:nvSpPr>
          <p:spPr>
            <a:xfrm>
              <a:off x="3967560" y="3900213"/>
              <a:ext cx="3507" cy="3139"/>
            </a:xfrm>
            <a:custGeom>
              <a:rect b="b" l="l" r="r" t="t"/>
              <a:pathLst>
                <a:path extrusionOk="0" h="5" w="5">
                  <a:moveTo>
                    <a:pt x="5" y="4"/>
                  </a:moveTo>
                  <a:lnTo>
                    <a:pt x="5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Google Shape;149;p3"/>
            <p:cNvSpPr/>
            <p:nvPr/>
          </p:nvSpPr>
          <p:spPr>
            <a:xfrm>
              <a:off x="4531404" y="4102359"/>
              <a:ext cx="54000" cy="38923"/>
            </a:xfrm>
            <a:custGeom>
              <a:rect b="b" l="l" r="r" t="t"/>
              <a:pathLst>
                <a:path extrusionOk="0" h="62" w="77">
                  <a:moveTo>
                    <a:pt x="75" y="7"/>
                  </a:moveTo>
                  <a:lnTo>
                    <a:pt x="77" y="9"/>
                  </a:lnTo>
                  <a:lnTo>
                    <a:pt x="77" y="19"/>
                  </a:lnTo>
                  <a:lnTo>
                    <a:pt x="77" y="20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4" y="22"/>
                  </a:lnTo>
                  <a:lnTo>
                    <a:pt x="74" y="23"/>
                  </a:lnTo>
                  <a:lnTo>
                    <a:pt x="72" y="23"/>
                  </a:lnTo>
                  <a:lnTo>
                    <a:pt x="72" y="25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8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3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5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8" y="36"/>
                  </a:lnTo>
                  <a:lnTo>
                    <a:pt x="67" y="37"/>
                  </a:lnTo>
                  <a:lnTo>
                    <a:pt x="65" y="36"/>
                  </a:lnTo>
                  <a:lnTo>
                    <a:pt x="62" y="37"/>
                  </a:lnTo>
                  <a:lnTo>
                    <a:pt x="61" y="37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40"/>
                  </a:lnTo>
                  <a:lnTo>
                    <a:pt x="62" y="42"/>
                  </a:lnTo>
                  <a:lnTo>
                    <a:pt x="61" y="43"/>
                  </a:lnTo>
                  <a:lnTo>
                    <a:pt x="61" y="46"/>
                  </a:lnTo>
                  <a:lnTo>
                    <a:pt x="59" y="47"/>
                  </a:lnTo>
                  <a:lnTo>
                    <a:pt x="58" y="52"/>
                  </a:lnTo>
                  <a:lnTo>
                    <a:pt x="57" y="55"/>
                  </a:lnTo>
                  <a:lnTo>
                    <a:pt x="57" y="56"/>
                  </a:lnTo>
                  <a:lnTo>
                    <a:pt x="57" y="57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5" y="62"/>
                  </a:lnTo>
                  <a:lnTo>
                    <a:pt x="55" y="60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51" y="60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59"/>
                  </a:lnTo>
                  <a:lnTo>
                    <a:pt x="39" y="59"/>
                  </a:lnTo>
                  <a:lnTo>
                    <a:pt x="35" y="59"/>
                  </a:lnTo>
                  <a:lnTo>
                    <a:pt x="32" y="57"/>
                  </a:lnTo>
                  <a:lnTo>
                    <a:pt x="28" y="57"/>
                  </a:lnTo>
                  <a:lnTo>
                    <a:pt x="25" y="57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4" y="55"/>
                  </a:lnTo>
                  <a:lnTo>
                    <a:pt x="14" y="53"/>
                  </a:lnTo>
                  <a:lnTo>
                    <a:pt x="12" y="53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0" y="49"/>
                  </a:lnTo>
                  <a:lnTo>
                    <a:pt x="10" y="47"/>
                  </a:lnTo>
                  <a:lnTo>
                    <a:pt x="8" y="47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5" y="43"/>
                  </a:lnTo>
                  <a:lnTo>
                    <a:pt x="5" y="42"/>
                  </a:lnTo>
                  <a:lnTo>
                    <a:pt x="4" y="42"/>
                  </a:lnTo>
                  <a:lnTo>
                    <a:pt x="2" y="40"/>
                  </a:lnTo>
                  <a:lnTo>
                    <a:pt x="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6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4" y="35"/>
                  </a:lnTo>
                  <a:lnTo>
                    <a:pt x="17" y="35"/>
                  </a:lnTo>
                  <a:lnTo>
                    <a:pt x="22" y="35"/>
                  </a:lnTo>
                  <a:lnTo>
                    <a:pt x="28" y="36"/>
                  </a:lnTo>
                  <a:lnTo>
                    <a:pt x="35" y="36"/>
                  </a:lnTo>
                  <a:lnTo>
                    <a:pt x="37" y="36"/>
                  </a:lnTo>
                  <a:lnTo>
                    <a:pt x="41" y="35"/>
                  </a:lnTo>
                  <a:lnTo>
                    <a:pt x="42" y="33"/>
                  </a:lnTo>
                  <a:lnTo>
                    <a:pt x="44" y="32"/>
                  </a:lnTo>
                  <a:lnTo>
                    <a:pt x="45" y="30"/>
                  </a:lnTo>
                  <a:lnTo>
                    <a:pt x="47" y="29"/>
                  </a:lnTo>
                  <a:lnTo>
                    <a:pt x="47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5"/>
                  </a:lnTo>
                  <a:lnTo>
                    <a:pt x="49" y="23"/>
                  </a:lnTo>
                  <a:lnTo>
                    <a:pt x="55" y="19"/>
                  </a:lnTo>
                  <a:lnTo>
                    <a:pt x="59" y="16"/>
                  </a:lnTo>
                  <a:lnTo>
                    <a:pt x="59" y="15"/>
                  </a:lnTo>
                  <a:lnTo>
                    <a:pt x="61" y="13"/>
                  </a:lnTo>
                  <a:lnTo>
                    <a:pt x="62" y="10"/>
                  </a:lnTo>
                  <a:lnTo>
                    <a:pt x="69" y="6"/>
                  </a:lnTo>
                  <a:lnTo>
                    <a:pt x="71" y="3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2"/>
                  </a:lnTo>
                  <a:lnTo>
                    <a:pt x="72" y="3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5" y="9"/>
                  </a:lnTo>
                  <a:lnTo>
                    <a:pt x="75" y="7"/>
                  </a:lnTo>
                  <a:close/>
                  <a:moveTo>
                    <a:pt x="75" y="16"/>
                  </a:moveTo>
                  <a:lnTo>
                    <a:pt x="75" y="15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5" y="16"/>
                  </a:lnTo>
                  <a:close/>
                  <a:moveTo>
                    <a:pt x="45" y="29"/>
                  </a:moveTo>
                  <a:lnTo>
                    <a:pt x="45" y="30"/>
                  </a:lnTo>
                  <a:lnTo>
                    <a:pt x="45" y="30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5" y="29"/>
                  </a:lnTo>
                  <a:close/>
                  <a:moveTo>
                    <a:pt x="28" y="33"/>
                  </a:moveTo>
                  <a:lnTo>
                    <a:pt x="27" y="33"/>
                  </a:lnTo>
                  <a:lnTo>
                    <a:pt x="25" y="32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30" y="30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3"/>
                  </a:lnTo>
                  <a:close/>
                  <a:moveTo>
                    <a:pt x="15" y="32"/>
                  </a:moveTo>
                  <a:lnTo>
                    <a:pt x="15" y="32"/>
                  </a:lnTo>
                  <a:lnTo>
                    <a:pt x="15" y="32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17" y="32"/>
                  </a:lnTo>
                  <a:lnTo>
                    <a:pt x="15" y="32"/>
                  </a:lnTo>
                  <a:close/>
                  <a:moveTo>
                    <a:pt x="37" y="35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4" y="35"/>
                  </a:lnTo>
                  <a:lnTo>
                    <a:pt x="32" y="35"/>
                  </a:lnTo>
                  <a:lnTo>
                    <a:pt x="34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150;p3"/>
            <p:cNvSpPr/>
            <p:nvPr/>
          </p:nvSpPr>
          <p:spPr>
            <a:xfrm>
              <a:off x="4630988" y="3955458"/>
              <a:ext cx="162000" cy="109235"/>
            </a:xfrm>
            <a:custGeom>
              <a:rect b="b" l="l" r="r" t="t"/>
              <a:pathLst>
                <a:path extrusionOk="0" h="174" w="231">
                  <a:moveTo>
                    <a:pt x="231" y="24"/>
                  </a:moveTo>
                  <a:lnTo>
                    <a:pt x="230" y="24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27" y="24"/>
                  </a:lnTo>
                  <a:lnTo>
                    <a:pt x="226" y="24"/>
                  </a:lnTo>
                  <a:lnTo>
                    <a:pt x="223" y="26"/>
                  </a:lnTo>
                  <a:lnTo>
                    <a:pt x="223" y="27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6" y="29"/>
                  </a:lnTo>
                  <a:lnTo>
                    <a:pt x="223" y="30"/>
                  </a:lnTo>
                  <a:lnTo>
                    <a:pt x="220" y="32"/>
                  </a:lnTo>
                  <a:lnTo>
                    <a:pt x="217" y="33"/>
                  </a:lnTo>
                  <a:lnTo>
                    <a:pt x="217" y="33"/>
                  </a:lnTo>
                  <a:lnTo>
                    <a:pt x="214" y="33"/>
                  </a:lnTo>
                  <a:lnTo>
                    <a:pt x="213" y="32"/>
                  </a:lnTo>
                  <a:lnTo>
                    <a:pt x="213" y="32"/>
                  </a:lnTo>
                  <a:lnTo>
                    <a:pt x="207" y="32"/>
                  </a:lnTo>
                  <a:lnTo>
                    <a:pt x="203" y="32"/>
                  </a:lnTo>
                  <a:lnTo>
                    <a:pt x="200" y="33"/>
                  </a:lnTo>
                  <a:lnTo>
                    <a:pt x="197" y="33"/>
                  </a:lnTo>
                  <a:lnTo>
                    <a:pt x="194" y="33"/>
                  </a:lnTo>
                  <a:lnTo>
                    <a:pt x="193" y="33"/>
                  </a:lnTo>
                  <a:lnTo>
                    <a:pt x="191" y="34"/>
                  </a:lnTo>
                  <a:lnTo>
                    <a:pt x="190" y="34"/>
                  </a:lnTo>
                  <a:lnTo>
                    <a:pt x="188" y="34"/>
                  </a:lnTo>
                  <a:lnTo>
                    <a:pt x="187" y="36"/>
                  </a:lnTo>
                  <a:lnTo>
                    <a:pt x="186" y="37"/>
                  </a:lnTo>
                  <a:lnTo>
                    <a:pt x="183" y="39"/>
                  </a:lnTo>
                  <a:lnTo>
                    <a:pt x="181" y="40"/>
                  </a:lnTo>
                  <a:lnTo>
                    <a:pt x="181" y="42"/>
                  </a:lnTo>
                  <a:lnTo>
                    <a:pt x="180" y="42"/>
                  </a:lnTo>
                  <a:lnTo>
                    <a:pt x="178" y="40"/>
                  </a:lnTo>
                  <a:lnTo>
                    <a:pt x="177" y="42"/>
                  </a:lnTo>
                  <a:lnTo>
                    <a:pt x="176" y="43"/>
                  </a:lnTo>
                  <a:lnTo>
                    <a:pt x="173" y="46"/>
                  </a:lnTo>
                  <a:lnTo>
                    <a:pt x="171" y="47"/>
                  </a:lnTo>
                  <a:lnTo>
                    <a:pt x="171" y="49"/>
                  </a:lnTo>
                  <a:lnTo>
                    <a:pt x="171" y="50"/>
                  </a:lnTo>
                  <a:lnTo>
                    <a:pt x="174" y="50"/>
                  </a:lnTo>
                  <a:lnTo>
                    <a:pt x="174" y="52"/>
                  </a:lnTo>
                  <a:lnTo>
                    <a:pt x="176" y="53"/>
                  </a:lnTo>
                  <a:lnTo>
                    <a:pt x="176" y="54"/>
                  </a:lnTo>
                  <a:lnTo>
                    <a:pt x="177" y="57"/>
                  </a:lnTo>
                  <a:lnTo>
                    <a:pt x="177" y="59"/>
                  </a:lnTo>
                  <a:lnTo>
                    <a:pt x="177" y="60"/>
                  </a:lnTo>
                  <a:lnTo>
                    <a:pt x="178" y="62"/>
                  </a:lnTo>
                  <a:lnTo>
                    <a:pt x="177" y="62"/>
                  </a:lnTo>
                  <a:lnTo>
                    <a:pt x="177" y="63"/>
                  </a:lnTo>
                  <a:lnTo>
                    <a:pt x="177" y="63"/>
                  </a:lnTo>
                  <a:lnTo>
                    <a:pt x="177" y="64"/>
                  </a:lnTo>
                  <a:lnTo>
                    <a:pt x="178" y="64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6" y="70"/>
                  </a:lnTo>
                  <a:lnTo>
                    <a:pt x="174" y="70"/>
                  </a:lnTo>
                  <a:lnTo>
                    <a:pt x="173" y="72"/>
                  </a:lnTo>
                  <a:lnTo>
                    <a:pt x="171" y="73"/>
                  </a:lnTo>
                  <a:lnTo>
                    <a:pt x="170" y="76"/>
                  </a:lnTo>
                  <a:lnTo>
                    <a:pt x="170" y="77"/>
                  </a:lnTo>
                  <a:lnTo>
                    <a:pt x="169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0"/>
                  </a:lnTo>
                  <a:lnTo>
                    <a:pt x="170" y="82"/>
                  </a:lnTo>
                  <a:lnTo>
                    <a:pt x="170" y="83"/>
                  </a:lnTo>
                  <a:lnTo>
                    <a:pt x="170" y="84"/>
                  </a:lnTo>
                  <a:lnTo>
                    <a:pt x="170" y="86"/>
                  </a:lnTo>
                  <a:lnTo>
                    <a:pt x="169" y="87"/>
                  </a:lnTo>
                  <a:lnTo>
                    <a:pt x="166" y="89"/>
                  </a:lnTo>
                  <a:lnTo>
                    <a:pt x="163" y="89"/>
                  </a:lnTo>
                  <a:lnTo>
                    <a:pt x="159" y="89"/>
                  </a:lnTo>
                  <a:lnTo>
                    <a:pt x="157" y="89"/>
                  </a:lnTo>
                  <a:lnTo>
                    <a:pt x="156" y="89"/>
                  </a:lnTo>
                  <a:lnTo>
                    <a:pt x="153" y="87"/>
                  </a:lnTo>
                  <a:lnTo>
                    <a:pt x="150" y="89"/>
                  </a:lnTo>
                  <a:lnTo>
                    <a:pt x="150" y="90"/>
                  </a:lnTo>
                  <a:lnTo>
                    <a:pt x="153" y="94"/>
                  </a:lnTo>
                  <a:lnTo>
                    <a:pt x="154" y="96"/>
                  </a:lnTo>
                  <a:lnTo>
                    <a:pt x="156" y="99"/>
                  </a:lnTo>
                  <a:lnTo>
                    <a:pt x="157" y="100"/>
                  </a:lnTo>
                  <a:lnTo>
                    <a:pt x="157" y="102"/>
                  </a:lnTo>
                  <a:lnTo>
                    <a:pt x="154" y="104"/>
                  </a:lnTo>
                  <a:lnTo>
                    <a:pt x="151" y="106"/>
                  </a:lnTo>
                  <a:lnTo>
                    <a:pt x="147" y="106"/>
                  </a:lnTo>
                  <a:lnTo>
                    <a:pt x="146" y="106"/>
                  </a:lnTo>
                  <a:lnTo>
                    <a:pt x="144" y="107"/>
                  </a:lnTo>
                  <a:lnTo>
                    <a:pt x="143" y="110"/>
                  </a:lnTo>
                  <a:lnTo>
                    <a:pt x="143" y="112"/>
                  </a:lnTo>
                  <a:lnTo>
                    <a:pt x="143" y="113"/>
                  </a:lnTo>
                  <a:lnTo>
                    <a:pt x="141" y="116"/>
                  </a:lnTo>
                  <a:lnTo>
                    <a:pt x="141" y="116"/>
                  </a:lnTo>
                  <a:lnTo>
                    <a:pt x="140" y="119"/>
                  </a:lnTo>
                  <a:lnTo>
                    <a:pt x="140" y="121"/>
                  </a:lnTo>
                  <a:lnTo>
                    <a:pt x="141" y="127"/>
                  </a:lnTo>
                  <a:lnTo>
                    <a:pt x="139" y="130"/>
                  </a:lnTo>
                  <a:lnTo>
                    <a:pt x="137" y="131"/>
                  </a:lnTo>
                  <a:lnTo>
                    <a:pt x="136" y="133"/>
                  </a:lnTo>
                  <a:lnTo>
                    <a:pt x="134" y="133"/>
                  </a:lnTo>
                  <a:lnTo>
                    <a:pt x="133" y="133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0" y="130"/>
                  </a:lnTo>
                  <a:lnTo>
                    <a:pt x="129" y="130"/>
                  </a:lnTo>
                  <a:lnTo>
                    <a:pt x="127" y="131"/>
                  </a:lnTo>
                  <a:lnTo>
                    <a:pt x="126" y="131"/>
                  </a:lnTo>
                  <a:lnTo>
                    <a:pt x="124" y="130"/>
                  </a:lnTo>
                  <a:lnTo>
                    <a:pt x="123" y="130"/>
                  </a:lnTo>
                  <a:lnTo>
                    <a:pt x="123" y="131"/>
                  </a:lnTo>
                  <a:lnTo>
                    <a:pt x="120" y="133"/>
                  </a:lnTo>
                  <a:lnTo>
                    <a:pt x="116" y="134"/>
                  </a:lnTo>
                  <a:lnTo>
                    <a:pt x="114" y="136"/>
                  </a:lnTo>
                  <a:lnTo>
                    <a:pt x="113" y="136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4" y="139"/>
                  </a:lnTo>
                  <a:lnTo>
                    <a:pt x="114" y="140"/>
                  </a:lnTo>
                  <a:lnTo>
                    <a:pt x="111" y="140"/>
                  </a:lnTo>
                  <a:lnTo>
                    <a:pt x="109" y="141"/>
                  </a:lnTo>
                  <a:lnTo>
                    <a:pt x="106" y="140"/>
                  </a:lnTo>
                  <a:lnTo>
                    <a:pt x="104" y="140"/>
                  </a:lnTo>
                  <a:lnTo>
                    <a:pt x="103" y="140"/>
                  </a:lnTo>
                  <a:lnTo>
                    <a:pt x="101" y="140"/>
                  </a:lnTo>
                  <a:lnTo>
                    <a:pt x="100" y="141"/>
                  </a:lnTo>
                  <a:lnTo>
                    <a:pt x="99" y="144"/>
                  </a:lnTo>
                  <a:lnTo>
                    <a:pt x="97" y="144"/>
                  </a:lnTo>
                  <a:lnTo>
                    <a:pt x="97" y="146"/>
                  </a:lnTo>
                  <a:lnTo>
                    <a:pt x="96" y="146"/>
                  </a:lnTo>
                  <a:lnTo>
                    <a:pt x="94" y="147"/>
                  </a:lnTo>
                  <a:lnTo>
                    <a:pt x="94" y="149"/>
                  </a:lnTo>
                  <a:lnTo>
                    <a:pt x="93" y="153"/>
                  </a:lnTo>
                  <a:lnTo>
                    <a:pt x="93" y="154"/>
                  </a:lnTo>
                  <a:lnTo>
                    <a:pt x="93" y="157"/>
                  </a:lnTo>
                  <a:lnTo>
                    <a:pt x="93" y="160"/>
                  </a:lnTo>
                  <a:lnTo>
                    <a:pt x="91" y="161"/>
                  </a:lnTo>
                  <a:lnTo>
                    <a:pt x="91" y="163"/>
                  </a:lnTo>
                  <a:lnTo>
                    <a:pt x="93" y="164"/>
                  </a:lnTo>
                  <a:lnTo>
                    <a:pt x="93" y="166"/>
                  </a:lnTo>
                  <a:lnTo>
                    <a:pt x="91" y="166"/>
                  </a:lnTo>
                  <a:lnTo>
                    <a:pt x="91" y="167"/>
                  </a:lnTo>
                  <a:lnTo>
                    <a:pt x="87" y="167"/>
                  </a:lnTo>
                  <a:lnTo>
                    <a:pt x="83" y="169"/>
                  </a:lnTo>
                  <a:lnTo>
                    <a:pt x="80" y="170"/>
                  </a:lnTo>
                  <a:lnTo>
                    <a:pt x="76" y="171"/>
                  </a:lnTo>
                  <a:lnTo>
                    <a:pt x="74" y="171"/>
                  </a:lnTo>
                  <a:lnTo>
                    <a:pt x="72" y="171"/>
                  </a:lnTo>
                  <a:lnTo>
                    <a:pt x="70" y="171"/>
                  </a:lnTo>
                  <a:lnTo>
                    <a:pt x="67" y="171"/>
                  </a:lnTo>
                  <a:lnTo>
                    <a:pt x="64" y="171"/>
                  </a:lnTo>
                  <a:lnTo>
                    <a:pt x="63" y="171"/>
                  </a:lnTo>
                  <a:lnTo>
                    <a:pt x="60" y="173"/>
                  </a:lnTo>
                  <a:lnTo>
                    <a:pt x="59" y="173"/>
                  </a:lnTo>
                  <a:lnTo>
                    <a:pt x="59" y="174"/>
                  </a:lnTo>
                  <a:lnTo>
                    <a:pt x="57" y="174"/>
                  </a:lnTo>
                  <a:lnTo>
                    <a:pt x="56" y="174"/>
                  </a:lnTo>
                  <a:lnTo>
                    <a:pt x="49" y="173"/>
                  </a:lnTo>
                  <a:lnTo>
                    <a:pt x="32" y="174"/>
                  </a:lnTo>
                  <a:lnTo>
                    <a:pt x="30" y="174"/>
                  </a:lnTo>
                  <a:lnTo>
                    <a:pt x="24" y="173"/>
                  </a:lnTo>
                  <a:lnTo>
                    <a:pt x="16" y="170"/>
                  </a:lnTo>
                  <a:lnTo>
                    <a:pt x="12" y="169"/>
                  </a:lnTo>
                  <a:lnTo>
                    <a:pt x="6" y="166"/>
                  </a:lnTo>
                  <a:lnTo>
                    <a:pt x="10" y="161"/>
                  </a:lnTo>
                  <a:lnTo>
                    <a:pt x="13" y="157"/>
                  </a:lnTo>
                  <a:lnTo>
                    <a:pt x="17" y="153"/>
                  </a:lnTo>
                  <a:lnTo>
                    <a:pt x="20" y="149"/>
                  </a:lnTo>
                  <a:lnTo>
                    <a:pt x="22" y="147"/>
                  </a:lnTo>
                  <a:lnTo>
                    <a:pt x="22" y="144"/>
                  </a:lnTo>
                  <a:lnTo>
                    <a:pt x="20" y="140"/>
                  </a:lnTo>
                  <a:lnTo>
                    <a:pt x="19" y="139"/>
                  </a:lnTo>
                  <a:lnTo>
                    <a:pt x="13" y="137"/>
                  </a:lnTo>
                  <a:lnTo>
                    <a:pt x="10" y="137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6" y="123"/>
                  </a:lnTo>
                  <a:lnTo>
                    <a:pt x="6" y="121"/>
                  </a:lnTo>
                  <a:lnTo>
                    <a:pt x="3" y="116"/>
                  </a:lnTo>
                  <a:lnTo>
                    <a:pt x="3" y="112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2" y="104"/>
                  </a:lnTo>
                  <a:lnTo>
                    <a:pt x="3" y="102"/>
                  </a:lnTo>
                  <a:lnTo>
                    <a:pt x="4" y="100"/>
                  </a:lnTo>
                  <a:lnTo>
                    <a:pt x="6" y="99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4" y="97"/>
                  </a:lnTo>
                  <a:lnTo>
                    <a:pt x="3" y="97"/>
                  </a:lnTo>
                  <a:lnTo>
                    <a:pt x="2" y="96"/>
                  </a:lnTo>
                  <a:lnTo>
                    <a:pt x="0" y="96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87"/>
                  </a:lnTo>
                  <a:lnTo>
                    <a:pt x="2" y="84"/>
                  </a:lnTo>
                  <a:lnTo>
                    <a:pt x="3" y="83"/>
                  </a:lnTo>
                  <a:lnTo>
                    <a:pt x="6" y="82"/>
                  </a:lnTo>
                  <a:lnTo>
                    <a:pt x="4" y="80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2" y="62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4" y="57"/>
                  </a:lnTo>
                  <a:lnTo>
                    <a:pt x="14" y="59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23" y="60"/>
                  </a:lnTo>
                  <a:lnTo>
                    <a:pt x="24" y="60"/>
                  </a:lnTo>
                  <a:lnTo>
                    <a:pt x="26" y="62"/>
                  </a:lnTo>
                  <a:lnTo>
                    <a:pt x="27" y="63"/>
                  </a:lnTo>
                  <a:lnTo>
                    <a:pt x="29" y="64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3" y="64"/>
                  </a:lnTo>
                  <a:lnTo>
                    <a:pt x="34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7" y="62"/>
                  </a:lnTo>
                  <a:lnTo>
                    <a:pt x="40" y="62"/>
                  </a:lnTo>
                  <a:lnTo>
                    <a:pt x="42" y="60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2" y="53"/>
                  </a:lnTo>
                  <a:lnTo>
                    <a:pt x="43" y="53"/>
                  </a:lnTo>
                  <a:lnTo>
                    <a:pt x="43" y="52"/>
                  </a:lnTo>
                  <a:lnTo>
                    <a:pt x="44" y="52"/>
                  </a:lnTo>
                  <a:lnTo>
                    <a:pt x="49" y="52"/>
                  </a:lnTo>
                  <a:lnTo>
                    <a:pt x="52" y="50"/>
                  </a:lnTo>
                  <a:lnTo>
                    <a:pt x="54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7" y="47"/>
                  </a:lnTo>
                  <a:lnTo>
                    <a:pt x="59" y="46"/>
                  </a:lnTo>
                  <a:lnTo>
                    <a:pt x="62" y="44"/>
                  </a:lnTo>
                  <a:lnTo>
                    <a:pt x="64" y="43"/>
                  </a:lnTo>
                  <a:lnTo>
                    <a:pt x="66" y="42"/>
                  </a:lnTo>
                  <a:lnTo>
                    <a:pt x="66" y="39"/>
                  </a:lnTo>
                  <a:lnTo>
                    <a:pt x="67" y="34"/>
                  </a:lnTo>
                  <a:lnTo>
                    <a:pt x="69" y="30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2" y="26"/>
                  </a:lnTo>
                  <a:lnTo>
                    <a:pt x="74" y="24"/>
                  </a:lnTo>
                  <a:lnTo>
                    <a:pt x="77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3" y="20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7" y="19"/>
                  </a:lnTo>
                  <a:lnTo>
                    <a:pt x="90" y="22"/>
                  </a:lnTo>
                  <a:lnTo>
                    <a:pt x="94" y="22"/>
                  </a:lnTo>
                  <a:lnTo>
                    <a:pt x="96" y="23"/>
                  </a:lnTo>
                  <a:lnTo>
                    <a:pt x="97" y="23"/>
                  </a:lnTo>
                  <a:lnTo>
                    <a:pt x="101" y="22"/>
                  </a:lnTo>
                  <a:lnTo>
                    <a:pt x="106" y="23"/>
                  </a:lnTo>
                  <a:lnTo>
                    <a:pt x="107" y="24"/>
                  </a:lnTo>
                  <a:lnTo>
                    <a:pt x="110" y="26"/>
                  </a:lnTo>
                  <a:lnTo>
                    <a:pt x="111" y="24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6" y="24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20" y="30"/>
                  </a:lnTo>
                  <a:lnTo>
                    <a:pt x="121" y="30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6" y="27"/>
                  </a:lnTo>
                  <a:lnTo>
                    <a:pt x="127" y="27"/>
                  </a:lnTo>
                  <a:lnTo>
                    <a:pt x="129" y="26"/>
                  </a:lnTo>
                  <a:lnTo>
                    <a:pt x="130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3" y="24"/>
                  </a:lnTo>
                  <a:lnTo>
                    <a:pt x="133" y="24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7" y="24"/>
                  </a:lnTo>
                  <a:lnTo>
                    <a:pt x="139" y="26"/>
                  </a:lnTo>
                  <a:lnTo>
                    <a:pt x="140" y="27"/>
                  </a:lnTo>
                  <a:lnTo>
                    <a:pt x="141" y="27"/>
                  </a:lnTo>
                  <a:lnTo>
                    <a:pt x="141" y="26"/>
                  </a:lnTo>
                  <a:lnTo>
                    <a:pt x="143" y="26"/>
                  </a:lnTo>
                  <a:lnTo>
                    <a:pt x="143" y="24"/>
                  </a:lnTo>
                  <a:lnTo>
                    <a:pt x="143" y="22"/>
                  </a:lnTo>
                  <a:lnTo>
                    <a:pt x="143" y="20"/>
                  </a:lnTo>
                  <a:lnTo>
                    <a:pt x="144" y="19"/>
                  </a:lnTo>
                  <a:lnTo>
                    <a:pt x="146" y="17"/>
                  </a:lnTo>
                  <a:lnTo>
                    <a:pt x="150" y="17"/>
                  </a:lnTo>
                  <a:lnTo>
                    <a:pt x="151" y="17"/>
                  </a:lnTo>
                  <a:lnTo>
                    <a:pt x="151" y="19"/>
                  </a:lnTo>
                  <a:lnTo>
                    <a:pt x="153" y="19"/>
                  </a:lnTo>
                  <a:lnTo>
                    <a:pt x="154" y="19"/>
                  </a:lnTo>
                  <a:lnTo>
                    <a:pt x="156" y="17"/>
                  </a:lnTo>
                  <a:lnTo>
                    <a:pt x="156" y="16"/>
                  </a:lnTo>
                  <a:lnTo>
                    <a:pt x="157" y="14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0"/>
                  </a:lnTo>
                  <a:lnTo>
                    <a:pt x="157" y="10"/>
                  </a:lnTo>
                  <a:lnTo>
                    <a:pt x="159" y="7"/>
                  </a:lnTo>
                  <a:lnTo>
                    <a:pt x="160" y="6"/>
                  </a:lnTo>
                  <a:lnTo>
                    <a:pt x="163" y="3"/>
                  </a:lnTo>
                  <a:lnTo>
                    <a:pt x="164" y="0"/>
                  </a:lnTo>
                  <a:lnTo>
                    <a:pt x="167" y="0"/>
                  </a:lnTo>
                  <a:lnTo>
                    <a:pt x="169" y="2"/>
                  </a:lnTo>
                  <a:lnTo>
                    <a:pt x="173" y="3"/>
                  </a:lnTo>
                  <a:lnTo>
                    <a:pt x="174" y="6"/>
                  </a:lnTo>
                  <a:lnTo>
                    <a:pt x="173" y="9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4" y="12"/>
                  </a:lnTo>
                  <a:lnTo>
                    <a:pt x="176" y="10"/>
                  </a:lnTo>
                  <a:lnTo>
                    <a:pt x="177" y="10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77" y="13"/>
                  </a:lnTo>
                  <a:lnTo>
                    <a:pt x="177" y="17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76" y="27"/>
                  </a:lnTo>
                  <a:lnTo>
                    <a:pt x="176" y="29"/>
                  </a:lnTo>
                  <a:lnTo>
                    <a:pt x="177" y="33"/>
                  </a:lnTo>
                  <a:lnTo>
                    <a:pt x="178" y="34"/>
                  </a:lnTo>
                  <a:lnTo>
                    <a:pt x="178" y="36"/>
                  </a:lnTo>
                  <a:lnTo>
                    <a:pt x="180" y="36"/>
                  </a:lnTo>
                  <a:lnTo>
                    <a:pt x="181" y="36"/>
                  </a:lnTo>
                  <a:lnTo>
                    <a:pt x="183" y="34"/>
                  </a:lnTo>
                  <a:lnTo>
                    <a:pt x="187" y="32"/>
                  </a:lnTo>
                  <a:lnTo>
                    <a:pt x="190" y="30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198" y="24"/>
                  </a:lnTo>
                  <a:lnTo>
                    <a:pt x="204" y="22"/>
                  </a:lnTo>
                  <a:lnTo>
                    <a:pt x="207" y="20"/>
                  </a:lnTo>
                  <a:lnTo>
                    <a:pt x="208" y="20"/>
                  </a:lnTo>
                  <a:lnTo>
                    <a:pt x="210" y="20"/>
                  </a:lnTo>
                  <a:lnTo>
                    <a:pt x="210" y="20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3" y="22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0" y="24"/>
                  </a:lnTo>
                  <a:lnTo>
                    <a:pt x="211" y="24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7" y="23"/>
                  </a:lnTo>
                  <a:lnTo>
                    <a:pt x="218" y="23"/>
                  </a:lnTo>
                  <a:lnTo>
                    <a:pt x="220" y="22"/>
                  </a:lnTo>
                  <a:lnTo>
                    <a:pt x="220" y="22"/>
                  </a:lnTo>
                  <a:lnTo>
                    <a:pt x="221" y="22"/>
                  </a:lnTo>
                  <a:lnTo>
                    <a:pt x="224" y="22"/>
                  </a:lnTo>
                  <a:lnTo>
                    <a:pt x="224" y="22"/>
                  </a:lnTo>
                  <a:lnTo>
                    <a:pt x="227" y="22"/>
                  </a:lnTo>
                  <a:lnTo>
                    <a:pt x="228" y="23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1" y="2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151;p3"/>
            <p:cNvSpPr/>
            <p:nvPr/>
          </p:nvSpPr>
          <p:spPr>
            <a:xfrm>
              <a:off x="4168132" y="3900213"/>
              <a:ext cx="19636" cy="40178"/>
            </a:xfrm>
            <a:custGeom>
              <a:rect b="b" l="l" r="r" t="t"/>
              <a:pathLst>
                <a:path extrusionOk="0" h="64" w="28">
                  <a:moveTo>
                    <a:pt x="13" y="2"/>
                  </a:moveTo>
                  <a:lnTo>
                    <a:pt x="13" y="2"/>
                  </a:lnTo>
                  <a:lnTo>
                    <a:pt x="14" y="5"/>
                  </a:lnTo>
                  <a:lnTo>
                    <a:pt x="15" y="7"/>
                  </a:lnTo>
                  <a:lnTo>
                    <a:pt x="17" y="7"/>
                  </a:lnTo>
                  <a:lnTo>
                    <a:pt x="18" y="8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4"/>
                  </a:lnTo>
                  <a:lnTo>
                    <a:pt x="18" y="24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30"/>
                  </a:lnTo>
                  <a:lnTo>
                    <a:pt x="21" y="32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5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40"/>
                  </a:lnTo>
                  <a:lnTo>
                    <a:pt x="27" y="41"/>
                  </a:lnTo>
                  <a:lnTo>
                    <a:pt x="28" y="42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5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8"/>
                  </a:lnTo>
                  <a:lnTo>
                    <a:pt x="24" y="50"/>
                  </a:lnTo>
                  <a:lnTo>
                    <a:pt x="23" y="50"/>
                  </a:lnTo>
                  <a:lnTo>
                    <a:pt x="23" y="51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8"/>
                  </a:lnTo>
                  <a:lnTo>
                    <a:pt x="18" y="60"/>
                  </a:lnTo>
                  <a:lnTo>
                    <a:pt x="18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2"/>
                  </a:lnTo>
                  <a:lnTo>
                    <a:pt x="11" y="61"/>
                  </a:lnTo>
                  <a:lnTo>
                    <a:pt x="11" y="60"/>
                  </a:lnTo>
                  <a:lnTo>
                    <a:pt x="10" y="55"/>
                  </a:lnTo>
                  <a:lnTo>
                    <a:pt x="4" y="52"/>
                  </a:lnTo>
                  <a:lnTo>
                    <a:pt x="3" y="51"/>
                  </a:lnTo>
                  <a:lnTo>
                    <a:pt x="1" y="50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7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37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18"/>
                  </a:lnTo>
                  <a:lnTo>
                    <a:pt x="3" y="17"/>
                  </a:lnTo>
                  <a:lnTo>
                    <a:pt x="1" y="17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7"/>
                  </a:lnTo>
                  <a:lnTo>
                    <a:pt x="3" y="5"/>
                  </a:lnTo>
                  <a:lnTo>
                    <a:pt x="4" y="4"/>
                  </a:lnTo>
                  <a:lnTo>
                    <a:pt x="5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152;p3"/>
            <p:cNvSpPr/>
            <p:nvPr/>
          </p:nvSpPr>
          <p:spPr>
            <a:xfrm>
              <a:off x="4438833" y="3919046"/>
              <a:ext cx="36467" cy="31389"/>
            </a:xfrm>
            <a:custGeom>
              <a:rect b="b" l="l" r="r" t="t"/>
              <a:pathLst>
                <a:path extrusionOk="0" h="50" w="52">
                  <a:moveTo>
                    <a:pt x="50" y="50"/>
                  </a:moveTo>
                  <a:lnTo>
                    <a:pt x="47" y="48"/>
                  </a:lnTo>
                  <a:lnTo>
                    <a:pt x="45" y="50"/>
                  </a:lnTo>
                  <a:lnTo>
                    <a:pt x="43" y="50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0" y="41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39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6" y="35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19" y="28"/>
                  </a:lnTo>
                  <a:lnTo>
                    <a:pt x="16" y="27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0" y="27"/>
                  </a:lnTo>
                  <a:lnTo>
                    <a:pt x="9" y="25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3" y="20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6" y="11"/>
                  </a:lnTo>
                  <a:lnTo>
                    <a:pt x="5" y="10"/>
                  </a:lnTo>
                  <a:lnTo>
                    <a:pt x="5" y="7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9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7" y="1"/>
                  </a:lnTo>
                  <a:lnTo>
                    <a:pt x="19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7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5"/>
                  </a:lnTo>
                  <a:lnTo>
                    <a:pt x="35" y="18"/>
                  </a:lnTo>
                  <a:lnTo>
                    <a:pt x="37" y="20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0" y="24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6" y="27"/>
                  </a:lnTo>
                  <a:lnTo>
                    <a:pt x="39" y="28"/>
                  </a:lnTo>
                  <a:lnTo>
                    <a:pt x="40" y="31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3" y="34"/>
                  </a:lnTo>
                  <a:lnTo>
                    <a:pt x="45" y="35"/>
                  </a:lnTo>
                  <a:lnTo>
                    <a:pt x="47" y="34"/>
                  </a:lnTo>
                  <a:lnTo>
                    <a:pt x="50" y="35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40"/>
                  </a:lnTo>
                  <a:lnTo>
                    <a:pt x="49" y="40"/>
                  </a:lnTo>
                  <a:lnTo>
                    <a:pt x="50" y="41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4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50"/>
                  </a:lnTo>
                  <a:close/>
                  <a:moveTo>
                    <a:pt x="26" y="5"/>
                  </a:move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close/>
                  <a:moveTo>
                    <a:pt x="35" y="14"/>
                  </a:moveTo>
                  <a:lnTo>
                    <a:pt x="35" y="14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Google Shape;153;p3"/>
            <p:cNvSpPr/>
            <p:nvPr/>
          </p:nvSpPr>
          <p:spPr>
            <a:xfrm>
              <a:off x="4083976" y="4416880"/>
              <a:ext cx="138156" cy="139368"/>
            </a:xfrm>
            <a:custGeom>
              <a:rect b="b" l="l" r="r" t="t"/>
              <a:pathLst>
                <a:path extrusionOk="0" h="222" w="197">
                  <a:moveTo>
                    <a:pt x="21" y="3"/>
                  </a:moveTo>
                  <a:lnTo>
                    <a:pt x="20" y="5"/>
                  </a:lnTo>
                  <a:lnTo>
                    <a:pt x="18" y="5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0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6" y="15"/>
                  </a:lnTo>
                  <a:lnTo>
                    <a:pt x="6" y="13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6" y="8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2"/>
                  </a:lnTo>
                  <a:lnTo>
                    <a:pt x="20" y="3"/>
                  </a:lnTo>
                  <a:lnTo>
                    <a:pt x="21" y="3"/>
                  </a:lnTo>
                  <a:close/>
                  <a:moveTo>
                    <a:pt x="195" y="105"/>
                  </a:moveTo>
                  <a:lnTo>
                    <a:pt x="195" y="106"/>
                  </a:lnTo>
                  <a:lnTo>
                    <a:pt x="195" y="109"/>
                  </a:lnTo>
                  <a:lnTo>
                    <a:pt x="197" y="112"/>
                  </a:lnTo>
                  <a:lnTo>
                    <a:pt x="197" y="112"/>
                  </a:lnTo>
                  <a:lnTo>
                    <a:pt x="197" y="113"/>
                  </a:lnTo>
                  <a:lnTo>
                    <a:pt x="197" y="113"/>
                  </a:lnTo>
                  <a:lnTo>
                    <a:pt x="195" y="115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7"/>
                  </a:lnTo>
                  <a:lnTo>
                    <a:pt x="195" y="120"/>
                  </a:lnTo>
                  <a:lnTo>
                    <a:pt x="195" y="122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5" y="129"/>
                  </a:lnTo>
                  <a:lnTo>
                    <a:pt x="195" y="132"/>
                  </a:lnTo>
                  <a:lnTo>
                    <a:pt x="194" y="133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5" y="137"/>
                  </a:lnTo>
                  <a:lnTo>
                    <a:pt x="195" y="139"/>
                  </a:lnTo>
                  <a:lnTo>
                    <a:pt x="194" y="139"/>
                  </a:lnTo>
                  <a:lnTo>
                    <a:pt x="193" y="139"/>
                  </a:lnTo>
                  <a:lnTo>
                    <a:pt x="190" y="139"/>
                  </a:lnTo>
                  <a:lnTo>
                    <a:pt x="185" y="139"/>
                  </a:lnTo>
                  <a:lnTo>
                    <a:pt x="180" y="139"/>
                  </a:lnTo>
                  <a:lnTo>
                    <a:pt x="175" y="139"/>
                  </a:lnTo>
                  <a:lnTo>
                    <a:pt x="171" y="139"/>
                  </a:lnTo>
                  <a:lnTo>
                    <a:pt x="167" y="139"/>
                  </a:lnTo>
                  <a:lnTo>
                    <a:pt x="164" y="139"/>
                  </a:lnTo>
                  <a:lnTo>
                    <a:pt x="164" y="142"/>
                  </a:lnTo>
                  <a:lnTo>
                    <a:pt x="164" y="146"/>
                  </a:lnTo>
                  <a:lnTo>
                    <a:pt x="164" y="152"/>
                  </a:lnTo>
                  <a:lnTo>
                    <a:pt x="164" y="157"/>
                  </a:lnTo>
                  <a:lnTo>
                    <a:pt x="164" y="162"/>
                  </a:lnTo>
                  <a:lnTo>
                    <a:pt x="164" y="167"/>
                  </a:lnTo>
                  <a:lnTo>
                    <a:pt x="164" y="173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3"/>
                  </a:lnTo>
                  <a:lnTo>
                    <a:pt x="165" y="197"/>
                  </a:lnTo>
                  <a:lnTo>
                    <a:pt x="167" y="199"/>
                  </a:lnTo>
                  <a:lnTo>
                    <a:pt x="168" y="200"/>
                  </a:lnTo>
                  <a:lnTo>
                    <a:pt x="171" y="202"/>
                  </a:lnTo>
                  <a:lnTo>
                    <a:pt x="173" y="203"/>
                  </a:lnTo>
                  <a:lnTo>
                    <a:pt x="175" y="206"/>
                  </a:lnTo>
                  <a:lnTo>
                    <a:pt x="178" y="209"/>
                  </a:lnTo>
                  <a:lnTo>
                    <a:pt x="183" y="213"/>
                  </a:lnTo>
                  <a:lnTo>
                    <a:pt x="185" y="216"/>
                  </a:lnTo>
                  <a:lnTo>
                    <a:pt x="181" y="216"/>
                  </a:lnTo>
                  <a:lnTo>
                    <a:pt x="174" y="217"/>
                  </a:lnTo>
                  <a:lnTo>
                    <a:pt x="168" y="219"/>
                  </a:lnTo>
                  <a:lnTo>
                    <a:pt x="163" y="220"/>
                  </a:lnTo>
                  <a:lnTo>
                    <a:pt x="160" y="220"/>
                  </a:lnTo>
                  <a:lnTo>
                    <a:pt x="154" y="222"/>
                  </a:lnTo>
                  <a:lnTo>
                    <a:pt x="154" y="222"/>
                  </a:lnTo>
                  <a:lnTo>
                    <a:pt x="153" y="220"/>
                  </a:lnTo>
                  <a:lnTo>
                    <a:pt x="150" y="220"/>
                  </a:lnTo>
                  <a:lnTo>
                    <a:pt x="145" y="222"/>
                  </a:lnTo>
                  <a:lnTo>
                    <a:pt x="144" y="222"/>
                  </a:lnTo>
                  <a:lnTo>
                    <a:pt x="141" y="222"/>
                  </a:lnTo>
                  <a:lnTo>
                    <a:pt x="140" y="220"/>
                  </a:lnTo>
                  <a:lnTo>
                    <a:pt x="138" y="220"/>
                  </a:lnTo>
                  <a:lnTo>
                    <a:pt x="134" y="219"/>
                  </a:lnTo>
                  <a:lnTo>
                    <a:pt x="130" y="219"/>
                  </a:lnTo>
                  <a:lnTo>
                    <a:pt x="125" y="219"/>
                  </a:lnTo>
                  <a:lnTo>
                    <a:pt x="121" y="219"/>
                  </a:lnTo>
                  <a:lnTo>
                    <a:pt x="118" y="219"/>
                  </a:lnTo>
                  <a:lnTo>
                    <a:pt x="117" y="219"/>
                  </a:lnTo>
                  <a:lnTo>
                    <a:pt x="115" y="219"/>
                  </a:lnTo>
                  <a:lnTo>
                    <a:pt x="113" y="217"/>
                  </a:lnTo>
                  <a:lnTo>
                    <a:pt x="111" y="216"/>
                  </a:lnTo>
                  <a:lnTo>
                    <a:pt x="108" y="215"/>
                  </a:lnTo>
                  <a:lnTo>
                    <a:pt x="107" y="212"/>
                  </a:lnTo>
                  <a:lnTo>
                    <a:pt x="107" y="212"/>
                  </a:lnTo>
                  <a:lnTo>
                    <a:pt x="107" y="212"/>
                  </a:lnTo>
                  <a:lnTo>
                    <a:pt x="105" y="212"/>
                  </a:lnTo>
                  <a:lnTo>
                    <a:pt x="101" y="212"/>
                  </a:lnTo>
                  <a:lnTo>
                    <a:pt x="97" y="212"/>
                  </a:lnTo>
                  <a:lnTo>
                    <a:pt x="94" y="212"/>
                  </a:lnTo>
                  <a:lnTo>
                    <a:pt x="88" y="212"/>
                  </a:lnTo>
                  <a:lnTo>
                    <a:pt x="83" y="212"/>
                  </a:lnTo>
                  <a:lnTo>
                    <a:pt x="76" y="212"/>
                  </a:lnTo>
                  <a:lnTo>
                    <a:pt x="70" y="212"/>
                  </a:lnTo>
                  <a:lnTo>
                    <a:pt x="64" y="212"/>
                  </a:lnTo>
                  <a:lnTo>
                    <a:pt x="57" y="212"/>
                  </a:lnTo>
                  <a:lnTo>
                    <a:pt x="51" y="212"/>
                  </a:lnTo>
                  <a:lnTo>
                    <a:pt x="46" y="212"/>
                  </a:lnTo>
                  <a:lnTo>
                    <a:pt x="43" y="212"/>
                  </a:lnTo>
                  <a:lnTo>
                    <a:pt x="38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4" y="212"/>
                  </a:lnTo>
                  <a:lnTo>
                    <a:pt x="34" y="210"/>
                  </a:lnTo>
                  <a:lnTo>
                    <a:pt x="33" y="210"/>
                  </a:lnTo>
                  <a:lnTo>
                    <a:pt x="31" y="209"/>
                  </a:lnTo>
                  <a:lnTo>
                    <a:pt x="28" y="207"/>
                  </a:lnTo>
                  <a:lnTo>
                    <a:pt x="27" y="206"/>
                  </a:lnTo>
                  <a:lnTo>
                    <a:pt x="26" y="205"/>
                  </a:lnTo>
                  <a:lnTo>
                    <a:pt x="24" y="205"/>
                  </a:lnTo>
                  <a:lnTo>
                    <a:pt x="23" y="205"/>
                  </a:lnTo>
                  <a:lnTo>
                    <a:pt x="21" y="205"/>
                  </a:lnTo>
                  <a:lnTo>
                    <a:pt x="18" y="205"/>
                  </a:lnTo>
                  <a:lnTo>
                    <a:pt x="17" y="206"/>
                  </a:lnTo>
                  <a:lnTo>
                    <a:pt x="16" y="206"/>
                  </a:lnTo>
                  <a:lnTo>
                    <a:pt x="14" y="207"/>
                  </a:lnTo>
                  <a:lnTo>
                    <a:pt x="13" y="209"/>
                  </a:lnTo>
                  <a:lnTo>
                    <a:pt x="10" y="209"/>
                  </a:lnTo>
                  <a:lnTo>
                    <a:pt x="8" y="209"/>
                  </a:lnTo>
                  <a:lnTo>
                    <a:pt x="7" y="209"/>
                  </a:lnTo>
                  <a:lnTo>
                    <a:pt x="6" y="207"/>
                  </a:lnTo>
                  <a:lnTo>
                    <a:pt x="4" y="207"/>
                  </a:lnTo>
                  <a:lnTo>
                    <a:pt x="1" y="209"/>
                  </a:lnTo>
                  <a:lnTo>
                    <a:pt x="0" y="209"/>
                  </a:lnTo>
                  <a:lnTo>
                    <a:pt x="0" y="203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87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85"/>
                  </a:lnTo>
                  <a:lnTo>
                    <a:pt x="1" y="183"/>
                  </a:lnTo>
                  <a:lnTo>
                    <a:pt x="3" y="182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66"/>
                  </a:lnTo>
                  <a:lnTo>
                    <a:pt x="10" y="156"/>
                  </a:lnTo>
                  <a:lnTo>
                    <a:pt x="11" y="152"/>
                  </a:lnTo>
                  <a:lnTo>
                    <a:pt x="13" y="146"/>
                  </a:lnTo>
                  <a:lnTo>
                    <a:pt x="18" y="139"/>
                  </a:lnTo>
                  <a:lnTo>
                    <a:pt x="20" y="135"/>
                  </a:lnTo>
                  <a:lnTo>
                    <a:pt x="23" y="133"/>
                  </a:lnTo>
                  <a:lnTo>
                    <a:pt x="26" y="130"/>
                  </a:lnTo>
                  <a:lnTo>
                    <a:pt x="28" y="127"/>
                  </a:lnTo>
                  <a:lnTo>
                    <a:pt x="30" y="125"/>
                  </a:lnTo>
                  <a:lnTo>
                    <a:pt x="33" y="119"/>
                  </a:lnTo>
                  <a:lnTo>
                    <a:pt x="33" y="115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1" y="102"/>
                  </a:lnTo>
                  <a:lnTo>
                    <a:pt x="31" y="100"/>
                  </a:lnTo>
                  <a:lnTo>
                    <a:pt x="30" y="99"/>
                  </a:lnTo>
                  <a:lnTo>
                    <a:pt x="28" y="97"/>
                  </a:lnTo>
                  <a:lnTo>
                    <a:pt x="27" y="95"/>
                  </a:lnTo>
                  <a:lnTo>
                    <a:pt x="24" y="90"/>
                  </a:lnTo>
                  <a:lnTo>
                    <a:pt x="24" y="87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0"/>
                  </a:lnTo>
                  <a:lnTo>
                    <a:pt x="21" y="77"/>
                  </a:lnTo>
                  <a:lnTo>
                    <a:pt x="20" y="75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1" y="72"/>
                  </a:lnTo>
                  <a:lnTo>
                    <a:pt x="21" y="73"/>
                  </a:lnTo>
                  <a:lnTo>
                    <a:pt x="20" y="73"/>
                  </a:lnTo>
                  <a:lnTo>
                    <a:pt x="20" y="75"/>
                  </a:lnTo>
                  <a:lnTo>
                    <a:pt x="26" y="69"/>
                  </a:lnTo>
                  <a:lnTo>
                    <a:pt x="26" y="67"/>
                  </a:lnTo>
                  <a:lnTo>
                    <a:pt x="26" y="66"/>
                  </a:lnTo>
                  <a:lnTo>
                    <a:pt x="26" y="65"/>
                  </a:lnTo>
                  <a:lnTo>
                    <a:pt x="26" y="63"/>
                  </a:lnTo>
                  <a:lnTo>
                    <a:pt x="21" y="55"/>
                  </a:lnTo>
                  <a:lnTo>
                    <a:pt x="17" y="46"/>
                  </a:lnTo>
                  <a:lnTo>
                    <a:pt x="17" y="40"/>
                  </a:lnTo>
                  <a:lnTo>
                    <a:pt x="11" y="35"/>
                  </a:lnTo>
                  <a:lnTo>
                    <a:pt x="10" y="32"/>
                  </a:lnTo>
                  <a:lnTo>
                    <a:pt x="8" y="29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3" y="26"/>
                  </a:lnTo>
                  <a:lnTo>
                    <a:pt x="16" y="26"/>
                  </a:lnTo>
                  <a:lnTo>
                    <a:pt x="20" y="25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1" y="23"/>
                  </a:lnTo>
                  <a:lnTo>
                    <a:pt x="36" y="23"/>
                  </a:lnTo>
                  <a:lnTo>
                    <a:pt x="37" y="23"/>
                  </a:lnTo>
                  <a:lnTo>
                    <a:pt x="38" y="23"/>
                  </a:lnTo>
                  <a:lnTo>
                    <a:pt x="41" y="25"/>
                  </a:lnTo>
                  <a:lnTo>
                    <a:pt x="46" y="23"/>
                  </a:lnTo>
                  <a:lnTo>
                    <a:pt x="47" y="23"/>
                  </a:lnTo>
                  <a:lnTo>
                    <a:pt x="53" y="23"/>
                  </a:lnTo>
                  <a:lnTo>
                    <a:pt x="58" y="23"/>
                  </a:lnTo>
                  <a:lnTo>
                    <a:pt x="63" y="23"/>
                  </a:lnTo>
                  <a:lnTo>
                    <a:pt x="68" y="23"/>
                  </a:lnTo>
                  <a:lnTo>
                    <a:pt x="73" y="23"/>
                  </a:lnTo>
                  <a:lnTo>
                    <a:pt x="74" y="25"/>
                  </a:lnTo>
                  <a:lnTo>
                    <a:pt x="76" y="25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8" y="27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32"/>
                  </a:lnTo>
                  <a:lnTo>
                    <a:pt x="78" y="33"/>
                  </a:lnTo>
                  <a:lnTo>
                    <a:pt x="80" y="36"/>
                  </a:lnTo>
                  <a:lnTo>
                    <a:pt x="81" y="37"/>
                  </a:lnTo>
                  <a:lnTo>
                    <a:pt x="83" y="40"/>
                  </a:lnTo>
                  <a:lnTo>
                    <a:pt x="83" y="43"/>
                  </a:lnTo>
                  <a:lnTo>
                    <a:pt x="83" y="45"/>
                  </a:lnTo>
                  <a:lnTo>
                    <a:pt x="83" y="46"/>
                  </a:lnTo>
                  <a:lnTo>
                    <a:pt x="84" y="47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7" y="52"/>
                  </a:lnTo>
                  <a:lnTo>
                    <a:pt x="90" y="56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6" y="59"/>
                  </a:lnTo>
                  <a:lnTo>
                    <a:pt x="98" y="59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3" y="57"/>
                  </a:lnTo>
                  <a:lnTo>
                    <a:pt x="105" y="57"/>
                  </a:lnTo>
                  <a:lnTo>
                    <a:pt x="107" y="57"/>
                  </a:lnTo>
                  <a:lnTo>
                    <a:pt x="108" y="56"/>
                  </a:lnTo>
                  <a:lnTo>
                    <a:pt x="110" y="56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8" y="57"/>
                  </a:lnTo>
                  <a:lnTo>
                    <a:pt x="121" y="57"/>
                  </a:lnTo>
                  <a:lnTo>
                    <a:pt x="121" y="53"/>
                  </a:lnTo>
                  <a:lnTo>
                    <a:pt x="121" y="52"/>
                  </a:lnTo>
                  <a:lnTo>
                    <a:pt x="123" y="50"/>
                  </a:lnTo>
                  <a:lnTo>
                    <a:pt x="124" y="49"/>
                  </a:lnTo>
                  <a:lnTo>
                    <a:pt x="124" y="47"/>
                  </a:lnTo>
                  <a:lnTo>
                    <a:pt x="124" y="46"/>
                  </a:lnTo>
                  <a:lnTo>
                    <a:pt x="124" y="45"/>
                  </a:lnTo>
                  <a:lnTo>
                    <a:pt x="127" y="42"/>
                  </a:lnTo>
                  <a:lnTo>
                    <a:pt x="130" y="42"/>
                  </a:lnTo>
                  <a:lnTo>
                    <a:pt x="131" y="42"/>
                  </a:lnTo>
                  <a:lnTo>
                    <a:pt x="134" y="40"/>
                  </a:lnTo>
                  <a:lnTo>
                    <a:pt x="140" y="40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0" y="43"/>
                  </a:lnTo>
                  <a:lnTo>
                    <a:pt x="140" y="45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7" y="46"/>
                  </a:lnTo>
                  <a:lnTo>
                    <a:pt x="151" y="46"/>
                  </a:lnTo>
                  <a:lnTo>
                    <a:pt x="155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1" y="47"/>
                  </a:lnTo>
                  <a:lnTo>
                    <a:pt x="161" y="49"/>
                  </a:lnTo>
                  <a:lnTo>
                    <a:pt x="161" y="52"/>
                  </a:lnTo>
                  <a:lnTo>
                    <a:pt x="160" y="56"/>
                  </a:lnTo>
                  <a:lnTo>
                    <a:pt x="161" y="59"/>
                  </a:lnTo>
                  <a:lnTo>
                    <a:pt x="163" y="63"/>
                  </a:lnTo>
                  <a:lnTo>
                    <a:pt x="163" y="69"/>
                  </a:lnTo>
                  <a:lnTo>
                    <a:pt x="161" y="72"/>
                  </a:lnTo>
                  <a:lnTo>
                    <a:pt x="161" y="76"/>
                  </a:lnTo>
                  <a:lnTo>
                    <a:pt x="161" y="82"/>
                  </a:lnTo>
                  <a:lnTo>
                    <a:pt x="161" y="83"/>
                  </a:lnTo>
                  <a:lnTo>
                    <a:pt x="163" y="86"/>
                  </a:lnTo>
                  <a:lnTo>
                    <a:pt x="165" y="87"/>
                  </a:lnTo>
                  <a:lnTo>
                    <a:pt x="167" y="90"/>
                  </a:lnTo>
                  <a:lnTo>
                    <a:pt x="168" y="95"/>
                  </a:lnTo>
                  <a:lnTo>
                    <a:pt x="168" y="96"/>
                  </a:lnTo>
                  <a:lnTo>
                    <a:pt x="168" y="97"/>
                  </a:lnTo>
                  <a:lnTo>
                    <a:pt x="168" y="99"/>
                  </a:lnTo>
                  <a:lnTo>
                    <a:pt x="168" y="102"/>
                  </a:lnTo>
                  <a:lnTo>
                    <a:pt x="168" y="103"/>
                  </a:lnTo>
                  <a:lnTo>
                    <a:pt x="167" y="103"/>
                  </a:lnTo>
                  <a:lnTo>
                    <a:pt x="167" y="105"/>
                  </a:lnTo>
                  <a:lnTo>
                    <a:pt x="167" y="106"/>
                  </a:lnTo>
                  <a:lnTo>
                    <a:pt x="167" y="107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70" y="109"/>
                  </a:lnTo>
                  <a:lnTo>
                    <a:pt x="171" y="107"/>
                  </a:lnTo>
                  <a:lnTo>
                    <a:pt x="173" y="107"/>
                  </a:lnTo>
                  <a:lnTo>
                    <a:pt x="174" y="107"/>
                  </a:lnTo>
                  <a:lnTo>
                    <a:pt x="177" y="107"/>
                  </a:lnTo>
                  <a:lnTo>
                    <a:pt x="181" y="107"/>
                  </a:lnTo>
                  <a:lnTo>
                    <a:pt x="183" y="107"/>
                  </a:lnTo>
                  <a:lnTo>
                    <a:pt x="187" y="106"/>
                  </a:lnTo>
                  <a:lnTo>
                    <a:pt x="187" y="106"/>
                  </a:lnTo>
                  <a:lnTo>
                    <a:pt x="188" y="106"/>
                  </a:lnTo>
                  <a:lnTo>
                    <a:pt x="191" y="106"/>
                  </a:lnTo>
                  <a:lnTo>
                    <a:pt x="193" y="106"/>
                  </a:lnTo>
                  <a:lnTo>
                    <a:pt x="194" y="106"/>
                  </a:lnTo>
                  <a:lnTo>
                    <a:pt x="194" y="105"/>
                  </a:lnTo>
                  <a:lnTo>
                    <a:pt x="194" y="105"/>
                  </a:lnTo>
                  <a:lnTo>
                    <a:pt x="195" y="10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Google Shape;154;p3"/>
            <p:cNvSpPr/>
            <p:nvPr/>
          </p:nvSpPr>
          <p:spPr>
            <a:xfrm>
              <a:off x="3125302" y="4596426"/>
              <a:ext cx="223714" cy="438822"/>
            </a:xfrm>
            <a:custGeom>
              <a:rect b="b" l="l" r="r" t="t"/>
              <a:pathLst>
                <a:path extrusionOk="0" h="699" w="319">
                  <a:moveTo>
                    <a:pt x="174" y="7"/>
                  </a:moveTo>
                  <a:lnTo>
                    <a:pt x="176" y="7"/>
                  </a:lnTo>
                  <a:lnTo>
                    <a:pt x="176" y="8"/>
                  </a:lnTo>
                  <a:lnTo>
                    <a:pt x="177" y="10"/>
                  </a:lnTo>
                  <a:lnTo>
                    <a:pt x="180" y="11"/>
                  </a:lnTo>
                  <a:lnTo>
                    <a:pt x="182" y="14"/>
                  </a:lnTo>
                  <a:lnTo>
                    <a:pt x="184" y="18"/>
                  </a:lnTo>
                  <a:lnTo>
                    <a:pt x="187" y="21"/>
                  </a:lnTo>
                  <a:lnTo>
                    <a:pt x="189" y="24"/>
                  </a:lnTo>
                  <a:lnTo>
                    <a:pt x="190" y="26"/>
                  </a:lnTo>
                  <a:lnTo>
                    <a:pt x="193" y="26"/>
                  </a:lnTo>
                  <a:lnTo>
                    <a:pt x="193" y="27"/>
                  </a:lnTo>
                  <a:lnTo>
                    <a:pt x="193" y="27"/>
                  </a:lnTo>
                  <a:lnTo>
                    <a:pt x="194" y="28"/>
                  </a:lnTo>
                  <a:lnTo>
                    <a:pt x="199" y="30"/>
                  </a:lnTo>
                  <a:lnTo>
                    <a:pt x="200" y="31"/>
                  </a:lnTo>
                  <a:lnTo>
                    <a:pt x="202" y="34"/>
                  </a:lnTo>
                  <a:lnTo>
                    <a:pt x="204" y="36"/>
                  </a:lnTo>
                  <a:lnTo>
                    <a:pt x="210" y="37"/>
                  </a:lnTo>
                  <a:lnTo>
                    <a:pt x="213" y="38"/>
                  </a:lnTo>
                  <a:lnTo>
                    <a:pt x="216" y="38"/>
                  </a:lnTo>
                  <a:lnTo>
                    <a:pt x="219" y="40"/>
                  </a:lnTo>
                  <a:lnTo>
                    <a:pt x="224" y="43"/>
                  </a:lnTo>
                  <a:lnTo>
                    <a:pt x="227" y="44"/>
                  </a:lnTo>
                  <a:lnTo>
                    <a:pt x="227" y="46"/>
                  </a:lnTo>
                  <a:lnTo>
                    <a:pt x="230" y="47"/>
                  </a:lnTo>
                  <a:lnTo>
                    <a:pt x="239" y="51"/>
                  </a:lnTo>
                  <a:lnTo>
                    <a:pt x="241" y="53"/>
                  </a:lnTo>
                  <a:lnTo>
                    <a:pt x="243" y="54"/>
                  </a:lnTo>
                  <a:lnTo>
                    <a:pt x="244" y="54"/>
                  </a:lnTo>
                  <a:lnTo>
                    <a:pt x="244" y="56"/>
                  </a:lnTo>
                  <a:lnTo>
                    <a:pt x="246" y="54"/>
                  </a:lnTo>
                  <a:lnTo>
                    <a:pt x="247" y="56"/>
                  </a:lnTo>
                  <a:lnTo>
                    <a:pt x="250" y="56"/>
                  </a:lnTo>
                  <a:lnTo>
                    <a:pt x="253" y="58"/>
                  </a:lnTo>
                  <a:lnTo>
                    <a:pt x="256" y="61"/>
                  </a:lnTo>
                  <a:lnTo>
                    <a:pt x="256" y="63"/>
                  </a:lnTo>
                  <a:lnTo>
                    <a:pt x="257" y="64"/>
                  </a:lnTo>
                  <a:lnTo>
                    <a:pt x="256" y="64"/>
                  </a:lnTo>
                  <a:lnTo>
                    <a:pt x="256" y="66"/>
                  </a:lnTo>
                  <a:lnTo>
                    <a:pt x="254" y="67"/>
                  </a:lnTo>
                  <a:lnTo>
                    <a:pt x="253" y="67"/>
                  </a:lnTo>
                  <a:lnTo>
                    <a:pt x="253" y="68"/>
                  </a:lnTo>
                  <a:lnTo>
                    <a:pt x="253" y="70"/>
                  </a:lnTo>
                  <a:lnTo>
                    <a:pt x="251" y="71"/>
                  </a:lnTo>
                  <a:lnTo>
                    <a:pt x="251" y="73"/>
                  </a:lnTo>
                  <a:lnTo>
                    <a:pt x="251" y="73"/>
                  </a:lnTo>
                  <a:lnTo>
                    <a:pt x="250" y="74"/>
                  </a:lnTo>
                  <a:lnTo>
                    <a:pt x="249" y="76"/>
                  </a:lnTo>
                  <a:lnTo>
                    <a:pt x="247" y="76"/>
                  </a:lnTo>
                  <a:lnTo>
                    <a:pt x="247" y="77"/>
                  </a:lnTo>
                  <a:lnTo>
                    <a:pt x="247" y="77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6" y="80"/>
                  </a:lnTo>
                  <a:lnTo>
                    <a:pt x="246" y="81"/>
                  </a:lnTo>
                  <a:lnTo>
                    <a:pt x="247" y="84"/>
                  </a:lnTo>
                  <a:lnTo>
                    <a:pt x="247" y="84"/>
                  </a:lnTo>
                  <a:lnTo>
                    <a:pt x="246" y="84"/>
                  </a:lnTo>
                  <a:lnTo>
                    <a:pt x="246" y="86"/>
                  </a:lnTo>
                  <a:lnTo>
                    <a:pt x="246" y="86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4" y="88"/>
                  </a:lnTo>
                  <a:lnTo>
                    <a:pt x="244" y="88"/>
                  </a:lnTo>
                  <a:lnTo>
                    <a:pt x="243" y="90"/>
                  </a:lnTo>
                  <a:lnTo>
                    <a:pt x="241" y="90"/>
                  </a:lnTo>
                  <a:lnTo>
                    <a:pt x="241" y="91"/>
                  </a:lnTo>
                  <a:lnTo>
                    <a:pt x="241" y="93"/>
                  </a:lnTo>
                  <a:lnTo>
                    <a:pt x="240" y="93"/>
                  </a:lnTo>
                  <a:lnTo>
                    <a:pt x="239" y="94"/>
                  </a:lnTo>
                  <a:lnTo>
                    <a:pt x="240" y="97"/>
                  </a:lnTo>
                  <a:lnTo>
                    <a:pt x="247" y="96"/>
                  </a:lnTo>
                  <a:lnTo>
                    <a:pt x="253" y="97"/>
                  </a:lnTo>
                  <a:lnTo>
                    <a:pt x="260" y="98"/>
                  </a:lnTo>
                  <a:lnTo>
                    <a:pt x="264" y="100"/>
                  </a:lnTo>
                  <a:lnTo>
                    <a:pt x="266" y="98"/>
                  </a:lnTo>
                  <a:lnTo>
                    <a:pt x="267" y="98"/>
                  </a:lnTo>
                  <a:lnTo>
                    <a:pt x="269" y="100"/>
                  </a:lnTo>
                  <a:lnTo>
                    <a:pt x="270" y="100"/>
                  </a:lnTo>
                  <a:lnTo>
                    <a:pt x="271" y="100"/>
                  </a:lnTo>
                  <a:lnTo>
                    <a:pt x="273" y="100"/>
                  </a:lnTo>
                  <a:lnTo>
                    <a:pt x="274" y="101"/>
                  </a:lnTo>
                  <a:lnTo>
                    <a:pt x="276" y="100"/>
                  </a:lnTo>
                  <a:lnTo>
                    <a:pt x="277" y="98"/>
                  </a:lnTo>
                  <a:lnTo>
                    <a:pt x="277" y="97"/>
                  </a:lnTo>
                  <a:lnTo>
                    <a:pt x="279" y="97"/>
                  </a:lnTo>
                  <a:lnTo>
                    <a:pt x="280" y="97"/>
                  </a:lnTo>
                  <a:lnTo>
                    <a:pt x="283" y="97"/>
                  </a:lnTo>
                  <a:lnTo>
                    <a:pt x="284" y="97"/>
                  </a:lnTo>
                  <a:lnTo>
                    <a:pt x="284" y="98"/>
                  </a:lnTo>
                  <a:lnTo>
                    <a:pt x="286" y="98"/>
                  </a:lnTo>
                  <a:lnTo>
                    <a:pt x="287" y="97"/>
                  </a:lnTo>
                  <a:lnTo>
                    <a:pt x="289" y="96"/>
                  </a:lnTo>
                  <a:lnTo>
                    <a:pt x="289" y="94"/>
                  </a:lnTo>
                  <a:lnTo>
                    <a:pt x="289" y="94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1" y="91"/>
                  </a:lnTo>
                  <a:lnTo>
                    <a:pt x="291" y="90"/>
                  </a:lnTo>
                  <a:lnTo>
                    <a:pt x="294" y="90"/>
                  </a:lnTo>
                  <a:lnTo>
                    <a:pt x="296" y="90"/>
                  </a:lnTo>
                  <a:lnTo>
                    <a:pt x="296" y="88"/>
                  </a:lnTo>
                  <a:lnTo>
                    <a:pt x="296" y="88"/>
                  </a:lnTo>
                  <a:lnTo>
                    <a:pt x="297" y="87"/>
                  </a:lnTo>
                  <a:lnTo>
                    <a:pt x="299" y="87"/>
                  </a:lnTo>
                  <a:lnTo>
                    <a:pt x="299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3"/>
                  </a:lnTo>
                  <a:lnTo>
                    <a:pt x="303" y="78"/>
                  </a:lnTo>
                  <a:lnTo>
                    <a:pt x="303" y="73"/>
                  </a:lnTo>
                  <a:lnTo>
                    <a:pt x="304" y="66"/>
                  </a:lnTo>
                  <a:lnTo>
                    <a:pt x="306" y="66"/>
                  </a:lnTo>
                  <a:lnTo>
                    <a:pt x="306" y="66"/>
                  </a:lnTo>
                  <a:lnTo>
                    <a:pt x="307" y="67"/>
                  </a:lnTo>
                  <a:lnTo>
                    <a:pt x="307" y="66"/>
                  </a:lnTo>
                  <a:lnTo>
                    <a:pt x="309" y="66"/>
                  </a:lnTo>
                  <a:lnTo>
                    <a:pt x="310" y="66"/>
                  </a:lnTo>
                  <a:lnTo>
                    <a:pt x="310" y="64"/>
                  </a:lnTo>
                  <a:lnTo>
                    <a:pt x="311" y="64"/>
                  </a:lnTo>
                  <a:lnTo>
                    <a:pt x="311" y="66"/>
                  </a:lnTo>
                  <a:lnTo>
                    <a:pt x="313" y="66"/>
                  </a:lnTo>
                  <a:lnTo>
                    <a:pt x="313" y="66"/>
                  </a:lnTo>
                  <a:lnTo>
                    <a:pt x="314" y="67"/>
                  </a:lnTo>
                  <a:lnTo>
                    <a:pt x="316" y="67"/>
                  </a:lnTo>
                  <a:lnTo>
                    <a:pt x="316" y="68"/>
                  </a:lnTo>
                  <a:lnTo>
                    <a:pt x="317" y="73"/>
                  </a:lnTo>
                  <a:lnTo>
                    <a:pt x="317" y="74"/>
                  </a:lnTo>
                  <a:lnTo>
                    <a:pt x="319" y="77"/>
                  </a:lnTo>
                  <a:lnTo>
                    <a:pt x="319" y="78"/>
                  </a:lnTo>
                  <a:lnTo>
                    <a:pt x="319" y="80"/>
                  </a:lnTo>
                  <a:lnTo>
                    <a:pt x="319" y="81"/>
                  </a:lnTo>
                  <a:lnTo>
                    <a:pt x="317" y="86"/>
                  </a:lnTo>
                  <a:lnTo>
                    <a:pt x="317" y="87"/>
                  </a:lnTo>
                  <a:lnTo>
                    <a:pt x="319" y="87"/>
                  </a:lnTo>
                  <a:lnTo>
                    <a:pt x="319" y="88"/>
                  </a:lnTo>
                  <a:lnTo>
                    <a:pt x="317" y="90"/>
                  </a:lnTo>
                  <a:lnTo>
                    <a:pt x="316" y="93"/>
                  </a:lnTo>
                  <a:lnTo>
                    <a:pt x="316" y="94"/>
                  </a:lnTo>
                  <a:lnTo>
                    <a:pt x="314" y="94"/>
                  </a:lnTo>
                  <a:lnTo>
                    <a:pt x="313" y="96"/>
                  </a:lnTo>
                  <a:lnTo>
                    <a:pt x="311" y="96"/>
                  </a:lnTo>
                  <a:lnTo>
                    <a:pt x="311" y="96"/>
                  </a:lnTo>
                  <a:lnTo>
                    <a:pt x="310" y="96"/>
                  </a:lnTo>
                  <a:lnTo>
                    <a:pt x="310" y="98"/>
                  </a:lnTo>
                  <a:lnTo>
                    <a:pt x="309" y="98"/>
                  </a:lnTo>
                  <a:lnTo>
                    <a:pt x="307" y="98"/>
                  </a:lnTo>
                  <a:lnTo>
                    <a:pt x="306" y="98"/>
                  </a:lnTo>
                  <a:lnTo>
                    <a:pt x="304" y="98"/>
                  </a:lnTo>
                  <a:lnTo>
                    <a:pt x="304" y="100"/>
                  </a:lnTo>
                  <a:lnTo>
                    <a:pt x="303" y="100"/>
                  </a:lnTo>
                  <a:lnTo>
                    <a:pt x="303" y="101"/>
                  </a:lnTo>
                  <a:lnTo>
                    <a:pt x="301" y="100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299" y="103"/>
                  </a:lnTo>
                  <a:lnTo>
                    <a:pt x="299" y="104"/>
                  </a:lnTo>
                  <a:lnTo>
                    <a:pt x="299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6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1" y="108"/>
                  </a:lnTo>
                  <a:lnTo>
                    <a:pt x="291" y="110"/>
                  </a:lnTo>
                  <a:lnTo>
                    <a:pt x="290" y="110"/>
                  </a:lnTo>
                  <a:lnTo>
                    <a:pt x="289" y="111"/>
                  </a:lnTo>
                  <a:lnTo>
                    <a:pt x="286" y="113"/>
                  </a:lnTo>
                  <a:lnTo>
                    <a:pt x="286" y="114"/>
                  </a:lnTo>
                  <a:lnTo>
                    <a:pt x="287" y="11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6" y="116"/>
                  </a:lnTo>
                  <a:lnTo>
                    <a:pt x="284" y="116"/>
                  </a:lnTo>
                  <a:lnTo>
                    <a:pt x="284" y="116"/>
                  </a:lnTo>
                  <a:lnTo>
                    <a:pt x="283" y="116"/>
                  </a:lnTo>
                  <a:lnTo>
                    <a:pt x="283" y="116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1" y="118"/>
                  </a:lnTo>
                  <a:lnTo>
                    <a:pt x="281" y="118"/>
                  </a:lnTo>
                  <a:lnTo>
                    <a:pt x="281" y="120"/>
                  </a:lnTo>
                  <a:lnTo>
                    <a:pt x="280" y="121"/>
                  </a:lnTo>
                  <a:lnTo>
                    <a:pt x="279" y="123"/>
                  </a:lnTo>
                  <a:lnTo>
                    <a:pt x="277" y="124"/>
                  </a:lnTo>
                  <a:lnTo>
                    <a:pt x="276" y="127"/>
                  </a:lnTo>
                  <a:lnTo>
                    <a:pt x="274" y="128"/>
                  </a:lnTo>
                  <a:lnTo>
                    <a:pt x="273" y="130"/>
                  </a:lnTo>
                  <a:lnTo>
                    <a:pt x="271" y="131"/>
                  </a:lnTo>
                  <a:lnTo>
                    <a:pt x="271" y="133"/>
                  </a:lnTo>
                  <a:lnTo>
                    <a:pt x="269" y="134"/>
                  </a:lnTo>
                  <a:lnTo>
                    <a:pt x="267" y="138"/>
                  </a:lnTo>
                  <a:lnTo>
                    <a:pt x="264" y="140"/>
                  </a:lnTo>
                  <a:lnTo>
                    <a:pt x="261" y="141"/>
                  </a:lnTo>
                  <a:lnTo>
                    <a:pt x="261" y="143"/>
                  </a:lnTo>
                  <a:lnTo>
                    <a:pt x="260" y="144"/>
                  </a:lnTo>
                  <a:lnTo>
                    <a:pt x="259" y="146"/>
                  </a:lnTo>
                  <a:lnTo>
                    <a:pt x="257" y="148"/>
                  </a:lnTo>
                  <a:lnTo>
                    <a:pt x="256" y="148"/>
                  </a:lnTo>
                  <a:lnTo>
                    <a:pt x="256" y="150"/>
                  </a:lnTo>
                  <a:lnTo>
                    <a:pt x="256" y="151"/>
                  </a:lnTo>
                  <a:lnTo>
                    <a:pt x="254" y="153"/>
                  </a:lnTo>
                  <a:lnTo>
                    <a:pt x="253" y="154"/>
                  </a:lnTo>
                  <a:lnTo>
                    <a:pt x="251" y="157"/>
                  </a:lnTo>
                  <a:lnTo>
                    <a:pt x="253" y="158"/>
                  </a:lnTo>
                  <a:lnTo>
                    <a:pt x="253" y="161"/>
                  </a:lnTo>
                  <a:lnTo>
                    <a:pt x="253" y="163"/>
                  </a:lnTo>
                  <a:lnTo>
                    <a:pt x="251" y="163"/>
                  </a:lnTo>
                  <a:lnTo>
                    <a:pt x="251" y="164"/>
                  </a:lnTo>
                  <a:lnTo>
                    <a:pt x="251" y="164"/>
                  </a:lnTo>
                  <a:lnTo>
                    <a:pt x="251" y="165"/>
                  </a:lnTo>
                  <a:lnTo>
                    <a:pt x="251" y="167"/>
                  </a:lnTo>
                  <a:lnTo>
                    <a:pt x="250" y="170"/>
                  </a:lnTo>
                  <a:lnTo>
                    <a:pt x="249" y="171"/>
                  </a:lnTo>
                  <a:lnTo>
                    <a:pt x="249" y="173"/>
                  </a:lnTo>
                  <a:lnTo>
                    <a:pt x="250" y="174"/>
                  </a:lnTo>
                  <a:lnTo>
                    <a:pt x="250" y="174"/>
                  </a:lnTo>
                  <a:lnTo>
                    <a:pt x="250" y="175"/>
                  </a:lnTo>
                  <a:lnTo>
                    <a:pt x="250" y="177"/>
                  </a:lnTo>
                  <a:lnTo>
                    <a:pt x="249" y="178"/>
                  </a:lnTo>
                  <a:lnTo>
                    <a:pt x="249" y="180"/>
                  </a:lnTo>
                  <a:lnTo>
                    <a:pt x="247" y="180"/>
                  </a:lnTo>
                  <a:lnTo>
                    <a:pt x="247" y="181"/>
                  </a:lnTo>
                  <a:lnTo>
                    <a:pt x="247" y="183"/>
                  </a:lnTo>
                  <a:lnTo>
                    <a:pt x="247" y="184"/>
                  </a:lnTo>
                  <a:lnTo>
                    <a:pt x="247" y="185"/>
                  </a:lnTo>
                  <a:lnTo>
                    <a:pt x="247" y="185"/>
                  </a:lnTo>
                  <a:lnTo>
                    <a:pt x="247" y="187"/>
                  </a:lnTo>
                  <a:lnTo>
                    <a:pt x="247" y="188"/>
                  </a:lnTo>
                  <a:lnTo>
                    <a:pt x="246" y="191"/>
                  </a:lnTo>
                  <a:lnTo>
                    <a:pt x="246" y="193"/>
                  </a:lnTo>
                  <a:lnTo>
                    <a:pt x="247" y="201"/>
                  </a:lnTo>
                  <a:lnTo>
                    <a:pt x="246" y="201"/>
                  </a:lnTo>
                  <a:lnTo>
                    <a:pt x="246" y="203"/>
                  </a:lnTo>
                  <a:lnTo>
                    <a:pt x="244" y="203"/>
                  </a:lnTo>
                  <a:lnTo>
                    <a:pt x="243" y="203"/>
                  </a:lnTo>
                  <a:lnTo>
                    <a:pt x="243" y="204"/>
                  </a:lnTo>
                  <a:lnTo>
                    <a:pt x="243" y="207"/>
                  </a:lnTo>
                  <a:lnTo>
                    <a:pt x="241" y="214"/>
                  </a:lnTo>
                  <a:lnTo>
                    <a:pt x="241" y="215"/>
                  </a:lnTo>
                  <a:lnTo>
                    <a:pt x="243" y="218"/>
                  </a:lnTo>
                  <a:lnTo>
                    <a:pt x="243" y="220"/>
                  </a:lnTo>
                  <a:lnTo>
                    <a:pt x="243" y="221"/>
                  </a:lnTo>
                  <a:lnTo>
                    <a:pt x="243" y="224"/>
                  </a:lnTo>
                  <a:lnTo>
                    <a:pt x="243" y="225"/>
                  </a:lnTo>
                  <a:lnTo>
                    <a:pt x="241" y="225"/>
                  </a:lnTo>
                  <a:lnTo>
                    <a:pt x="241" y="227"/>
                  </a:lnTo>
                  <a:lnTo>
                    <a:pt x="241" y="230"/>
                  </a:lnTo>
                  <a:lnTo>
                    <a:pt x="243" y="231"/>
                  </a:lnTo>
                  <a:lnTo>
                    <a:pt x="244" y="234"/>
                  </a:lnTo>
                  <a:lnTo>
                    <a:pt x="253" y="238"/>
                  </a:lnTo>
                  <a:lnTo>
                    <a:pt x="257" y="240"/>
                  </a:lnTo>
                  <a:lnTo>
                    <a:pt x="260" y="244"/>
                  </a:lnTo>
                  <a:lnTo>
                    <a:pt x="263" y="247"/>
                  </a:lnTo>
                  <a:lnTo>
                    <a:pt x="263" y="250"/>
                  </a:lnTo>
                  <a:lnTo>
                    <a:pt x="260" y="254"/>
                  </a:lnTo>
                  <a:lnTo>
                    <a:pt x="260" y="258"/>
                  </a:lnTo>
                  <a:lnTo>
                    <a:pt x="260" y="260"/>
                  </a:lnTo>
                  <a:lnTo>
                    <a:pt x="261" y="263"/>
                  </a:lnTo>
                  <a:lnTo>
                    <a:pt x="264" y="265"/>
                  </a:lnTo>
                  <a:lnTo>
                    <a:pt x="267" y="267"/>
                  </a:lnTo>
                  <a:lnTo>
                    <a:pt x="270" y="267"/>
                  </a:lnTo>
                  <a:lnTo>
                    <a:pt x="270" y="267"/>
                  </a:lnTo>
                  <a:lnTo>
                    <a:pt x="270" y="268"/>
                  </a:lnTo>
                  <a:lnTo>
                    <a:pt x="271" y="274"/>
                  </a:lnTo>
                  <a:lnTo>
                    <a:pt x="271" y="277"/>
                  </a:lnTo>
                  <a:lnTo>
                    <a:pt x="270" y="278"/>
                  </a:lnTo>
                  <a:lnTo>
                    <a:pt x="264" y="288"/>
                  </a:lnTo>
                  <a:lnTo>
                    <a:pt x="259" y="294"/>
                  </a:lnTo>
                  <a:lnTo>
                    <a:pt x="257" y="298"/>
                  </a:lnTo>
                  <a:lnTo>
                    <a:pt x="257" y="301"/>
                  </a:lnTo>
                  <a:lnTo>
                    <a:pt x="256" y="303"/>
                  </a:lnTo>
                  <a:lnTo>
                    <a:pt x="247" y="308"/>
                  </a:lnTo>
                  <a:lnTo>
                    <a:pt x="233" y="313"/>
                  </a:lnTo>
                  <a:lnTo>
                    <a:pt x="223" y="315"/>
                  </a:lnTo>
                  <a:lnTo>
                    <a:pt x="220" y="317"/>
                  </a:lnTo>
                  <a:lnTo>
                    <a:pt x="203" y="320"/>
                  </a:lnTo>
                  <a:lnTo>
                    <a:pt x="200" y="320"/>
                  </a:lnTo>
                  <a:lnTo>
                    <a:pt x="196" y="320"/>
                  </a:lnTo>
                  <a:lnTo>
                    <a:pt x="192" y="320"/>
                  </a:lnTo>
                  <a:lnTo>
                    <a:pt x="187" y="320"/>
                  </a:lnTo>
                  <a:lnTo>
                    <a:pt x="184" y="318"/>
                  </a:lnTo>
                  <a:lnTo>
                    <a:pt x="183" y="315"/>
                  </a:lnTo>
                  <a:lnTo>
                    <a:pt x="180" y="315"/>
                  </a:lnTo>
                  <a:lnTo>
                    <a:pt x="180" y="317"/>
                  </a:lnTo>
                  <a:lnTo>
                    <a:pt x="180" y="320"/>
                  </a:lnTo>
                  <a:lnTo>
                    <a:pt x="180" y="323"/>
                  </a:lnTo>
                  <a:lnTo>
                    <a:pt x="180" y="325"/>
                  </a:lnTo>
                  <a:lnTo>
                    <a:pt x="182" y="325"/>
                  </a:lnTo>
                  <a:lnTo>
                    <a:pt x="183" y="327"/>
                  </a:lnTo>
                  <a:lnTo>
                    <a:pt x="184" y="328"/>
                  </a:lnTo>
                  <a:lnTo>
                    <a:pt x="183" y="328"/>
                  </a:lnTo>
                  <a:lnTo>
                    <a:pt x="183" y="328"/>
                  </a:lnTo>
                  <a:lnTo>
                    <a:pt x="184" y="330"/>
                  </a:lnTo>
                  <a:lnTo>
                    <a:pt x="184" y="331"/>
                  </a:lnTo>
                  <a:lnTo>
                    <a:pt x="183" y="337"/>
                  </a:lnTo>
                  <a:lnTo>
                    <a:pt x="182" y="338"/>
                  </a:lnTo>
                  <a:lnTo>
                    <a:pt x="182" y="338"/>
                  </a:lnTo>
                  <a:lnTo>
                    <a:pt x="180" y="340"/>
                  </a:lnTo>
                  <a:lnTo>
                    <a:pt x="179" y="345"/>
                  </a:lnTo>
                  <a:lnTo>
                    <a:pt x="179" y="348"/>
                  </a:lnTo>
                  <a:lnTo>
                    <a:pt x="179" y="350"/>
                  </a:lnTo>
                  <a:lnTo>
                    <a:pt x="182" y="355"/>
                  </a:lnTo>
                  <a:lnTo>
                    <a:pt x="180" y="358"/>
                  </a:lnTo>
                  <a:lnTo>
                    <a:pt x="179" y="360"/>
                  </a:lnTo>
                  <a:lnTo>
                    <a:pt x="173" y="363"/>
                  </a:lnTo>
                  <a:lnTo>
                    <a:pt x="170" y="364"/>
                  </a:lnTo>
                  <a:lnTo>
                    <a:pt x="166" y="365"/>
                  </a:lnTo>
                  <a:lnTo>
                    <a:pt x="160" y="365"/>
                  </a:lnTo>
                  <a:lnTo>
                    <a:pt x="157" y="365"/>
                  </a:lnTo>
                  <a:lnTo>
                    <a:pt x="152" y="361"/>
                  </a:lnTo>
                  <a:lnTo>
                    <a:pt x="147" y="360"/>
                  </a:lnTo>
                  <a:lnTo>
                    <a:pt x="143" y="358"/>
                  </a:lnTo>
                  <a:lnTo>
                    <a:pt x="140" y="358"/>
                  </a:lnTo>
                  <a:lnTo>
                    <a:pt x="140" y="357"/>
                  </a:lnTo>
                  <a:lnTo>
                    <a:pt x="140" y="357"/>
                  </a:lnTo>
                  <a:lnTo>
                    <a:pt x="140" y="355"/>
                  </a:lnTo>
                  <a:lnTo>
                    <a:pt x="139" y="355"/>
                  </a:lnTo>
                  <a:lnTo>
                    <a:pt x="136" y="357"/>
                  </a:lnTo>
                  <a:lnTo>
                    <a:pt x="136" y="360"/>
                  </a:lnTo>
                  <a:lnTo>
                    <a:pt x="134" y="361"/>
                  </a:lnTo>
                  <a:lnTo>
                    <a:pt x="134" y="364"/>
                  </a:lnTo>
                  <a:lnTo>
                    <a:pt x="136" y="367"/>
                  </a:lnTo>
                  <a:lnTo>
                    <a:pt x="137" y="374"/>
                  </a:lnTo>
                  <a:lnTo>
                    <a:pt x="137" y="377"/>
                  </a:lnTo>
                  <a:lnTo>
                    <a:pt x="136" y="382"/>
                  </a:lnTo>
                  <a:lnTo>
                    <a:pt x="137" y="385"/>
                  </a:lnTo>
                  <a:lnTo>
                    <a:pt x="139" y="387"/>
                  </a:lnTo>
                  <a:lnTo>
                    <a:pt x="142" y="388"/>
                  </a:lnTo>
                  <a:lnTo>
                    <a:pt x="143" y="388"/>
                  </a:lnTo>
                  <a:lnTo>
                    <a:pt x="144" y="388"/>
                  </a:lnTo>
                  <a:lnTo>
                    <a:pt x="146" y="388"/>
                  </a:lnTo>
                  <a:lnTo>
                    <a:pt x="144" y="390"/>
                  </a:lnTo>
                  <a:lnTo>
                    <a:pt x="144" y="391"/>
                  </a:lnTo>
                  <a:lnTo>
                    <a:pt x="144" y="392"/>
                  </a:lnTo>
                  <a:lnTo>
                    <a:pt x="147" y="392"/>
                  </a:lnTo>
                  <a:lnTo>
                    <a:pt x="149" y="392"/>
                  </a:lnTo>
                  <a:lnTo>
                    <a:pt x="152" y="391"/>
                  </a:lnTo>
                  <a:lnTo>
                    <a:pt x="153" y="391"/>
                  </a:lnTo>
                  <a:lnTo>
                    <a:pt x="153" y="388"/>
                  </a:lnTo>
                  <a:lnTo>
                    <a:pt x="149" y="388"/>
                  </a:lnTo>
                  <a:lnTo>
                    <a:pt x="150" y="388"/>
                  </a:lnTo>
                  <a:lnTo>
                    <a:pt x="152" y="387"/>
                  </a:lnTo>
                  <a:lnTo>
                    <a:pt x="156" y="385"/>
                  </a:lnTo>
                  <a:lnTo>
                    <a:pt x="157" y="385"/>
                  </a:lnTo>
                  <a:lnTo>
                    <a:pt x="157" y="387"/>
                  </a:lnTo>
                  <a:lnTo>
                    <a:pt x="159" y="387"/>
                  </a:lnTo>
                  <a:lnTo>
                    <a:pt x="159" y="390"/>
                  </a:lnTo>
                  <a:lnTo>
                    <a:pt x="160" y="391"/>
                  </a:lnTo>
                  <a:lnTo>
                    <a:pt x="160" y="395"/>
                  </a:lnTo>
                  <a:lnTo>
                    <a:pt x="160" y="398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53" y="402"/>
                  </a:lnTo>
                  <a:lnTo>
                    <a:pt x="152" y="401"/>
                  </a:lnTo>
                  <a:lnTo>
                    <a:pt x="150" y="400"/>
                  </a:lnTo>
                  <a:lnTo>
                    <a:pt x="150" y="397"/>
                  </a:lnTo>
                  <a:lnTo>
                    <a:pt x="149" y="395"/>
                  </a:lnTo>
                  <a:lnTo>
                    <a:pt x="146" y="394"/>
                  </a:lnTo>
                  <a:lnTo>
                    <a:pt x="143" y="394"/>
                  </a:lnTo>
                  <a:lnTo>
                    <a:pt x="140" y="397"/>
                  </a:lnTo>
                  <a:lnTo>
                    <a:pt x="137" y="397"/>
                  </a:lnTo>
                  <a:lnTo>
                    <a:pt x="137" y="400"/>
                  </a:lnTo>
                  <a:lnTo>
                    <a:pt x="143" y="402"/>
                  </a:lnTo>
                  <a:lnTo>
                    <a:pt x="146" y="404"/>
                  </a:lnTo>
                  <a:lnTo>
                    <a:pt x="147" y="404"/>
                  </a:lnTo>
                  <a:lnTo>
                    <a:pt x="149" y="404"/>
                  </a:lnTo>
                  <a:lnTo>
                    <a:pt x="147" y="405"/>
                  </a:lnTo>
                  <a:lnTo>
                    <a:pt x="146" y="405"/>
                  </a:lnTo>
                  <a:lnTo>
                    <a:pt x="142" y="408"/>
                  </a:lnTo>
                  <a:lnTo>
                    <a:pt x="140" y="408"/>
                  </a:lnTo>
                  <a:lnTo>
                    <a:pt x="137" y="411"/>
                  </a:lnTo>
                  <a:lnTo>
                    <a:pt x="134" y="415"/>
                  </a:lnTo>
                  <a:lnTo>
                    <a:pt x="133" y="417"/>
                  </a:lnTo>
                  <a:lnTo>
                    <a:pt x="133" y="418"/>
                  </a:lnTo>
                  <a:lnTo>
                    <a:pt x="133" y="422"/>
                  </a:lnTo>
                  <a:lnTo>
                    <a:pt x="133" y="428"/>
                  </a:lnTo>
                  <a:lnTo>
                    <a:pt x="133" y="430"/>
                  </a:lnTo>
                  <a:lnTo>
                    <a:pt x="133" y="432"/>
                  </a:lnTo>
                  <a:lnTo>
                    <a:pt x="133" y="434"/>
                  </a:lnTo>
                  <a:lnTo>
                    <a:pt x="132" y="437"/>
                  </a:lnTo>
                  <a:lnTo>
                    <a:pt x="127" y="441"/>
                  </a:lnTo>
                  <a:lnTo>
                    <a:pt x="126" y="444"/>
                  </a:lnTo>
                  <a:lnTo>
                    <a:pt x="127" y="447"/>
                  </a:lnTo>
                  <a:lnTo>
                    <a:pt x="127" y="448"/>
                  </a:lnTo>
                  <a:lnTo>
                    <a:pt x="127" y="450"/>
                  </a:lnTo>
                  <a:lnTo>
                    <a:pt x="126" y="450"/>
                  </a:lnTo>
                  <a:lnTo>
                    <a:pt x="119" y="448"/>
                  </a:lnTo>
                  <a:lnTo>
                    <a:pt x="116" y="450"/>
                  </a:lnTo>
                  <a:lnTo>
                    <a:pt x="113" y="451"/>
                  </a:lnTo>
                  <a:lnTo>
                    <a:pt x="113" y="452"/>
                  </a:lnTo>
                  <a:lnTo>
                    <a:pt x="112" y="452"/>
                  </a:lnTo>
                  <a:lnTo>
                    <a:pt x="107" y="454"/>
                  </a:lnTo>
                  <a:lnTo>
                    <a:pt x="106" y="455"/>
                  </a:lnTo>
                  <a:lnTo>
                    <a:pt x="102" y="462"/>
                  </a:lnTo>
                  <a:lnTo>
                    <a:pt x="99" y="467"/>
                  </a:lnTo>
                  <a:lnTo>
                    <a:pt x="96" y="471"/>
                  </a:lnTo>
                  <a:lnTo>
                    <a:pt x="96" y="472"/>
                  </a:lnTo>
                  <a:lnTo>
                    <a:pt x="96" y="475"/>
                  </a:lnTo>
                  <a:lnTo>
                    <a:pt x="96" y="478"/>
                  </a:lnTo>
                  <a:lnTo>
                    <a:pt x="96" y="480"/>
                  </a:lnTo>
                  <a:lnTo>
                    <a:pt x="97" y="482"/>
                  </a:lnTo>
                  <a:lnTo>
                    <a:pt x="99" y="484"/>
                  </a:lnTo>
                  <a:lnTo>
                    <a:pt x="109" y="495"/>
                  </a:lnTo>
                  <a:lnTo>
                    <a:pt x="112" y="497"/>
                  </a:lnTo>
                  <a:lnTo>
                    <a:pt x="122" y="497"/>
                  </a:lnTo>
                  <a:lnTo>
                    <a:pt x="125" y="498"/>
                  </a:lnTo>
                  <a:lnTo>
                    <a:pt x="125" y="501"/>
                  </a:lnTo>
                  <a:lnTo>
                    <a:pt x="126" y="502"/>
                  </a:lnTo>
                  <a:lnTo>
                    <a:pt x="125" y="508"/>
                  </a:lnTo>
                  <a:lnTo>
                    <a:pt x="125" y="510"/>
                  </a:lnTo>
                  <a:lnTo>
                    <a:pt x="123" y="511"/>
                  </a:lnTo>
                  <a:lnTo>
                    <a:pt x="120" y="514"/>
                  </a:lnTo>
                  <a:lnTo>
                    <a:pt x="117" y="514"/>
                  </a:lnTo>
                  <a:lnTo>
                    <a:pt x="119" y="515"/>
                  </a:lnTo>
                  <a:lnTo>
                    <a:pt x="120" y="515"/>
                  </a:lnTo>
                  <a:lnTo>
                    <a:pt x="123" y="514"/>
                  </a:lnTo>
                  <a:lnTo>
                    <a:pt x="123" y="515"/>
                  </a:lnTo>
                  <a:lnTo>
                    <a:pt x="125" y="517"/>
                  </a:lnTo>
                  <a:lnTo>
                    <a:pt x="123" y="518"/>
                  </a:lnTo>
                  <a:lnTo>
                    <a:pt x="122" y="520"/>
                  </a:lnTo>
                  <a:lnTo>
                    <a:pt x="122" y="521"/>
                  </a:lnTo>
                  <a:lnTo>
                    <a:pt x="115" y="527"/>
                  </a:lnTo>
                  <a:lnTo>
                    <a:pt x="112" y="528"/>
                  </a:lnTo>
                  <a:lnTo>
                    <a:pt x="109" y="531"/>
                  </a:lnTo>
                  <a:lnTo>
                    <a:pt x="105" y="534"/>
                  </a:lnTo>
                  <a:lnTo>
                    <a:pt x="103" y="535"/>
                  </a:lnTo>
                  <a:lnTo>
                    <a:pt x="102" y="538"/>
                  </a:lnTo>
                  <a:lnTo>
                    <a:pt x="97" y="541"/>
                  </a:lnTo>
                  <a:lnTo>
                    <a:pt x="95" y="548"/>
                  </a:lnTo>
                  <a:lnTo>
                    <a:pt x="95" y="550"/>
                  </a:lnTo>
                  <a:lnTo>
                    <a:pt x="95" y="551"/>
                  </a:lnTo>
                  <a:lnTo>
                    <a:pt x="93" y="564"/>
                  </a:lnTo>
                  <a:lnTo>
                    <a:pt x="92" y="565"/>
                  </a:lnTo>
                  <a:lnTo>
                    <a:pt x="90" y="567"/>
                  </a:lnTo>
                  <a:lnTo>
                    <a:pt x="87" y="570"/>
                  </a:lnTo>
                  <a:lnTo>
                    <a:pt x="86" y="570"/>
                  </a:lnTo>
                  <a:lnTo>
                    <a:pt x="83" y="568"/>
                  </a:lnTo>
                  <a:lnTo>
                    <a:pt x="82" y="567"/>
                  </a:lnTo>
                  <a:lnTo>
                    <a:pt x="80" y="564"/>
                  </a:lnTo>
                  <a:lnTo>
                    <a:pt x="79" y="561"/>
                  </a:lnTo>
                  <a:lnTo>
                    <a:pt x="79" y="562"/>
                  </a:lnTo>
                  <a:lnTo>
                    <a:pt x="79" y="564"/>
                  </a:lnTo>
                  <a:lnTo>
                    <a:pt x="79" y="565"/>
                  </a:lnTo>
                  <a:lnTo>
                    <a:pt x="75" y="567"/>
                  </a:lnTo>
                  <a:lnTo>
                    <a:pt x="73" y="568"/>
                  </a:lnTo>
                  <a:lnTo>
                    <a:pt x="77" y="567"/>
                  </a:lnTo>
                  <a:lnTo>
                    <a:pt x="80" y="568"/>
                  </a:lnTo>
                  <a:lnTo>
                    <a:pt x="80" y="568"/>
                  </a:lnTo>
                  <a:lnTo>
                    <a:pt x="82" y="570"/>
                  </a:lnTo>
                  <a:lnTo>
                    <a:pt x="83" y="571"/>
                  </a:lnTo>
                  <a:lnTo>
                    <a:pt x="82" y="572"/>
                  </a:lnTo>
                  <a:lnTo>
                    <a:pt x="80" y="572"/>
                  </a:lnTo>
                  <a:lnTo>
                    <a:pt x="77" y="574"/>
                  </a:lnTo>
                  <a:lnTo>
                    <a:pt x="75" y="577"/>
                  </a:lnTo>
                  <a:lnTo>
                    <a:pt x="73" y="580"/>
                  </a:lnTo>
                  <a:lnTo>
                    <a:pt x="72" y="582"/>
                  </a:lnTo>
                  <a:lnTo>
                    <a:pt x="72" y="587"/>
                  </a:lnTo>
                  <a:lnTo>
                    <a:pt x="70" y="589"/>
                  </a:lnTo>
                  <a:lnTo>
                    <a:pt x="70" y="591"/>
                  </a:lnTo>
                  <a:lnTo>
                    <a:pt x="67" y="594"/>
                  </a:lnTo>
                  <a:lnTo>
                    <a:pt x="67" y="594"/>
                  </a:lnTo>
                  <a:lnTo>
                    <a:pt x="69" y="592"/>
                  </a:lnTo>
                  <a:lnTo>
                    <a:pt x="70" y="592"/>
                  </a:lnTo>
                  <a:lnTo>
                    <a:pt x="72" y="595"/>
                  </a:lnTo>
                  <a:lnTo>
                    <a:pt x="72" y="599"/>
                  </a:lnTo>
                  <a:lnTo>
                    <a:pt x="73" y="604"/>
                  </a:lnTo>
                  <a:lnTo>
                    <a:pt x="73" y="605"/>
                  </a:lnTo>
                  <a:lnTo>
                    <a:pt x="73" y="607"/>
                  </a:lnTo>
                  <a:lnTo>
                    <a:pt x="70" y="607"/>
                  </a:lnTo>
                  <a:lnTo>
                    <a:pt x="67" y="607"/>
                  </a:lnTo>
                  <a:lnTo>
                    <a:pt x="66" y="608"/>
                  </a:lnTo>
                  <a:lnTo>
                    <a:pt x="67" y="608"/>
                  </a:lnTo>
                  <a:lnTo>
                    <a:pt x="69" y="608"/>
                  </a:lnTo>
                  <a:lnTo>
                    <a:pt x="70" y="609"/>
                  </a:lnTo>
                  <a:lnTo>
                    <a:pt x="73" y="608"/>
                  </a:lnTo>
                  <a:lnTo>
                    <a:pt x="75" y="609"/>
                  </a:lnTo>
                  <a:lnTo>
                    <a:pt x="75" y="611"/>
                  </a:lnTo>
                  <a:lnTo>
                    <a:pt x="79" y="618"/>
                  </a:lnTo>
                  <a:lnTo>
                    <a:pt x="82" y="624"/>
                  </a:lnTo>
                  <a:lnTo>
                    <a:pt x="83" y="627"/>
                  </a:lnTo>
                  <a:lnTo>
                    <a:pt x="82" y="628"/>
                  </a:lnTo>
                  <a:lnTo>
                    <a:pt x="82" y="625"/>
                  </a:lnTo>
                  <a:lnTo>
                    <a:pt x="80" y="625"/>
                  </a:lnTo>
                  <a:lnTo>
                    <a:pt x="77" y="625"/>
                  </a:lnTo>
                  <a:lnTo>
                    <a:pt x="75" y="624"/>
                  </a:lnTo>
                  <a:lnTo>
                    <a:pt x="70" y="622"/>
                  </a:lnTo>
                  <a:lnTo>
                    <a:pt x="66" y="622"/>
                  </a:lnTo>
                  <a:lnTo>
                    <a:pt x="62" y="619"/>
                  </a:lnTo>
                  <a:lnTo>
                    <a:pt x="57" y="618"/>
                  </a:lnTo>
                  <a:lnTo>
                    <a:pt x="50" y="618"/>
                  </a:lnTo>
                  <a:lnTo>
                    <a:pt x="42" y="618"/>
                  </a:lnTo>
                  <a:lnTo>
                    <a:pt x="35" y="618"/>
                  </a:lnTo>
                  <a:lnTo>
                    <a:pt x="30" y="618"/>
                  </a:lnTo>
                  <a:lnTo>
                    <a:pt x="26" y="618"/>
                  </a:lnTo>
                  <a:lnTo>
                    <a:pt x="26" y="617"/>
                  </a:lnTo>
                  <a:lnTo>
                    <a:pt x="26" y="615"/>
                  </a:lnTo>
                  <a:lnTo>
                    <a:pt x="25" y="614"/>
                  </a:lnTo>
                  <a:lnTo>
                    <a:pt x="23" y="611"/>
                  </a:lnTo>
                  <a:lnTo>
                    <a:pt x="20" y="609"/>
                  </a:lnTo>
                  <a:lnTo>
                    <a:pt x="20" y="608"/>
                  </a:lnTo>
                  <a:lnTo>
                    <a:pt x="19" y="607"/>
                  </a:lnTo>
                  <a:lnTo>
                    <a:pt x="19" y="604"/>
                  </a:lnTo>
                  <a:lnTo>
                    <a:pt x="20" y="599"/>
                  </a:lnTo>
                  <a:lnTo>
                    <a:pt x="20" y="598"/>
                  </a:lnTo>
                  <a:lnTo>
                    <a:pt x="19" y="597"/>
                  </a:lnTo>
                  <a:lnTo>
                    <a:pt x="19" y="595"/>
                  </a:lnTo>
                  <a:lnTo>
                    <a:pt x="19" y="594"/>
                  </a:lnTo>
                  <a:lnTo>
                    <a:pt x="20" y="594"/>
                  </a:lnTo>
                  <a:lnTo>
                    <a:pt x="20" y="589"/>
                  </a:lnTo>
                  <a:lnTo>
                    <a:pt x="20" y="587"/>
                  </a:lnTo>
                  <a:lnTo>
                    <a:pt x="20" y="584"/>
                  </a:lnTo>
                  <a:lnTo>
                    <a:pt x="19" y="584"/>
                  </a:lnTo>
                  <a:lnTo>
                    <a:pt x="18" y="582"/>
                  </a:lnTo>
                  <a:lnTo>
                    <a:pt x="18" y="582"/>
                  </a:lnTo>
                  <a:lnTo>
                    <a:pt x="16" y="584"/>
                  </a:lnTo>
                  <a:lnTo>
                    <a:pt x="12" y="584"/>
                  </a:lnTo>
                  <a:lnTo>
                    <a:pt x="12" y="584"/>
                  </a:lnTo>
                  <a:lnTo>
                    <a:pt x="10" y="585"/>
                  </a:lnTo>
                  <a:lnTo>
                    <a:pt x="8" y="587"/>
                  </a:lnTo>
                  <a:lnTo>
                    <a:pt x="8" y="585"/>
                  </a:lnTo>
                  <a:lnTo>
                    <a:pt x="6" y="584"/>
                  </a:lnTo>
                  <a:lnTo>
                    <a:pt x="6" y="582"/>
                  </a:lnTo>
                  <a:lnTo>
                    <a:pt x="5" y="581"/>
                  </a:lnTo>
                  <a:lnTo>
                    <a:pt x="5" y="580"/>
                  </a:lnTo>
                  <a:lnTo>
                    <a:pt x="5" y="577"/>
                  </a:lnTo>
                  <a:lnTo>
                    <a:pt x="3" y="572"/>
                  </a:lnTo>
                  <a:lnTo>
                    <a:pt x="2" y="571"/>
                  </a:lnTo>
                  <a:lnTo>
                    <a:pt x="2" y="568"/>
                  </a:lnTo>
                  <a:lnTo>
                    <a:pt x="0" y="565"/>
                  </a:lnTo>
                  <a:lnTo>
                    <a:pt x="2" y="562"/>
                  </a:lnTo>
                  <a:lnTo>
                    <a:pt x="2" y="560"/>
                  </a:lnTo>
                  <a:lnTo>
                    <a:pt x="0" y="557"/>
                  </a:lnTo>
                  <a:lnTo>
                    <a:pt x="0" y="554"/>
                  </a:lnTo>
                  <a:lnTo>
                    <a:pt x="2" y="552"/>
                  </a:lnTo>
                  <a:lnTo>
                    <a:pt x="2" y="551"/>
                  </a:lnTo>
                  <a:lnTo>
                    <a:pt x="8" y="550"/>
                  </a:lnTo>
                  <a:lnTo>
                    <a:pt x="8" y="547"/>
                  </a:lnTo>
                  <a:lnTo>
                    <a:pt x="8" y="545"/>
                  </a:lnTo>
                  <a:lnTo>
                    <a:pt x="9" y="542"/>
                  </a:lnTo>
                  <a:lnTo>
                    <a:pt x="9" y="542"/>
                  </a:lnTo>
                  <a:lnTo>
                    <a:pt x="12" y="541"/>
                  </a:lnTo>
                  <a:lnTo>
                    <a:pt x="13" y="540"/>
                  </a:lnTo>
                  <a:lnTo>
                    <a:pt x="15" y="540"/>
                  </a:lnTo>
                  <a:lnTo>
                    <a:pt x="16" y="538"/>
                  </a:lnTo>
                  <a:lnTo>
                    <a:pt x="16" y="537"/>
                  </a:lnTo>
                  <a:lnTo>
                    <a:pt x="16" y="534"/>
                  </a:lnTo>
                  <a:lnTo>
                    <a:pt x="16" y="531"/>
                  </a:lnTo>
                  <a:lnTo>
                    <a:pt x="16" y="530"/>
                  </a:lnTo>
                  <a:lnTo>
                    <a:pt x="18" y="528"/>
                  </a:lnTo>
                  <a:lnTo>
                    <a:pt x="20" y="527"/>
                  </a:lnTo>
                  <a:lnTo>
                    <a:pt x="20" y="524"/>
                  </a:lnTo>
                  <a:lnTo>
                    <a:pt x="20" y="521"/>
                  </a:lnTo>
                  <a:lnTo>
                    <a:pt x="19" y="520"/>
                  </a:lnTo>
                  <a:lnTo>
                    <a:pt x="18" y="518"/>
                  </a:lnTo>
                  <a:lnTo>
                    <a:pt x="18" y="515"/>
                  </a:lnTo>
                  <a:lnTo>
                    <a:pt x="18" y="514"/>
                  </a:lnTo>
                  <a:lnTo>
                    <a:pt x="19" y="511"/>
                  </a:lnTo>
                  <a:lnTo>
                    <a:pt x="20" y="508"/>
                  </a:lnTo>
                  <a:lnTo>
                    <a:pt x="20" y="507"/>
                  </a:lnTo>
                  <a:lnTo>
                    <a:pt x="20" y="505"/>
                  </a:lnTo>
                  <a:lnTo>
                    <a:pt x="23" y="502"/>
                  </a:lnTo>
                  <a:lnTo>
                    <a:pt x="25" y="501"/>
                  </a:lnTo>
                  <a:lnTo>
                    <a:pt x="26" y="500"/>
                  </a:lnTo>
                  <a:lnTo>
                    <a:pt x="28" y="500"/>
                  </a:lnTo>
                  <a:lnTo>
                    <a:pt x="28" y="498"/>
                  </a:lnTo>
                  <a:lnTo>
                    <a:pt x="26" y="497"/>
                  </a:lnTo>
                  <a:lnTo>
                    <a:pt x="26" y="495"/>
                  </a:lnTo>
                  <a:lnTo>
                    <a:pt x="26" y="494"/>
                  </a:lnTo>
                  <a:lnTo>
                    <a:pt x="26" y="491"/>
                  </a:lnTo>
                  <a:lnTo>
                    <a:pt x="28" y="490"/>
                  </a:lnTo>
                  <a:lnTo>
                    <a:pt x="30" y="488"/>
                  </a:lnTo>
                  <a:lnTo>
                    <a:pt x="30" y="487"/>
                  </a:lnTo>
                  <a:lnTo>
                    <a:pt x="30" y="485"/>
                  </a:lnTo>
                  <a:lnTo>
                    <a:pt x="30" y="481"/>
                  </a:lnTo>
                  <a:lnTo>
                    <a:pt x="29" y="480"/>
                  </a:lnTo>
                  <a:lnTo>
                    <a:pt x="29" y="478"/>
                  </a:lnTo>
                  <a:lnTo>
                    <a:pt x="28" y="477"/>
                  </a:lnTo>
                  <a:lnTo>
                    <a:pt x="28" y="475"/>
                  </a:lnTo>
                  <a:lnTo>
                    <a:pt x="29" y="474"/>
                  </a:lnTo>
                  <a:lnTo>
                    <a:pt x="30" y="472"/>
                  </a:lnTo>
                  <a:lnTo>
                    <a:pt x="32" y="471"/>
                  </a:lnTo>
                  <a:lnTo>
                    <a:pt x="30" y="470"/>
                  </a:lnTo>
                  <a:lnTo>
                    <a:pt x="29" y="468"/>
                  </a:lnTo>
                  <a:lnTo>
                    <a:pt x="29" y="465"/>
                  </a:lnTo>
                  <a:lnTo>
                    <a:pt x="29" y="462"/>
                  </a:lnTo>
                  <a:lnTo>
                    <a:pt x="30" y="461"/>
                  </a:lnTo>
                  <a:lnTo>
                    <a:pt x="33" y="461"/>
                  </a:lnTo>
                  <a:lnTo>
                    <a:pt x="33" y="458"/>
                  </a:lnTo>
                  <a:lnTo>
                    <a:pt x="36" y="457"/>
                  </a:lnTo>
                  <a:lnTo>
                    <a:pt x="36" y="454"/>
                  </a:lnTo>
                  <a:lnTo>
                    <a:pt x="35" y="452"/>
                  </a:lnTo>
                  <a:lnTo>
                    <a:pt x="33" y="451"/>
                  </a:lnTo>
                  <a:lnTo>
                    <a:pt x="32" y="448"/>
                  </a:lnTo>
                  <a:lnTo>
                    <a:pt x="29" y="447"/>
                  </a:lnTo>
                  <a:lnTo>
                    <a:pt x="25" y="447"/>
                  </a:lnTo>
                  <a:lnTo>
                    <a:pt x="25" y="445"/>
                  </a:lnTo>
                  <a:lnTo>
                    <a:pt x="25" y="444"/>
                  </a:lnTo>
                  <a:lnTo>
                    <a:pt x="26" y="444"/>
                  </a:lnTo>
                  <a:lnTo>
                    <a:pt x="29" y="444"/>
                  </a:lnTo>
                  <a:lnTo>
                    <a:pt x="30" y="444"/>
                  </a:lnTo>
                  <a:lnTo>
                    <a:pt x="32" y="444"/>
                  </a:lnTo>
                  <a:lnTo>
                    <a:pt x="35" y="444"/>
                  </a:lnTo>
                  <a:lnTo>
                    <a:pt x="36" y="444"/>
                  </a:lnTo>
                  <a:lnTo>
                    <a:pt x="38" y="444"/>
                  </a:lnTo>
                  <a:lnTo>
                    <a:pt x="38" y="441"/>
                  </a:lnTo>
                  <a:lnTo>
                    <a:pt x="39" y="440"/>
                  </a:lnTo>
                  <a:lnTo>
                    <a:pt x="39" y="438"/>
                  </a:lnTo>
                  <a:lnTo>
                    <a:pt x="38" y="437"/>
                  </a:lnTo>
                  <a:lnTo>
                    <a:pt x="36" y="435"/>
                  </a:lnTo>
                  <a:lnTo>
                    <a:pt x="29" y="435"/>
                  </a:lnTo>
                  <a:lnTo>
                    <a:pt x="28" y="434"/>
                  </a:lnTo>
                  <a:lnTo>
                    <a:pt x="28" y="432"/>
                  </a:lnTo>
                  <a:lnTo>
                    <a:pt x="29" y="430"/>
                  </a:lnTo>
                  <a:lnTo>
                    <a:pt x="29" y="430"/>
                  </a:lnTo>
                  <a:lnTo>
                    <a:pt x="29" y="428"/>
                  </a:lnTo>
                  <a:lnTo>
                    <a:pt x="30" y="427"/>
                  </a:lnTo>
                  <a:lnTo>
                    <a:pt x="30" y="425"/>
                  </a:lnTo>
                  <a:lnTo>
                    <a:pt x="30" y="424"/>
                  </a:lnTo>
                  <a:lnTo>
                    <a:pt x="29" y="421"/>
                  </a:lnTo>
                  <a:lnTo>
                    <a:pt x="29" y="420"/>
                  </a:lnTo>
                  <a:lnTo>
                    <a:pt x="30" y="418"/>
                  </a:lnTo>
                  <a:lnTo>
                    <a:pt x="29" y="418"/>
                  </a:lnTo>
                  <a:lnTo>
                    <a:pt x="28" y="417"/>
                  </a:lnTo>
                  <a:lnTo>
                    <a:pt x="28" y="414"/>
                  </a:lnTo>
                  <a:lnTo>
                    <a:pt x="28" y="412"/>
                  </a:lnTo>
                  <a:lnTo>
                    <a:pt x="29" y="411"/>
                  </a:lnTo>
                  <a:lnTo>
                    <a:pt x="29" y="411"/>
                  </a:lnTo>
                  <a:lnTo>
                    <a:pt x="29" y="410"/>
                  </a:lnTo>
                  <a:lnTo>
                    <a:pt x="29" y="408"/>
                  </a:lnTo>
                  <a:lnTo>
                    <a:pt x="28" y="408"/>
                  </a:lnTo>
                  <a:lnTo>
                    <a:pt x="25" y="407"/>
                  </a:lnTo>
                  <a:lnTo>
                    <a:pt x="23" y="405"/>
                  </a:lnTo>
                  <a:lnTo>
                    <a:pt x="23" y="404"/>
                  </a:lnTo>
                  <a:lnTo>
                    <a:pt x="23" y="400"/>
                  </a:lnTo>
                  <a:lnTo>
                    <a:pt x="23" y="397"/>
                  </a:lnTo>
                  <a:lnTo>
                    <a:pt x="23" y="395"/>
                  </a:lnTo>
                  <a:lnTo>
                    <a:pt x="23" y="394"/>
                  </a:lnTo>
                  <a:lnTo>
                    <a:pt x="25" y="392"/>
                  </a:lnTo>
                  <a:lnTo>
                    <a:pt x="25" y="391"/>
                  </a:lnTo>
                  <a:lnTo>
                    <a:pt x="23" y="390"/>
                  </a:lnTo>
                  <a:lnTo>
                    <a:pt x="23" y="388"/>
                  </a:lnTo>
                  <a:lnTo>
                    <a:pt x="25" y="387"/>
                  </a:lnTo>
                  <a:lnTo>
                    <a:pt x="25" y="385"/>
                  </a:lnTo>
                  <a:lnTo>
                    <a:pt x="26" y="385"/>
                  </a:lnTo>
                  <a:lnTo>
                    <a:pt x="26" y="387"/>
                  </a:lnTo>
                  <a:lnTo>
                    <a:pt x="28" y="385"/>
                  </a:lnTo>
                  <a:lnTo>
                    <a:pt x="29" y="385"/>
                  </a:lnTo>
                  <a:lnTo>
                    <a:pt x="29" y="384"/>
                  </a:lnTo>
                  <a:lnTo>
                    <a:pt x="29" y="382"/>
                  </a:lnTo>
                  <a:lnTo>
                    <a:pt x="28" y="378"/>
                  </a:lnTo>
                  <a:lnTo>
                    <a:pt x="26" y="375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28" y="370"/>
                  </a:lnTo>
                  <a:lnTo>
                    <a:pt x="28" y="368"/>
                  </a:lnTo>
                  <a:lnTo>
                    <a:pt x="28" y="361"/>
                  </a:lnTo>
                  <a:lnTo>
                    <a:pt x="28" y="360"/>
                  </a:lnTo>
                  <a:lnTo>
                    <a:pt x="26" y="357"/>
                  </a:lnTo>
                  <a:lnTo>
                    <a:pt x="26" y="355"/>
                  </a:lnTo>
                  <a:lnTo>
                    <a:pt x="28" y="354"/>
                  </a:lnTo>
                  <a:lnTo>
                    <a:pt x="28" y="351"/>
                  </a:lnTo>
                  <a:lnTo>
                    <a:pt x="29" y="350"/>
                  </a:lnTo>
                  <a:lnTo>
                    <a:pt x="29" y="348"/>
                  </a:lnTo>
                  <a:lnTo>
                    <a:pt x="30" y="348"/>
                  </a:lnTo>
                  <a:lnTo>
                    <a:pt x="30" y="348"/>
                  </a:lnTo>
                  <a:lnTo>
                    <a:pt x="30" y="347"/>
                  </a:lnTo>
                  <a:lnTo>
                    <a:pt x="29" y="345"/>
                  </a:lnTo>
                  <a:lnTo>
                    <a:pt x="29" y="344"/>
                  </a:lnTo>
                  <a:lnTo>
                    <a:pt x="29" y="343"/>
                  </a:lnTo>
                  <a:lnTo>
                    <a:pt x="29" y="343"/>
                  </a:lnTo>
                  <a:lnTo>
                    <a:pt x="30" y="343"/>
                  </a:lnTo>
                  <a:lnTo>
                    <a:pt x="30" y="341"/>
                  </a:lnTo>
                  <a:lnTo>
                    <a:pt x="30" y="340"/>
                  </a:lnTo>
                  <a:lnTo>
                    <a:pt x="32" y="338"/>
                  </a:lnTo>
                  <a:lnTo>
                    <a:pt x="30" y="337"/>
                  </a:lnTo>
                  <a:lnTo>
                    <a:pt x="30" y="334"/>
                  </a:lnTo>
                  <a:lnTo>
                    <a:pt x="30" y="333"/>
                  </a:lnTo>
                  <a:lnTo>
                    <a:pt x="30" y="333"/>
                  </a:lnTo>
                  <a:lnTo>
                    <a:pt x="30" y="333"/>
                  </a:lnTo>
                  <a:lnTo>
                    <a:pt x="32" y="333"/>
                  </a:lnTo>
                  <a:lnTo>
                    <a:pt x="33" y="333"/>
                  </a:lnTo>
                  <a:lnTo>
                    <a:pt x="33" y="331"/>
                  </a:lnTo>
                  <a:lnTo>
                    <a:pt x="33" y="331"/>
                  </a:lnTo>
                  <a:lnTo>
                    <a:pt x="33" y="330"/>
                  </a:lnTo>
                  <a:lnTo>
                    <a:pt x="33" y="328"/>
                  </a:lnTo>
                  <a:lnTo>
                    <a:pt x="35" y="325"/>
                  </a:lnTo>
                  <a:lnTo>
                    <a:pt x="35" y="324"/>
                  </a:lnTo>
                  <a:lnTo>
                    <a:pt x="35" y="320"/>
                  </a:lnTo>
                  <a:lnTo>
                    <a:pt x="35" y="318"/>
                  </a:lnTo>
                  <a:lnTo>
                    <a:pt x="36" y="318"/>
                  </a:lnTo>
                  <a:lnTo>
                    <a:pt x="38" y="317"/>
                  </a:lnTo>
                  <a:lnTo>
                    <a:pt x="39" y="315"/>
                  </a:lnTo>
                  <a:lnTo>
                    <a:pt x="40" y="315"/>
                  </a:lnTo>
                  <a:lnTo>
                    <a:pt x="42" y="314"/>
                  </a:lnTo>
                  <a:lnTo>
                    <a:pt x="43" y="314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0"/>
                  </a:lnTo>
                  <a:lnTo>
                    <a:pt x="42" y="308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0" y="300"/>
                  </a:lnTo>
                  <a:lnTo>
                    <a:pt x="40" y="298"/>
                  </a:lnTo>
                  <a:lnTo>
                    <a:pt x="39" y="294"/>
                  </a:lnTo>
                  <a:lnTo>
                    <a:pt x="39" y="293"/>
                  </a:lnTo>
                  <a:lnTo>
                    <a:pt x="39" y="291"/>
                  </a:lnTo>
                  <a:lnTo>
                    <a:pt x="39" y="288"/>
                  </a:lnTo>
                  <a:lnTo>
                    <a:pt x="39" y="287"/>
                  </a:lnTo>
                  <a:lnTo>
                    <a:pt x="38" y="285"/>
                  </a:lnTo>
                  <a:lnTo>
                    <a:pt x="39" y="284"/>
                  </a:lnTo>
                  <a:lnTo>
                    <a:pt x="39" y="281"/>
                  </a:lnTo>
                  <a:lnTo>
                    <a:pt x="39" y="281"/>
                  </a:lnTo>
                  <a:lnTo>
                    <a:pt x="39" y="278"/>
                  </a:lnTo>
                  <a:lnTo>
                    <a:pt x="39" y="277"/>
                  </a:lnTo>
                  <a:lnTo>
                    <a:pt x="39" y="274"/>
                  </a:lnTo>
                  <a:lnTo>
                    <a:pt x="40" y="273"/>
                  </a:lnTo>
                  <a:lnTo>
                    <a:pt x="40" y="273"/>
                  </a:lnTo>
                  <a:lnTo>
                    <a:pt x="40" y="271"/>
                  </a:lnTo>
                  <a:lnTo>
                    <a:pt x="40" y="270"/>
                  </a:lnTo>
                  <a:lnTo>
                    <a:pt x="42" y="270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5" y="268"/>
                  </a:lnTo>
                  <a:lnTo>
                    <a:pt x="46" y="267"/>
                  </a:lnTo>
                  <a:lnTo>
                    <a:pt x="46" y="267"/>
                  </a:lnTo>
                  <a:lnTo>
                    <a:pt x="46" y="265"/>
                  </a:lnTo>
                  <a:lnTo>
                    <a:pt x="47" y="264"/>
                  </a:lnTo>
                  <a:lnTo>
                    <a:pt x="49" y="263"/>
                  </a:lnTo>
                  <a:lnTo>
                    <a:pt x="50" y="263"/>
                  </a:lnTo>
                  <a:lnTo>
                    <a:pt x="50" y="261"/>
                  </a:lnTo>
                  <a:lnTo>
                    <a:pt x="50" y="258"/>
                  </a:lnTo>
                  <a:lnTo>
                    <a:pt x="50" y="257"/>
                  </a:lnTo>
                  <a:lnTo>
                    <a:pt x="52" y="255"/>
                  </a:lnTo>
                  <a:lnTo>
                    <a:pt x="50" y="251"/>
                  </a:lnTo>
                  <a:lnTo>
                    <a:pt x="50" y="250"/>
                  </a:lnTo>
                  <a:lnTo>
                    <a:pt x="50" y="248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2" y="243"/>
                  </a:lnTo>
                  <a:lnTo>
                    <a:pt x="52" y="238"/>
                  </a:lnTo>
                  <a:lnTo>
                    <a:pt x="52" y="237"/>
                  </a:lnTo>
                  <a:lnTo>
                    <a:pt x="53" y="235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5" y="231"/>
                  </a:lnTo>
                  <a:lnTo>
                    <a:pt x="55" y="230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7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59" y="223"/>
                  </a:lnTo>
                  <a:lnTo>
                    <a:pt x="59" y="220"/>
                  </a:lnTo>
                  <a:lnTo>
                    <a:pt x="59" y="215"/>
                  </a:lnTo>
                  <a:lnTo>
                    <a:pt x="59" y="213"/>
                  </a:lnTo>
                  <a:lnTo>
                    <a:pt x="60" y="210"/>
                  </a:lnTo>
                  <a:lnTo>
                    <a:pt x="60" y="208"/>
                  </a:lnTo>
                  <a:lnTo>
                    <a:pt x="60" y="208"/>
                  </a:lnTo>
                  <a:lnTo>
                    <a:pt x="60" y="207"/>
                  </a:lnTo>
                  <a:lnTo>
                    <a:pt x="59" y="207"/>
                  </a:lnTo>
                  <a:lnTo>
                    <a:pt x="57" y="207"/>
                  </a:lnTo>
                  <a:lnTo>
                    <a:pt x="57" y="207"/>
                  </a:lnTo>
                  <a:lnTo>
                    <a:pt x="56" y="205"/>
                  </a:lnTo>
                  <a:lnTo>
                    <a:pt x="56" y="204"/>
                  </a:lnTo>
                  <a:lnTo>
                    <a:pt x="56" y="203"/>
                  </a:lnTo>
                  <a:lnTo>
                    <a:pt x="56" y="201"/>
                  </a:lnTo>
                  <a:lnTo>
                    <a:pt x="57" y="200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5" y="194"/>
                  </a:lnTo>
                  <a:lnTo>
                    <a:pt x="55" y="191"/>
                  </a:lnTo>
                  <a:lnTo>
                    <a:pt x="53" y="191"/>
                  </a:lnTo>
                  <a:lnTo>
                    <a:pt x="53" y="188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4"/>
                  </a:lnTo>
                  <a:lnTo>
                    <a:pt x="52" y="183"/>
                  </a:lnTo>
                  <a:lnTo>
                    <a:pt x="53" y="183"/>
                  </a:lnTo>
                  <a:lnTo>
                    <a:pt x="53" y="181"/>
                  </a:lnTo>
                  <a:lnTo>
                    <a:pt x="53" y="181"/>
                  </a:lnTo>
                  <a:lnTo>
                    <a:pt x="52" y="180"/>
                  </a:lnTo>
                  <a:lnTo>
                    <a:pt x="52" y="180"/>
                  </a:lnTo>
                  <a:lnTo>
                    <a:pt x="50" y="180"/>
                  </a:lnTo>
                  <a:lnTo>
                    <a:pt x="49" y="177"/>
                  </a:lnTo>
                  <a:lnTo>
                    <a:pt x="47" y="174"/>
                  </a:lnTo>
                  <a:lnTo>
                    <a:pt x="49" y="171"/>
                  </a:lnTo>
                  <a:lnTo>
                    <a:pt x="49" y="170"/>
                  </a:lnTo>
                  <a:lnTo>
                    <a:pt x="49" y="168"/>
                  </a:lnTo>
                  <a:lnTo>
                    <a:pt x="49" y="167"/>
                  </a:lnTo>
                  <a:lnTo>
                    <a:pt x="50" y="165"/>
                  </a:lnTo>
                  <a:lnTo>
                    <a:pt x="50" y="165"/>
                  </a:lnTo>
                  <a:lnTo>
                    <a:pt x="52" y="165"/>
                  </a:lnTo>
                  <a:lnTo>
                    <a:pt x="52" y="165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3" y="158"/>
                  </a:lnTo>
                  <a:lnTo>
                    <a:pt x="55" y="154"/>
                  </a:lnTo>
                  <a:lnTo>
                    <a:pt x="55" y="154"/>
                  </a:lnTo>
                  <a:lnTo>
                    <a:pt x="55" y="153"/>
                  </a:lnTo>
                  <a:lnTo>
                    <a:pt x="55" y="151"/>
                  </a:lnTo>
                  <a:lnTo>
                    <a:pt x="56" y="153"/>
                  </a:lnTo>
                  <a:lnTo>
                    <a:pt x="57" y="151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60" y="148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7" y="147"/>
                  </a:lnTo>
                  <a:lnTo>
                    <a:pt x="59" y="146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37"/>
                  </a:lnTo>
                  <a:lnTo>
                    <a:pt x="57" y="133"/>
                  </a:lnTo>
                  <a:lnTo>
                    <a:pt x="57" y="131"/>
                  </a:lnTo>
                  <a:lnTo>
                    <a:pt x="59" y="130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2" y="123"/>
                  </a:lnTo>
                  <a:lnTo>
                    <a:pt x="62" y="120"/>
                  </a:lnTo>
                  <a:lnTo>
                    <a:pt x="62" y="118"/>
                  </a:lnTo>
                  <a:lnTo>
                    <a:pt x="63" y="117"/>
                  </a:lnTo>
                  <a:lnTo>
                    <a:pt x="65" y="114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67" y="111"/>
                  </a:lnTo>
                  <a:lnTo>
                    <a:pt x="67" y="110"/>
                  </a:lnTo>
                  <a:lnTo>
                    <a:pt x="69" y="108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2" y="104"/>
                  </a:lnTo>
                  <a:lnTo>
                    <a:pt x="73" y="101"/>
                  </a:lnTo>
                  <a:lnTo>
                    <a:pt x="73" y="98"/>
                  </a:lnTo>
                  <a:lnTo>
                    <a:pt x="75" y="98"/>
                  </a:lnTo>
                  <a:lnTo>
                    <a:pt x="76" y="96"/>
                  </a:lnTo>
                  <a:lnTo>
                    <a:pt x="76" y="94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9" y="94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3" y="91"/>
                  </a:lnTo>
                  <a:lnTo>
                    <a:pt x="85" y="91"/>
                  </a:lnTo>
                  <a:lnTo>
                    <a:pt x="85" y="90"/>
                  </a:lnTo>
                  <a:lnTo>
                    <a:pt x="85" y="88"/>
                  </a:lnTo>
                  <a:lnTo>
                    <a:pt x="83" y="87"/>
                  </a:lnTo>
                  <a:lnTo>
                    <a:pt x="82" y="86"/>
                  </a:lnTo>
                  <a:lnTo>
                    <a:pt x="80" y="83"/>
                  </a:lnTo>
                  <a:lnTo>
                    <a:pt x="80" y="81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8"/>
                  </a:lnTo>
                  <a:lnTo>
                    <a:pt x="83" y="76"/>
                  </a:lnTo>
                  <a:lnTo>
                    <a:pt x="83" y="74"/>
                  </a:lnTo>
                  <a:lnTo>
                    <a:pt x="82" y="68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0" y="63"/>
                  </a:lnTo>
                  <a:lnTo>
                    <a:pt x="80" y="60"/>
                  </a:lnTo>
                  <a:lnTo>
                    <a:pt x="82" y="58"/>
                  </a:lnTo>
                  <a:lnTo>
                    <a:pt x="83" y="58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6"/>
                  </a:lnTo>
                  <a:lnTo>
                    <a:pt x="82" y="56"/>
                  </a:lnTo>
                  <a:lnTo>
                    <a:pt x="82" y="54"/>
                  </a:lnTo>
                  <a:lnTo>
                    <a:pt x="80" y="54"/>
                  </a:lnTo>
                  <a:lnTo>
                    <a:pt x="80" y="53"/>
                  </a:lnTo>
                  <a:lnTo>
                    <a:pt x="80" y="51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5" y="46"/>
                  </a:lnTo>
                  <a:lnTo>
                    <a:pt x="86" y="44"/>
                  </a:lnTo>
                  <a:lnTo>
                    <a:pt x="89" y="43"/>
                  </a:lnTo>
                  <a:lnTo>
                    <a:pt x="92" y="43"/>
                  </a:lnTo>
                  <a:lnTo>
                    <a:pt x="96" y="40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102" y="31"/>
                  </a:lnTo>
                  <a:lnTo>
                    <a:pt x="105" y="24"/>
                  </a:lnTo>
                  <a:lnTo>
                    <a:pt x="106" y="20"/>
                  </a:lnTo>
                  <a:lnTo>
                    <a:pt x="102" y="17"/>
                  </a:lnTo>
                  <a:lnTo>
                    <a:pt x="103" y="17"/>
                  </a:lnTo>
                  <a:lnTo>
                    <a:pt x="105" y="14"/>
                  </a:lnTo>
                  <a:lnTo>
                    <a:pt x="105" y="13"/>
                  </a:lnTo>
                  <a:lnTo>
                    <a:pt x="106" y="11"/>
                  </a:lnTo>
                  <a:lnTo>
                    <a:pt x="109" y="10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7"/>
                  </a:lnTo>
                  <a:lnTo>
                    <a:pt x="112" y="7"/>
                  </a:lnTo>
                  <a:lnTo>
                    <a:pt x="113" y="6"/>
                  </a:lnTo>
                  <a:lnTo>
                    <a:pt x="116" y="6"/>
                  </a:lnTo>
                  <a:lnTo>
                    <a:pt x="116" y="4"/>
                  </a:lnTo>
                  <a:lnTo>
                    <a:pt x="117" y="3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0" y="1"/>
                  </a:lnTo>
                  <a:lnTo>
                    <a:pt x="123" y="4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6" y="6"/>
                  </a:lnTo>
                  <a:lnTo>
                    <a:pt x="137" y="6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2" y="7"/>
                  </a:lnTo>
                  <a:lnTo>
                    <a:pt x="144" y="7"/>
                  </a:lnTo>
                  <a:lnTo>
                    <a:pt x="144" y="10"/>
                  </a:lnTo>
                  <a:lnTo>
                    <a:pt x="146" y="11"/>
                  </a:lnTo>
                  <a:lnTo>
                    <a:pt x="146" y="13"/>
                  </a:lnTo>
                  <a:lnTo>
                    <a:pt x="147" y="17"/>
                  </a:lnTo>
                  <a:lnTo>
                    <a:pt x="149" y="17"/>
                  </a:lnTo>
                  <a:lnTo>
                    <a:pt x="149" y="17"/>
                  </a:lnTo>
                  <a:lnTo>
                    <a:pt x="149" y="14"/>
                  </a:lnTo>
                  <a:lnTo>
                    <a:pt x="150" y="11"/>
                  </a:lnTo>
                  <a:lnTo>
                    <a:pt x="152" y="10"/>
                  </a:lnTo>
                  <a:lnTo>
                    <a:pt x="154" y="4"/>
                  </a:lnTo>
                  <a:lnTo>
                    <a:pt x="154" y="4"/>
                  </a:lnTo>
                  <a:lnTo>
                    <a:pt x="156" y="3"/>
                  </a:lnTo>
                  <a:lnTo>
                    <a:pt x="156" y="3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9" y="3"/>
                  </a:lnTo>
                  <a:lnTo>
                    <a:pt x="166" y="3"/>
                  </a:lnTo>
                  <a:lnTo>
                    <a:pt x="172" y="3"/>
                  </a:lnTo>
                  <a:lnTo>
                    <a:pt x="172" y="3"/>
                  </a:lnTo>
                  <a:lnTo>
                    <a:pt x="173" y="4"/>
                  </a:lnTo>
                  <a:lnTo>
                    <a:pt x="173" y="6"/>
                  </a:lnTo>
                  <a:lnTo>
                    <a:pt x="174" y="7"/>
                  </a:lnTo>
                  <a:lnTo>
                    <a:pt x="174" y="7"/>
                  </a:lnTo>
                  <a:close/>
                  <a:moveTo>
                    <a:pt x="187" y="324"/>
                  </a:moveTo>
                  <a:lnTo>
                    <a:pt x="187" y="325"/>
                  </a:lnTo>
                  <a:lnTo>
                    <a:pt x="187" y="324"/>
                  </a:lnTo>
                  <a:lnTo>
                    <a:pt x="184" y="324"/>
                  </a:lnTo>
                  <a:lnTo>
                    <a:pt x="184" y="323"/>
                  </a:lnTo>
                  <a:lnTo>
                    <a:pt x="184" y="321"/>
                  </a:lnTo>
                  <a:lnTo>
                    <a:pt x="186" y="323"/>
                  </a:lnTo>
                  <a:lnTo>
                    <a:pt x="187" y="323"/>
                  </a:lnTo>
                  <a:lnTo>
                    <a:pt x="187" y="324"/>
                  </a:lnTo>
                  <a:close/>
                  <a:moveTo>
                    <a:pt x="79" y="695"/>
                  </a:moveTo>
                  <a:lnTo>
                    <a:pt x="79" y="688"/>
                  </a:lnTo>
                  <a:lnTo>
                    <a:pt x="79" y="679"/>
                  </a:lnTo>
                  <a:lnTo>
                    <a:pt x="79" y="672"/>
                  </a:lnTo>
                  <a:lnTo>
                    <a:pt x="79" y="665"/>
                  </a:lnTo>
                  <a:lnTo>
                    <a:pt x="79" y="658"/>
                  </a:lnTo>
                  <a:lnTo>
                    <a:pt x="79" y="651"/>
                  </a:lnTo>
                  <a:lnTo>
                    <a:pt x="79" y="642"/>
                  </a:lnTo>
                  <a:lnTo>
                    <a:pt x="79" y="635"/>
                  </a:lnTo>
                  <a:lnTo>
                    <a:pt x="80" y="637"/>
                  </a:lnTo>
                  <a:lnTo>
                    <a:pt x="85" y="642"/>
                  </a:lnTo>
                  <a:lnTo>
                    <a:pt x="85" y="644"/>
                  </a:lnTo>
                  <a:lnTo>
                    <a:pt x="86" y="647"/>
                  </a:lnTo>
                  <a:lnTo>
                    <a:pt x="85" y="645"/>
                  </a:lnTo>
                  <a:lnTo>
                    <a:pt x="83" y="645"/>
                  </a:lnTo>
                  <a:lnTo>
                    <a:pt x="82" y="648"/>
                  </a:lnTo>
                  <a:lnTo>
                    <a:pt x="82" y="649"/>
                  </a:lnTo>
                  <a:lnTo>
                    <a:pt x="82" y="651"/>
                  </a:lnTo>
                  <a:lnTo>
                    <a:pt x="82" y="651"/>
                  </a:lnTo>
                  <a:lnTo>
                    <a:pt x="83" y="652"/>
                  </a:lnTo>
                  <a:lnTo>
                    <a:pt x="87" y="652"/>
                  </a:lnTo>
                  <a:lnTo>
                    <a:pt x="87" y="652"/>
                  </a:lnTo>
                  <a:lnTo>
                    <a:pt x="89" y="659"/>
                  </a:lnTo>
                  <a:lnTo>
                    <a:pt x="90" y="661"/>
                  </a:lnTo>
                  <a:lnTo>
                    <a:pt x="92" y="662"/>
                  </a:lnTo>
                  <a:lnTo>
                    <a:pt x="95" y="665"/>
                  </a:lnTo>
                  <a:lnTo>
                    <a:pt x="97" y="669"/>
                  </a:lnTo>
                  <a:lnTo>
                    <a:pt x="100" y="672"/>
                  </a:lnTo>
                  <a:lnTo>
                    <a:pt x="105" y="675"/>
                  </a:lnTo>
                  <a:lnTo>
                    <a:pt x="107" y="678"/>
                  </a:lnTo>
                  <a:lnTo>
                    <a:pt x="110" y="679"/>
                  </a:lnTo>
                  <a:lnTo>
                    <a:pt x="115" y="684"/>
                  </a:lnTo>
                  <a:lnTo>
                    <a:pt x="117" y="685"/>
                  </a:lnTo>
                  <a:lnTo>
                    <a:pt x="122" y="688"/>
                  </a:lnTo>
                  <a:lnTo>
                    <a:pt x="126" y="689"/>
                  </a:lnTo>
                  <a:lnTo>
                    <a:pt x="132" y="688"/>
                  </a:lnTo>
                  <a:lnTo>
                    <a:pt x="133" y="689"/>
                  </a:lnTo>
                  <a:lnTo>
                    <a:pt x="134" y="689"/>
                  </a:lnTo>
                  <a:lnTo>
                    <a:pt x="133" y="692"/>
                  </a:lnTo>
                  <a:lnTo>
                    <a:pt x="132" y="695"/>
                  </a:lnTo>
                  <a:lnTo>
                    <a:pt x="130" y="697"/>
                  </a:lnTo>
                  <a:lnTo>
                    <a:pt x="127" y="697"/>
                  </a:lnTo>
                  <a:lnTo>
                    <a:pt x="126" y="697"/>
                  </a:lnTo>
                  <a:lnTo>
                    <a:pt x="125" y="697"/>
                  </a:lnTo>
                  <a:lnTo>
                    <a:pt x="122" y="697"/>
                  </a:lnTo>
                  <a:lnTo>
                    <a:pt x="120" y="698"/>
                  </a:lnTo>
                  <a:lnTo>
                    <a:pt x="119" y="698"/>
                  </a:lnTo>
                  <a:lnTo>
                    <a:pt x="117" y="698"/>
                  </a:lnTo>
                  <a:lnTo>
                    <a:pt x="115" y="699"/>
                  </a:lnTo>
                  <a:lnTo>
                    <a:pt x="113" y="699"/>
                  </a:lnTo>
                  <a:lnTo>
                    <a:pt x="112" y="699"/>
                  </a:lnTo>
                  <a:lnTo>
                    <a:pt x="106" y="697"/>
                  </a:lnTo>
                  <a:lnTo>
                    <a:pt x="103" y="697"/>
                  </a:lnTo>
                  <a:lnTo>
                    <a:pt x="93" y="695"/>
                  </a:lnTo>
                  <a:lnTo>
                    <a:pt x="89" y="695"/>
                  </a:lnTo>
                  <a:lnTo>
                    <a:pt x="86" y="694"/>
                  </a:lnTo>
                  <a:lnTo>
                    <a:pt x="85" y="694"/>
                  </a:lnTo>
                  <a:lnTo>
                    <a:pt x="82" y="694"/>
                  </a:lnTo>
                  <a:lnTo>
                    <a:pt x="79" y="694"/>
                  </a:lnTo>
                  <a:lnTo>
                    <a:pt x="79" y="695"/>
                  </a:lnTo>
                  <a:close/>
                  <a:moveTo>
                    <a:pt x="144" y="691"/>
                  </a:moveTo>
                  <a:lnTo>
                    <a:pt x="146" y="691"/>
                  </a:lnTo>
                  <a:lnTo>
                    <a:pt x="150" y="691"/>
                  </a:lnTo>
                  <a:lnTo>
                    <a:pt x="152" y="691"/>
                  </a:lnTo>
                  <a:lnTo>
                    <a:pt x="153" y="691"/>
                  </a:lnTo>
                  <a:lnTo>
                    <a:pt x="153" y="692"/>
                  </a:lnTo>
                  <a:lnTo>
                    <a:pt x="156" y="691"/>
                  </a:lnTo>
                  <a:lnTo>
                    <a:pt x="156" y="691"/>
                  </a:lnTo>
                  <a:lnTo>
                    <a:pt x="156" y="692"/>
                  </a:lnTo>
                  <a:lnTo>
                    <a:pt x="154" y="694"/>
                  </a:lnTo>
                  <a:lnTo>
                    <a:pt x="153" y="694"/>
                  </a:lnTo>
                  <a:lnTo>
                    <a:pt x="149" y="694"/>
                  </a:lnTo>
                  <a:lnTo>
                    <a:pt x="146" y="694"/>
                  </a:lnTo>
                  <a:lnTo>
                    <a:pt x="146" y="694"/>
                  </a:lnTo>
                  <a:lnTo>
                    <a:pt x="143" y="697"/>
                  </a:lnTo>
                  <a:lnTo>
                    <a:pt x="142" y="695"/>
                  </a:lnTo>
                  <a:lnTo>
                    <a:pt x="142" y="694"/>
                  </a:lnTo>
                  <a:lnTo>
                    <a:pt x="143" y="692"/>
                  </a:lnTo>
                  <a:lnTo>
                    <a:pt x="143" y="692"/>
                  </a:lnTo>
                  <a:lnTo>
                    <a:pt x="144" y="692"/>
                  </a:lnTo>
                  <a:lnTo>
                    <a:pt x="144" y="69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155;p3"/>
            <p:cNvSpPr/>
            <p:nvPr/>
          </p:nvSpPr>
          <p:spPr>
            <a:xfrm>
              <a:off x="6076364" y="4516697"/>
              <a:ext cx="2104" cy="1884"/>
            </a:xfrm>
            <a:custGeom>
              <a:rect b="b" l="l" r="r" t="t"/>
              <a:pathLst>
                <a:path extrusionOk="0" h="3" w="3">
                  <a:moveTo>
                    <a:pt x="2" y="1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156;p3"/>
            <p:cNvSpPr/>
            <p:nvPr/>
          </p:nvSpPr>
          <p:spPr>
            <a:xfrm>
              <a:off x="4058729" y="3808556"/>
              <a:ext cx="85558" cy="38295"/>
            </a:xfrm>
            <a:custGeom>
              <a:rect b="b" l="l" r="r" t="t"/>
              <a:pathLst>
                <a:path extrusionOk="0" h="61" w="122">
                  <a:moveTo>
                    <a:pt x="119" y="10"/>
                  </a:move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20"/>
                  </a:lnTo>
                  <a:lnTo>
                    <a:pt x="120" y="23"/>
                  </a:lnTo>
                  <a:lnTo>
                    <a:pt x="122" y="23"/>
                  </a:lnTo>
                  <a:lnTo>
                    <a:pt x="122" y="24"/>
                  </a:lnTo>
                  <a:lnTo>
                    <a:pt x="122" y="26"/>
                  </a:lnTo>
                  <a:lnTo>
                    <a:pt x="122" y="27"/>
                  </a:lnTo>
                  <a:lnTo>
                    <a:pt x="120" y="27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30"/>
                  </a:lnTo>
                  <a:lnTo>
                    <a:pt x="120" y="31"/>
                  </a:lnTo>
                  <a:lnTo>
                    <a:pt x="119" y="31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4" y="30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0" y="31"/>
                  </a:lnTo>
                  <a:lnTo>
                    <a:pt x="110" y="33"/>
                  </a:lnTo>
                  <a:lnTo>
                    <a:pt x="114" y="34"/>
                  </a:lnTo>
                  <a:lnTo>
                    <a:pt x="114" y="36"/>
                  </a:lnTo>
                  <a:lnTo>
                    <a:pt x="114" y="37"/>
                  </a:lnTo>
                  <a:lnTo>
                    <a:pt x="113" y="37"/>
                  </a:lnTo>
                  <a:lnTo>
                    <a:pt x="113" y="39"/>
                  </a:lnTo>
                  <a:lnTo>
                    <a:pt x="112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12" y="41"/>
                  </a:lnTo>
                  <a:lnTo>
                    <a:pt x="110" y="41"/>
                  </a:lnTo>
                  <a:lnTo>
                    <a:pt x="110" y="43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0" y="49"/>
                  </a:lnTo>
                  <a:lnTo>
                    <a:pt x="109" y="49"/>
                  </a:lnTo>
                  <a:lnTo>
                    <a:pt x="107" y="49"/>
                  </a:lnTo>
                  <a:lnTo>
                    <a:pt x="104" y="51"/>
                  </a:lnTo>
                  <a:lnTo>
                    <a:pt x="104" y="51"/>
                  </a:lnTo>
                  <a:lnTo>
                    <a:pt x="103" y="53"/>
                  </a:lnTo>
                  <a:lnTo>
                    <a:pt x="103" y="54"/>
                  </a:lnTo>
                  <a:lnTo>
                    <a:pt x="103" y="56"/>
                  </a:lnTo>
                  <a:lnTo>
                    <a:pt x="103" y="56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97" y="56"/>
                  </a:lnTo>
                  <a:lnTo>
                    <a:pt x="96" y="56"/>
                  </a:lnTo>
                  <a:lnTo>
                    <a:pt x="94" y="57"/>
                  </a:lnTo>
                  <a:lnTo>
                    <a:pt x="92" y="56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4" y="57"/>
                  </a:lnTo>
                  <a:lnTo>
                    <a:pt x="84" y="59"/>
                  </a:lnTo>
                  <a:lnTo>
                    <a:pt x="83" y="60"/>
                  </a:lnTo>
                  <a:lnTo>
                    <a:pt x="83" y="60"/>
                  </a:lnTo>
                  <a:lnTo>
                    <a:pt x="82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6" y="61"/>
                  </a:lnTo>
                  <a:lnTo>
                    <a:pt x="73" y="60"/>
                  </a:lnTo>
                  <a:lnTo>
                    <a:pt x="72" y="60"/>
                  </a:lnTo>
                  <a:lnTo>
                    <a:pt x="70" y="60"/>
                  </a:lnTo>
                  <a:lnTo>
                    <a:pt x="69" y="60"/>
                  </a:lnTo>
                  <a:lnTo>
                    <a:pt x="67" y="60"/>
                  </a:lnTo>
                  <a:lnTo>
                    <a:pt x="67" y="59"/>
                  </a:lnTo>
                  <a:lnTo>
                    <a:pt x="63" y="59"/>
                  </a:lnTo>
                  <a:lnTo>
                    <a:pt x="62" y="59"/>
                  </a:lnTo>
                  <a:lnTo>
                    <a:pt x="59" y="59"/>
                  </a:lnTo>
                  <a:lnTo>
                    <a:pt x="53" y="57"/>
                  </a:lnTo>
                  <a:lnTo>
                    <a:pt x="50" y="56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6" y="54"/>
                  </a:lnTo>
                  <a:lnTo>
                    <a:pt x="44" y="54"/>
                  </a:lnTo>
                  <a:lnTo>
                    <a:pt x="44" y="51"/>
                  </a:lnTo>
                  <a:lnTo>
                    <a:pt x="42" y="50"/>
                  </a:lnTo>
                  <a:lnTo>
                    <a:pt x="42" y="49"/>
                  </a:lnTo>
                  <a:lnTo>
                    <a:pt x="42" y="47"/>
                  </a:lnTo>
                  <a:lnTo>
                    <a:pt x="43" y="47"/>
                  </a:lnTo>
                  <a:lnTo>
                    <a:pt x="43" y="46"/>
                  </a:lnTo>
                  <a:lnTo>
                    <a:pt x="42" y="46"/>
                  </a:lnTo>
                  <a:lnTo>
                    <a:pt x="39" y="47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3" y="49"/>
                  </a:lnTo>
                  <a:lnTo>
                    <a:pt x="32" y="49"/>
                  </a:lnTo>
                  <a:lnTo>
                    <a:pt x="30" y="49"/>
                  </a:lnTo>
                  <a:lnTo>
                    <a:pt x="27" y="49"/>
                  </a:lnTo>
                  <a:lnTo>
                    <a:pt x="26" y="50"/>
                  </a:lnTo>
                  <a:lnTo>
                    <a:pt x="25" y="51"/>
                  </a:lnTo>
                  <a:lnTo>
                    <a:pt x="25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19" y="51"/>
                  </a:lnTo>
                  <a:lnTo>
                    <a:pt x="17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3" y="49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7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2" y="47"/>
                  </a:lnTo>
                  <a:lnTo>
                    <a:pt x="0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7" y="36"/>
                  </a:lnTo>
                  <a:lnTo>
                    <a:pt x="7" y="37"/>
                  </a:lnTo>
                  <a:lnTo>
                    <a:pt x="9" y="37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10" y="39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5" y="39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7" y="36"/>
                  </a:lnTo>
                  <a:lnTo>
                    <a:pt x="19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5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4" y="31"/>
                  </a:lnTo>
                  <a:lnTo>
                    <a:pt x="46" y="31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9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6"/>
                  </a:lnTo>
                  <a:lnTo>
                    <a:pt x="56" y="34"/>
                  </a:lnTo>
                  <a:lnTo>
                    <a:pt x="56" y="33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3" y="24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3" y="20"/>
                  </a:lnTo>
                  <a:lnTo>
                    <a:pt x="54" y="20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9" y="17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62" y="14"/>
                  </a:lnTo>
                  <a:lnTo>
                    <a:pt x="63" y="11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6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7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73" y="10"/>
                  </a:lnTo>
                  <a:lnTo>
                    <a:pt x="74" y="10"/>
                  </a:lnTo>
                  <a:lnTo>
                    <a:pt x="77" y="10"/>
                  </a:lnTo>
                  <a:lnTo>
                    <a:pt x="79" y="10"/>
                  </a:lnTo>
                  <a:lnTo>
                    <a:pt x="79" y="9"/>
                  </a:lnTo>
                  <a:lnTo>
                    <a:pt x="80" y="10"/>
                  </a:lnTo>
                  <a:lnTo>
                    <a:pt x="83" y="10"/>
                  </a:lnTo>
                  <a:lnTo>
                    <a:pt x="83" y="9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6" y="6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4" y="1"/>
                  </a:lnTo>
                  <a:lnTo>
                    <a:pt x="97" y="3"/>
                  </a:lnTo>
                  <a:lnTo>
                    <a:pt x="99" y="4"/>
                  </a:lnTo>
                  <a:lnTo>
                    <a:pt x="100" y="3"/>
                  </a:lnTo>
                  <a:lnTo>
                    <a:pt x="100" y="3"/>
                  </a:lnTo>
                  <a:lnTo>
                    <a:pt x="104" y="6"/>
                  </a:lnTo>
                  <a:lnTo>
                    <a:pt x="107" y="7"/>
                  </a:lnTo>
                  <a:lnTo>
                    <a:pt x="110" y="7"/>
                  </a:lnTo>
                  <a:lnTo>
                    <a:pt x="110" y="6"/>
                  </a:lnTo>
                  <a:lnTo>
                    <a:pt x="112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4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9" y="10"/>
                  </a:lnTo>
                  <a:lnTo>
                    <a:pt x="119" y="1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157;p3"/>
            <p:cNvSpPr/>
            <p:nvPr/>
          </p:nvSpPr>
          <p:spPr>
            <a:xfrm>
              <a:off x="5219378" y="4473380"/>
              <a:ext cx="516857" cy="557473"/>
            </a:xfrm>
            <a:custGeom>
              <a:rect b="b" l="l" r="r" t="t"/>
              <a:pathLst>
                <a:path extrusionOk="0" h="888" w="737">
                  <a:moveTo>
                    <a:pt x="281" y="22"/>
                  </a:moveTo>
                  <a:lnTo>
                    <a:pt x="280" y="20"/>
                  </a:lnTo>
                  <a:lnTo>
                    <a:pt x="280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2" y="20"/>
                  </a:lnTo>
                  <a:lnTo>
                    <a:pt x="282" y="22"/>
                  </a:lnTo>
                  <a:lnTo>
                    <a:pt x="284" y="22"/>
                  </a:lnTo>
                  <a:lnTo>
                    <a:pt x="287" y="22"/>
                  </a:lnTo>
                  <a:lnTo>
                    <a:pt x="288" y="22"/>
                  </a:lnTo>
                  <a:lnTo>
                    <a:pt x="290" y="22"/>
                  </a:lnTo>
                  <a:lnTo>
                    <a:pt x="291" y="22"/>
                  </a:lnTo>
                  <a:lnTo>
                    <a:pt x="292" y="20"/>
                  </a:lnTo>
                  <a:lnTo>
                    <a:pt x="294" y="20"/>
                  </a:lnTo>
                  <a:lnTo>
                    <a:pt x="294" y="19"/>
                  </a:lnTo>
                  <a:lnTo>
                    <a:pt x="295" y="20"/>
                  </a:lnTo>
                  <a:lnTo>
                    <a:pt x="297" y="22"/>
                  </a:lnTo>
                  <a:lnTo>
                    <a:pt x="298" y="22"/>
                  </a:lnTo>
                  <a:lnTo>
                    <a:pt x="298" y="23"/>
                  </a:lnTo>
                  <a:lnTo>
                    <a:pt x="298" y="23"/>
                  </a:lnTo>
                  <a:lnTo>
                    <a:pt x="298" y="25"/>
                  </a:lnTo>
                  <a:lnTo>
                    <a:pt x="298" y="26"/>
                  </a:lnTo>
                  <a:lnTo>
                    <a:pt x="297" y="26"/>
                  </a:lnTo>
                  <a:lnTo>
                    <a:pt x="295" y="27"/>
                  </a:lnTo>
                  <a:lnTo>
                    <a:pt x="290" y="32"/>
                  </a:lnTo>
                  <a:lnTo>
                    <a:pt x="284" y="29"/>
                  </a:lnTo>
                  <a:lnTo>
                    <a:pt x="282" y="26"/>
                  </a:lnTo>
                  <a:lnTo>
                    <a:pt x="281" y="23"/>
                  </a:lnTo>
                  <a:lnTo>
                    <a:pt x="281" y="22"/>
                  </a:lnTo>
                  <a:close/>
                  <a:moveTo>
                    <a:pt x="386" y="93"/>
                  </a:moveTo>
                  <a:lnTo>
                    <a:pt x="386" y="95"/>
                  </a:lnTo>
                  <a:lnTo>
                    <a:pt x="386" y="95"/>
                  </a:lnTo>
                  <a:lnTo>
                    <a:pt x="388" y="95"/>
                  </a:lnTo>
                  <a:lnTo>
                    <a:pt x="388" y="93"/>
                  </a:lnTo>
                  <a:lnTo>
                    <a:pt x="386" y="93"/>
                  </a:lnTo>
                  <a:lnTo>
                    <a:pt x="386" y="92"/>
                  </a:lnTo>
                  <a:lnTo>
                    <a:pt x="386" y="92"/>
                  </a:lnTo>
                  <a:lnTo>
                    <a:pt x="385" y="93"/>
                  </a:lnTo>
                  <a:lnTo>
                    <a:pt x="385" y="93"/>
                  </a:lnTo>
                  <a:lnTo>
                    <a:pt x="386" y="93"/>
                  </a:lnTo>
                  <a:close/>
                  <a:moveTo>
                    <a:pt x="422" y="110"/>
                  </a:moveTo>
                  <a:lnTo>
                    <a:pt x="422" y="110"/>
                  </a:lnTo>
                  <a:lnTo>
                    <a:pt x="424" y="110"/>
                  </a:lnTo>
                  <a:lnTo>
                    <a:pt x="425" y="109"/>
                  </a:lnTo>
                  <a:lnTo>
                    <a:pt x="425" y="109"/>
                  </a:lnTo>
                  <a:lnTo>
                    <a:pt x="426" y="107"/>
                  </a:lnTo>
                  <a:lnTo>
                    <a:pt x="426" y="107"/>
                  </a:lnTo>
                  <a:lnTo>
                    <a:pt x="429" y="106"/>
                  </a:lnTo>
                  <a:lnTo>
                    <a:pt x="428" y="105"/>
                  </a:lnTo>
                  <a:lnTo>
                    <a:pt x="428" y="105"/>
                  </a:lnTo>
                  <a:lnTo>
                    <a:pt x="425" y="106"/>
                  </a:lnTo>
                  <a:lnTo>
                    <a:pt x="422" y="106"/>
                  </a:lnTo>
                  <a:lnTo>
                    <a:pt x="422" y="107"/>
                  </a:lnTo>
                  <a:lnTo>
                    <a:pt x="421" y="109"/>
                  </a:lnTo>
                  <a:lnTo>
                    <a:pt x="421" y="110"/>
                  </a:lnTo>
                  <a:lnTo>
                    <a:pt x="421" y="110"/>
                  </a:lnTo>
                  <a:lnTo>
                    <a:pt x="422" y="110"/>
                  </a:lnTo>
                  <a:close/>
                  <a:moveTo>
                    <a:pt x="469" y="3"/>
                  </a:moveTo>
                  <a:lnTo>
                    <a:pt x="469" y="2"/>
                  </a:lnTo>
                  <a:lnTo>
                    <a:pt x="469" y="0"/>
                  </a:lnTo>
                  <a:lnTo>
                    <a:pt x="468" y="2"/>
                  </a:lnTo>
                  <a:lnTo>
                    <a:pt x="468" y="3"/>
                  </a:lnTo>
                  <a:lnTo>
                    <a:pt x="469" y="3"/>
                  </a:lnTo>
                  <a:close/>
                  <a:moveTo>
                    <a:pt x="379" y="22"/>
                  </a:moveTo>
                  <a:lnTo>
                    <a:pt x="382" y="19"/>
                  </a:lnTo>
                  <a:lnTo>
                    <a:pt x="382" y="16"/>
                  </a:lnTo>
                  <a:lnTo>
                    <a:pt x="382" y="16"/>
                  </a:lnTo>
                  <a:lnTo>
                    <a:pt x="382" y="17"/>
                  </a:lnTo>
                  <a:lnTo>
                    <a:pt x="381" y="19"/>
                  </a:lnTo>
                  <a:lnTo>
                    <a:pt x="381" y="19"/>
                  </a:lnTo>
                  <a:lnTo>
                    <a:pt x="381" y="20"/>
                  </a:lnTo>
                  <a:lnTo>
                    <a:pt x="379" y="22"/>
                  </a:lnTo>
                  <a:lnTo>
                    <a:pt x="378" y="23"/>
                  </a:lnTo>
                  <a:lnTo>
                    <a:pt x="378" y="23"/>
                  </a:lnTo>
                  <a:lnTo>
                    <a:pt x="379" y="22"/>
                  </a:lnTo>
                  <a:close/>
                  <a:moveTo>
                    <a:pt x="314" y="19"/>
                  </a:moveTo>
                  <a:lnTo>
                    <a:pt x="315" y="22"/>
                  </a:lnTo>
                  <a:lnTo>
                    <a:pt x="315" y="22"/>
                  </a:lnTo>
                  <a:lnTo>
                    <a:pt x="317" y="19"/>
                  </a:lnTo>
                  <a:lnTo>
                    <a:pt x="315" y="17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4" y="17"/>
                  </a:lnTo>
                  <a:lnTo>
                    <a:pt x="314" y="17"/>
                  </a:lnTo>
                  <a:lnTo>
                    <a:pt x="314" y="19"/>
                  </a:lnTo>
                  <a:close/>
                  <a:moveTo>
                    <a:pt x="377" y="26"/>
                  </a:moveTo>
                  <a:lnTo>
                    <a:pt x="378" y="25"/>
                  </a:lnTo>
                  <a:lnTo>
                    <a:pt x="378" y="23"/>
                  </a:lnTo>
                  <a:lnTo>
                    <a:pt x="378" y="25"/>
                  </a:lnTo>
                  <a:lnTo>
                    <a:pt x="375" y="26"/>
                  </a:lnTo>
                  <a:lnTo>
                    <a:pt x="374" y="27"/>
                  </a:lnTo>
                  <a:lnTo>
                    <a:pt x="375" y="26"/>
                  </a:lnTo>
                  <a:lnTo>
                    <a:pt x="377" y="26"/>
                  </a:lnTo>
                  <a:close/>
                  <a:moveTo>
                    <a:pt x="384" y="92"/>
                  </a:moveTo>
                  <a:lnTo>
                    <a:pt x="384" y="92"/>
                  </a:lnTo>
                  <a:lnTo>
                    <a:pt x="385" y="92"/>
                  </a:lnTo>
                  <a:lnTo>
                    <a:pt x="384" y="90"/>
                  </a:lnTo>
                  <a:lnTo>
                    <a:pt x="384" y="90"/>
                  </a:lnTo>
                  <a:lnTo>
                    <a:pt x="384" y="92"/>
                  </a:lnTo>
                  <a:close/>
                  <a:moveTo>
                    <a:pt x="468" y="10"/>
                  </a:moveTo>
                  <a:lnTo>
                    <a:pt x="468" y="10"/>
                  </a:lnTo>
                  <a:lnTo>
                    <a:pt x="468" y="12"/>
                  </a:lnTo>
                  <a:lnTo>
                    <a:pt x="469" y="12"/>
                  </a:lnTo>
                  <a:lnTo>
                    <a:pt x="471" y="12"/>
                  </a:lnTo>
                  <a:lnTo>
                    <a:pt x="469" y="9"/>
                  </a:lnTo>
                  <a:lnTo>
                    <a:pt x="468" y="10"/>
                  </a:lnTo>
                  <a:close/>
                  <a:moveTo>
                    <a:pt x="378" y="92"/>
                  </a:moveTo>
                  <a:lnTo>
                    <a:pt x="378" y="92"/>
                  </a:lnTo>
                  <a:lnTo>
                    <a:pt x="378" y="92"/>
                  </a:lnTo>
                  <a:lnTo>
                    <a:pt x="379" y="92"/>
                  </a:lnTo>
                  <a:lnTo>
                    <a:pt x="379" y="90"/>
                  </a:lnTo>
                  <a:lnTo>
                    <a:pt x="379" y="90"/>
                  </a:lnTo>
                  <a:lnTo>
                    <a:pt x="378" y="90"/>
                  </a:lnTo>
                  <a:lnTo>
                    <a:pt x="378" y="92"/>
                  </a:lnTo>
                  <a:close/>
                  <a:moveTo>
                    <a:pt x="384" y="69"/>
                  </a:moveTo>
                  <a:lnTo>
                    <a:pt x="382" y="67"/>
                  </a:lnTo>
                  <a:lnTo>
                    <a:pt x="382" y="67"/>
                  </a:lnTo>
                  <a:lnTo>
                    <a:pt x="382" y="66"/>
                  </a:lnTo>
                  <a:lnTo>
                    <a:pt x="382" y="65"/>
                  </a:lnTo>
                  <a:lnTo>
                    <a:pt x="384" y="63"/>
                  </a:lnTo>
                  <a:lnTo>
                    <a:pt x="384" y="63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4" y="62"/>
                  </a:lnTo>
                  <a:lnTo>
                    <a:pt x="384" y="62"/>
                  </a:lnTo>
                  <a:lnTo>
                    <a:pt x="384" y="63"/>
                  </a:lnTo>
                  <a:lnTo>
                    <a:pt x="382" y="63"/>
                  </a:lnTo>
                  <a:lnTo>
                    <a:pt x="382" y="62"/>
                  </a:lnTo>
                  <a:lnTo>
                    <a:pt x="381" y="60"/>
                  </a:lnTo>
                  <a:lnTo>
                    <a:pt x="381" y="60"/>
                  </a:lnTo>
                  <a:lnTo>
                    <a:pt x="381" y="60"/>
                  </a:lnTo>
                  <a:lnTo>
                    <a:pt x="379" y="60"/>
                  </a:lnTo>
                  <a:lnTo>
                    <a:pt x="379" y="62"/>
                  </a:lnTo>
                  <a:lnTo>
                    <a:pt x="377" y="63"/>
                  </a:lnTo>
                  <a:lnTo>
                    <a:pt x="377" y="66"/>
                  </a:lnTo>
                  <a:lnTo>
                    <a:pt x="377" y="67"/>
                  </a:lnTo>
                  <a:lnTo>
                    <a:pt x="377" y="67"/>
                  </a:lnTo>
                  <a:lnTo>
                    <a:pt x="375" y="69"/>
                  </a:lnTo>
                  <a:lnTo>
                    <a:pt x="377" y="69"/>
                  </a:lnTo>
                  <a:lnTo>
                    <a:pt x="378" y="69"/>
                  </a:lnTo>
                  <a:lnTo>
                    <a:pt x="381" y="70"/>
                  </a:lnTo>
                  <a:lnTo>
                    <a:pt x="382" y="70"/>
                  </a:lnTo>
                  <a:lnTo>
                    <a:pt x="385" y="70"/>
                  </a:lnTo>
                  <a:lnTo>
                    <a:pt x="385" y="69"/>
                  </a:lnTo>
                  <a:lnTo>
                    <a:pt x="385" y="69"/>
                  </a:lnTo>
                  <a:lnTo>
                    <a:pt x="385" y="67"/>
                  </a:lnTo>
                  <a:lnTo>
                    <a:pt x="384" y="69"/>
                  </a:lnTo>
                  <a:close/>
                  <a:moveTo>
                    <a:pt x="615" y="230"/>
                  </a:moveTo>
                  <a:lnTo>
                    <a:pt x="615" y="230"/>
                  </a:lnTo>
                  <a:lnTo>
                    <a:pt x="615" y="229"/>
                  </a:lnTo>
                  <a:lnTo>
                    <a:pt x="615" y="229"/>
                  </a:lnTo>
                  <a:lnTo>
                    <a:pt x="613" y="227"/>
                  </a:lnTo>
                  <a:lnTo>
                    <a:pt x="615" y="226"/>
                  </a:lnTo>
                  <a:lnTo>
                    <a:pt x="613" y="226"/>
                  </a:lnTo>
                  <a:lnTo>
                    <a:pt x="613" y="226"/>
                  </a:lnTo>
                  <a:lnTo>
                    <a:pt x="613" y="224"/>
                  </a:lnTo>
                  <a:lnTo>
                    <a:pt x="612" y="224"/>
                  </a:lnTo>
                  <a:lnTo>
                    <a:pt x="610" y="226"/>
                  </a:lnTo>
                  <a:lnTo>
                    <a:pt x="613" y="229"/>
                  </a:lnTo>
                  <a:lnTo>
                    <a:pt x="615" y="230"/>
                  </a:lnTo>
                  <a:close/>
                  <a:moveTo>
                    <a:pt x="643" y="264"/>
                  </a:moveTo>
                  <a:lnTo>
                    <a:pt x="643" y="264"/>
                  </a:lnTo>
                  <a:lnTo>
                    <a:pt x="643" y="263"/>
                  </a:lnTo>
                  <a:lnTo>
                    <a:pt x="645" y="260"/>
                  </a:lnTo>
                  <a:lnTo>
                    <a:pt x="648" y="253"/>
                  </a:lnTo>
                  <a:lnTo>
                    <a:pt x="648" y="252"/>
                  </a:lnTo>
                  <a:lnTo>
                    <a:pt x="648" y="250"/>
                  </a:lnTo>
                  <a:lnTo>
                    <a:pt x="648" y="247"/>
                  </a:lnTo>
                  <a:lnTo>
                    <a:pt x="646" y="247"/>
                  </a:lnTo>
                  <a:lnTo>
                    <a:pt x="646" y="247"/>
                  </a:lnTo>
                  <a:lnTo>
                    <a:pt x="645" y="247"/>
                  </a:lnTo>
                  <a:lnTo>
                    <a:pt x="645" y="249"/>
                  </a:lnTo>
                  <a:lnTo>
                    <a:pt x="645" y="249"/>
                  </a:lnTo>
                  <a:lnTo>
                    <a:pt x="646" y="250"/>
                  </a:lnTo>
                  <a:lnTo>
                    <a:pt x="646" y="252"/>
                  </a:lnTo>
                  <a:lnTo>
                    <a:pt x="645" y="253"/>
                  </a:lnTo>
                  <a:lnTo>
                    <a:pt x="643" y="254"/>
                  </a:lnTo>
                  <a:lnTo>
                    <a:pt x="643" y="257"/>
                  </a:lnTo>
                  <a:lnTo>
                    <a:pt x="643" y="257"/>
                  </a:lnTo>
                  <a:lnTo>
                    <a:pt x="642" y="259"/>
                  </a:lnTo>
                  <a:lnTo>
                    <a:pt x="642" y="262"/>
                  </a:lnTo>
                  <a:lnTo>
                    <a:pt x="642" y="264"/>
                  </a:lnTo>
                  <a:lnTo>
                    <a:pt x="643" y="264"/>
                  </a:lnTo>
                  <a:close/>
                  <a:moveTo>
                    <a:pt x="649" y="293"/>
                  </a:moveTo>
                  <a:lnTo>
                    <a:pt x="649" y="293"/>
                  </a:lnTo>
                  <a:lnTo>
                    <a:pt x="649" y="290"/>
                  </a:lnTo>
                  <a:lnTo>
                    <a:pt x="650" y="287"/>
                  </a:lnTo>
                  <a:lnTo>
                    <a:pt x="649" y="287"/>
                  </a:lnTo>
                  <a:lnTo>
                    <a:pt x="649" y="287"/>
                  </a:lnTo>
                  <a:lnTo>
                    <a:pt x="648" y="289"/>
                  </a:lnTo>
                  <a:lnTo>
                    <a:pt x="649" y="292"/>
                  </a:lnTo>
                  <a:lnTo>
                    <a:pt x="649" y="293"/>
                  </a:lnTo>
                  <a:close/>
                  <a:moveTo>
                    <a:pt x="649" y="296"/>
                  </a:moveTo>
                  <a:lnTo>
                    <a:pt x="649" y="299"/>
                  </a:lnTo>
                  <a:lnTo>
                    <a:pt x="649" y="300"/>
                  </a:lnTo>
                  <a:lnTo>
                    <a:pt x="649" y="300"/>
                  </a:lnTo>
                  <a:lnTo>
                    <a:pt x="650" y="294"/>
                  </a:lnTo>
                  <a:lnTo>
                    <a:pt x="650" y="294"/>
                  </a:lnTo>
                  <a:lnTo>
                    <a:pt x="649" y="294"/>
                  </a:lnTo>
                  <a:lnTo>
                    <a:pt x="649" y="296"/>
                  </a:lnTo>
                  <a:close/>
                  <a:moveTo>
                    <a:pt x="602" y="204"/>
                  </a:moveTo>
                  <a:lnTo>
                    <a:pt x="603" y="204"/>
                  </a:lnTo>
                  <a:lnTo>
                    <a:pt x="603" y="203"/>
                  </a:lnTo>
                  <a:lnTo>
                    <a:pt x="602" y="203"/>
                  </a:lnTo>
                  <a:lnTo>
                    <a:pt x="602" y="204"/>
                  </a:lnTo>
                  <a:lnTo>
                    <a:pt x="602" y="204"/>
                  </a:lnTo>
                  <a:lnTo>
                    <a:pt x="602" y="204"/>
                  </a:lnTo>
                  <a:lnTo>
                    <a:pt x="602" y="204"/>
                  </a:lnTo>
                  <a:close/>
                  <a:moveTo>
                    <a:pt x="593" y="203"/>
                  </a:moveTo>
                  <a:lnTo>
                    <a:pt x="593" y="202"/>
                  </a:lnTo>
                  <a:lnTo>
                    <a:pt x="593" y="200"/>
                  </a:lnTo>
                  <a:lnTo>
                    <a:pt x="592" y="200"/>
                  </a:lnTo>
                  <a:lnTo>
                    <a:pt x="592" y="202"/>
                  </a:lnTo>
                  <a:lnTo>
                    <a:pt x="592" y="203"/>
                  </a:lnTo>
                  <a:lnTo>
                    <a:pt x="593" y="203"/>
                  </a:lnTo>
                  <a:close/>
                  <a:moveTo>
                    <a:pt x="532" y="136"/>
                  </a:moveTo>
                  <a:lnTo>
                    <a:pt x="533" y="137"/>
                  </a:lnTo>
                  <a:lnTo>
                    <a:pt x="533" y="139"/>
                  </a:lnTo>
                  <a:lnTo>
                    <a:pt x="535" y="140"/>
                  </a:lnTo>
                  <a:lnTo>
                    <a:pt x="535" y="139"/>
                  </a:lnTo>
                  <a:lnTo>
                    <a:pt x="536" y="139"/>
                  </a:lnTo>
                  <a:lnTo>
                    <a:pt x="535" y="137"/>
                  </a:lnTo>
                  <a:lnTo>
                    <a:pt x="535" y="136"/>
                  </a:lnTo>
                  <a:lnTo>
                    <a:pt x="535" y="135"/>
                  </a:lnTo>
                  <a:lnTo>
                    <a:pt x="533" y="136"/>
                  </a:lnTo>
                  <a:lnTo>
                    <a:pt x="533" y="136"/>
                  </a:lnTo>
                  <a:lnTo>
                    <a:pt x="532" y="136"/>
                  </a:lnTo>
                  <a:lnTo>
                    <a:pt x="532" y="136"/>
                  </a:lnTo>
                  <a:close/>
                  <a:moveTo>
                    <a:pt x="471" y="5"/>
                  </a:moveTo>
                  <a:lnTo>
                    <a:pt x="472" y="3"/>
                  </a:lnTo>
                  <a:lnTo>
                    <a:pt x="471" y="2"/>
                  </a:lnTo>
                  <a:lnTo>
                    <a:pt x="469" y="2"/>
                  </a:lnTo>
                  <a:lnTo>
                    <a:pt x="469" y="3"/>
                  </a:lnTo>
                  <a:lnTo>
                    <a:pt x="469" y="3"/>
                  </a:lnTo>
                  <a:lnTo>
                    <a:pt x="471" y="5"/>
                  </a:lnTo>
                  <a:close/>
                  <a:moveTo>
                    <a:pt x="578" y="167"/>
                  </a:moveTo>
                  <a:lnTo>
                    <a:pt x="578" y="167"/>
                  </a:lnTo>
                  <a:lnTo>
                    <a:pt x="578" y="166"/>
                  </a:lnTo>
                  <a:lnTo>
                    <a:pt x="578" y="166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8" y="167"/>
                  </a:lnTo>
                  <a:close/>
                  <a:moveTo>
                    <a:pt x="578" y="170"/>
                  </a:moveTo>
                  <a:lnTo>
                    <a:pt x="579" y="170"/>
                  </a:lnTo>
                  <a:lnTo>
                    <a:pt x="579" y="170"/>
                  </a:lnTo>
                  <a:lnTo>
                    <a:pt x="579" y="170"/>
                  </a:lnTo>
                  <a:lnTo>
                    <a:pt x="579" y="169"/>
                  </a:lnTo>
                  <a:lnTo>
                    <a:pt x="578" y="167"/>
                  </a:lnTo>
                  <a:lnTo>
                    <a:pt x="578" y="170"/>
                  </a:lnTo>
                  <a:lnTo>
                    <a:pt x="578" y="170"/>
                  </a:lnTo>
                  <a:close/>
                  <a:moveTo>
                    <a:pt x="425" y="116"/>
                  </a:moveTo>
                  <a:lnTo>
                    <a:pt x="425" y="116"/>
                  </a:lnTo>
                  <a:lnTo>
                    <a:pt x="425" y="117"/>
                  </a:lnTo>
                  <a:lnTo>
                    <a:pt x="425" y="116"/>
                  </a:lnTo>
                  <a:lnTo>
                    <a:pt x="428" y="116"/>
                  </a:lnTo>
                  <a:lnTo>
                    <a:pt x="426" y="116"/>
                  </a:lnTo>
                  <a:lnTo>
                    <a:pt x="426" y="115"/>
                  </a:lnTo>
                  <a:lnTo>
                    <a:pt x="425" y="116"/>
                  </a:lnTo>
                  <a:close/>
                  <a:moveTo>
                    <a:pt x="522" y="503"/>
                  </a:moveTo>
                  <a:lnTo>
                    <a:pt x="521" y="501"/>
                  </a:lnTo>
                  <a:lnTo>
                    <a:pt x="519" y="501"/>
                  </a:lnTo>
                  <a:lnTo>
                    <a:pt x="519" y="503"/>
                  </a:lnTo>
                  <a:lnTo>
                    <a:pt x="519" y="503"/>
                  </a:lnTo>
                  <a:lnTo>
                    <a:pt x="519" y="504"/>
                  </a:lnTo>
                  <a:lnTo>
                    <a:pt x="522" y="503"/>
                  </a:lnTo>
                  <a:close/>
                  <a:moveTo>
                    <a:pt x="568" y="536"/>
                  </a:moveTo>
                  <a:lnTo>
                    <a:pt x="566" y="536"/>
                  </a:lnTo>
                  <a:lnTo>
                    <a:pt x="565" y="536"/>
                  </a:lnTo>
                  <a:lnTo>
                    <a:pt x="562" y="531"/>
                  </a:lnTo>
                  <a:lnTo>
                    <a:pt x="561" y="531"/>
                  </a:lnTo>
                  <a:lnTo>
                    <a:pt x="559" y="533"/>
                  </a:lnTo>
                  <a:lnTo>
                    <a:pt x="559" y="534"/>
                  </a:lnTo>
                  <a:lnTo>
                    <a:pt x="559" y="534"/>
                  </a:lnTo>
                  <a:lnTo>
                    <a:pt x="561" y="534"/>
                  </a:lnTo>
                  <a:lnTo>
                    <a:pt x="561" y="536"/>
                  </a:lnTo>
                  <a:lnTo>
                    <a:pt x="561" y="537"/>
                  </a:lnTo>
                  <a:lnTo>
                    <a:pt x="563" y="540"/>
                  </a:lnTo>
                  <a:lnTo>
                    <a:pt x="563" y="541"/>
                  </a:lnTo>
                  <a:lnTo>
                    <a:pt x="563" y="541"/>
                  </a:lnTo>
                  <a:lnTo>
                    <a:pt x="563" y="541"/>
                  </a:lnTo>
                  <a:lnTo>
                    <a:pt x="566" y="541"/>
                  </a:lnTo>
                  <a:lnTo>
                    <a:pt x="568" y="540"/>
                  </a:lnTo>
                  <a:lnTo>
                    <a:pt x="568" y="540"/>
                  </a:lnTo>
                  <a:lnTo>
                    <a:pt x="568" y="540"/>
                  </a:lnTo>
                  <a:lnTo>
                    <a:pt x="566" y="539"/>
                  </a:lnTo>
                  <a:lnTo>
                    <a:pt x="566" y="539"/>
                  </a:lnTo>
                  <a:lnTo>
                    <a:pt x="568" y="536"/>
                  </a:lnTo>
                  <a:close/>
                  <a:moveTo>
                    <a:pt x="566" y="547"/>
                  </a:moveTo>
                  <a:lnTo>
                    <a:pt x="566" y="547"/>
                  </a:lnTo>
                  <a:lnTo>
                    <a:pt x="565" y="547"/>
                  </a:lnTo>
                  <a:lnTo>
                    <a:pt x="565" y="547"/>
                  </a:lnTo>
                  <a:lnTo>
                    <a:pt x="565" y="549"/>
                  </a:lnTo>
                  <a:lnTo>
                    <a:pt x="565" y="549"/>
                  </a:lnTo>
                  <a:lnTo>
                    <a:pt x="566" y="547"/>
                  </a:lnTo>
                  <a:close/>
                  <a:moveTo>
                    <a:pt x="516" y="506"/>
                  </a:moveTo>
                  <a:lnTo>
                    <a:pt x="519" y="506"/>
                  </a:lnTo>
                  <a:lnTo>
                    <a:pt x="521" y="507"/>
                  </a:lnTo>
                  <a:lnTo>
                    <a:pt x="519" y="507"/>
                  </a:lnTo>
                  <a:lnTo>
                    <a:pt x="519" y="506"/>
                  </a:lnTo>
                  <a:lnTo>
                    <a:pt x="519" y="506"/>
                  </a:lnTo>
                  <a:lnTo>
                    <a:pt x="518" y="504"/>
                  </a:lnTo>
                  <a:lnTo>
                    <a:pt x="516" y="506"/>
                  </a:lnTo>
                  <a:close/>
                  <a:moveTo>
                    <a:pt x="511" y="547"/>
                  </a:moveTo>
                  <a:lnTo>
                    <a:pt x="511" y="546"/>
                  </a:lnTo>
                  <a:lnTo>
                    <a:pt x="511" y="546"/>
                  </a:lnTo>
                  <a:lnTo>
                    <a:pt x="511" y="547"/>
                  </a:lnTo>
                  <a:lnTo>
                    <a:pt x="509" y="547"/>
                  </a:lnTo>
                  <a:lnTo>
                    <a:pt x="511" y="549"/>
                  </a:lnTo>
                  <a:lnTo>
                    <a:pt x="511" y="547"/>
                  </a:lnTo>
                  <a:close/>
                  <a:moveTo>
                    <a:pt x="372" y="60"/>
                  </a:moveTo>
                  <a:lnTo>
                    <a:pt x="372" y="62"/>
                  </a:lnTo>
                  <a:lnTo>
                    <a:pt x="372" y="62"/>
                  </a:lnTo>
                  <a:lnTo>
                    <a:pt x="372" y="62"/>
                  </a:lnTo>
                  <a:lnTo>
                    <a:pt x="374" y="63"/>
                  </a:lnTo>
                  <a:lnTo>
                    <a:pt x="374" y="62"/>
                  </a:lnTo>
                  <a:lnTo>
                    <a:pt x="375" y="62"/>
                  </a:lnTo>
                  <a:lnTo>
                    <a:pt x="374" y="60"/>
                  </a:lnTo>
                  <a:lnTo>
                    <a:pt x="374" y="60"/>
                  </a:lnTo>
                  <a:lnTo>
                    <a:pt x="372" y="60"/>
                  </a:lnTo>
                  <a:close/>
                  <a:moveTo>
                    <a:pt x="737" y="881"/>
                  </a:moveTo>
                  <a:lnTo>
                    <a:pt x="736" y="887"/>
                  </a:lnTo>
                  <a:lnTo>
                    <a:pt x="736" y="888"/>
                  </a:lnTo>
                  <a:lnTo>
                    <a:pt x="736" y="887"/>
                  </a:lnTo>
                  <a:lnTo>
                    <a:pt x="737" y="883"/>
                  </a:lnTo>
                  <a:lnTo>
                    <a:pt x="737" y="880"/>
                  </a:lnTo>
                  <a:lnTo>
                    <a:pt x="737" y="881"/>
                  </a:lnTo>
                  <a:close/>
                  <a:moveTo>
                    <a:pt x="568" y="543"/>
                  </a:moveTo>
                  <a:lnTo>
                    <a:pt x="565" y="544"/>
                  </a:lnTo>
                  <a:lnTo>
                    <a:pt x="563" y="544"/>
                  </a:lnTo>
                  <a:lnTo>
                    <a:pt x="562" y="544"/>
                  </a:lnTo>
                  <a:lnTo>
                    <a:pt x="562" y="546"/>
                  </a:lnTo>
                  <a:lnTo>
                    <a:pt x="563" y="546"/>
                  </a:lnTo>
                  <a:lnTo>
                    <a:pt x="566" y="546"/>
                  </a:lnTo>
                  <a:lnTo>
                    <a:pt x="568" y="546"/>
                  </a:lnTo>
                  <a:lnTo>
                    <a:pt x="568" y="547"/>
                  </a:lnTo>
                  <a:lnTo>
                    <a:pt x="569" y="547"/>
                  </a:lnTo>
                  <a:lnTo>
                    <a:pt x="571" y="546"/>
                  </a:lnTo>
                  <a:lnTo>
                    <a:pt x="569" y="544"/>
                  </a:lnTo>
                  <a:lnTo>
                    <a:pt x="568" y="543"/>
                  </a:lnTo>
                  <a:close/>
                  <a:moveTo>
                    <a:pt x="568" y="581"/>
                  </a:moveTo>
                  <a:lnTo>
                    <a:pt x="568" y="580"/>
                  </a:lnTo>
                  <a:lnTo>
                    <a:pt x="568" y="580"/>
                  </a:lnTo>
                  <a:lnTo>
                    <a:pt x="568" y="578"/>
                  </a:lnTo>
                  <a:lnTo>
                    <a:pt x="568" y="577"/>
                  </a:lnTo>
                  <a:lnTo>
                    <a:pt x="566" y="574"/>
                  </a:lnTo>
                  <a:lnTo>
                    <a:pt x="568" y="571"/>
                  </a:lnTo>
                  <a:lnTo>
                    <a:pt x="566" y="570"/>
                  </a:lnTo>
                  <a:lnTo>
                    <a:pt x="568" y="567"/>
                  </a:lnTo>
                  <a:lnTo>
                    <a:pt x="568" y="566"/>
                  </a:lnTo>
                  <a:lnTo>
                    <a:pt x="568" y="563"/>
                  </a:lnTo>
                  <a:lnTo>
                    <a:pt x="568" y="561"/>
                  </a:lnTo>
                  <a:lnTo>
                    <a:pt x="566" y="560"/>
                  </a:lnTo>
                  <a:lnTo>
                    <a:pt x="568" y="557"/>
                  </a:lnTo>
                  <a:lnTo>
                    <a:pt x="566" y="554"/>
                  </a:lnTo>
                  <a:lnTo>
                    <a:pt x="563" y="553"/>
                  </a:lnTo>
                  <a:lnTo>
                    <a:pt x="562" y="553"/>
                  </a:lnTo>
                  <a:lnTo>
                    <a:pt x="561" y="554"/>
                  </a:lnTo>
                  <a:lnTo>
                    <a:pt x="559" y="554"/>
                  </a:lnTo>
                  <a:lnTo>
                    <a:pt x="556" y="554"/>
                  </a:lnTo>
                  <a:lnTo>
                    <a:pt x="556" y="554"/>
                  </a:lnTo>
                  <a:lnTo>
                    <a:pt x="555" y="557"/>
                  </a:lnTo>
                  <a:lnTo>
                    <a:pt x="553" y="557"/>
                  </a:lnTo>
                  <a:lnTo>
                    <a:pt x="552" y="557"/>
                  </a:lnTo>
                  <a:lnTo>
                    <a:pt x="552" y="557"/>
                  </a:lnTo>
                  <a:lnTo>
                    <a:pt x="551" y="557"/>
                  </a:lnTo>
                  <a:lnTo>
                    <a:pt x="549" y="557"/>
                  </a:lnTo>
                  <a:lnTo>
                    <a:pt x="548" y="557"/>
                  </a:lnTo>
                  <a:lnTo>
                    <a:pt x="546" y="557"/>
                  </a:lnTo>
                  <a:lnTo>
                    <a:pt x="545" y="559"/>
                  </a:lnTo>
                  <a:lnTo>
                    <a:pt x="543" y="559"/>
                  </a:lnTo>
                  <a:lnTo>
                    <a:pt x="543" y="560"/>
                  </a:lnTo>
                  <a:lnTo>
                    <a:pt x="543" y="561"/>
                  </a:lnTo>
                  <a:lnTo>
                    <a:pt x="543" y="560"/>
                  </a:lnTo>
                  <a:lnTo>
                    <a:pt x="542" y="559"/>
                  </a:lnTo>
                  <a:lnTo>
                    <a:pt x="541" y="560"/>
                  </a:lnTo>
                  <a:lnTo>
                    <a:pt x="539" y="560"/>
                  </a:lnTo>
                  <a:lnTo>
                    <a:pt x="535" y="561"/>
                  </a:lnTo>
                  <a:lnTo>
                    <a:pt x="532" y="560"/>
                  </a:lnTo>
                  <a:lnTo>
                    <a:pt x="528" y="559"/>
                  </a:lnTo>
                  <a:lnTo>
                    <a:pt x="526" y="557"/>
                  </a:lnTo>
                  <a:lnTo>
                    <a:pt x="526" y="557"/>
                  </a:lnTo>
                  <a:lnTo>
                    <a:pt x="525" y="556"/>
                  </a:lnTo>
                  <a:lnTo>
                    <a:pt x="523" y="556"/>
                  </a:lnTo>
                  <a:lnTo>
                    <a:pt x="523" y="554"/>
                  </a:lnTo>
                  <a:lnTo>
                    <a:pt x="522" y="554"/>
                  </a:lnTo>
                  <a:lnTo>
                    <a:pt x="521" y="554"/>
                  </a:lnTo>
                  <a:lnTo>
                    <a:pt x="519" y="554"/>
                  </a:lnTo>
                  <a:lnTo>
                    <a:pt x="519" y="553"/>
                  </a:lnTo>
                  <a:lnTo>
                    <a:pt x="518" y="553"/>
                  </a:lnTo>
                  <a:lnTo>
                    <a:pt x="516" y="553"/>
                  </a:lnTo>
                  <a:lnTo>
                    <a:pt x="515" y="553"/>
                  </a:lnTo>
                  <a:lnTo>
                    <a:pt x="511" y="551"/>
                  </a:lnTo>
                  <a:lnTo>
                    <a:pt x="509" y="550"/>
                  </a:lnTo>
                  <a:lnTo>
                    <a:pt x="509" y="553"/>
                  </a:lnTo>
                  <a:lnTo>
                    <a:pt x="509" y="557"/>
                  </a:lnTo>
                  <a:lnTo>
                    <a:pt x="509" y="559"/>
                  </a:lnTo>
                  <a:lnTo>
                    <a:pt x="509" y="561"/>
                  </a:lnTo>
                  <a:lnTo>
                    <a:pt x="511" y="564"/>
                  </a:lnTo>
                  <a:lnTo>
                    <a:pt x="511" y="566"/>
                  </a:lnTo>
                  <a:lnTo>
                    <a:pt x="511" y="567"/>
                  </a:lnTo>
                  <a:lnTo>
                    <a:pt x="513" y="571"/>
                  </a:lnTo>
                  <a:lnTo>
                    <a:pt x="515" y="576"/>
                  </a:lnTo>
                  <a:lnTo>
                    <a:pt x="518" y="580"/>
                  </a:lnTo>
                  <a:lnTo>
                    <a:pt x="518" y="581"/>
                  </a:lnTo>
                  <a:lnTo>
                    <a:pt x="518" y="583"/>
                  </a:lnTo>
                  <a:lnTo>
                    <a:pt x="519" y="583"/>
                  </a:lnTo>
                  <a:lnTo>
                    <a:pt x="519" y="581"/>
                  </a:lnTo>
                  <a:lnTo>
                    <a:pt x="519" y="583"/>
                  </a:lnTo>
                  <a:lnTo>
                    <a:pt x="521" y="584"/>
                  </a:lnTo>
                  <a:lnTo>
                    <a:pt x="522" y="587"/>
                  </a:lnTo>
                  <a:lnTo>
                    <a:pt x="522" y="587"/>
                  </a:lnTo>
                  <a:lnTo>
                    <a:pt x="522" y="590"/>
                  </a:lnTo>
                  <a:lnTo>
                    <a:pt x="521" y="587"/>
                  </a:lnTo>
                  <a:lnTo>
                    <a:pt x="521" y="586"/>
                  </a:lnTo>
                  <a:lnTo>
                    <a:pt x="518" y="584"/>
                  </a:lnTo>
                  <a:lnTo>
                    <a:pt x="518" y="588"/>
                  </a:lnTo>
                  <a:lnTo>
                    <a:pt x="519" y="590"/>
                  </a:lnTo>
                  <a:lnTo>
                    <a:pt x="522" y="598"/>
                  </a:lnTo>
                  <a:lnTo>
                    <a:pt x="522" y="600"/>
                  </a:lnTo>
                  <a:lnTo>
                    <a:pt x="523" y="600"/>
                  </a:lnTo>
                  <a:lnTo>
                    <a:pt x="523" y="600"/>
                  </a:lnTo>
                  <a:lnTo>
                    <a:pt x="525" y="603"/>
                  </a:lnTo>
                  <a:lnTo>
                    <a:pt x="528" y="606"/>
                  </a:lnTo>
                  <a:lnTo>
                    <a:pt x="528" y="607"/>
                  </a:lnTo>
                  <a:lnTo>
                    <a:pt x="529" y="607"/>
                  </a:lnTo>
                  <a:lnTo>
                    <a:pt x="532" y="607"/>
                  </a:lnTo>
                  <a:lnTo>
                    <a:pt x="533" y="607"/>
                  </a:lnTo>
                  <a:lnTo>
                    <a:pt x="533" y="607"/>
                  </a:lnTo>
                  <a:lnTo>
                    <a:pt x="533" y="608"/>
                  </a:lnTo>
                  <a:lnTo>
                    <a:pt x="532" y="608"/>
                  </a:lnTo>
                  <a:lnTo>
                    <a:pt x="531" y="608"/>
                  </a:lnTo>
                  <a:lnTo>
                    <a:pt x="531" y="610"/>
                  </a:lnTo>
                  <a:lnTo>
                    <a:pt x="531" y="610"/>
                  </a:lnTo>
                  <a:lnTo>
                    <a:pt x="531" y="613"/>
                  </a:lnTo>
                  <a:lnTo>
                    <a:pt x="533" y="611"/>
                  </a:lnTo>
                  <a:lnTo>
                    <a:pt x="536" y="611"/>
                  </a:lnTo>
                  <a:lnTo>
                    <a:pt x="539" y="611"/>
                  </a:lnTo>
                  <a:lnTo>
                    <a:pt x="542" y="614"/>
                  </a:lnTo>
                  <a:lnTo>
                    <a:pt x="543" y="614"/>
                  </a:lnTo>
                  <a:lnTo>
                    <a:pt x="545" y="614"/>
                  </a:lnTo>
                  <a:lnTo>
                    <a:pt x="546" y="611"/>
                  </a:lnTo>
                  <a:lnTo>
                    <a:pt x="546" y="608"/>
                  </a:lnTo>
                  <a:lnTo>
                    <a:pt x="546" y="607"/>
                  </a:lnTo>
                  <a:lnTo>
                    <a:pt x="548" y="607"/>
                  </a:lnTo>
                  <a:lnTo>
                    <a:pt x="546" y="606"/>
                  </a:lnTo>
                  <a:lnTo>
                    <a:pt x="546" y="604"/>
                  </a:lnTo>
                  <a:lnTo>
                    <a:pt x="546" y="604"/>
                  </a:lnTo>
                  <a:lnTo>
                    <a:pt x="549" y="606"/>
                  </a:lnTo>
                  <a:lnTo>
                    <a:pt x="551" y="606"/>
                  </a:lnTo>
                  <a:lnTo>
                    <a:pt x="551" y="603"/>
                  </a:lnTo>
                  <a:lnTo>
                    <a:pt x="551" y="603"/>
                  </a:lnTo>
                  <a:lnTo>
                    <a:pt x="551" y="601"/>
                  </a:lnTo>
                  <a:lnTo>
                    <a:pt x="552" y="601"/>
                  </a:lnTo>
                  <a:lnTo>
                    <a:pt x="552" y="600"/>
                  </a:lnTo>
                  <a:lnTo>
                    <a:pt x="552" y="598"/>
                  </a:lnTo>
                  <a:lnTo>
                    <a:pt x="551" y="597"/>
                  </a:lnTo>
                  <a:lnTo>
                    <a:pt x="551" y="596"/>
                  </a:lnTo>
                  <a:lnTo>
                    <a:pt x="553" y="598"/>
                  </a:lnTo>
                  <a:lnTo>
                    <a:pt x="553" y="601"/>
                  </a:lnTo>
                  <a:lnTo>
                    <a:pt x="555" y="600"/>
                  </a:lnTo>
                  <a:lnTo>
                    <a:pt x="555" y="600"/>
                  </a:lnTo>
                  <a:lnTo>
                    <a:pt x="555" y="598"/>
                  </a:lnTo>
                  <a:lnTo>
                    <a:pt x="555" y="597"/>
                  </a:lnTo>
                  <a:lnTo>
                    <a:pt x="558" y="597"/>
                  </a:lnTo>
                  <a:lnTo>
                    <a:pt x="559" y="598"/>
                  </a:lnTo>
                  <a:lnTo>
                    <a:pt x="559" y="600"/>
                  </a:lnTo>
                  <a:lnTo>
                    <a:pt x="559" y="600"/>
                  </a:lnTo>
                  <a:lnTo>
                    <a:pt x="559" y="600"/>
                  </a:lnTo>
                  <a:lnTo>
                    <a:pt x="558" y="600"/>
                  </a:lnTo>
                  <a:lnTo>
                    <a:pt x="556" y="601"/>
                  </a:lnTo>
                  <a:lnTo>
                    <a:pt x="558" y="603"/>
                  </a:lnTo>
                  <a:lnTo>
                    <a:pt x="559" y="606"/>
                  </a:lnTo>
                  <a:lnTo>
                    <a:pt x="559" y="604"/>
                  </a:lnTo>
                  <a:lnTo>
                    <a:pt x="562" y="604"/>
                  </a:lnTo>
                  <a:lnTo>
                    <a:pt x="562" y="604"/>
                  </a:lnTo>
                  <a:lnTo>
                    <a:pt x="562" y="600"/>
                  </a:lnTo>
                  <a:lnTo>
                    <a:pt x="561" y="597"/>
                  </a:lnTo>
                  <a:lnTo>
                    <a:pt x="561" y="593"/>
                  </a:lnTo>
                  <a:lnTo>
                    <a:pt x="561" y="591"/>
                  </a:lnTo>
                  <a:lnTo>
                    <a:pt x="562" y="590"/>
                  </a:lnTo>
                  <a:lnTo>
                    <a:pt x="562" y="588"/>
                  </a:lnTo>
                  <a:lnTo>
                    <a:pt x="562" y="586"/>
                  </a:lnTo>
                  <a:lnTo>
                    <a:pt x="562" y="584"/>
                  </a:lnTo>
                  <a:lnTo>
                    <a:pt x="563" y="583"/>
                  </a:lnTo>
                  <a:lnTo>
                    <a:pt x="565" y="581"/>
                  </a:lnTo>
                  <a:lnTo>
                    <a:pt x="565" y="581"/>
                  </a:lnTo>
                  <a:lnTo>
                    <a:pt x="565" y="580"/>
                  </a:lnTo>
                  <a:lnTo>
                    <a:pt x="565" y="578"/>
                  </a:lnTo>
                  <a:lnTo>
                    <a:pt x="566" y="578"/>
                  </a:lnTo>
                  <a:lnTo>
                    <a:pt x="566" y="580"/>
                  </a:lnTo>
                  <a:lnTo>
                    <a:pt x="566" y="580"/>
                  </a:lnTo>
                  <a:lnTo>
                    <a:pt x="565" y="580"/>
                  </a:lnTo>
                  <a:lnTo>
                    <a:pt x="566" y="581"/>
                  </a:lnTo>
                  <a:lnTo>
                    <a:pt x="566" y="581"/>
                  </a:lnTo>
                  <a:lnTo>
                    <a:pt x="566" y="583"/>
                  </a:lnTo>
                  <a:lnTo>
                    <a:pt x="566" y="584"/>
                  </a:lnTo>
                  <a:lnTo>
                    <a:pt x="568" y="584"/>
                  </a:lnTo>
                  <a:lnTo>
                    <a:pt x="568" y="584"/>
                  </a:lnTo>
                  <a:lnTo>
                    <a:pt x="568" y="583"/>
                  </a:lnTo>
                  <a:lnTo>
                    <a:pt x="568" y="583"/>
                  </a:lnTo>
                  <a:lnTo>
                    <a:pt x="568" y="581"/>
                  </a:lnTo>
                  <a:close/>
                  <a:moveTo>
                    <a:pt x="652" y="309"/>
                  </a:moveTo>
                  <a:lnTo>
                    <a:pt x="649" y="306"/>
                  </a:lnTo>
                  <a:lnTo>
                    <a:pt x="649" y="303"/>
                  </a:lnTo>
                  <a:lnTo>
                    <a:pt x="649" y="300"/>
                  </a:lnTo>
                  <a:lnTo>
                    <a:pt x="646" y="294"/>
                  </a:lnTo>
                  <a:lnTo>
                    <a:pt x="645" y="290"/>
                  </a:lnTo>
                  <a:lnTo>
                    <a:pt x="645" y="286"/>
                  </a:lnTo>
                  <a:lnTo>
                    <a:pt x="643" y="274"/>
                  </a:lnTo>
                  <a:lnTo>
                    <a:pt x="645" y="269"/>
                  </a:lnTo>
                  <a:lnTo>
                    <a:pt x="645" y="267"/>
                  </a:lnTo>
                  <a:lnTo>
                    <a:pt x="643" y="267"/>
                  </a:lnTo>
                  <a:lnTo>
                    <a:pt x="642" y="266"/>
                  </a:lnTo>
                  <a:lnTo>
                    <a:pt x="640" y="263"/>
                  </a:lnTo>
                  <a:lnTo>
                    <a:pt x="640" y="259"/>
                  </a:lnTo>
                  <a:lnTo>
                    <a:pt x="639" y="256"/>
                  </a:lnTo>
                  <a:lnTo>
                    <a:pt x="636" y="254"/>
                  </a:lnTo>
                  <a:lnTo>
                    <a:pt x="635" y="253"/>
                  </a:lnTo>
                  <a:lnTo>
                    <a:pt x="635" y="250"/>
                  </a:lnTo>
                  <a:lnTo>
                    <a:pt x="635" y="250"/>
                  </a:lnTo>
                  <a:lnTo>
                    <a:pt x="633" y="247"/>
                  </a:lnTo>
                  <a:lnTo>
                    <a:pt x="632" y="247"/>
                  </a:lnTo>
                  <a:lnTo>
                    <a:pt x="630" y="246"/>
                  </a:lnTo>
                  <a:lnTo>
                    <a:pt x="629" y="244"/>
                  </a:lnTo>
                  <a:lnTo>
                    <a:pt x="628" y="243"/>
                  </a:lnTo>
                  <a:lnTo>
                    <a:pt x="625" y="237"/>
                  </a:lnTo>
                  <a:lnTo>
                    <a:pt x="623" y="236"/>
                  </a:lnTo>
                  <a:lnTo>
                    <a:pt x="622" y="234"/>
                  </a:lnTo>
                  <a:lnTo>
                    <a:pt x="619" y="234"/>
                  </a:lnTo>
                  <a:lnTo>
                    <a:pt x="619" y="234"/>
                  </a:lnTo>
                  <a:lnTo>
                    <a:pt x="615" y="230"/>
                  </a:lnTo>
                  <a:lnTo>
                    <a:pt x="613" y="230"/>
                  </a:lnTo>
                  <a:lnTo>
                    <a:pt x="612" y="229"/>
                  </a:lnTo>
                  <a:lnTo>
                    <a:pt x="610" y="227"/>
                  </a:lnTo>
                  <a:lnTo>
                    <a:pt x="609" y="226"/>
                  </a:lnTo>
                  <a:lnTo>
                    <a:pt x="608" y="224"/>
                  </a:lnTo>
                  <a:lnTo>
                    <a:pt x="606" y="220"/>
                  </a:lnTo>
                  <a:lnTo>
                    <a:pt x="606" y="214"/>
                  </a:lnTo>
                  <a:lnTo>
                    <a:pt x="606" y="209"/>
                  </a:lnTo>
                  <a:lnTo>
                    <a:pt x="605" y="206"/>
                  </a:lnTo>
                  <a:lnTo>
                    <a:pt x="605" y="206"/>
                  </a:lnTo>
                  <a:lnTo>
                    <a:pt x="603" y="206"/>
                  </a:lnTo>
                  <a:lnTo>
                    <a:pt x="603" y="207"/>
                  </a:lnTo>
                  <a:lnTo>
                    <a:pt x="603" y="209"/>
                  </a:lnTo>
                  <a:lnTo>
                    <a:pt x="603" y="209"/>
                  </a:lnTo>
                  <a:lnTo>
                    <a:pt x="600" y="207"/>
                  </a:lnTo>
                  <a:lnTo>
                    <a:pt x="598" y="206"/>
                  </a:lnTo>
                  <a:lnTo>
                    <a:pt x="596" y="204"/>
                  </a:lnTo>
                  <a:lnTo>
                    <a:pt x="596" y="202"/>
                  </a:lnTo>
                  <a:lnTo>
                    <a:pt x="595" y="202"/>
                  </a:lnTo>
                  <a:lnTo>
                    <a:pt x="593" y="203"/>
                  </a:lnTo>
                  <a:lnTo>
                    <a:pt x="593" y="204"/>
                  </a:lnTo>
                  <a:lnTo>
                    <a:pt x="595" y="209"/>
                  </a:lnTo>
                  <a:lnTo>
                    <a:pt x="593" y="209"/>
                  </a:lnTo>
                  <a:lnTo>
                    <a:pt x="593" y="207"/>
                  </a:lnTo>
                  <a:lnTo>
                    <a:pt x="592" y="206"/>
                  </a:lnTo>
                  <a:lnTo>
                    <a:pt x="590" y="206"/>
                  </a:lnTo>
                  <a:lnTo>
                    <a:pt x="589" y="207"/>
                  </a:lnTo>
                  <a:lnTo>
                    <a:pt x="589" y="204"/>
                  </a:lnTo>
                  <a:lnTo>
                    <a:pt x="588" y="203"/>
                  </a:lnTo>
                  <a:lnTo>
                    <a:pt x="586" y="200"/>
                  </a:lnTo>
                  <a:lnTo>
                    <a:pt x="586" y="196"/>
                  </a:lnTo>
                  <a:lnTo>
                    <a:pt x="586" y="192"/>
                  </a:lnTo>
                  <a:lnTo>
                    <a:pt x="583" y="190"/>
                  </a:lnTo>
                  <a:lnTo>
                    <a:pt x="583" y="187"/>
                  </a:lnTo>
                  <a:lnTo>
                    <a:pt x="582" y="186"/>
                  </a:lnTo>
                  <a:lnTo>
                    <a:pt x="582" y="184"/>
                  </a:lnTo>
                  <a:lnTo>
                    <a:pt x="579" y="182"/>
                  </a:lnTo>
                  <a:lnTo>
                    <a:pt x="576" y="180"/>
                  </a:lnTo>
                  <a:lnTo>
                    <a:pt x="575" y="177"/>
                  </a:lnTo>
                  <a:lnTo>
                    <a:pt x="573" y="174"/>
                  </a:lnTo>
                  <a:lnTo>
                    <a:pt x="573" y="173"/>
                  </a:lnTo>
                  <a:lnTo>
                    <a:pt x="575" y="173"/>
                  </a:lnTo>
                  <a:lnTo>
                    <a:pt x="576" y="173"/>
                  </a:lnTo>
                  <a:lnTo>
                    <a:pt x="575" y="172"/>
                  </a:lnTo>
                  <a:lnTo>
                    <a:pt x="575" y="170"/>
                  </a:lnTo>
                  <a:lnTo>
                    <a:pt x="572" y="167"/>
                  </a:lnTo>
                  <a:lnTo>
                    <a:pt x="571" y="167"/>
                  </a:lnTo>
                  <a:lnTo>
                    <a:pt x="568" y="166"/>
                  </a:lnTo>
                  <a:lnTo>
                    <a:pt x="565" y="164"/>
                  </a:lnTo>
                  <a:lnTo>
                    <a:pt x="563" y="163"/>
                  </a:lnTo>
                  <a:lnTo>
                    <a:pt x="562" y="163"/>
                  </a:lnTo>
                  <a:lnTo>
                    <a:pt x="561" y="163"/>
                  </a:lnTo>
                  <a:lnTo>
                    <a:pt x="561" y="162"/>
                  </a:lnTo>
                  <a:lnTo>
                    <a:pt x="558" y="162"/>
                  </a:lnTo>
                  <a:lnTo>
                    <a:pt x="556" y="159"/>
                  </a:lnTo>
                  <a:lnTo>
                    <a:pt x="555" y="156"/>
                  </a:lnTo>
                  <a:lnTo>
                    <a:pt x="553" y="156"/>
                  </a:lnTo>
                  <a:lnTo>
                    <a:pt x="553" y="154"/>
                  </a:lnTo>
                  <a:lnTo>
                    <a:pt x="552" y="154"/>
                  </a:lnTo>
                  <a:lnTo>
                    <a:pt x="551" y="154"/>
                  </a:lnTo>
                  <a:lnTo>
                    <a:pt x="549" y="154"/>
                  </a:lnTo>
                  <a:lnTo>
                    <a:pt x="548" y="154"/>
                  </a:lnTo>
                  <a:lnTo>
                    <a:pt x="546" y="153"/>
                  </a:lnTo>
                  <a:lnTo>
                    <a:pt x="543" y="152"/>
                  </a:lnTo>
                  <a:lnTo>
                    <a:pt x="542" y="152"/>
                  </a:lnTo>
                  <a:lnTo>
                    <a:pt x="539" y="150"/>
                  </a:lnTo>
                  <a:lnTo>
                    <a:pt x="538" y="150"/>
                  </a:lnTo>
                  <a:lnTo>
                    <a:pt x="536" y="147"/>
                  </a:lnTo>
                  <a:lnTo>
                    <a:pt x="535" y="146"/>
                  </a:lnTo>
                  <a:lnTo>
                    <a:pt x="535" y="143"/>
                  </a:lnTo>
                  <a:lnTo>
                    <a:pt x="536" y="140"/>
                  </a:lnTo>
                  <a:lnTo>
                    <a:pt x="533" y="140"/>
                  </a:lnTo>
                  <a:lnTo>
                    <a:pt x="531" y="136"/>
                  </a:lnTo>
                  <a:lnTo>
                    <a:pt x="531" y="135"/>
                  </a:lnTo>
                  <a:lnTo>
                    <a:pt x="532" y="132"/>
                  </a:lnTo>
                  <a:lnTo>
                    <a:pt x="532" y="126"/>
                  </a:lnTo>
                  <a:lnTo>
                    <a:pt x="531" y="122"/>
                  </a:lnTo>
                  <a:lnTo>
                    <a:pt x="529" y="116"/>
                  </a:lnTo>
                  <a:lnTo>
                    <a:pt x="529" y="113"/>
                  </a:lnTo>
                  <a:lnTo>
                    <a:pt x="528" y="113"/>
                  </a:lnTo>
                  <a:lnTo>
                    <a:pt x="526" y="113"/>
                  </a:lnTo>
                  <a:lnTo>
                    <a:pt x="525" y="110"/>
                  </a:lnTo>
                  <a:lnTo>
                    <a:pt x="523" y="109"/>
                  </a:lnTo>
                  <a:lnTo>
                    <a:pt x="522" y="107"/>
                  </a:lnTo>
                  <a:lnTo>
                    <a:pt x="521" y="105"/>
                  </a:lnTo>
                  <a:lnTo>
                    <a:pt x="521" y="103"/>
                  </a:lnTo>
                  <a:lnTo>
                    <a:pt x="522" y="102"/>
                  </a:lnTo>
                  <a:lnTo>
                    <a:pt x="522" y="99"/>
                  </a:lnTo>
                  <a:lnTo>
                    <a:pt x="521" y="96"/>
                  </a:lnTo>
                  <a:lnTo>
                    <a:pt x="521" y="93"/>
                  </a:lnTo>
                  <a:lnTo>
                    <a:pt x="519" y="89"/>
                  </a:lnTo>
                  <a:lnTo>
                    <a:pt x="519" y="87"/>
                  </a:lnTo>
                  <a:lnTo>
                    <a:pt x="519" y="85"/>
                  </a:lnTo>
                  <a:lnTo>
                    <a:pt x="518" y="83"/>
                  </a:lnTo>
                  <a:lnTo>
                    <a:pt x="519" y="82"/>
                  </a:lnTo>
                  <a:lnTo>
                    <a:pt x="519" y="80"/>
                  </a:lnTo>
                  <a:lnTo>
                    <a:pt x="518" y="79"/>
                  </a:lnTo>
                  <a:lnTo>
                    <a:pt x="515" y="79"/>
                  </a:lnTo>
                  <a:lnTo>
                    <a:pt x="513" y="76"/>
                  </a:lnTo>
                  <a:lnTo>
                    <a:pt x="509" y="73"/>
                  </a:lnTo>
                  <a:lnTo>
                    <a:pt x="508" y="70"/>
                  </a:lnTo>
                  <a:lnTo>
                    <a:pt x="506" y="69"/>
                  </a:lnTo>
                  <a:lnTo>
                    <a:pt x="503" y="70"/>
                  </a:lnTo>
                  <a:lnTo>
                    <a:pt x="502" y="70"/>
                  </a:lnTo>
                  <a:lnTo>
                    <a:pt x="501" y="72"/>
                  </a:lnTo>
                  <a:lnTo>
                    <a:pt x="498" y="73"/>
                  </a:lnTo>
                  <a:lnTo>
                    <a:pt x="495" y="72"/>
                  </a:lnTo>
                  <a:lnTo>
                    <a:pt x="495" y="70"/>
                  </a:lnTo>
                  <a:lnTo>
                    <a:pt x="493" y="67"/>
                  </a:lnTo>
                  <a:lnTo>
                    <a:pt x="492" y="65"/>
                  </a:lnTo>
                  <a:lnTo>
                    <a:pt x="492" y="63"/>
                  </a:lnTo>
                  <a:lnTo>
                    <a:pt x="491" y="60"/>
                  </a:lnTo>
                  <a:lnTo>
                    <a:pt x="492" y="56"/>
                  </a:lnTo>
                  <a:lnTo>
                    <a:pt x="491" y="53"/>
                  </a:lnTo>
                  <a:lnTo>
                    <a:pt x="491" y="50"/>
                  </a:lnTo>
                  <a:lnTo>
                    <a:pt x="489" y="46"/>
                  </a:lnTo>
                  <a:lnTo>
                    <a:pt x="489" y="45"/>
                  </a:lnTo>
                  <a:lnTo>
                    <a:pt x="489" y="43"/>
                  </a:lnTo>
                  <a:lnTo>
                    <a:pt x="486" y="40"/>
                  </a:lnTo>
                  <a:lnTo>
                    <a:pt x="486" y="39"/>
                  </a:lnTo>
                  <a:lnTo>
                    <a:pt x="485" y="39"/>
                  </a:lnTo>
                  <a:lnTo>
                    <a:pt x="483" y="37"/>
                  </a:lnTo>
                  <a:lnTo>
                    <a:pt x="483" y="36"/>
                  </a:lnTo>
                  <a:lnTo>
                    <a:pt x="483" y="35"/>
                  </a:lnTo>
                  <a:lnTo>
                    <a:pt x="485" y="33"/>
                  </a:lnTo>
                  <a:lnTo>
                    <a:pt x="485" y="32"/>
                  </a:lnTo>
                  <a:lnTo>
                    <a:pt x="483" y="32"/>
                  </a:lnTo>
                  <a:lnTo>
                    <a:pt x="482" y="32"/>
                  </a:lnTo>
                  <a:lnTo>
                    <a:pt x="481" y="30"/>
                  </a:lnTo>
                  <a:lnTo>
                    <a:pt x="481" y="29"/>
                  </a:lnTo>
                  <a:lnTo>
                    <a:pt x="479" y="26"/>
                  </a:lnTo>
                  <a:lnTo>
                    <a:pt x="479" y="23"/>
                  </a:lnTo>
                  <a:lnTo>
                    <a:pt x="479" y="22"/>
                  </a:lnTo>
                  <a:lnTo>
                    <a:pt x="479" y="20"/>
                  </a:lnTo>
                  <a:lnTo>
                    <a:pt x="479" y="17"/>
                  </a:lnTo>
                  <a:lnTo>
                    <a:pt x="478" y="16"/>
                  </a:lnTo>
                  <a:lnTo>
                    <a:pt x="475" y="15"/>
                  </a:lnTo>
                  <a:lnTo>
                    <a:pt x="475" y="13"/>
                  </a:lnTo>
                  <a:lnTo>
                    <a:pt x="476" y="12"/>
                  </a:lnTo>
                  <a:lnTo>
                    <a:pt x="475" y="12"/>
                  </a:lnTo>
                  <a:lnTo>
                    <a:pt x="474" y="12"/>
                  </a:lnTo>
                  <a:lnTo>
                    <a:pt x="472" y="13"/>
                  </a:lnTo>
                  <a:lnTo>
                    <a:pt x="472" y="15"/>
                  </a:lnTo>
                  <a:lnTo>
                    <a:pt x="469" y="16"/>
                  </a:lnTo>
                  <a:lnTo>
                    <a:pt x="468" y="20"/>
                  </a:lnTo>
                  <a:lnTo>
                    <a:pt x="466" y="26"/>
                  </a:lnTo>
                  <a:lnTo>
                    <a:pt x="465" y="30"/>
                  </a:lnTo>
                  <a:lnTo>
                    <a:pt x="466" y="32"/>
                  </a:lnTo>
                  <a:lnTo>
                    <a:pt x="465" y="33"/>
                  </a:lnTo>
                  <a:lnTo>
                    <a:pt x="465" y="33"/>
                  </a:lnTo>
                  <a:lnTo>
                    <a:pt x="464" y="32"/>
                  </a:lnTo>
                  <a:lnTo>
                    <a:pt x="464" y="33"/>
                  </a:lnTo>
                  <a:lnTo>
                    <a:pt x="461" y="39"/>
                  </a:lnTo>
                  <a:lnTo>
                    <a:pt x="461" y="40"/>
                  </a:lnTo>
                  <a:lnTo>
                    <a:pt x="462" y="42"/>
                  </a:lnTo>
                  <a:lnTo>
                    <a:pt x="464" y="42"/>
                  </a:lnTo>
                  <a:lnTo>
                    <a:pt x="464" y="42"/>
                  </a:lnTo>
                  <a:lnTo>
                    <a:pt x="465" y="42"/>
                  </a:lnTo>
                  <a:lnTo>
                    <a:pt x="465" y="43"/>
                  </a:lnTo>
                  <a:lnTo>
                    <a:pt x="465" y="45"/>
                  </a:lnTo>
                  <a:lnTo>
                    <a:pt x="465" y="46"/>
                  </a:lnTo>
                  <a:lnTo>
                    <a:pt x="464" y="45"/>
                  </a:lnTo>
                  <a:lnTo>
                    <a:pt x="462" y="45"/>
                  </a:lnTo>
                  <a:lnTo>
                    <a:pt x="462" y="46"/>
                  </a:lnTo>
                  <a:lnTo>
                    <a:pt x="461" y="47"/>
                  </a:lnTo>
                  <a:lnTo>
                    <a:pt x="461" y="53"/>
                  </a:lnTo>
                  <a:lnTo>
                    <a:pt x="459" y="56"/>
                  </a:lnTo>
                  <a:lnTo>
                    <a:pt x="459" y="57"/>
                  </a:lnTo>
                  <a:lnTo>
                    <a:pt x="458" y="62"/>
                  </a:lnTo>
                  <a:lnTo>
                    <a:pt x="458" y="65"/>
                  </a:lnTo>
                  <a:lnTo>
                    <a:pt x="459" y="66"/>
                  </a:lnTo>
                  <a:lnTo>
                    <a:pt x="459" y="67"/>
                  </a:lnTo>
                  <a:lnTo>
                    <a:pt x="459" y="70"/>
                  </a:lnTo>
                  <a:lnTo>
                    <a:pt x="459" y="73"/>
                  </a:lnTo>
                  <a:lnTo>
                    <a:pt x="459" y="79"/>
                  </a:lnTo>
                  <a:lnTo>
                    <a:pt x="461" y="83"/>
                  </a:lnTo>
                  <a:lnTo>
                    <a:pt x="459" y="85"/>
                  </a:lnTo>
                  <a:lnTo>
                    <a:pt x="458" y="92"/>
                  </a:lnTo>
                  <a:lnTo>
                    <a:pt x="456" y="96"/>
                  </a:lnTo>
                  <a:lnTo>
                    <a:pt x="456" y="99"/>
                  </a:lnTo>
                  <a:lnTo>
                    <a:pt x="456" y="102"/>
                  </a:lnTo>
                  <a:lnTo>
                    <a:pt x="455" y="106"/>
                  </a:lnTo>
                  <a:lnTo>
                    <a:pt x="454" y="109"/>
                  </a:lnTo>
                  <a:lnTo>
                    <a:pt x="449" y="115"/>
                  </a:lnTo>
                  <a:lnTo>
                    <a:pt x="449" y="117"/>
                  </a:lnTo>
                  <a:lnTo>
                    <a:pt x="448" y="122"/>
                  </a:lnTo>
                  <a:lnTo>
                    <a:pt x="445" y="123"/>
                  </a:lnTo>
                  <a:lnTo>
                    <a:pt x="442" y="125"/>
                  </a:lnTo>
                  <a:lnTo>
                    <a:pt x="438" y="126"/>
                  </a:lnTo>
                  <a:lnTo>
                    <a:pt x="435" y="126"/>
                  </a:lnTo>
                  <a:lnTo>
                    <a:pt x="434" y="126"/>
                  </a:lnTo>
                  <a:lnTo>
                    <a:pt x="432" y="125"/>
                  </a:lnTo>
                  <a:lnTo>
                    <a:pt x="429" y="123"/>
                  </a:lnTo>
                  <a:lnTo>
                    <a:pt x="425" y="122"/>
                  </a:lnTo>
                  <a:lnTo>
                    <a:pt x="422" y="120"/>
                  </a:lnTo>
                  <a:lnTo>
                    <a:pt x="421" y="117"/>
                  </a:lnTo>
                  <a:lnTo>
                    <a:pt x="421" y="116"/>
                  </a:lnTo>
                  <a:lnTo>
                    <a:pt x="419" y="115"/>
                  </a:lnTo>
                  <a:lnTo>
                    <a:pt x="418" y="113"/>
                  </a:lnTo>
                  <a:lnTo>
                    <a:pt x="415" y="113"/>
                  </a:lnTo>
                  <a:lnTo>
                    <a:pt x="412" y="112"/>
                  </a:lnTo>
                  <a:lnTo>
                    <a:pt x="411" y="112"/>
                  </a:lnTo>
                  <a:lnTo>
                    <a:pt x="406" y="110"/>
                  </a:lnTo>
                  <a:lnTo>
                    <a:pt x="404" y="109"/>
                  </a:lnTo>
                  <a:lnTo>
                    <a:pt x="401" y="106"/>
                  </a:lnTo>
                  <a:lnTo>
                    <a:pt x="398" y="102"/>
                  </a:lnTo>
                  <a:lnTo>
                    <a:pt x="395" y="100"/>
                  </a:lnTo>
                  <a:lnTo>
                    <a:pt x="391" y="99"/>
                  </a:lnTo>
                  <a:lnTo>
                    <a:pt x="389" y="97"/>
                  </a:lnTo>
                  <a:lnTo>
                    <a:pt x="388" y="97"/>
                  </a:lnTo>
                  <a:lnTo>
                    <a:pt x="386" y="96"/>
                  </a:lnTo>
                  <a:lnTo>
                    <a:pt x="385" y="96"/>
                  </a:lnTo>
                  <a:lnTo>
                    <a:pt x="382" y="96"/>
                  </a:lnTo>
                  <a:lnTo>
                    <a:pt x="381" y="96"/>
                  </a:lnTo>
                  <a:lnTo>
                    <a:pt x="381" y="95"/>
                  </a:lnTo>
                  <a:lnTo>
                    <a:pt x="381" y="95"/>
                  </a:lnTo>
                  <a:lnTo>
                    <a:pt x="381" y="93"/>
                  </a:lnTo>
                  <a:lnTo>
                    <a:pt x="381" y="93"/>
                  </a:lnTo>
                  <a:lnTo>
                    <a:pt x="381" y="93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8" y="93"/>
                  </a:lnTo>
                  <a:lnTo>
                    <a:pt x="375" y="92"/>
                  </a:lnTo>
                  <a:lnTo>
                    <a:pt x="374" y="90"/>
                  </a:lnTo>
                  <a:lnTo>
                    <a:pt x="374" y="89"/>
                  </a:lnTo>
                  <a:lnTo>
                    <a:pt x="369" y="86"/>
                  </a:lnTo>
                  <a:lnTo>
                    <a:pt x="368" y="85"/>
                  </a:lnTo>
                  <a:lnTo>
                    <a:pt x="362" y="82"/>
                  </a:lnTo>
                  <a:lnTo>
                    <a:pt x="361" y="80"/>
                  </a:lnTo>
                  <a:lnTo>
                    <a:pt x="361" y="79"/>
                  </a:lnTo>
                  <a:lnTo>
                    <a:pt x="361" y="77"/>
                  </a:lnTo>
                  <a:lnTo>
                    <a:pt x="362" y="76"/>
                  </a:lnTo>
                  <a:lnTo>
                    <a:pt x="362" y="75"/>
                  </a:lnTo>
                  <a:lnTo>
                    <a:pt x="367" y="70"/>
                  </a:lnTo>
                  <a:lnTo>
                    <a:pt x="367" y="69"/>
                  </a:lnTo>
                  <a:lnTo>
                    <a:pt x="368" y="67"/>
                  </a:lnTo>
                  <a:lnTo>
                    <a:pt x="369" y="65"/>
                  </a:lnTo>
                  <a:lnTo>
                    <a:pt x="369" y="62"/>
                  </a:lnTo>
                  <a:lnTo>
                    <a:pt x="369" y="59"/>
                  </a:lnTo>
                  <a:lnTo>
                    <a:pt x="369" y="53"/>
                  </a:lnTo>
                  <a:lnTo>
                    <a:pt x="372" y="52"/>
                  </a:lnTo>
                  <a:lnTo>
                    <a:pt x="374" y="52"/>
                  </a:lnTo>
                  <a:lnTo>
                    <a:pt x="375" y="52"/>
                  </a:lnTo>
                  <a:lnTo>
                    <a:pt x="377" y="52"/>
                  </a:lnTo>
                  <a:lnTo>
                    <a:pt x="377" y="53"/>
                  </a:lnTo>
                  <a:lnTo>
                    <a:pt x="378" y="53"/>
                  </a:lnTo>
                  <a:lnTo>
                    <a:pt x="379" y="49"/>
                  </a:lnTo>
                  <a:lnTo>
                    <a:pt x="379" y="47"/>
                  </a:lnTo>
                  <a:lnTo>
                    <a:pt x="378" y="46"/>
                  </a:lnTo>
                  <a:lnTo>
                    <a:pt x="379" y="45"/>
                  </a:lnTo>
                  <a:lnTo>
                    <a:pt x="385" y="39"/>
                  </a:lnTo>
                  <a:lnTo>
                    <a:pt x="385" y="36"/>
                  </a:lnTo>
                  <a:lnTo>
                    <a:pt x="384" y="36"/>
                  </a:lnTo>
                  <a:lnTo>
                    <a:pt x="382" y="36"/>
                  </a:lnTo>
                  <a:lnTo>
                    <a:pt x="379" y="35"/>
                  </a:lnTo>
                  <a:lnTo>
                    <a:pt x="379" y="32"/>
                  </a:lnTo>
                  <a:lnTo>
                    <a:pt x="378" y="32"/>
                  </a:lnTo>
                  <a:lnTo>
                    <a:pt x="375" y="35"/>
                  </a:lnTo>
                  <a:lnTo>
                    <a:pt x="374" y="35"/>
                  </a:lnTo>
                  <a:lnTo>
                    <a:pt x="375" y="36"/>
                  </a:lnTo>
                  <a:lnTo>
                    <a:pt x="375" y="37"/>
                  </a:lnTo>
                  <a:lnTo>
                    <a:pt x="374" y="39"/>
                  </a:lnTo>
                  <a:lnTo>
                    <a:pt x="374" y="39"/>
                  </a:lnTo>
                  <a:lnTo>
                    <a:pt x="371" y="39"/>
                  </a:lnTo>
                  <a:lnTo>
                    <a:pt x="371" y="37"/>
                  </a:lnTo>
                  <a:lnTo>
                    <a:pt x="371" y="36"/>
                  </a:lnTo>
                  <a:lnTo>
                    <a:pt x="369" y="35"/>
                  </a:lnTo>
                  <a:lnTo>
                    <a:pt x="368" y="36"/>
                  </a:lnTo>
                  <a:lnTo>
                    <a:pt x="367" y="36"/>
                  </a:lnTo>
                  <a:lnTo>
                    <a:pt x="367" y="36"/>
                  </a:lnTo>
                  <a:lnTo>
                    <a:pt x="365" y="36"/>
                  </a:lnTo>
                  <a:lnTo>
                    <a:pt x="365" y="35"/>
                  </a:lnTo>
                  <a:lnTo>
                    <a:pt x="367" y="33"/>
                  </a:lnTo>
                  <a:lnTo>
                    <a:pt x="368" y="32"/>
                  </a:lnTo>
                  <a:lnTo>
                    <a:pt x="368" y="32"/>
                  </a:lnTo>
                  <a:lnTo>
                    <a:pt x="368" y="32"/>
                  </a:lnTo>
                  <a:lnTo>
                    <a:pt x="368" y="30"/>
                  </a:lnTo>
                  <a:lnTo>
                    <a:pt x="369" y="30"/>
                  </a:lnTo>
                  <a:lnTo>
                    <a:pt x="368" y="29"/>
                  </a:lnTo>
                  <a:lnTo>
                    <a:pt x="367" y="30"/>
                  </a:lnTo>
                  <a:lnTo>
                    <a:pt x="365" y="32"/>
                  </a:lnTo>
                  <a:lnTo>
                    <a:pt x="362" y="33"/>
                  </a:lnTo>
                  <a:lnTo>
                    <a:pt x="359" y="35"/>
                  </a:lnTo>
                  <a:lnTo>
                    <a:pt x="358" y="36"/>
                  </a:lnTo>
                  <a:lnTo>
                    <a:pt x="355" y="36"/>
                  </a:lnTo>
                  <a:lnTo>
                    <a:pt x="352" y="35"/>
                  </a:lnTo>
                  <a:lnTo>
                    <a:pt x="351" y="33"/>
                  </a:lnTo>
                  <a:lnTo>
                    <a:pt x="349" y="32"/>
                  </a:lnTo>
                  <a:lnTo>
                    <a:pt x="347" y="33"/>
                  </a:lnTo>
                  <a:lnTo>
                    <a:pt x="345" y="33"/>
                  </a:lnTo>
                  <a:lnTo>
                    <a:pt x="344" y="33"/>
                  </a:lnTo>
                  <a:lnTo>
                    <a:pt x="342" y="33"/>
                  </a:lnTo>
                  <a:lnTo>
                    <a:pt x="341" y="32"/>
                  </a:lnTo>
                  <a:lnTo>
                    <a:pt x="337" y="30"/>
                  </a:lnTo>
                  <a:lnTo>
                    <a:pt x="332" y="29"/>
                  </a:lnTo>
                  <a:lnTo>
                    <a:pt x="331" y="29"/>
                  </a:lnTo>
                  <a:lnTo>
                    <a:pt x="329" y="29"/>
                  </a:lnTo>
                  <a:lnTo>
                    <a:pt x="328" y="27"/>
                  </a:lnTo>
                  <a:lnTo>
                    <a:pt x="325" y="27"/>
                  </a:lnTo>
                  <a:lnTo>
                    <a:pt x="324" y="26"/>
                  </a:lnTo>
                  <a:lnTo>
                    <a:pt x="322" y="23"/>
                  </a:lnTo>
                  <a:lnTo>
                    <a:pt x="321" y="23"/>
                  </a:lnTo>
                  <a:lnTo>
                    <a:pt x="319" y="23"/>
                  </a:lnTo>
                  <a:lnTo>
                    <a:pt x="318" y="23"/>
                  </a:lnTo>
                  <a:lnTo>
                    <a:pt x="317" y="25"/>
                  </a:lnTo>
                  <a:lnTo>
                    <a:pt x="315" y="22"/>
                  </a:lnTo>
                  <a:lnTo>
                    <a:pt x="311" y="20"/>
                  </a:lnTo>
                  <a:lnTo>
                    <a:pt x="311" y="19"/>
                  </a:lnTo>
                  <a:lnTo>
                    <a:pt x="309" y="20"/>
                  </a:lnTo>
                  <a:lnTo>
                    <a:pt x="309" y="22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07" y="19"/>
                  </a:lnTo>
                  <a:lnTo>
                    <a:pt x="305" y="19"/>
                  </a:lnTo>
                  <a:lnTo>
                    <a:pt x="304" y="20"/>
                  </a:lnTo>
                  <a:lnTo>
                    <a:pt x="304" y="22"/>
                  </a:lnTo>
                  <a:lnTo>
                    <a:pt x="305" y="22"/>
                  </a:lnTo>
                  <a:lnTo>
                    <a:pt x="307" y="25"/>
                  </a:lnTo>
                  <a:lnTo>
                    <a:pt x="308" y="25"/>
                  </a:lnTo>
                  <a:lnTo>
                    <a:pt x="311" y="23"/>
                  </a:lnTo>
                  <a:lnTo>
                    <a:pt x="314" y="25"/>
                  </a:lnTo>
                  <a:lnTo>
                    <a:pt x="317" y="27"/>
                  </a:lnTo>
                  <a:lnTo>
                    <a:pt x="317" y="27"/>
                  </a:lnTo>
                  <a:lnTo>
                    <a:pt x="317" y="30"/>
                  </a:lnTo>
                  <a:lnTo>
                    <a:pt x="317" y="32"/>
                  </a:lnTo>
                  <a:lnTo>
                    <a:pt x="317" y="33"/>
                  </a:lnTo>
                  <a:lnTo>
                    <a:pt x="318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4" y="35"/>
                  </a:lnTo>
                  <a:lnTo>
                    <a:pt x="314" y="36"/>
                  </a:lnTo>
                  <a:lnTo>
                    <a:pt x="312" y="37"/>
                  </a:lnTo>
                  <a:lnTo>
                    <a:pt x="312" y="36"/>
                  </a:lnTo>
                  <a:lnTo>
                    <a:pt x="309" y="36"/>
                  </a:lnTo>
                  <a:lnTo>
                    <a:pt x="309" y="36"/>
                  </a:lnTo>
                  <a:lnTo>
                    <a:pt x="307" y="37"/>
                  </a:lnTo>
                  <a:lnTo>
                    <a:pt x="305" y="36"/>
                  </a:lnTo>
                  <a:lnTo>
                    <a:pt x="304" y="36"/>
                  </a:lnTo>
                  <a:lnTo>
                    <a:pt x="302" y="37"/>
                  </a:lnTo>
                  <a:lnTo>
                    <a:pt x="297" y="37"/>
                  </a:lnTo>
                  <a:lnTo>
                    <a:pt x="295" y="36"/>
                  </a:lnTo>
                  <a:lnTo>
                    <a:pt x="295" y="35"/>
                  </a:lnTo>
                  <a:lnTo>
                    <a:pt x="295" y="33"/>
                  </a:lnTo>
                  <a:lnTo>
                    <a:pt x="294" y="35"/>
                  </a:lnTo>
                  <a:lnTo>
                    <a:pt x="294" y="36"/>
                  </a:lnTo>
                  <a:lnTo>
                    <a:pt x="291" y="36"/>
                  </a:lnTo>
                  <a:lnTo>
                    <a:pt x="291" y="36"/>
                  </a:lnTo>
                  <a:lnTo>
                    <a:pt x="291" y="37"/>
                  </a:lnTo>
                  <a:lnTo>
                    <a:pt x="291" y="37"/>
                  </a:lnTo>
                  <a:lnTo>
                    <a:pt x="290" y="37"/>
                  </a:lnTo>
                  <a:lnTo>
                    <a:pt x="288" y="39"/>
                  </a:lnTo>
                  <a:lnTo>
                    <a:pt x="288" y="40"/>
                  </a:lnTo>
                  <a:lnTo>
                    <a:pt x="288" y="40"/>
                  </a:lnTo>
                  <a:lnTo>
                    <a:pt x="288" y="42"/>
                  </a:lnTo>
                  <a:lnTo>
                    <a:pt x="287" y="40"/>
                  </a:lnTo>
                  <a:lnTo>
                    <a:pt x="285" y="39"/>
                  </a:lnTo>
                  <a:lnTo>
                    <a:pt x="285" y="39"/>
                  </a:lnTo>
                  <a:lnTo>
                    <a:pt x="284" y="39"/>
                  </a:lnTo>
                  <a:lnTo>
                    <a:pt x="284" y="40"/>
                  </a:lnTo>
                  <a:lnTo>
                    <a:pt x="284" y="43"/>
                  </a:lnTo>
                  <a:lnTo>
                    <a:pt x="284" y="43"/>
                  </a:lnTo>
                  <a:lnTo>
                    <a:pt x="281" y="43"/>
                  </a:lnTo>
                  <a:lnTo>
                    <a:pt x="281" y="43"/>
                  </a:lnTo>
                  <a:lnTo>
                    <a:pt x="280" y="47"/>
                  </a:lnTo>
                  <a:lnTo>
                    <a:pt x="277" y="47"/>
                  </a:lnTo>
                  <a:lnTo>
                    <a:pt x="277" y="50"/>
                  </a:lnTo>
                  <a:lnTo>
                    <a:pt x="277" y="52"/>
                  </a:lnTo>
                  <a:lnTo>
                    <a:pt x="278" y="53"/>
                  </a:lnTo>
                  <a:lnTo>
                    <a:pt x="277" y="55"/>
                  </a:lnTo>
                  <a:lnTo>
                    <a:pt x="277" y="56"/>
                  </a:lnTo>
                  <a:lnTo>
                    <a:pt x="275" y="56"/>
                  </a:lnTo>
                  <a:lnTo>
                    <a:pt x="272" y="57"/>
                  </a:lnTo>
                  <a:lnTo>
                    <a:pt x="271" y="57"/>
                  </a:lnTo>
                  <a:lnTo>
                    <a:pt x="271" y="59"/>
                  </a:lnTo>
                  <a:lnTo>
                    <a:pt x="271" y="60"/>
                  </a:lnTo>
                  <a:lnTo>
                    <a:pt x="271" y="62"/>
                  </a:lnTo>
                  <a:lnTo>
                    <a:pt x="270" y="63"/>
                  </a:lnTo>
                  <a:lnTo>
                    <a:pt x="270" y="65"/>
                  </a:lnTo>
                  <a:lnTo>
                    <a:pt x="268" y="66"/>
                  </a:lnTo>
                  <a:lnTo>
                    <a:pt x="265" y="69"/>
                  </a:lnTo>
                  <a:lnTo>
                    <a:pt x="264" y="72"/>
                  </a:lnTo>
                  <a:lnTo>
                    <a:pt x="265" y="73"/>
                  </a:lnTo>
                  <a:lnTo>
                    <a:pt x="268" y="75"/>
                  </a:lnTo>
                  <a:lnTo>
                    <a:pt x="270" y="75"/>
                  </a:lnTo>
                  <a:lnTo>
                    <a:pt x="270" y="75"/>
                  </a:lnTo>
                  <a:lnTo>
                    <a:pt x="268" y="76"/>
                  </a:lnTo>
                  <a:lnTo>
                    <a:pt x="268" y="77"/>
                  </a:lnTo>
                  <a:lnTo>
                    <a:pt x="270" y="77"/>
                  </a:lnTo>
                  <a:lnTo>
                    <a:pt x="271" y="79"/>
                  </a:lnTo>
                  <a:lnTo>
                    <a:pt x="271" y="79"/>
                  </a:lnTo>
                  <a:lnTo>
                    <a:pt x="271" y="79"/>
                  </a:lnTo>
                  <a:lnTo>
                    <a:pt x="268" y="79"/>
                  </a:lnTo>
                  <a:lnTo>
                    <a:pt x="268" y="80"/>
                  </a:lnTo>
                  <a:lnTo>
                    <a:pt x="268" y="82"/>
                  </a:lnTo>
                  <a:lnTo>
                    <a:pt x="268" y="83"/>
                  </a:lnTo>
                  <a:lnTo>
                    <a:pt x="268" y="85"/>
                  </a:lnTo>
                  <a:lnTo>
                    <a:pt x="268" y="83"/>
                  </a:lnTo>
                  <a:lnTo>
                    <a:pt x="267" y="82"/>
                  </a:lnTo>
                  <a:lnTo>
                    <a:pt x="265" y="80"/>
                  </a:lnTo>
                  <a:lnTo>
                    <a:pt x="264" y="80"/>
                  </a:lnTo>
                  <a:lnTo>
                    <a:pt x="262" y="79"/>
                  </a:lnTo>
                  <a:lnTo>
                    <a:pt x="262" y="80"/>
                  </a:lnTo>
                  <a:lnTo>
                    <a:pt x="262" y="83"/>
                  </a:lnTo>
                  <a:lnTo>
                    <a:pt x="261" y="85"/>
                  </a:lnTo>
                  <a:lnTo>
                    <a:pt x="261" y="83"/>
                  </a:lnTo>
                  <a:lnTo>
                    <a:pt x="261" y="82"/>
                  </a:lnTo>
                  <a:lnTo>
                    <a:pt x="260" y="80"/>
                  </a:lnTo>
                  <a:lnTo>
                    <a:pt x="252" y="77"/>
                  </a:lnTo>
                  <a:lnTo>
                    <a:pt x="251" y="77"/>
                  </a:lnTo>
                  <a:lnTo>
                    <a:pt x="250" y="77"/>
                  </a:lnTo>
                  <a:lnTo>
                    <a:pt x="248" y="79"/>
                  </a:lnTo>
                  <a:lnTo>
                    <a:pt x="248" y="79"/>
                  </a:lnTo>
                  <a:lnTo>
                    <a:pt x="248" y="80"/>
                  </a:lnTo>
                  <a:lnTo>
                    <a:pt x="247" y="80"/>
                  </a:lnTo>
                  <a:lnTo>
                    <a:pt x="245" y="82"/>
                  </a:lnTo>
                  <a:lnTo>
                    <a:pt x="245" y="82"/>
                  </a:lnTo>
                  <a:lnTo>
                    <a:pt x="245" y="83"/>
                  </a:lnTo>
                  <a:lnTo>
                    <a:pt x="245" y="85"/>
                  </a:lnTo>
                  <a:lnTo>
                    <a:pt x="247" y="86"/>
                  </a:lnTo>
                  <a:lnTo>
                    <a:pt x="247" y="86"/>
                  </a:lnTo>
                  <a:lnTo>
                    <a:pt x="245" y="86"/>
                  </a:lnTo>
                  <a:lnTo>
                    <a:pt x="244" y="86"/>
                  </a:lnTo>
                  <a:lnTo>
                    <a:pt x="244" y="87"/>
                  </a:lnTo>
                  <a:lnTo>
                    <a:pt x="244" y="87"/>
                  </a:lnTo>
                  <a:lnTo>
                    <a:pt x="244" y="83"/>
                  </a:lnTo>
                  <a:lnTo>
                    <a:pt x="244" y="80"/>
                  </a:lnTo>
                  <a:lnTo>
                    <a:pt x="245" y="79"/>
                  </a:lnTo>
                  <a:lnTo>
                    <a:pt x="245" y="77"/>
                  </a:lnTo>
                  <a:lnTo>
                    <a:pt x="245" y="77"/>
                  </a:lnTo>
                  <a:lnTo>
                    <a:pt x="240" y="73"/>
                  </a:lnTo>
                  <a:lnTo>
                    <a:pt x="238" y="70"/>
                  </a:lnTo>
                  <a:lnTo>
                    <a:pt x="237" y="69"/>
                  </a:lnTo>
                  <a:lnTo>
                    <a:pt x="234" y="66"/>
                  </a:lnTo>
                  <a:lnTo>
                    <a:pt x="234" y="66"/>
                  </a:lnTo>
                  <a:lnTo>
                    <a:pt x="231" y="65"/>
                  </a:lnTo>
                  <a:lnTo>
                    <a:pt x="228" y="63"/>
                  </a:lnTo>
                  <a:lnTo>
                    <a:pt x="227" y="62"/>
                  </a:lnTo>
                  <a:lnTo>
                    <a:pt x="224" y="60"/>
                  </a:lnTo>
                  <a:lnTo>
                    <a:pt x="222" y="62"/>
                  </a:lnTo>
                  <a:lnTo>
                    <a:pt x="222" y="63"/>
                  </a:lnTo>
                  <a:lnTo>
                    <a:pt x="222" y="65"/>
                  </a:lnTo>
                  <a:lnTo>
                    <a:pt x="221" y="66"/>
                  </a:lnTo>
                  <a:lnTo>
                    <a:pt x="220" y="67"/>
                  </a:lnTo>
                  <a:lnTo>
                    <a:pt x="218" y="66"/>
                  </a:lnTo>
                  <a:lnTo>
                    <a:pt x="217" y="66"/>
                  </a:lnTo>
                  <a:lnTo>
                    <a:pt x="215" y="66"/>
                  </a:lnTo>
                  <a:lnTo>
                    <a:pt x="215" y="67"/>
                  </a:lnTo>
                  <a:lnTo>
                    <a:pt x="214" y="67"/>
                  </a:lnTo>
                  <a:lnTo>
                    <a:pt x="214" y="67"/>
                  </a:lnTo>
                  <a:lnTo>
                    <a:pt x="212" y="65"/>
                  </a:lnTo>
                  <a:lnTo>
                    <a:pt x="212" y="65"/>
                  </a:lnTo>
                  <a:lnTo>
                    <a:pt x="211" y="65"/>
                  </a:lnTo>
                  <a:lnTo>
                    <a:pt x="211" y="66"/>
                  </a:lnTo>
                  <a:lnTo>
                    <a:pt x="212" y="67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70"/>
                  </a:lnTo>
                  <a:lnTo>
                    <a:pt x="210" y="72"/>
                  </a:lnTo>
                  <a:lnTo>
                    <a:pt x="211" y="73"/>
                  </a:lnTo>
                  <a:lnTo>
                    <a:pt x="210" y="73"/>
                  </a:lnTo>
                  <a:lnTo>
                    <a:pt x="208" y="75"/>
                  </a:lnTo>
                  <a:lnTo>
                    <a:pt x="208" y="75"/>
                  </a:lnTo>
                  <a:lnTo>
                    <a:pt x="207" y="75"/>
                  </a:lnTo>
                  <a:lnTo>
                    <a:pt x="207" y="73"/>
                  </a:lnTo>
                  <a:lnTo>
                    <a:pt x="205" y="72"/>
                  </a:lnTo>
                  <a:lnTo>
                    <a:pt x="205" y="73"/>
                  </a:lnTo>
                  <a:lnTo>
                    <a:pt x="205" y="73"/>
                  </a:lnTo>
                  <a:lnTo>
                    <a:pt x="204" y="73"/>
                  </a:lnTo>
                  <a:lnTo>
                    <a:pt x="205" y="73"/>
                  </a:lnTo>
                  <a:lnTo>
                    <a:pt x="205" y="72"/>
                  </a:lnTo>
                  <a:lnTo>
                    <a:pt x="205" y="70"/>
                  </a:lnTo>
                  <a:lnTo>
                    <a:pt x="204" y="69"/>
                  </a:lnTo>
                  <a:lnTo>
                    <a:pt x="204" y="70"/>
                  </a:lnTo>
                  <a:lnTo>
                    <a:pt x="204" y="72"/>
                  </a:lnTo>
                  <a:lnTo>
                    <a:pt x="204" y="73"/>
                  </a:lnTo>
                  <a:lnTo>
                    <a:pt x="202" y="73"/>
                  </a:lnTo>
                  <a:lnTo>
                    <a:pt x="201" y="75"/>
                  </a:lnTo>
                  <a:lnTo>
                    <a:pt x="200" y="75"/>
                  </a:lnTo>
                  <a:lnTo>
                    <a:pt x="198" y="75"/>
                  </a:lnTo>
                  <a:lnTo>
                    <a:pt x="198" y="76"/>
                  </a:lnTo>
                  <a:lnTo>
                    <a:pt x="197" y="77"/>
                  </a:lnTo>
                  <a:lnTo>
                    <a:pt x="197" y="79"/>
                  </a:lnTo>
                  <a:lnTo>
                    <a:pt x="198" y="79"/>
                  </a:lnTo>
                  <a:lnTo>
                    <a:pt x="198" y="80"/>
                  </a:lnTo>
                  <a:lnTo>
                    <a:pt x="200" y="82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198" y="83"/>
                  </a:lnTo>
                  <a:lnTo>
                    <a:pt x="197" y="82"/>
                  </a:lnTo>
                  <a:lnTo>
                    <a:pt x="195" y="82"/>
                  </a:lnTo>
                  <a:lnTo>
                    <a:pt x="194" y="82"/>
                  </a:lnTo>
                  <a:lnTo>
                    <a:pt x="194" y="82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3" y="83"/>
                  </a:lnTo>
                  <a:lnTo>
                    <a:pt x="191" y="85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4" y="87"/>
                  </a:lnTo>
                  <a:lnTo>
                    <a:pt x="195" y="86"/>
                  </a:lnTo>
                  <a:lnTo>
                    <a:pt x="195" y="87"/>
                  </a:lnTo>
                  <a:lnTo>
                    <a:pt x="195" y="89"/>
                  </a:lnTo>
                  <a:lnTo>
                    <a:pt x="194" y="89"/>
                  </a:lnTo>
                  <a:lnTo>
                    <a:pt x="194" y="89"/>
                  </a:lnTo>
                  <a:lnTo>
                    <a:pt x="190" y="86"/>
                  </a:lnTo>
                  <a:lnTo>
                    <a:pt x="190" y="86"/>
                  </a:lnTo>
                  <a:lnTo>
                    <a:pt x="188" y="86"/>
                  </a:lnTo>
                  <a:lnTo>
                    <a:pt x="190" y="87"/>
                  </a:lnTo>
                  <a:lnTo>
                    <a:pt x="188" y="89"/>
                  </a:lnTo>
                  <a:lnTo>
                    <a:pt x="187" y="90"/>
                  </a:lnTo>
                  <a:lnTo>
                    <a:pt x="187" y="89"/>
                  </a:lnTo>
                  <a:lnTo>
                    <a:pt x="185" y="90"/>
                  </a:lnTo>
                  <a:lnTo>
                    <a:pt x="184" y="92"/>
                  </a:lnTo>
                  <a:lnTo>
                    <a:pt x="184" y="95"/>
                  </a:lnTo>
                  <a:lnTo>
                    <a:pt x="185" y="96"/>
                  </a:lnTo>
                  <a:lnTo>
                    <a:pt x="187" y="97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6"/>
                  </a:lnTo>
                  <a:lnTo>
                    <a:pt x="188" y="97"/>
                  </a:lnTo>
                  <a:lnTo>
                    <a:pt x="187" y="99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0"/>
                  </a:lnTo>
                  <a:lnTo>
                    <a:pt x="185" y="100"/>
                  </a:lnTo>
                  <a:lnTo>
                    <a:pt x="184" y="102"/>
                  </a:lnTo>
                  <a:lnTo>
                    <a:pt x="184" y="103"/>
                  </a:lnTo>
                  <a:lnTo>
                    <a:pt x="185" y="103"/>
                  </a:lnTo>
                  <a:lnTo>
                    <a:pt x="187" y="103"/>
                  </a:lnTo>
                  <a:lnTo>
                    <a:pt x="188" y="103"/>
                  </a:lnTo>
                  <a:lnTo>
                    <a:pt x="190" y="105"/>
                  </a:lnTo>
                  <a:lnTo>
                    <a:pt x="191" y="105"/>
                  </a:lnTo>
                  <a:lnTo>
                    <a:pt x="190" y="105"/>
                  </a:lnTo>
                  <a:lnTo>
                    <a:pt x="187" y="105"/>
                  </a:lnTo>
                  <a:lnTo>
                    <a:pt x="185" y="105"/>
                  </a:lnTo>
                  <a:lnTo>
                    <a:pt x="183" y="105"/>
                  </a:lnTo>
                  <a:lnTo>
                    <a:pt x="181" y="103"/>
                  </a:lnTo>
                  <a:lnTo>
                    <a:pt x="180" y="103"/>
                  </a:lnTo>
                  <a:lnTo>
                    <a:pt x="178" y="103"/>
                  </a:lnTo>
                  <a:lnTo>
                    <a:pt x="177" y="103"/>
                  </a:lnTo>
                  <a:lnTo>
                    <a:pt x="177" y="105"/>
                  </a:lnTo>
                  <a:lnTo>
                    <a:pt x="175" y="105"/>
                  </a:lnTo>
                  <a:lnTo>
                    <a:pt x="174" y="102"/>
                  </a:lnTo>
                  <a:lnTo>
                    <a:pt x="173" y="102"/>
                  </a:lnTo>
                  <a:lnTo>
                    <a:pt x="171" y="102"/>
                  </a:lnTo>
                  <a:lnTo>
                    <a:pt x="173" y="103"/>
                  </a:lnTo>
                  <a:lnTo>
                    <a:pt x="173" y="105"/>
                  </a:lnTo>
                  <a:lnTo>
                    <a:pt x="171" y="106"/>
                  </a:lnTo>
                  <a:lnTo>
                    <a:pt x="170" y="106"/>
                  </a:lnTo>
                  <a:lnTo>
                    <a:pt x="170" y="106"/>
                  </a:lnTo>
                  <a:lnTo>
                    <a:pt x="170" y="107"/>
                  </a:lnTo>
                  <a:lnTo>
                    <a:pt x="171" y="109"/>
                  </a:lnTo>
                  <a:lnTo>
                    <a:pt x="173" y="110"/>
                  </a:lnTo>
                  <a:lnTo>
                    <a:pt x="174" y="112"/>
                  </a:lnTo>
                  <a:lnTo>
                    <a:pt x="174" y="113"/>
                  </a:lnTo>
                  <a:lnTo>
                    <a:pt x="175" y="113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4" y="116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1" y="115"/>
                  </a:lnTo>
                  <a:lnTo>
                    <a:pt x="171" y="116"/>
                  </a:lnTo>
                  <a:lnTo>
                    <a:pt x="171" y="119"/>
                  </a:lnTo>
                  <a:lnTo>
                    <a:pt x="171" y="122"/>
                  </a:lnTo>
                  <a:lnTo>
                    <a:pt x="171" y="123"/>
                  </a:lnTo>
                  <a:lnTo>
                    <a:pt x="171" y="123"/>
                  </a:lnTo>
                  <a:lnTo>
                    <a:pt x="171" y="123"/>
                  </a:lnTo>
                  <a:lnTo>
                    <a:pt x="170" y="122"/>
                  </a:lnTo>
                  <a:lnTo>
                    <a:pt x="168" y="120"/>
                  </a:lnTo>
                  <a:lnTo>
                    <a:pt x="167" y="116"/>
                  </a:lnTo>
                  <a:lnTo>
                    <a:pt x="164" y="113"/>
                  </a:lnTo>
                  <a:lnTo>
                    <a:pt x="163" y="110"/>
                  </a:lnTo>
                  <a:lnTo>
                    <a:pt x="161" y="106"/>
                  </a:lnTo>
                  <a:lnTo>
                    <a:pt x="161" y="105"/>
                  </a:lnTo>
                  <a:lnTo>
                    <a:pt x="160" y="107"/>
                  </a:lnTo>
                  <a:lnTo>
                    <a:pt x="158" y="110"/>
                  </a:lnTo>
                  <a:lnTo>
                    <a:pt x="157" y="112"/>
                  </a:lnTo>
                  <a:lnTo>
                    <a:pt x="155" y="113"/>
                  </a:lnTo>
                  <a:lnTo>
                    <a:pt x="154" y="113"/>
                  </a:lnTo>
                  <a:lnTo>
                    <a:pt x="153" y="115"/>
                  </a:lnTo>
                  <a:lnTo>
                    <a:pt x="151" y="116"/>
                  </a:lnTo>
                  <a:lnTo>
                    <a:pt x="150" y="117"/>
                  </a:lnTo>
                  <a:lnTo>
                    <a:pt x="148" y="120"/>
                  </a:lnTo>
                  <a:lnTo>
                    <a:pt x="148" y="122"/>
                  </a:lnTo>
                  <a:lnTo>
                    <a:pt x="148" y="125"/>
                  </a:lnTo>
                  <a:lnTo>
                    <a:pt x="150" y="127"/>
                  </a:lnTo>
                  <a:lnTo>
                    <a:pt x="150" y="130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1" y="133"/>
                  </a:lnTo>
                  <a:lnTo>
                    <a:pt x="150" y="135"/>
                  </a:lnTo>
                  <a:lnTo>
                    <a:pt x="145" y="137"/>
                  </a:lnTo>
                  <a:lnTo>
                    <a:pt x="144" y="139"/>
                  </a:lnTo>
                  <a:lnTo>
                    <a:pt x="143" y="140"/>
                  </a:lnTo>
                  <a:lnTo>
                    <a:pt x="141" y="143"/>
                  </a:lnTo>
                  <a:lnTo>
                    <a:pt x="140" y="145"/>
                  </a:lnTo>
                  <a:lnTo>
                    <a:pt x="140" y="147"/>
                  </a:lnTo>
                  <a:lnTo>
                    <a:pt x="138" y="150"/>
                  </a:lnTo>
                  <a:lnTo>
                    <a:pt x="135" y="153"/>
                  </a:lnTo>
                  <a:lnTo>
                    <a:pt x="133" y="156"/>
                  </a:lnTo>
                  <a:lnTo>
                    <a:pt x="130" y="159"/>
                  </a:lnTo>
                  <a:lnTo>
                    <a:pt x="128" y="159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10" y="164"/>
                  </a:lnTo>
                  <a:lnTo>
                    <a:pt x="107" y="166"/>
                  </a:lnTo>
                  <a:lnTo>
                    <a:pt x="104" y="166"/>
                  </a:lnTo>
                  <a:lnTo>
                    <a:pt x="100" y="164"/>
                  </a:lnTo>
                  <a:lnTo>
                    <a:pt x="94" y="170"/>
                  </a:lnTo>
                  <a:lnTo>
                    <a:pt x="90" y="170"/>
                  </a:lnTo>
                  <a:lnTo>
                    <a:pt x="86" y="172"/>
                  </a:lnTo>
                  <a:lnTo>
                    <a:pt x="83" y="172"/>
                  </a:lnTo>
                  <a:lnTo>
                    <a:pt x="80" y="174"/>
                  </a:lnTo>
                  <a:lnTo>
                    <a:pt x="77" y="176"/>
                  </a:lnTo>
                  <a:lnTo>
                    <a:pt x="73" y="177"/>
                  </a:lnTo>
                  <a:lnTo>
                    <a:pt x="71" y="177"/>
                  </a:lnTo>
                  <a:lnTo>
                    <a:pt x="68" y="176"/>
                  </a:lnTo>
                  <a:lnTo>
                    <a:pt x="66" y="176"/>
                  </a:lnTo>
                  <a:lnTo>
                    <a:pt x="63" y="176"/>
                  </a:lnTo>
                  <a:lnTo>
                    <a:pt x="61" y="176"/>
                  </a:lnTo>
                  <a:lnTo>
                    <a:pt x="60" y="177"/>
                  </a:lnTo>
                  <a:lnTo>
                    <a:pt x="50" y="183"/>
                  </a:lnTo>
                  <a:lnTo>
                    <a:pt x="48" y="184"/>
                  </a:lnTo>
                  <a:lnTo>
                    <a:pt x="46" y="186"/>
                  </a:lnTo>
                  <a:lnTo>
                    <a:pt x="43" y="189"/>
                  </a:lnTo>
                  <a:lnTo>
                    <a:pt x="41" y="190"/>
                  </a:lnTo>
                  <a:lnTo>
                    <a:pt x="37" y="193"/>
                  </a:lnTo>
                  <a:lnTo>
                    <a:pt x="31" y="194"/>
                  </a:lnTo>
                  <a:lnTo>
                    <a:pt x="30" y="196"/>
                  </a:lnTo>
                  <a:lnTo>
                    <a:pt x="27" y="199"/>
                  </a:lnTo>
                  <a:lnTo>
                    <a:pt x="24" y="203"/>
                  </a:lnTo>
                  <a:lnTo>
                    <a:pt x="24" y="204"/>
                  </a:lnTo>
                  <a:lnTo>
                    <a:pt x="23" y="206"/>
                  </a:lnTo>
                  <a:lnTo>
                    <a:pt x="21" y="207"/>
                  </a:lnTo>
                  <a:lnTo>
                    <a:pt x="20" y="207"/>
                  </a:lnTo>
                  <a:lnTo>
                    <a:pt x="20" y="204"/>
                  </a:lnTo>
                  <a:lnTo>
                    <a:pt x="20" y="203"/>
                  </a:lnTo>
                  <a:lnTo>
                    <a:pt x="20" y="197"/>
                  </a:lnTo>
                  <a:lnTo>
                    <a:pt x="20" y="196"/>
                  </a:lnTo>
                  <a:lnTo>
                    <a:pt x="18" y="197"/>
                  </a:lnTo>
                  <a:lnTo>
                    <a:pt x="17" y="199"/>
                  </a:lnTo>
                  <a:lnTo>
                    <a:pt x="14" y="204"/>
                  </a:lnTo>
                  <a:lnTo>
                    <a:pt x="13" y="210"/>
                  </a:lnTo>
                  <a:lnTo>
                    <a:pt x="14" y="213"/>
                  </a:lnTo>
                  <a:lnTo>
                    <a:pt x="14" y="214"/>
                  </a:lnTo>
                  <a:lnTo>
                    <a:pt x="14" y="217"/>
                  </a:lnTo>
                  <a:lnTo>
                    <a:pt x="14" y="220"/>
                  </a:lnTo>
                  <a:lnTo>
                    <a:pt x="14" y="222"/>
                  </a:lnTo>
                  <a:lnTo>
                    <a:pt x="14" y="224"/>
                  </a:lnTo>
                  <a:lnTo>
                    <a:pt x="11" y="229"/>
                  </a:lnTo>
                  <a:lnTo>
                    <a:pt x="10" y="232"/>
                  </a:lnTo>
                  <a:lnTo>
                    <a:pt x="8" y="236"/>
                  </a:lnTo>
                  <a:lnTo>
                    <a:pt x="8" y="239"/>
                  </a:lnTo>
                  <a:lnTo>
                    <a:pt x="8" y="242"/>
                  </a:lnTo>
                  <a:lnTo>
                    <a:pt x="10" y="244"/>
                  </a:lnTo>
                  <a:lnTo>
                    <a:pt x="11" y="246"/>
                  </a:lnTo>
                  <a:lnTo>
                    <a:pt x="13" y="252"/>
                  </a:lnTo>
                  <a:lnTo>
                    <a:pt x="14" y="254"/>
                  </a:lnTo>
                  <a:lnTo>
                    <a:pt x="18" y="262"/>
                  </a:lnTo>
                  <a:lnTo>
                    <a:pt x="21" y="266"/>
                  </a:lnTo>
                  <a:lnTo>
                    <a:pt x="21" y="269"/>
                  </a:lnTo>
                  <a:lnTo>
                    <a:pt x="21" y="272"/>
                  </a:lnTo>
                  <a:lnTo>
                    <a:pt x="21" y="274"/>
                  </a:lnTo>
                  <a:lnTo>
                    <a:pt x="21" y="274"/>
                  </a:lnTo>
                  <a:lnTo>
                    <a:pt x="20" y="276"/>
                  </a:lnTo>
                  <a:lnTo>
                    <a:pt x="18" y="274"/>
                  </a:lnTo>
                  <a:lnTo>
                    <a:pt x="17" y="273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3" y="269"/>
                  </a:lnTo>
                  <a:lnTo>
                    <a:pt x="13" y="266"/>
                  </a:lnTo>
                  <a:lnTo>
                    <a:pt x="11" y="264"/>
                  </a:lnTo>
                  <a:lnTo>
                    <a:pt x="10" y="263"/>
                  </a:lnTo>
                  <a:lnTo>
                    <a:pt x="8" y="262"/>
                  </a:lnTo>
                  <a:lnTo>
                    <a:pt x="8" y="263"/>
                  </a:lnTo>
                  <a:lnTo>
                    <a:pt x="8" y="264"/>
                  </a:lnTo>
                  <a:lnTo>
                    <a:pt x="10" y="267"/>
                  </a:lnTo>
                  <a:lnTo>
                    <a:pt x="11" y="270"/>
                  </a:lnTo>
                  <a:lnTo>
                    <a:pt x="13" y="273"/>
                  </a:lnTo>
                  <a:lnTo>
                    <a:pt x="14" y="273"/>
                  </a:lnTo>
                  <a:lnTo>
                    <a:pt x="16" y="274"/>
                  </a:lnTo>
                  <a:lnTo>
                    <a:pt x="16" y="277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1" y="279"/>
                  </a:lnTo>
                  <a:lnTo>
                    <a:pt x="11" y="277"/>
                  </a:lnTo>
                  <a:lnTo>
                    <a:pt x="8" y="273"/>
                  </a:lnTo>
                  <a:lnTo>
                    <a:pt x="8" y="272"/>
                  </a:lnTo>
                  <a:lnTo>
                    <a:pt x="7" y="270"/>
                  </a:lnTo>
                  <a:lnTo>
                    <a:pt x="7" y="272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6" y="273"/>
                  </a:lnTo>
                  <a:lnTo>
                    <a:pt x="6" y="272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6"/>
                  </a:lnTo>
                  <a:lnTo>
                    <a:pt x="13" y="284"/>
                  </a:lnTo>
                  <a:lnTo>
                    <a:pt x="18" y="293"/>
                  </a:lnTo>
                  <a:lnTo>
                    <a:pt x="20" y="297"/>
                  </a:lnTo>
                  <a:lnTo>
                    <a:pt x="20" y="304"/>
                  </a:lnTo>
                  <a:lnTo>
                    <a:pt x="20" y="306"/>
                  </a:lnTo>
                  <a:lnTo>
                    <a:pt x="24" y="310"/>
                  </a:lnTo>
                  <a:lnTo>
                    <a:pt x="27" y="314"/>
                  </a:lnTo>
                  <a:lnTo>
                    <a:pt x="27" y="317"/>
                  </a:lnTo>
                  <a:lnTo>
                    <a:pt x="27" y="319"/>
                  </a:lnTo>
                  <a:lnTo>
                    <a:pt x="28" y="320"/>
                  </a:lnTo>
                  <a:lnTo>
                    <a:pt x="31" y="326"/>
                  </a:lnTo>
                  <a:lnTo>
                    <a:pt x="33" y="332"/>
                  </a:lnTo>
                  <a:lnTo>
                    <a:pt x="34" y="333"/>
                  </a:lnTo>
                  <a:lnTo>
                    <a:pt x="33" y="336"/>
                  </a:lnTo>
                  <a:lnTo>
                    <a:pt x="33" y="342"/>
                  </a:lnTo>
                  <a:lnTo>
                    <a:pt x="34" y="346"/>
                  </a:lnTo>
                  <a:lnTo>
                    <a:pt x="36" y="352"/>
                  </a:lnTo>
                  <a:lnTo>
                    <a:pt x="37" y="356"/>
                  </a:lnTo>
                  <a:lnTo>
                    <a:pt x="38" y="359"/>
                  </a:lnTo>
                  <a:lnTo>
                    <a:pt x="41" y="366"/>
                  </a:lnTo>
                  <a:lnTo>
                    <a:pt x="46" y="373"/>
                  </a:lnTo>
                  <a:lnTo>
                    <a:pt x="46" y="376"/>
                  </a:lnTo>
                  <a:lnTo>
                    <a:pt x="46" y="386"/>
                  </a:lnTo>
                  <a:lnTo>
                    <a:pt x="46" y="389"/>
                  </a:lnTo>
                  <a:lnTo>
                    <a:pt x="44" y="390"/>
                  </a:lnTo>
                  <a:lnTo>
                    <a:pt x="44" y="391"/>
                  </a:lnTo>
                  <a:lnTo>
                    <a:pt x="44" y="397"/>
                  </a:lnTo>
                  <a:lnTo>
                    <a:pt x="44" y="401"/>
                  </a:lnTo>
                  <a:lnTo>
                    <a:pt x="44" y="404"/>
                  </a:lnTo>
                  <a:lnTo>
                    <a:pt x="43" y="407"/>
                  </a:lnTo>
                  <a:lnTo>
                    <a:pt x="40" y="410"/>
                  </a:lnTo>
                  <a:lnTo>
                    <a:pt x="37" y="410"/>
                  </a:lnTo>
                  <a:lnTo>
                    <a:pt x="36" y="409"/>
                  </a:lnTo>
                  <a:lnTo>
                    <a:pt x="34" y="407"/>
                  </a:lnTo>
                  <a:lnTo>
                    <a:pt x="34" y="413"/>
                  </a:lnTo>
                  <a:lnTo>
                    <a:pt x="34" y="417"/>
                  </a:lnTo>
                  <a:lnTo>
                    <a:pt x="34" y="420"/>
                  </a:lnTo>
                  <a:lnTo>
                    <a:pt x="34" y="421"/>
                  </a:lnTo>
                  <a:lnTo>
                    <a:pt x="36" y="423"/>
                  </a:lnTo>
                  <a:lnTo>
                    <a:pt x="37" y="423"/>
                  </a:lnTo>
                  <a:lnTo>
                    <a:pt x="38" y="423"/>
                  </a:lnTo>
                  <a:lnTo>
                    <a:pt x="43" y="424"/>
                  </a:lnTo>
                  <a:lnTo>
                    <a:pt x="46" y="427"/>
                  </a:lnTo>
                  <a:lnTo>
                    <a:pt x="50" y="431"/>
                  </a:lnTo>
                  <a:lnTo>
                    <a:pt x="53" y="433"/>
                  </a:lnTo>
                  <a:lnTo>
                    <a:pt x="58" y="436"/>
                  </a:lnTo>
                  <a:lnTo>
                    <a:pt x="64" y="436"/>
                  </a:lnTo>
                  <a:lnTo>
                    <a:pt x="68" y="437"/>
                  </a:lnTo>
                  <a:lnTo>
                    <a:pt x="76" y="437"/>
                  </a:lnTo>
                  <a:lnTo>
                    <a:pt x="77" y="437"/>
                  </a:lnTo>
                  <a:lnTo>
                    <a:pt x="80" y="437"/>
                  </a:lnTo>
                  <a:lnTo>
                    <a:pt x="83" y="436"/>
                  </a:lnTo>
                  <a:lnTo>
                    <a:pt x="84" y="436"/>
                  </a:lnTo>
                  <a:lnTo>
                    <a:pt x="90" y="431"/>
                  </a:lnTo>
                  <a:lnTo>
                    <a:pt x="97" y="426"/>
                  </a:lnTo>
                  <a:lnTo>
                    <a:pt x="100" y="426"/>
                  </a:lnTo>
                  <a:lnTo>
                    <a:pt x="103" y="426"/>
                  </a:lnTo>
                  <a:lnTo>
                    <a:pt x="105" y="424"/>
                  </a:lnTo>
                  <a:lnTo>
                    <a:pt x="108" y="419"/>
                  </a:lnTo>
                  <a:lnTo>
                    <a:pt x="110" y="417"/>
                  </a:lnTo>
                  <a:lnTo>
                    <a:pt x="111" y="416"/>
                  </a:lnTo>
                  <a:lnTo>
                    <a:pt x="117" y="416"/>
                  </a:lnTo>
                  <a:lnTo>
                    <a:pt x="121" y="416"/>
                  </a:lnTo>
                  <a:lnTo>
                    <a:pt x="123" y="414"/>
                  </a:lnTo>
                  <a:lnTo>
                    <a:pt x="127" y="414"/>
                  </a:lnTo>
                  <a:lnTo>
                    <a:pt x="137" y="413"/>
                  </a:lnTo>
                  <a:lnTo>
                    <a:pt x="141" y="414"/>
                  </a:lnTo>
                  <a:lnTo>
                    <a:pt x="145" y="414"/>
                  </a:lnTo>
                  <a:lnTo>
                    <a:pt x="147" y="414"/>
                  </a:lnTo>
                  <a:lnTo>
                    <a:pt x="148" y="416"/>
                  </a:lnTo>
                  <a:lnTo>
                    <a:pt x="158" y="414"/>
                  </a:lnTo>
                  <a:lnTo>
                    <a:pt x="161" y="414"/>
                  </a:lnTo>
                  <a:lnTo>
                    <a:pt x="163" y="414"/>
                  </a:lnTo>
                  <a:lnTo>
                    <a:pt x="165" y="416"/>
                  </a:lnTo>
                  <a:lnTo>
                    <a:pt x="168" y="414"/>
                  </a:lnTo>
                  <a:lnTo>
                    <a:pt x="170" y="414"/>
                  </a:lnTo>
                  <a:lnTo>
                    <a:pt x="173" y="413"/>
                  </a:lnTo>
                  <a:lnTo>
                    <a:pt x="175" y="409"/>
                  </a:lnTo>
                  <a:lnTo>
                    <a:pt x="177" y="406"/>
                  </a:lnTo>
                  <a:lnTo>
                    <a:pt x="180" y="400"/>
                  </a:lnTo>
                  <a:lnTo>
                    <a:pt x="183" y="397"/>
                  </a:lnTo>
                  <a:lnTo>
                    <a:pt x="184" y="397"/>
                  </a:lnTo>
                  <a:lnTo>
                    <a:pt x="187" y="396"/>
                  </a:lnTo>
                  <a:lnTo>
                    <a:pt x="190" y="396"/>
                  </a:lnTo>
                  <a:lnTo>
                    <a:pt x="198" y="390"/>
                  </a:lnTo>
                  <a:lnTo>
                    <a:pt x="201" y="389"/>
                  </a:lnTo>
                  <a:lnTo>
                    <a:pt x="202" y="389"/>
                  </a:lnTo>
                  <a:lnTo>
                    <a:pt x="208" y="384"/>
                  </a:lnTo>
                  <a:lnTo>
                    <a:pt x="212" y="383"/>
                  </a:lnTo>
                  <a:lnTo>
                    <a:pt x="222" y="384"/>
                  </a:lnTo>
                  <a:lnTo>
                    <a:pt x="227" y="384"/>
                  </a:lnTo>
                  <a:lnTo>
                    <a:pt x="231" y="383"/>
                  </a:lnTo>
                  <a:lnTo>
                    <a:pt x="237" y="381"/>
                  </a:lnTo>
                  <a:lnTo>
                    <a:pt x="242" y="380"/>
                  </a:lnTo>
                  <a:lnTo>
                    <a:pt x="251" y="376"/>
                  </a:lnTo>
                  <a:lnTo>
                    <a:pt x="257" y="373"/>
                  </a:lnTo>
                  <a:lnTo>
                    <a:pt x="261" y="371"/>
                  </a:lnTo>
                  <a:lnTo>
                    <a:pt x="267" y="371"/>
                  </a:lnTo>
                  <a:lnTo>
                    <a:pt x="277" y="370"/>
                  </a:lnTo>
                  <a:lnTo>
                    <a:pt x="287" y="371"/>
                  </a:lnTo>
                  <a:lnTo>
                    <a:pt x="290" y="370"/>
                  </a:lnTo>
                  <a:lnTo>
                    <a:pt x="291" y="370"/>
                  </a:lnTo>
                  <a:lnTo>
                    <a:pt x="292" y="369"/>
                  </a:lnTo>
                  <a:lnTo>
                    <a:pt x="295" y="370"/>
                  </a:lnTo>
                  <a:lnTo>
                    <a:pt x="297" y="370"/>
                  </a:lnTo>
                  <a:lnTo>
                    <a:pt x="302" y="373"/>
                  </a:lnTo>
                  <a:lnTo>
                    <a:pt x="309" y="379"/>
                  </a:lnTo>
                  <a:lnTo>
                    <a:pt x="311" y="379"/>
                  </a:lnTo>
                  <a:lnTo>
                    <a:pt x="317" y="377"/>
                  </a:lnTo>
                  <a:lnTo>
                    <a:pt x="318" y="377"/>
                  </a:lnTo>
                  <a:lnTo>
                    <a:pt x="325" y="381"/>
                  </a:lnTo>
                  <a:lnTo>
                    <a:pt x="328" y="381"/>
                  </a:lnTo>
                  <a:lnTo>
                    <a:pt x="331" y="381"/>
                  </a:lnTo>
                  <a:lnTo>
                    <a:pt x="332" y="383"/>
                  </a:lnTo>
                  <a:lnTo>
                    <a:pt x="335" y="384"/>
                  </a:lnTo>
                  <a:lnTo>
                    <a:pt x="337" y="386"/>
                  </a:lnTo>
                  <a:lnTo>
                    <a:pt x="342" y="389"/>
                  </a:lnTo>
                  <a:lnTo>
                    <a:pt x="342" y="391"/>
                  </a:lnTo>
                  <a:lnTo>
                    <a:pt x="342" y="393"/>
                  </a:lnTo>
                  <a:lnTo>
                    <a:pt x="341" y="393"/>
                  </a:lnTo>
                  <a:lnTo>
                    <a:pt x="339" y="393"/>
                  </a:lnTo>
                  <a:lnTo>
                    <a:pt x="341" y="397"/>
                  </a:lnTo>
                  <a:lnTo>
                    <a:pt x="342" y="400"/>
                  </a:lnTo>
                  <a:lnTo>
                    <a:pt x="348" y="401"/>
                  </a:lnTo>
                  <a:lnTo>
                    <a:pt x="349" y="403"/>
                  </a:lnTo>
                  <a:lnTo>
                    <a:pt x="351" y="404"/>
                  </a:lnTo>
                  <a:lnTo>
                    <a:pt x="352" y="406"/>
                  </a:lnTo>
                  <a:lnTo>
                    <a:pt x="352" y="410"/>
                  </a:lnTo>
                  <a:lnTo>
                    <a:pt x="355" y="413"/>
                  </a:lnTo>
                  <a:lnTo>
                    <a:pt x="357" y="414"/>
                  </a:lnTo>
                  <a:lnTo>
                    <a:pt x="358" y="416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24"/>
                  </a:lnTo>
                  <a:lnTo>
                    <a:pt x="361" y="427"/>
                  </a:lnTo>
                  <a:lnTo>
                    <a:pt x="361" y="429"/>
                  </a:lnTo>
                  <a:lnTo>
                    <a:pt x="361" y="429"/>
                  </a:lnTo>
                  <a:lnTo>
                    <a:pt x="359" y="427"/>
                  </a:lnTo>
                  <a:lnTo>
                    <a:pt x="358" y="426"/>
                  </a:lnTo>
                  <a:lnTo>
                    <a:pt x="357" y="426"/>
                  </a:lnTo>
                  <a:lnTo>
                    <a:pt x="357" y="427"/>
                  </a:lnTo>
                  <a:lnTo>
                    <a:pt x="357" y="429"/>
                  </a:lnTo>
                  <a:lnTo>
                    <a:pt x="357" y="427"/>
                  </a:lnTo>
                  <a:lnTo>
                    <a:pt x="358" y="427"/>
                  </a:lnTo>
                  <a:lnTo>
                    <a:pt x="359" y="429"/>
                  </a:lnTo>
                  <a:lnTo>
                    <a:pt x="361" y="430"/>
                  </a:lnTo>
                  <a:lnTo>
                    <a:pt x="362" y="431"/>
                  </a:lnTo>
                  <a:lnTo>
                    <a:pt x="365" y="434"/>
                  </a:lnTo>
                  <a:lnTo>
                    <a:pt x="365" y="434"/>
                  </a:lnTo>
                  <a:lnTo>
                    <a:pt x="367" y="433"/>
                  </a:lnTo>
                  <a:lnTo>
                    <a:pt x="369" y="436"/>
                  </a:lnTo>
                  <a:lnTo>
                    <a:pt x="369" y="436"/>
                  </a:lnTo>
                  <a:lnTo>
                    <a:pt x="371" y="434"/>
                  </a:lnTo>
                  <a:lnTo>
                    <a:pt x="369" y="431"/>
                  </a:lnTo>
                  <a:lnTo>
                    <a:pt x="368" y="430"/>
                  </a:lnTo>
                  <a:lnTo>
                    <a:pt x="368" y="430"/>
                  </a:lnTo>
                  <a:lnTo>
                    <a:pt x="369" y="429"/>
                  </a:lnTo>
                  <a:lnTo>
                    <a:pt x="369" y="427"/>
                  </a:lnTo>
                  <a:lnTo>
                    <a:pt x="372" y="424"/>
                  </a:lnTo>
                  <a:lnTo>
                    <a:pt x="377" y="417"/>
                  </a:lnTo>
                  <a:lnTo>
                    <a:pt x="378" y="416"/>
                  </a:lnTo>
                  <a:lnTo>
                    <a:pt x="381" y="414"/>
                  </a:lnTo>
                  <a:lnTo>
                    <a:pt x="382" y="413"/>
                  </a:lnTo>
                  <a:lnTo>
                    <a:pt x="385" y="411"/>
                  </a:lnTo>
                  <a:lnTo>
                    <a:pt x="386" y="411"/>
                  </a:lnTo>
                  <a:lnTo>
                    <a:pt x="388" y="411"/>
                  </a:lnTo>
                  <a:lnTo>
                    <a:pt x="389" y="410"/>
                  </a:lnTo>
                  <a:lnTo>
                    <a:pt x="392" y="406"/>
                  </a:lnTo>
                  <a:lnTo>
                    <a:pt x="394" y="401"/>
                  </a:lnTo>
                  <a:lnTo>
                    <a:pt x="395" y="399"/>
                  </a:lnTo>
                  <a:lnTo>
                    <a:pt x="396" y="397"/>
                  </a:lnTo>
                  <a:lnTo>
                    <a:pt x="399" y="394"/>
                  </a:lnTo>
                  <a:lnTo>
                    <a:pt x="399" y="391"/>
                  </a:lnTo>
                  <a:lnTo>
                    <a:pt x="399" y="390"/>
                  </a:lnTo>
                  <a:lnTo>
                    <a:pt x="399" y="391"/>
                  </a:lnTo>
                  <a:lnTo>
                    <a:pt x="401" y="393"/>
                  </a:lnTo>
                  <a:lnTo>
                    <a:pt x="402" y="399"/>
                  </a:lnTo>
                  <a:lnTo>
                    <a:pt x="401" y="400"/>
                  </a:lnTo>
                  <a:lnTo>
                    <a:pt x="399" y="401"/>
                  </a:lnTo>
                  <a:lnTo>
                    <a:pt x="399" y="403"/>
                  </a:lnTo>
                  <a:lnTo>
                    <a:pt x="401" y="406"/>
                  </a:lnTo>
                  <a:lnTo>
                    <a:pt x="401" y="409"/>
                  </a:lnTo>
                  <a:lnTo>
                    <a:pt x="399" y="411"/>
                  </a:lnTo>
                  <a:lnTo>
                    <a:pt x="396" y="414"/>
                  </a:lnTo>
                  <a:lnTo>
                    <a:pt x="394" y="420"/>
                  </a:lnTo>
                  <a:lnTo>
                    <a:pt x="394" y="421"/>
                  </a:lnTo>
                  <a:lnTo>
                    <a:pt x="394" y="424"/>
                  </a:lnTo>
                  <a:lnTo>
                    <a:pt x="394" y="426"/>
                  </a:lnTo>
                  <a:lnTo>
                    <a:pt x="394" y="429"/>
                  </a:lnTo>
                  <a:lnTo>
                    <a:pt x="394" y="431"/>
                  </a:lnTo>
                  <a:lnTo>
                    <a:pt x="392" y="434"/>
                  </a:lnTo>
                  <a:lnTo>
                    <a:pt x="391" y="434"/>
                  </a:lnTo>
                  <a:lnTo>
                    <a:pt x="391" y="434"/>
                  </a:lnTo>
                  <a:lnTo>
                    <a:pt x="388" y="434"/>
                  </a:lnTo>
                  <a:lnTo>
                    <a:pt x="386" y="434"/>
                  </a:lnTo>
                  <a:lnTo>
                    <a:pt x="384" y="440"/>
                  </a:lnTo>
                  <a:lnTo>
                    <a:pt x="385" y="441"/>
                  </a:lnTo>
                  <a:lnTo>
                    <a:pt x="386" y="440"/>
                  </a:lnTo>
                  <a:lnTo>
                    <a:pt x="388" y="440"/>
                  </a:lnTo>
                  <a:lnTo>
                    <a:pt x="391" y="440"/>
                  </a:lnTo>
                  <a:lnTo>
                    <a:pt x="394" y="439"/>
                  </a:lnTo>
                  <a:lnTo>
                    <a:pt x="395" y="439"/>
                  </a:lnTo>
                  <a:lnTo>
                    <a:pt x="398" y="439"/>
                  </a:lnTo>
                  <a:lnTo>
                    <a:pt x="401" y="430"/>
                  </a:lnTo>
                  <a:lnTo>
                    <a:pt x="401" y="426"/>
                  </a:lnTo>
                  <a:lnTo>
                    <a:pt x="402" y="423"/>
                  </a:lnTo>
                  <a:lnTo>
                    <a:pt x="402" y="421"/>
                  </a:lnTo>
                  <a:lnTo>
                    <a:pt x="404" y="420"/>
                  </a:lnTo>
                  <a:lnTo>
                    <a:pt x="405" y="423"/>
                  </a:lnTo>
                  <a:lnTo>
                    <a:pt x="406" y="426"/>
                  </a:lnTo>
                  <a:lnTo>
                    <a:pt x="409" y="429"/>
                  </a:lnTo>
                  <a:lnTo>
                    <a:pt x="411" y="431"/>
                  </a:lnTo>
                  <a:lnTo>
                    <a:pt x="411" y="436"/>
                  </a:lnTo>
                  <a:lnTo>
                    <a:pt x="409" y="443"/>
                  </a:lnTo>
                  <a:lnTo>
                    <a:pt x="408" y="444"/>
                  </a:lnTo>
                  <a:lnTo>
                    <a:pt x="406" y="446"/>
                  </a:lnTo>
                  <a:lnTo>
                    <a:pt x="405" y="449"/>
                  </a:lnTo>
                  <a:lnTo>
                    <a:pt x="408" y="449"/>
                  </a:lnTo>
                  <a:lnTo>
                    <a:pt x="411" y="449"/>
                  </a:lnTo>
                  <a:lnTo>
                    <a:pt x="414" y="447"/>
                  </a:lnTo>
                  <a:lnTo>
                    <a:pt x="415" y="447"/>
                  </a:lnTo>
                  <a:lnTo>
                    <a:pt x="416" y="447"/>
                  </a:lnTo>
                  <a:lnTo>
                    <a:pt x="416" y="446"/>
                  </a:lnTo>
                  <a:lnTo>
                    <a:pt x="418" y="444"/>
                  </a:lnTo>
                  <a:lnTo>
                    <a:pt x="419" y="443"/>
                  </a:lnTo>
                  <a:lnTo>
                    <a:pt x="421" y="443"/>
                  </a:lnTo>
                  <a:lnTo>
                    <a:pt x="422" y="443"/>
                  </a:lnTo>
                  <a:lnTo>
                    <a:pt x="424" y="444"/>
                  </a:lnTo>
                  <a:lnTo>
                    <a:pt x="424" y="444"/>
                  </a:lnTo>
                  <a:lnTo>
                    <a:pt x="424" y="446"/>
                  </a:lnTo>
                  <a:lnTo>
                    <a:pt x="422" y="449"/>
                  </a:lnTo>
                  <a:lnTo>
                    <a:pt x="422" y="447"/>
                  </a:lnTo>
                  <a:lnTo>
                    <a:pt x="421" y="446"/>
                  </a:lnTo>
                  <a:lnTo>
                    <a:pt x="419" y="447"/>
                  </a:lnTo>
                  <a:lnTo>
                    <a:pt x="419" y="447"/>
                  </a:lnTo>
                  <a:lnTo>
                    <a:pt x="418" y="447"/>
                  </a:lnTo>
                  <a:lnTo>
                    <a:pt x="418" y="449"/>
                  </a:lnTo>
                  <a:lnTo>
                    <a:pt x="419" y="450"/>
                  </a:lnTo>
                  <a:lnTo>
                    <a:pt x="422" y="451"/>
                  </a:lnTo>
                  <a:lnTo>
                    <a:pt x="425" y="456"/>
                  </a:lnTo>
                  <a:lnTo>
                    <a:pt x="426" y="457"/>
                  </a:lnTo>
                  <a:lnTo>
                    <a:pt x="429" y="463"/>
                  </a:lnTo>
                  <a:lnTo>
                    <a:pt x="432" y="469"/>
                  </a:lnTo>
                  <a:lnTo>
                    <a:pt x="432" y="470"/>
                  </a:lnTo>
                  <a:lnTo>
                    <a:pt x="431" y="473"/>
                  </a:lnTo>
                  <a:lnTo>
                    <a:pt x="431" y="477"/>
                  </a:lnTo>
                  <a:lnTo>
                    <a:pt x="431" y="479"/>
                  </a:lnTo>
                  <a:lnTo>
                    <a:pt x="431" y="480"/>
                  </a:lnTo>
                  <a:lnTo>
                    <a:pt x="432" y="483"/>
                  </a:lnTo>
                  <a:lnTo>
                    <a:pt x="438" y="489"/>
                  </a:lnTo>
                  <a:lnTo>
                    <a:pt x="441" y="493"/>
                  </a:lnTo>
                  <a:lnTo>
                    <a:pt x="444" y="496"/>
                  </a:lnTo>
                  <a:lnTo>
                    <a:pt x="451" y="497"/>
                  </a:lnTo>
                  <a:lnTo>
                    <a:pt x="454" y="499"/>
                  </a:lnTo>
                  <a:lnTo>
                    <a:pt x="456" y="503"/>
                  </a:lnTo>
                  <a:lnTo>
                    <a:pt x="458" y="503"/>
                  </a:lnTo>
                  <a:lnTo>
                    <a:pt x="459" y="503"/>
                  </a:lnTo>
                  <a:lnTo>
                    <a:pt x="462" y="501"/>
                  </a:lnTo>
                  <a:lnTo>
                    <a:pt x="465" y="501"/>
                  </a:lnTo>
                  <a:lnTo>
                    <a:pt x="469" y="504"/>
                  </a:lnTo>
                  <a:lnTo>
                    <a:pt x="472" y="503"/>
                  </a:lnTo>
                  <a:lnTo>
                    <a:pt x="474" y="503"/>
                  </a:lnTo>
                  <a:lnTo>
                    <a:pt x="476" y="504"/>
                  </a:lnTo>
                  <a:lnTo>
                    <a:pt x="479" y="507"/>
                  </a:lnTo>
                  <a:lnTo>
                    <a:pt x="483" y="509"/>
                  </a:lnTo>
                  <a:lnTo>
                    <a:pt x="486" y="510"/>
                  </a:lnTo>
                  <a:lnTo>
                    <a:pt x="488" y="511"/>
                  </a:lnTo>
                  <a:lnTo>
                    <a:pt x="491" y="513"/>
                  </a:lnTo>
                  <a:lnTo>
                    <a:pt x="493" y="511"/>
                  </a:lnTo>
                  <a:lnTo>
                    <a:pt x="495" y="510"/>
                  </a:lnTo>
                  <a:lnTo>
                    <a:pt x="499" y="504"/>
                  </a:lnTo>
                  <a:lnTo>
                    <a:pt x="503" y="503"/>
                  </a:lnTo>
                  <a:lnTo>
                    <a:pt x="505" y="501"/>
                  </a:lnTo>
                  <a:lnTo>
                    <a:pt x="506" y="501"/>
                  </a:lnTo>
                  <a:lnTo>
                    <a:pt x="509" y="500"/>
                  </a:lnTo>
                  <a:lnTo>
                    <a:pt x="508" y="499"/>
                  </a:lnTo>
                  <a:lnTo>
                    <a:pt x="506" y="499"/>
                  </a:lnTo>
                  <a:lnTo>
                    <a:pt x="505" y="499"/>
                  </a:lnTo>
                  <a:lnTo>
                    <a:pt x="506" y="497"/>
                  </a:lnTo>
                  <a:lnTo>
                    <a:pt x="506" y="497"/>
                  </a:lnTo>
                  <a:lnTo>
                    <a:pt x="512" y="493"/>
                  </a:lnTo>
                  <a:lnTo>
                    <a:pt x="513" y="494"/>
                  </a:lnTo>
                  <a:lnTo>
                    <a:pt x="515" y="496"/>
                  </a:lnTo>
                  <a:lnTo>
                    <a:pt x="516" y="497"/>
                  </a:lnTo>
                  <a:lnTo>
                    <a:pt x="515" y="500"/>
                  </a:lnTo>
                  <a:lnTo>
                    <a:pt x="515" y="501"/>
                  </a:lnTo>
                  <a:lnTo>
                    <a:pt x="513" y="503"/>
                  </a:lnTo>
                  <a:lnTo>
                    <a:pt x="511" y="503"/>
                  </a:lnTo>
                  <a:lnTo>
                    <a:pt x="509" y="503"/>
                  </a:lnTo>
                  <a:lnTo>
                    <a:pt x="512" y="504"/>
                  </a:lnTo>
                  <a:lnTo>
                    <a:pt x="513" y="506"/>
                  </a:lnTo>
                  <a:lnTo>
                    <a:pt x="518" y="503"/>
                  </a:lnTo>
                  <a:lnTo>
                    <a:pt x="518" y="501"/>
                  </a:lnTo>
                  <a:lnTo>
                    <a:pt x="519" y="500"/>
                  </a:lnTo>
                  <a:lnTo>
                    <a:pt x="521" y="500"/>
                  </a:lnTo>
                  <a:lnTo>
                    <a:pt x="522" y="500"/>
                  </a:lnTo>
                  <a:lnTo>
                    <a:pt x="522" y="501"/>
                  </a:lnTo>
                  <a:lnTo>
                    <a:pt x="523" y="503"/>
                  </a:lnTo>
                  <a:lnTo>
                    <a:pt x="522" y="504"/>
                  </a:lnTo>
                  <a:lnTo>
                    <a:pt x="521" y="506"/>
                  </a:lnTo>
                  <a:lnTo>
                    <a:pt x="521" y="506"/>
                  </a:lnTo>
                  <a:lnTo>
                    <a:pt x="523" y="509"/>
                  </a:lnTo>
                  <a:lnTo>
                    <a:pt x="523" y="509"/>
                  </a:lnTo>
                  <a:lnTo>
                    <a:pt x="525" y="509"/>
                  </a:lnTo>
                  <a:lnTo>
                    <a:pt x="526" y="509"/>
                  </a:lnTo>
                  <a:lnTo>
                    <a:pt x="528" y="511"/>
                  </a:lnTo>
                  <a:lnTo>
                    <a:pt x="529" y="514"/>
                  </a:lnTo>
                  <a:lnTo>
                    <a:pt x="531" y="513"/>
                  </a:lnTo>
                  <a:lnTo>
                    <a:pt x="532" y="513"/>
                  </a:lnTo>
                  <a:lnTo>
                    <a:pt x="533" y="513"/>
                  </a:lnTo>
                  <a:lnTo>
                    <a:pt x="535" y="516"/>
                  </a:lnTo>
                  <a:lnTo>
                    <a:pt x="536" y="517"/>
                  </a:lnTo>
                  <a:lnTo>
                    <a:pt x="536" y="519"/>
                  </a:lnTo>
                  <a:lnTo>
                    <a:pt x="536" y="519"/>
                  </a:lnTo>
                  <a:lnTo>
                    <a:pt x="538" y="519"/>
                  </a:lnTo>
                  <a:lnTo>
                    <a:pt x="538" y="517"/>
                  </a:lnTo>
                  <a:lnTo>
                    <a:pt x="538" y="516"/>
                  </a:lnTo>
                  <a:lnTo>
                    <a:pt x="538" y="513"/>
                  </a:lnTo>
                  <a:lnTo>
                    <a:pt x="538" y="513"/>
                  </a:lnTo>
                  <a:lnTo>
                    <a:pt x="536" y="514"/>
                  </a:lnTo>
                  <a:lnTo>
                    <a:pt x="535" y="513"/>
                  </a:lnTo>
                  <a:lnTo>
                    <a:pt x="533" y="511"/>
                  </a:lnTo>
                  <a:lnTo>
                    <a:pt x="533" y="510"/>
                  </a:lnTo>
                  <a:lnTo>
                    <a:pt x="535" y="510"/>
                  </a:lnTo>
                  <a:lnTo>
                    <a:pt x="536" y="510"/>
                  </a:lnTo>
                  <a:lnTo>
                    <a:pt x="538" y="510"/>
                  </a:lnTo>
                  <a:lnTo>
                    <a:pt x="543" y="509"/>
                  </a:lnTo>
                  <a:lnTo>
                    <a:pt x="552" y="500"/>
                  </a:lnTo>
                  <a:lnTo>
                    <a:pt x="556" y="497"/>
                  </a:lnTo>
                  <a:lnTo>
                    <a:pt x="561" y="494"/>
                  </a:lnTo>
                  <a:lnTo>
                    <a:pt x="565" y="493"/>
                  </a:lnTo>
                  <a:lnTo>
                    <a:pt x="566" y="491"/>
                  </a:lnTo>
                  <a:lnTo>
                    <a:pt x="578" y="491"/>
                  </a:lnTo>
                  <a:lnTo>
                    <a:pt x="583" y="491"/>
                  </a:lnTo>
                  <a:lnTo>
                    <a:pt x="586" y="491"/>
                  </a:lnTo>
                  <a:lnTo>
                    <a:pt x="588" y="490"/>
                  </a:lnTo>
                  <a:lnTo>
                    <a:pt x="589" y="487"/>
                  </a:lnTo>
                  <a:lnTo>
                    <a:pt x="592" y="486"/>
                  </a:lnTo>
                  <a:lnTo>
                    <a:pt x="593" y="486"/>
                  </a:lnTo>
                  <a:lnTo>
                    <a:pt x="593" y="484"/>
                  </a:lnTo>
                  <a:lnTo>
                    <a:pt x="593" y="483"/>
                  </a:lnTo>
                  <a:lnTo>
                    <a:pt x="595" y="480"/>
                  </a:lnTo>
                  <a:lnTo>
                    <a:pt x="593" y="477"/>
                  </a:lnTo>
                  <a:lnTo>
                    <a:pt x="593" y="473"/>
                  </a:lnTo>
                  <a:lnTo>
                    <a:pt x="595" y="470"/>
                  </a:lnTo>
                  <a:lnTo>
                    <a:pt x="595" y="467"/>
                  </a:lnTo>
                  <a:lnTo>
                    <a:pt x="596" y="463"/>
                  </a:lnTo>
                  <a:lnTo>
                    <a:pt x="596" y="459"/>
                  </a:lnTo>
                  <a:lnTo>
                    <a:pt x="596" y="454"/>
                  </a:lnTo>
                  <a:lnTo>
                    <a:pt x="598" y="453"/>
                  </a:lnTo>
                  <a:lnTo>
                    <a:pt x="599" y="449"/>
                  </a:lnTo>
                  <a:lnTo>
                    <a:pt x="600" y="447"/>
                  </a:lnTo>
                  <a:lnTo>
                    <a:pt x="603" y="440"/>
                  </a:lnTo>
                  <a:lnTo>
                    <a:pt x="605" y="440"/>
                  </a:lnTo>
                  <a:lnTo>
                    <a:pt x="605" y="440"/>
                  </a:lnTo>
                  <a:lnTo>
                    <a:pt x="606" y="439"/>
                  </a:lnTo>
                  <a:lnTo>
                    <a:pt x="606" y="439"/>
                  </a:lnTo>
                  <a:lnTo>
                    <a:pt x="606" y="439"/>
                  </a:lnTo>
                  <a:lnTo>
                    <a:pt x="605" y="437"/>
                  </a:lnTo>
                  <a:lnTo>
                    <a:pt x="606" y="437"/>
                  </a:lnTo>
                  <a:lnTo>
                    <a:pt x="606" y="436"/>
                  </a:lnTo>
                  <a:lnTo>
                    <a:pt x="606" y="436"/>
                  </a:lnTo>
                  <a:lnTo>
                    <a:pt x="608" y="436"/>
                  </a:lnTo>
                  <a:lnTo>
                    <a:pt x="608" y="436"/>
                  </a:lnTo>
                  <a:lnTo>
                    <a:pt x="606" y="434"/>
                  </a:lnTo>
                  <a:lnTo>
                    <a:pt x="608" y="431"/>
                  </a:lnTo>
                  <a:lnTo>
                    <a:pt x="608" y="426"/>
                  </a:lnTo>
                  <a:lnTo>
                    <a:pt x="609" y="424"/>
                  </a:lnTo>
                  <a:lnTo>
                    <a:pt x="609" y="423"/>
                  </a:lnTo>
                  <a:lnTo>
                    <a:pt x="612" y="420"/>
                  </a:lnTo>
                  <a:lnTo>
                    <a:pt x="615" y="417"/>
                  </a:lnTo>
                  <a:lnTo>
                    <a:pt x="613" y="417"/>
                  </a:lnTo>
                  <a:lnTo>
                    <a:pt x="612" y="417"/>
                  </a:lnTo>
                  <a:lnTo>
                    <a:pt x="613" y="416"/>
                  </a:lnTo>
                  <a:lnTo>
                    <a:pt x="613" y="416"/>
                  </a:lnTo>
                  <a:lnTo>
                    <a:pt x="615" y="416"/>
                  </a:lnTo>
                  <a:lnTo>
                    <a:pt x="615" y="416"/>
                  </a:lnTo>
                  <a:lnTo>
                    <a:pt x="615" y="413"/>
                  </a:lnTo>
                  <a:lnTo>
                    <a:pt x="616" y="411"/>
                  </a:lnTo>
                  <a:lnTo>
                    <a:pt x="615" y="409"/>
                  </a:lnTo>
                  <a:lnTo>
                    <a:pt x="616" y="407"/>
                  </a:lnTo>
                  <a:lnTo>
                    <a:pt x="618" y="407"/>
                  </a:lnTo>
                  <a:lnTo>
                    <a:pt x="618" y="406"/>
                  </a:lnTo>
                  <a:lnTo>
                    <a:pt x="618" y="404"/>
                  </a:lnTo>
                  <a:lnTo>
                    <a:pt x="619" y="403"/>
                  </a:lnTo>
                  <a:lnTo>
                    <a:pt x="620" y="401"/>
                  </a:lnTo>
                  <a:lnTo>
                    <a:pt x="620" y="400"/>
                  </a:lnTo>
                  <a:lnTo>
                    <a:pt x="623" y="396"/>
                  </a:lnTo>
                  <a:lnTo>
                    <a:pt x="626" y="394"/>
                  </a:lnTo>
                  <a:lnTo>
                    <a:pt x="629" y="393"/>
                  </a:lnTo>
                  <a:lnTo>
                    <a:pt x="629" y="391"/>
                  </a:lnTo>
                  <a:lnTo>
                    <a:pt x="629" y="391"/>
                  </a:lnTo>
                  <a:lnTo>
                    <a:pt x="629" y="391"/>
                  </a:lnTo>
                  <a:lnTo>
                    <a:pt x="630" y="391"/>
                  </a:lnTo>
                  <a:lnTo>
                    <a:pt x="630" y="390"/>
                  </a:lnTo>
                  <a:lnTo>
                    <a:pt x="632" y="389"/>
                  </a:lnTo>
                  <a:lnTo>
                    <a:pt x="633" y="387"/>
                  </a:lnTo>
                  <a:lnTo>
                    <a:pt x="635" y="384"/>
                  </a:lnTo>
                  <a:lnTo>
                    <a:pt x="635" y="383"/>
                  </a:lnTo>
                  <a:lnTo>
                    <a:pt x="635" y="380"/>
                  </a:lnTo>
                  <a:lnTo>
                    <a:pt x="639" y="374"/>
                  </a:lnTo>
                  <a:lnTo>
                    <a:pt x="642" y="369"/>
                  </a:lnTo>
                  <a:lnTo>
                    <a:pt x="642" y="364"/>
                  </a:lnTo>
                  <a:lnTo>
                    <a:pt x="643" y="361"/>
                  </a:lnTo>
                  <a:lnTo>
                    <a:pt x="643" y="359"/>
                  </a:lnTo>
                  <a:lnTo>
                    <a:pt x="643" y="354"/>
                  </a:lnTo>
                  <a:lnTo>
                    <a:pt x="643" y="352"/>
                  </a:lnTo>
                  <a:lnTo>
                    <a:pt x="645" y="344"/>
                  </a:lnTo>
                  <a:lnTo>
                    <a:pt x="646" y="342"/>
                  </a:lnTo>
                  <a:lnTo>
                    <a:pt x="646" y="340"/>
                  </a:lnTo>
                  <a:lnTo>
                    <a:pt x="648" y="332"/>
                  </a:lnTo>
                  <a:lnTo>
                    <a:pt x="648" y="329"/>
                  </a:lnTo>
                  <a:lnTo>
                    <a:pt x="650" y="324"/>
                  </a:lnTo>
                  <a:lnTo>
                    <a:pt x="652" y="320"/>
                  </a:lnTo>
                  <a:lnTo>
                    <a:pt x="652" y="317"/>
                  </a:lnTo>
                  <a:lnTo>
                    <a:pt x="652" y="314"/>
                  </a:lnTo>
                  <a:lnTo>
                    <a:pt x="652" y="309"/>
                  </a:lnTo>
                  <a:close/>
                  <a:moveTo>
                    <a:pt x="277" y="29"/>
                  </a:moveTo>
                  <a:lnTo>
                    <a:pt x="280" y="29"/>
                  </a:lnTo>
                  <a:lnTo>
                    <a:pt x="282" y="30"/>
                  </a:lnTo>
                  <a:lnTo>
                    <a:pt x="284" y="29"/>
                  </a:lnTo>
                  <a:lnTo>
                    <a:pt x="284" y="29"/>
                  </a:lnTo>
                  <a:lnTo>
                    <a:pt x="284" y="27"/>
                  </a:lnTo>
                  <a:lnTo>
                    <a:pt x="282" y="27"/>
                  </a:lnTo>
                  <a:lnTo>
                    <a:pt x="281" y="27"/>
                  </a:lnTo>
                  <a:lnTo>
                    <a:pt x="281" y="26"/>
                  </a:lnTo>
                  <a:lnTo>
                    <a:pt x="281" y="25"/>
                  </a:lnTo>
                  <a:lnTo>
                    <a:pt x="280" y="23"/>
                  </a:lnTo>
                  <a:lnTo>
                    <a:pt x="280" y="22"/>
                  </a:lnTo>
                  <a:lnTo>
                    <a:pt x="280" y="22"/>
                  </a:lnTo>
                  <a:lnTo>
                    <a:pt x="278" y="22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7" y="27"/>
                  </a:lnTo>
                  <a:lnTo>
                    <a:pt x="277" y="27"/>
                  </a:lnTo>
                  <a:lnTo>
                    <a:pt x="275" y="27"/>
                  </a:lnTo>
                  <a:lnTo>
                    <a:pt x="275" y="29"/>
                  </a:lnTo>
                  <a:lnTo>
                    <a:pt x="275" y="30"/>
                  </a:lnTo>
                  <a:lnTo>
                    <a:pt x="277" y="29"/>
                  </a:lnTo>
                  <a:close/>
                  <a:moveTo>
                    <a:pt x="4" y="269"/>
                  </a:moveTo>
                  <a:lnTo>
                    <a:pt x="4" y="267"/>
                  </a:lnTo>
                  <a:lnTo>
                    <a:pt x="3" y="266"/>
                  </a:lnTo>
                  <a:lnTo>
                    <a:pt x="1" y="260"/>
                  </a:lnTo>
                  <a:lnTo>
                    <a:pt x="1" y="260"/>
                  </a:lnTo>
                  <a:lnTo>
                    <a:pt x="0" y="262"/>
                  </a:lnTo>
                  <a:lnTo>
                    <a:pt x="1" y="266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69"/>
                  </a:lnTo>
                  <a:lnTo>
                    <a:pt x="4" y="269"/>
                  </a:lnTo>
                  <a:close/>
                  <a:moveTo>
                    <a:pt x="40" y="180"/>
                  </a:moveTo>
                  <a:lnTo>
                    <a:pt x="41" y="179"/>
                  </a:lnTo>
                  <a:lnTo>
                    <a:pt x="41" y="177"/>
                  </a:lnTo>
                  <a:lnTo>
                    <a:pt x="41" y="176"/>
                  </a:lnTo>
                  <a:lnTo>
                    <a:pt x="40" y="177"/>
                  </a:lnTo>
                  <a:lnTo>
                    <a:pt x="38" y="179"/>
                  </a:lnTo>
                  <a:lnTo>
                    <a:pt x="38" y="180"/>
                  </a:lnTo>
                  <a:lnTo>
                    <a:pt x="40" y="180"/>
                  </a:lnTo>
                  <a:close/>
                  <a:moveTo>
                    <a:pt x="187" y="89"/>
                  </a:moveTo>
                  <a:lnTo>
                    <a:pt x="187" y="89"/>
                  </a:lnTo>
                  <a:lnTo>
                    <a:pt x="188" y="89"/>
                  </a:lnTo>
                  <a:lnTo>
                    <a:pt x="188" y="87"/>
                  </a:lnTo>
                  <a:lnTo>
                    <a:pt x="187" y="87"/>
                  </a:lnTo>
                  <a:lnTo>
                    <a:pt x="187" y="86"/>
                  </a:lnTo>
                  <a:lnTo>
                    <a:pt x="187" y="86"/>
                  </a:lnTo>
                  <a:lnTo>
                    <a:pt x="185" y="86"/>
                  </a:lnTo>
                  <a:lnTo>
                    <a:pt x="185" y="87"/>
                  </a:lnTo>
                  <a:lnTo>
                    <a:pt x="187" y="87"/>
                  </a:lnTo>
                  <a:lnTo>
                    <a:pt x="187" y="89"/>
                  </a:lnTo>
                  <a:close/>
                  <a:moveTo>
                    <a:pt x="197" y="75"/>
                  </a:moveTo>
                  <a:lnTo>
                    <a:pt x="197" y="75"/>
                  </a:lnTo>
                  <a:lnTo>
                    <a:pt x="197" y="73"/>
                  </a:lnTo>
                  <a:lnTo>
                    <a:pt x="197" y="73"/>
                  </a:lnTo>
                  <a:lnTo>
                    <a:pt x="195" y="73"/>
                  </a:lnTo>
                  <a:lnTo>
                    <a:pt x="195" y="75"/>
                  </a:lnTo>
                  <a:lnTo>
                    <a:pt x="197" y="76"/>
                  </a:lnTo>
                  <a:lnTo>
                    <a:pt x="197" y="75"/>
                  </a:lnTo>
                  <a:close/>
                  <a:moveTo>
                    <a:pt x="552" y="603"/>
                  </a:moveTo>
                  <a:lnTo>
                    <a:pt x="552" y="603"/>
                  </a:lnTo>
                  <a:lnTo>
                    <a:pt x="552" y="604"/>
                  </a:lnTo>
                  <a:lnTo>
                    <a:pt x="551" y="604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2" y="606"/>
                  </a:lnTo>
                  <a:lnTo>
                    <a:pt x="553" y="606"/>
                  </a:lnTo>
                  <a:lnTo>
                    <a:pt x="552" y="603"/>
                  </a:lnTo>
                  <a:lnTo>
                    <a:pt x="552" y="603"/>
                  </a:lnTo>
                  <a:close/>
                  <a:moveTo>
                    <a:pt x="552" y="607"/>
                  </a:moveTo>
                  <a:lnTo>
                    <a:pt x="551" y="607"/>
                  </a:lnTo>
                  <a:lnTo>
                    <a:pt x="551" y="607"/>
                  </a:lnTo>
                  <a:lnTo>
                    <a:pt x="549" y="608"/>
                  </a:lnTo>
                  <a:lnTo>
                    <a:pt x="549" y="608"/>
                  </a:lnTo>
                  <a:lnTo>
                    <a:pt x="549" y="610"/>
                  </a:lnTo>
                  <a:lnTo>
                    <a:pt x="549" y="610"/>
                  </a:lnTo>
                  <a:lnTo>
                    <a:pt x="548" y="610"/>
                  </a:lnTo>
                  <a:lnTo>
                    <a:pt x="548" y="610"/>
                  </a:lnTo>
                  <a:lnTo>
                    <a:pt x="549" y="611"/>
                  </a:lnTo>
                  <a:lnTo>
                    <a:pt x="551" y="611"/>
                  </a:lnTo>
                  <a:lnTo>
                    <a:pt x="551" y="611"/>
                  </a:lnTo>
                  <a:lnTo>
                    <a:pt x="552" y="610"/>
                  </a:lnTo>
                  <a:lnTo>
                    <a:pt x="552" y="608"/>
                  </a:lnTo>
                  <a:lnTo>
                    <a:pt x="552" y="607"/>
                  </a:lnTo>
                  <a:close/>
                  <a:moveTo>
                    <a:pt x="565" y="593"/>
                  </a:moveTo>
                  <a:lnTo>
                    <a:pt x="563" y="591"/>
                  </a:lnTo>
                  <a:lnTo>
                    <a:pt x="562" y="593"/>
                  </a:lnTo>
                  <a:lnTo>
                    <a:pt x="563" y="593"/>
                  </a:lnTo>
                  <a:lnTo>
                    <a:pt x="563" y="594"/>
                  </a:lnTo>
                  <a:lnTo>
                    <a:pt x="563" y="594"/>
                  </a:lnTo>
                  <a:lnTo>
                    <a:pt x="563" y="594"/>
                  </a:lnTo>
                  <a:lnTo>
                    <a:pt x="563" y="594"/>
                  </a:lnTo>
                  <a:lnTo>
                    <a:pt x="565" y="593"/>
                  </a:lnTo>
                  <a:lnTo>
                    <a:pt x="565" y="593"/>
                  </a:lnTo>
                  <a:close/>
                  <a:moveTo>
                    <a:pt x="401" y="450"/>
                  </a:moveTo>
                  <a:lnTo>
                    <a:pt x="399" y="451"/>
                  </a:lnTo>
                  <a:lnTo>
                    <a:pt x="395" y="450"/>
                  </a:lnTo>
                  <a:lnTo>
                    <a:pt x="395" y="450"/>
                  </a:lnTo>
                  <a:lnTo>
                    <a:pt x="396" y="449"/>
                  </a:lnTo>
                  <a:lnTo>
                    <a:pt x="395" y="449"/>
                  </a:lnTo>
                  <a:lnTo>
                    <a:pt x="395" y="447"/>
                  </a:lnTo>
                  <a:lnTo>
                    <a:pt x="392" y="447"/>
                  </a:lnTo>
                  <a:lnTo>
                    <a:pt x="388" y="449"/>
                  </a:lnTo>
                  <a:lnTo>
                    <a:pt x="381" y="450"/>
                  </a:lnTo>
                  <a:lnTo>
                    <a:pt x="379" y="451"/>
                  </a:lnTo>
                  <a:lnTo>
                    <a:pt x="379" y="453"/>
                  </a:lnTo>
                  <a:lnTo>
                    <a:pt x="379" y="454"/>
                  </a:lnTo>
                  <a:lnTo>
                    <a:pt x="382" y="456"/>
                  </a:lnTo>
                  <a:lnTo>
                    <a:pt x="385" y="456"/>
                  </a:lnTo>
                  <a:lnTo>
                    <a:pt x="386" y="456"/>
                  </a:lnTo>
                  <a:lnTo>
                    <a:pt x="388" y="456"/>
                  </a:lnTo>
                  <a:lnTo>
                    <a:pt x="389" y="456"/>
                  </a:lnTo>
                  <a:lnTo>
                    <a:pt x="392" y="456"/>
                  </a:lnTo>
                  <a:lnTo>
                    <a:pt x="394" y="457"/>
                  </a:lnTo>
                  <a:lnTo>
                    <a:pt x="395" y="456"/>
                  </a:lnTo>
                  <a:lnTo>
                    <a:pt x="396" y="454"/>
                  </a:lnTo>
                  <a:lnTo>
                    <a:pt x="396" y="453"/>
                  </a:lnTo>
                  <a:lnTo>
                    <a:pt x="399" y="453"/>
                  </a:lnTo>
                  <a:lnTo>
                    <a:pt x="402" y="454"/>
                  </a:lnTo>
                  <a:lnTo>
                    <a:pt x="404" y="453"/>
                  </a:lnTo>
                  <a:lnTo>
                    <a:pt x="404" y="453"/>
                  </a:lnTo>
                  <a:lnTo>
                    <a:pt x="404" y="450"/>
                  </a:lnTo>
                  <a:lnTo>
                    <a:pt x="401" y="450"/>
                  </a:lnTo>
                  <a:close/>
                  <a:moveTo>
                    <a:pt x="501" y="531"/>
                  </a:moveTo>
                  <a:lnTo>
                    <a:pt x="499" y="529"/>
                  </a:lnTo>
                  <a:lnTo>
                    <a:pt x="498" y="529"/>
                  </a:lnTo>
                  <a:lnTo>
                    <a:pt x="498" y="529"/>
                  </a:lnTo>
                  <a:lnTo>
                    <a:pt x="498" y="530"/>
                  </a:lnTo>
                  <a:lnTo>
                    <a:pt x="496" y="530"/>
                  </a:lnTo>
                  <a:lnTo>
                    <a:pt x="496" y="531"/>
                  </a:lnTo>
                  <a:lnTo>
                    <a:pt x="496" y="533"/>
                  </a:lnTo>
                  <a:lnTo>
                    <a:pt x="496" y="534"/>
                  </a:lnTo>
                  <a:lnTo>
                    <a:pt x="496" y="536"/>
                  </a:lnTo>
                  <a:lnTo>
                    <a:pt x="496" y="539"/>
                  </a:lnTo>
                  <a:lnTo>
                    <a:pt x="496" y="539"/>
                  </a:lnTo>
                  <a:lnTo>
                    <a:pt x="498" y="539"/>
                  </a:lnTo>
                  <a:lnTo>
                    <a:pt x="499" y="539"/>
                  </a:lnTo>
                  <a:lnTo>
                    <a:pt x="501" y="537"/>
                  </a:lnTo>
                  <a:lnTo>
                    <a:pt x="501" y="536"/>
                  </a:lnTo>
                  <a:lnTo>
                    <a:pt x="501" y="534"/>
                  </a:lnTo>
                  <a:lnTo>
                    <a:pt x="501" y="531"/>
                  </a:lnTo>
                  <a:close/>
                  <a:moveTo>
                    <a:pt x="171" y="39"/>
                  </a:moveTo>
                  <a:lnTo>
                    <a:pt x="171" y="39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3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3"/>
            <p:cNvSpPr/>
            <p:nvPr/>
          </p:nvSpPr>
          <p:spPr>
            <a:xfrm>
              <a:off x="3164574" y="4246122"/>
              <a:ext cx="2104" cy="1884"/>
            </a:xfrm>
            <a:custGeom>
              <a:rect b="b" l="l" r="r" t="t"/>
              <a:pathLst>
                <a:path extrusionOk="0" h="3" w="3"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59;p3"/>
            <p:cNvSpPr/>
            <p:nvPr/>
          </p:nvSpPr>
          <p:spPr>
            <a:xfrm>
              <a:off x="4170937" y="3608921"/>
              <a:ext cx="11922" cy="8161"/>
            </a:xfrm>
            <a:custGeom>
              <a:rect b="b" l="l" r="r" t="t"/>
              <a:pathLst>
                <a:path extrusionOk="0" h="13" w="17">
                  <a:moveTo>
                    <a:pt x="7" y="1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10"/>
                  </a:lnTo>
                  <a:lnTo>
                    <a:pt x="4" y="11"/>
                  </a:lnTo>
                  <a:lnTo>
                    <a:pt x="3" y="10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7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1"/>
                  </a:lnTo>
                  <a:close/>
                  <a:moveTo>
                    <a:pt x="3" y="7"/>
                  </a:moveTo>
                  <a:lnTo>
                    <a:pt x="3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5"/>
                  </a:lnTo>
                  <a:lnTo>
                    <a:pt x="3" y="7"/>
                  </a:lnTo>
                  <a:close/>
                  <a:moveTo>
                    <a:pt x="17" y="11"/>
                  </a:moveTo>
                  <a:lnTo>
                    <a:pt x="17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60;p3"/>
            <p:cNvSpPr/>
            <p:nvPr/>
          </p:nvSpPr>
          <p:spPr>
            <a:xfrm>
              <a:off x="4454261" y="3910885"/>
              <a:ext cx="63117" cy="45828"/>
            </a:xfrm>
            <a:custGeom>
              <a:rect b="b" l="l" r="r" t="t"/>
              <a:pathLst>
                <a:path extrusionOk="0" h="73" w="90">
                  <a:moveTo>
                    <a:pt x="61" y="0"/>
                  </a:moveTo>
                  <a:lnTo>
                    <a:pt x="62" y="1"/>
                  </a:lnTo>
                  <a:lnTo>
                    <a:pt x="65" y="5"/>
                  </a:lnTo>
                  <a:lnTo>
                    <a:pt x="68" y="10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71" y="15"/>
                  </a:lnTo>
                  <a:lnTo>
                    <a:pt x="71" y="18"/>
                  </a:lnTo>
                  <a:lnTo>
                    <a:pt x="75" y="23"/>
                  </a:lnTo>
                  <a:lnTo>
                    <a:pt x="77" y="24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4" y="27"/>
                  </a:lnTo>
                  <a:lnTo>
                    <a:pt x="85" y="28"/>
                  </a:lnTo>
                  <a:lnTo>
                    <a:pt x="87" y="28"/>
                  </a:lnTo>
                  <a:lnTo>
                    <a:pt x="88" y="30"/>
                  </a:lnTo>
                  <a:lnTo>
                    <a:pt x="90" y="31"/>
                  </a:lnTo>
                  <a:lnTo>
                    <a:pt x="90" y="34"/>
                  </a:lnTo>
                  <a:lnTo>
                    <a:pt x="87" y="33"/>
                  </a:lnTo>
                  <a:lnTo>
                    <a:pt x="82" y="33"/>
                  </a:lnTo>
                  <a:lnTo>
                    <a:pt x="81" y="34"/>
                  </a:lnTo>
                  <a:lnTo>
                    <a:pt x="78" y="34"/>
                  </a:lnTo>
                  <a:lnTo>
                    <a:pt x="77" y="35"/>
                  </a:lnTo>
                  <a:lnTo>
                    <a:pt x="75" y="37"/>
                  </a:lnTo>
                  <a:lnTo>
                    <a:pt x="75" y="43"/>
                  </a:lnTo>
                  <a:lnTo>
                    <a:pt x="74" y="47"/>
                  </a:lnTo>
                  <a:lnTo>
                    <a:pt x="74" y="50"/>
                  </a:lnTo>
                  <a:lnTo>
                    <a:pt x="74" y="51"/>
                  </a:lnTo>
                  <a:lnTo>
                    <a:pt x="74" y="53"/>
                  </a:lnTo>
                  <a:lnTo>
                    <a:pt x="72" y="53"/>
                  </a:lnTo>
                  <a:lnTo>
                    <a:pt x="72" y="54"/>
                  </a:lnTo>
                  <a:lnTo>
                    <a:pt x="71" y="58"/>
                  </a:lnTo>
                  <a:lnTo>
                    <a:pt x="71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58"/>
                  </a:lnTo>
                  <a:lnTo>
                    <a:pt x="68" y="57"/>
                  </a:lnTo>
                  <a:lnTo>
                    <a:pt x="67" y="58"/>
                  </a:lnTo>
                  <a:lnTo>
                    <a:pt x="67" y="61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2" y="73"/>
                  </a:lnTo>
                  <a:lnTo>
                    <a:pt x="61" y="73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7" y="68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5" y="61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4" y="57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7" y="53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4" y="48"/>
                  </a:lnTo>
                  <a:lnTo>
                    <a:pt x="52" y="45"/>
                  </a:lnTo>
                  <a:lnTo>
                    <a:pt x="50" y="45"/>
                  </a:lnTo>
                  <a:lnTo>
                    <a:pt x="48" y="47"/>
                  </a:lnTo>
                  <a:lnTo>
                    <a:pt x="45" y="48"/>
                  </a:lnTo>
                  <a:lnTo>
                    <a:pt x="44" y="50"/>
                  </a:lnTo>
                  <a:lnTo>
                    <a:pt x="41" y="51"/>
                  </a:lnTo>
                  <a:lnTo>
                    <a:pt x="40" y="53"/>
                  </a:lnTo>
                  <a:lnTo>
                    <a:pt x="37" y="55"/>
                  </a:lnTo>
                  <a:lnTo>
                    <a:pt x="35" y="57"/>
                  </a:lnTo>
                  <a:lnTo>
                    <a:pt x="34" y="57"/>
                  </a:lnTo>
                  <a:lnTo>
                    <a:pt x="33" y="58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0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30" y="55"/>
                  </a:lnTo>
                  <a:lnTo>
                    <a:pt x="28" y="54"/>
                  </a:lnTo>
                  <a:lnTo>
                    <a:pt x="27" y="53"/>
                  </a:lnTo>
                  <a:lnTo>
                    <a:pt x="25" y="53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8"/>
                  </a:lnTo>
                  <a:lnTo>
                    <a:pt x="25" y="47"/>
                  </a:lnTo>
                  <a:lnTo>
                    <a:pt x="23" y="48"/>
                  </a:lnTo>
                  <a:lnTo>
                    <a:pt x="21" y="47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18" y="44"/>
                  </a:lnTo>
                  <a:lnTo>
                    <a:pt x="17" y="41"/>
                  </a:lnTo>
                  <a:lnTo>
                    <a:pt x="14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7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15" y="33"/>
                  </a:lnTo>
                  <a:lnTo>
                    <a:pt x="13" y="31"/>
                  </a:lnTo>
                  <a:lnTo>
                    <a:pt x="11" y="28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5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7" y="10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4" y="15"/>
                  </a:lnTo>
                  <a:lnTo>
                    <a:pt x="25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30" y="15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1"/>
                  </a:lnTo>
                  <a:lnTo>
                    <a:pt x="28" y="10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3" y="1"/>
                  </a:lnTo>
                  <a:lnTo>
                    <a:pt x="33" y="3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40" y="8"/>
                  </a:lnTo>
                  <a:lnTo>
                    <a:pt x="40" y="11"/>
                  </a:lnTo>
                  <a:lnTo>
                    <a:pt x="41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1" y="11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7" y="7"/>
                  </a:lnTo>
                  <a:lnTo>
                    <a:pt x="58" y="5"/>
                  </a:lnTo>
                  <a:lnTo>
                    <a:pt x="58" y="4"/>
                  </a:lnTo>
                  <a:lnTo>
                    <a:pt x="60" y="1"/>
                  </a:lnTo>
                  <a:lnTo>
                    <a:pt x="61" y="0"/>
                  </a:lnTo>
                  <a:close/>
                  <a:moveTo>
                    <a:pt x="13" y="27"/>
                  </a:move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close/>
                  <a:moveTo>
                    <a:pt x="21" y="63"/>
                  </a:moveTo>
                  <a:lnTo>
                    <a:pt x="18" y="63"/>
                  </a:lnTo>
                  <a:lnTo>
                    <a:pt x="13" y="61"/>
                  </a:lnTo>
                  <a:lnTo>
                    <a:pt x="11" y="60"/>
                  </a:lnTo>
                  <a:lnTo>
                    <a:pt x="10" y="58"/>
                  </a:lnTo>
                  <a:lnTo>
                    <a:pt x="10" y="57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5" y="54"/>
                  </a:lnTo>
                  <a:lnTo>
                    <a:pt x="5" y="53"/>
                  </a:lnTo>
                  <a:lnTo>
                    <a:pt x="4" y="51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1" y="50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4"/>
                  </a:lnTo>
                  <a:lnTo>
                    <a:pt x="20" y="55"/>
                  </a:lnTo>
                  <a:lnTo>
                    <a:pt x="20" y="57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3"/>
            <p:cNvSpPr/>
            <p:nvPr/>
          </p:nvSpPr>
          <p:spPr>
            <a:xfrm>
              <a:off x="4128158" y="3863174"/>
              <a:ext cx="43480" cy="38295"/>
            </a:xfrm>
            <a:custGeom>
              <a:rect b="b" l="l" r="r" t="t"/>
              <a:pathLst>
                <a:path extrusionOk="0" h="61" w="62">
                  <a:moveTo>
                    <a:pt x="20" y="0"/>
                  </a:moveTo>
                  <a:lnTo>
                    <a:pt x="23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5" y="9"/>
                  </a:lnTo>
                  <a:lnTo>
                    <a:pt x="57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57" y="14"/>
                  </a:lnTo>
                  <a:lnTo>
                    <a:pt x="57" y="16"/>
                  </a:lnTo>
                  <a:lnTo>
                    <a:pt x="55" y="17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4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8" y="24"/>
                  </a:lnTo>
                  <a:lnTo>
                    <a:pt x="60" y="26"/>
                  </a:lnTo>
                  <a:lnTo>
                    <a:pt x="61" y="27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1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8" y="33"/>
                  </a:lnTo>
                  <a:lnTo>
                    <a:pt x="61" y="36"/>
                  </a:lnTo>
                  <a:lnTo>
                    <a:pt x="61" y="37"/>
                  </a:lnTo>
                  <a:lnTo>
                    <a:pt x="61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7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1" y="40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52" y="44"/>
                  </a:lnTo>
                  <a:lnTo>
                    <a:pt x="52" y="46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7" y="47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7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6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60"/>
                  </a:lnTo>
                  <a:lnTo>
                    <a:pt x="44" y="60"/>
                  </a:lnTo>
                  <a:lnTo>
                    <a:pt x="44" y="61"/>
                  </a:lnTo>
                  <a:lnTo>
                    <a:pt x="44" y="61"/>
                  </a:lnTo>
                  <a:lnTo>
                    <a:pt x="42" y="60"/>
                  </a:lnTo>
                  <a:lnTo>
                    <a:pt x="41" y="60"/>
                  </a:lnTo>
                  <a:lnTo>
                    <a:pt x="38" y="59"/>
                  </a:lnTo>
                  <a:lnTo>
                    <a:pt x="37" y="57"/>
                  </a:lnTo>
                  <a:lnTo>
                    <a:pt x="35" y="56"/>
                  </a:lnTo>
                  <a:lnTo>
                    <a:pt x="34" y="54"/>
                  </a:lnTo>
                  <a:lnTo>
                    <a:pt x="34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0" y="53"/>
                  </a:lnTo>
                  <a:lnTo>
                    <a:pt x="31" y="53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27" y="47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3" y="40"/>
                  </a:lnTo>
                  <a:lnTo>
                    <a:pt x="20" y="37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4" y="32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0" y="27"/>
                  </a:lnTo>
                  <a:lnTo>
                    <a:pt x="8" y="24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0" y="12"/>
                  </a:lnTo>
                  <a:lnTo>
                    <a:pt x="1" y="10"/>
                  </a:lnTo>
                  <a:lnTo>
                    <a:pt x="1" y="7"/>
                  </a:lnTo>
                  <a:lnTo>
                    <a:pt x="1" y="3"/>
                  </a:lnTo>
                  <a:lnTo>
                    <a:pt x="1" y="3"/>
                  </a:lnTo>
                  <a:lnTo>
                    <a:pt x="3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7" y="6"/>
                  </a:lnTo>
                  <a:lnTo>
                    <a:pt x="8" y="6"/>
                  </a:lnTo>
                  <a:lnTo>
                    <a:pt x="10" y="7"/>
                  </a:lnTo>
                  <a:lnTo>
                    <a:pt x="11" y="6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7" y="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162;p3"/>
            <p:cNvSpPr/>
            <p:nvPr/>
          </p:nvSpPr>
          <p:spPr>
            <a:xfrm>
              <a:off x="4940261" y="4097337"/>
              <a:ext cx="51896" cy="63406"/>
            </a:xfrm>
            <a:custGeom>
              <a:rect b="b" l="l" r="r" t="t"/>
              <a:pathLst>
                <a:path extrusionOk="0" h="101" w="74">
                  <a:moveTo>
                    <a:pt x="73" y="80"/>
                  </a:moveTo>
                  <a:lnTo>
                    <a:pt x="73" y="81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3" y="93"/>
                  </a:lnTo>
                  <a:lnTo>
                    <a:pt x="73" y="93"/>
                  </a:lnTo>
                  <a:lnTo>
                    <a:pt x="73" y="91"/>
                  </a:lnTo>
                  <a:lnTo>
                    <a:pt x="71" y="91"/>
                  </a:lnTo>
                  <a:lnTo>
                    <a:pt x="70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7" y="91"/>
                  </a:lnTo>
                  <a:lnTo>
                    <a:pt x="67" y="93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8" y="95"/>
                  </a:lnTo>
                  <a:lnTo>
                    <a:pt x="68" y="97"/>
                  </a:lnTo>
                  <a:lnTo>
                    <a:pt x="68" y="98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7" y="98"/>
                  </a:lnTo>
                  <a:lnTo>
                    <a:pt x="67" y="97"/>
                  </a:lnTo>
                  <a:lnTo>
                    <a:pt x="64" y="94"/>
                  </a:lnTo>
                  <a:lnTo>
                    <a:pt x="64" y="88"/>
                  </a:lnTo>
                  <a:lnTo>
                    <a:pt x="64" y="85"/>
                  </a:lnTo>
                  <a:lnTo>
                    <a:pt x="63" y="81"/>
                  </a:lnTo>
                  <a:lnTo>
                    <a:pt x="61" y="77"/>
                  </a:lnTo>
                  <a:lnTo>
                    <a:pt x="61" y="75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0" y="73"/>
                  </a:lnTo>
                  <a:lnTo>
                    <a:pt x="58" y="71"/>
                  </a:lnTo>
                  <a:lnTo>
                    <a:pt x="56" y="67"/>
                  </a:lnTo>
                  <a:lnTo>
                    <a:pt x="56" y="65"/>
                  </a:lnTo>
                  <a:lnTo>
                    <a:pt x="56" y="64"/>
                  </a:lnTo>
                  <a:lnTo>
                    <a:pt x="54" y="65"/>
                  </a:lnTo>
                  <a:lnTo>
                    <a:pt x="53" y="67"/>
                  </a:lnTo>
                  <a:lnTo>
                    <a:pt x="51" y="68"/>
                  </a:lnTo>
                  <a:lnTo>
                    <a:pt x="50" y="70"/>
                  </a:lnTo>
                  <a:lnTo>
                    <a:pt x="47" y="70"/>
                  </a:lnTo>
                  <a:lnTo>
                    <a:pt x="44" y="67"/>
                  </a:lnTo>
                  <a:lnTo>
                    <a:pt x="41" y="63"/>
                  </a:lnTo>
                  <a:lnTo>
                    <a:pt x="41" y="61"/>
                  </a:lnTo>
                  <a:lnTo>
                    <a:pt x="41" y="58"/>
                  </a:lnTo>
                  <a:lnTo>
                    <a:pt x="41" y="55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3"/>
                  </a:lnTo>
                  <a:lnTo>
                    <a:pt x="41" y="54"/>
                  </a:lnTo>
                  <a:lnTo>
                    <a:pt x="40" y="55"/>
                  </a:lnTo>
                  <a:lnTo>
                    <a:pt x="38" y="55"/>
                  </a:lnTo>
                  <a:lnTo>
                    <a:pt x="36" y="54"/>
                  </a:lnTo>
                  <a:lnTo>
                    <a:pt x="38" y="55"/>
                  </a:lnTo>
                  <a:lnTo>
                    <a:pt x="40" y="57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60"/>
                  </a:lnTo>
                  <a:lnTo>
                    <a:pt x="40" y="61"/>
                  </a:lnTo>
                  <a:lnTo>
                    <a:pt x="38" y="61"/>
                  </a:lnTo>
                  <a:lnTo>
                    <a:pt x="38" y="63"/>
                  </a:lnTo>
                  <a:lnTo>
                    <a:pt x="40" y="64"/>
                  </a:lnTo>
                  <a:lnTo>
                    <a:pt x="38" y="64"/>
                  </a:lnTo>
                  <a:lnTo>
                    <a:pt x="38" y="65"/>
                  </a:lnTo>
                  <a:lnTo>
                    <a:pt x="38" y="67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70"/>
                  </a:lnTo>
                  <a:lnTo>
                    <a:pt x="40" y="71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37" y="78"/>
                  </a:lnTo>
                  <a:lnTo>
                    <a:pt x="36" y="81"/>
                  </a:lnTo>
                  <a:lnTo>
                    <a:pt x="36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3" y="81"/>
                  </a:lnTo>
                  <a:lnTo>
                    <a:pt x="33" y="80"/>
                  </a:lnTo>
                  <a:lnTo>
                    <a:pt x="33" y="80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3" y="78"/>
                  </a:lnTo>
                  <a:lnTo>
                    <a:pt x="31" y="80"/>
                  </a:lnTo>
                  <a:lnTo>
                    <a:pt x="30" y="78"/>
                  </a:lnTo>
                  <a:lnTo>
                    <a:pt x="30" y="77"/>
                  </a:lnTo>
                  <a:lnTo>
                    <a:pt x="30" y="74"/>
                  </a:lnTo>
                  <a:lnTo>
                    <a:pt x="31" y="71"/>
                  </a:lnTo>
                  <a:lnTo>
                    <a:pt x="30" y="73"/>
                  </a:lnTo>
                  <a:lnTo>
                    <a:pt x="28" y="75"/>
                  </a:lnTo>
                  <a:lnTo>
                    <a:pt x="30" y="77"/>
                  </a:lnTo>
                  <a:lnTo>
                    <a:pt x="28" y="78"/>
                  </a:lnTo>
                  <a:lnTo>
                    <a:pt x="28" y="80"/>
                  </a:lnTo>
                  <a:lnTo>
                    <a:pt x="27" y="81"/>
                  </a:lnTo>
                  <a:lnTo>
                    <a:pt x="26" y="81"/>
                  </a:lnTo>
                  <a:lnTo>
                    <a:pt x="26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0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4" y="80"/>
                  </a:lnTo>
                  <a:lnTo>
                    <a:pt x="24" y="81"/>
                  </a:lnTo>
                  <a:lnTo>
                    <a:pt x="23" y="83"/>
                  </a:lnTo>
                  <a:lnTo>
                    <a:pt x="21" y="84"/>
                  </a:lnTo>
                  <a:lnTo>
                    <a:pt x="20" y="85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7" y="83"/>
                  </a:lnTo>
                  <a:lnTo>
                    <a:pt x="17" y="80"/>
                  </a:lnTo>
                  <a:lnTo>
                    <a:pt x="17" y="78"/>
                  </a:lnTo>
                  <a:lnTo>
                    <a:pt x="17" y="77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5"/>
                  </a:lnTo>
                  <a:lnTo>
                    <a:pt x="13" y="64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4" y="58"/>
                  </a:lnTo>
                  <a:lnTo>
                    <a:pt x="13" y="58"/>
                  </a:lnTo>
                  <a:lnTo>
                    <a:pt x="11" y="58"/>
                  </a:lnTo>
                  <a:lnTo>
                    <a:pt x="11" y="57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1"/>
                  </a:lnTo>
                  <a:lnTo>
                    <a:pt x="10" y="48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1" y="30"/>
                  </a:lnTo>
                  <a:lnTo>
                    <a:pt x="3" y="28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6" y="28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6" y="15"/>
                  </a:lnTo>
                  <a:lnTo>
                    <a:pt x="4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8"/>
                  </a:lnTo>
                  <a:lnTo>
                    <a:pt x="3" y="7"/>
                  </a:lnTo>
                  <a:lnTo>
                    <a:pt x="4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1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7" y="7"/>
                  </a:lnTo>
                  <a:lnTo>
                    <a:pt x="19" y="8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7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8" y="18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30" y="23"/>
                  </a:lnTo>
                  <a:lnTo>
                    <a:pt x="31" y="23"/>
                  </a:lnTo>
                  <a:lnTo>
                    <a:pt x="33" y="24"/>
                  </a:lnTo>
                  <a:lnTo>
                    <a:pt x="36" y="24"/>
                  </a:lnTo>
                  <a:lnTo>
                    <a:pt x="38" y="25"/>
                  </a:lnTo>
                  <a:lnTo>
                    <a:pt x="40" y="24"/>
                  </a:lnTo>
                  <a:lnTo>
                    <a:pt x="41" y="24"/>
                  </a:lnTo>
                  <a:lnTo>
                    <a:pt x="43" y="25"/>
                  </a:lnTo>
                  <a:lnTo>
                    <a:pt x="48" y="24"/>
                  </a:lnTo>
                  <a:lnTo>
                    <a:pt x="53" y="24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60" y="25"/>
                  </a:lnTo>
                  <a:lnTo>
                    <a:pt x="64" y="24"/>
                  </a:lnTo>
                  <a:lnTo>
                    <a:pt x="67" y="25"/>
                  </a:lnTo>
                  <a:lnTo>
                    <a:pt x="70" y="27"/>
                  </a:lnTo>
                  <a:lnTo>
                    <a:pt x="71" y="28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0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33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3" y="38"/>
                  </a:lnTo>
                  <a:lnTo>
                    <a:pt x="63" y="40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3"/>
                  </a:lnTo>
                  <a:lnTo>
                    <a:pt x="60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6" y="44"/>
                  </a:lnTo>
                  <a:lnTo>
                    <a:pt x="54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5"/>
                  </a:lnTo>
                  <a:lnTo>
                    <a:pt x="51" y="47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0" y="53"/>
                  </a:lnTo>
                  <a:lnTo>
                    <a:pt x="51" y="55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6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8" y="63"/>
                  </a:lnTo>
                  <a:lnTo>
                    <a:pt x="60" y="61"/>
                  </a:lnTo>
                  <a:lnTo>
                    <a:pt x="60" y="61"/>
                  </a:lnTo>
                  <a:lnTo>
                    <a:pt x="60" y="58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3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4" y="51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8" y="54"/>
                  </a:lnTo>
                  <a:lnTo>
                    <a:pt x="68" y="57"/>
                  </a:lnTo>
                  <a:lnTo>
                    <a:pt x="68" y="58"/>
                  </a:lnTo>
                  <a:lnTo>
                    <a:pt x="68" y="61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5"/>
                  </a:lnTo>
                  <a:lnTo>
                    <a:pt x="71" y="67"/>
                  </a:lnTo>
                  <a:lnTo>
                    <a:pt x="71" y="68"/>
                  </a:lnTo>
                  <a:lnTo>
                    <a:pt x="71" y="71"/>
                  </a:lnTo>
                  <a:lnTo>
                    <a:pt x="73" y="73"/>
                  </a:lnTo>
                  <a:lnTo>
                    <a:pt x="73" y="78"/>
                  </a:lnTo>
                  <a:lnTo>
                    <a:pt x="73" y="80"/>
                  </a:lnTo>
                  <a:close/>
                  <a:moveTo>
                    <a:pt x="41" y="63"/>
                  </a:moveTo>
                  <a:lnTo>
                    <a:pt x="43" y="64"/>
                  </a:lnTo>
                  <a:lnTo>
                    <a:pt x="41" y="64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1" y="63"/>
                  </a:lnTo>
                  <a:lnTo>
                    <a:pt x="41" y="63"/>
                  </a:lnTo>
                  <a:close/>
                  <a:moveTo>
                    <a:pt x="44" y="78"/>
                  </a:moveTo>
                  <a:lnTo>
                    <a:pt x="41" y="78"/>
                  </a:lnTo>
                  <a:lnTo>
                    <a:pt x="40" y="78"/>
                  </a:lnTo>
                  <a:lnTo>
                    <a:pt x="43" y="74"/>
                  </a:lnTo>
                  <a:lnTo>
                    <a:pt x="43" y="73"/>
                  </a:lnTo>
                  <a:lnTo>
                    <a:pt x="41" y="70"/>
                  </a:lnTo>
                  <a:lnTo>
                    <a:pt x="40" y="70"/>
                  </a:lnTo>
                  <a:lnTo>
                    <a:pt x="40" y="68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3" y="65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8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4" y="77"/>
                  </a:lnTo>
                  <a:lnTo>
                    <a:pt x="44" y="78"/>
                  </a:lnTo>
                  <a:close/>
                  <a:moveTo>
                    <a:pt x="57" y="73"/>
                  </a:moveTo>
                  <a:lnTo>
                    <a:pt x="56" y="74"/>
                  </a:lnTo>
                  <a:lnTo>
                    <a:pt x="56" y="73"/>
                  </a:lnTo>
                  <a:lnTo>
                    <a:pt x="54" y="71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6" y="70"/>
                  </a:lnTo>
                  <a:lnTo>
                    <a:pt x="56" y="71"/>
                  </a:lnTo>
                  <a:lnTo>
                    <a:pt x="57" y="73"/>
                  </a:lnTo>
                  <a:lnTo>
                    <a:pt x="57" y="73"/>
                  </a:lnTo>
                  <a:close/>
                  <a:moveTo>
                    <a:pt x="50" y="77"/>
                  </a:moveTo>
                  <a:lnTo>
                    <a:pt x="48" y="78"/>
                  </a:lnTo>
                  <a:lnTo>
                    <a:pt x="48" y="71"/>
                  </a:lnTo>
                  <a:lnTo>
                    <a:pt x="50" y="74"/>
                  </a:ln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1" y="83"/>
                  </a:moveTo>
                  <a:lnTo>
                    <a:pt x="61" y="84"/>
                  </a:lnTo>
                  <a:lnTo>
                    <a:pt x="61" y="83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3"/>
                  </a:lnTo>
                  <a:close/>
                  <a:moveTo>
                    <a:pt x="63" y="88"/>
                  </a:moveTo>
                  <a:lnTo>
                    <a:pt x="61" y="88"/>
                  </a:lnTo>
                  <a:lnTo>
                    <a:pt x="61" y="88"/>
                  </a:lnTo>
                  <a:lnTo>
                    <a:pt x="61" y="87"/>
                  </a:lnTo>
                  <a:lnTo>
                    <a:pt x="61" y="85"/>
                  </a:lnTo>
                  <a:lnTo>
                    <a:pt x="63" y="84"/>
                  </a:lnTo>
                  <a:lnTo>
                    <a:pt x="63" y="84"/>
                  </a:lnTo>
                  <a:lnTo>
                    <a:pt x="63" y="85"/>
                  </a:lnTo>
                  <a:lnTo>
                    <a:pt x="63" y="87"/>
                  </a:lnTo>
                  <a:lnTo>
                    <a:pt x="63" y="8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163;p3"/>
            <p:cNvSpPr/>
            <p:nvPr/>
          </p:nvSpPr>
          <p:spPr>
            <a:xfrm>
              <a:off x="3980184" y="3770262"/>
              <a:ext cx="42779" cy="30134"/>
            </a:xfrm>
            <a:custGeom>
              <a:rect b="b" l="l" r="r" t="t"/>
              <a:pathLst>
                <a:path extrusionOk="0" h="48" w="61">
                  <a:moveTo>
                    <a:pt x="37" y="1"/>
                  </a:move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2" y="4"/>
                  </a:lnTo>
                  <a:lnTo>
                    <a:pt x="44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5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4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8" y="22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8"/>
                  </a:lnTo>
                  <a:lnTo>
                    <a:pt x="58" y="31"/>
                  </a:lnTo>
                  <a:lnTo>
                    <a:pt x="58" y="32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5" y="32"/>
                  </a:lnTo>
                  <a:lnTo>
                    <a:pt x="54" y="34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1" y="38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2" y="42"/>
                  </a:lnTo>
                  <a:lnTo>
                    <a:pt x="52" y="44"/>
                  </a:lnTo>
                  <a:lnTo>
                    <a:pt x="54" y="45"/>
                  </a:lnTo>
                  <a:lnTo>
                    <a:pt x="54" y="47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7" y="48"/>
                  </a:lnTo>
                  <a:lnTo>
                    <a:pt x="45" y="47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41" y="42"/>
                  </a:lnTo>
                  <a:lnTo>
                    <a:pt x="40" y="42"/>
                  </a:lnTo>
                  <a:lnTo>
                    <a:pt x="38" y="42"/>
                  </a:lnTo>
                  <a:lnTo>
                    <a:pt x="37" y="42"/>
                  </a:lnTo>
                  <a:lnTo>
                    <a:pt x="37" y="41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7" y="34"/>
                  </a:lnTo>
                  <a:lnTo>
                    <a:pt x="37" y="32"/>
                  </a:lnTo>
                  <a:lnTo>
                    <a:pt x="35" y="32"/>
                  </a:lnTo>
                  <a:lnTo>
                    <a:pt x="35" y="34"/>
                  </a:lnTo>
                  <a:lnTo>
                    <a:pt x="34" y="35"/>
                  </a:lnTo>
                  <a:lnTo>
                    <a:pt x="34" y="37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7" y="38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5" y="34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30"/>
                  </a:lnTo>
                  <a:lnTo>
                    <a:pt x="18" y="28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5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8" y="17"/>
                  </a:lnTo>
                  <a:lnTo>
                    <a:pt x="7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2" y="17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7" y="5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4" y="5"/>
                  </a:lnTo>
                  <a:lnTo>
                    <a:pt x="27" y="4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1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4" y="1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164;p3"/>
            <p:cNvSpPr/>
            <p:nvPr/>
          </p:nvSpPr>
          <p:spPr>
            <a:xfrm>
              <a:off x="3889717" y="4221011"/>
              <a:ext cx="89065" cy="57129"/>
            </a:xfrm>
            <a:custGeom>
              <a:rect b="b" l="l" r="r" t="t"/>
              <a:pathLst>
                <a:path extrusionOk="0" h="91" w="127">
                  <a:moveTo>
                    <a:pt x="92" y="1"/>
                  </a:moveTo>
                  <a:lnTo>
                    <a:pt x="92" y="3"/>
                  </a:lnTo>
                  <a:lnTo>
                    <a:pt x="92" y="4"/>
                  </a:lnTo>
                  <a:lnTo>
                    <a:pt x="92" y="5"/>
                  </a:lnTo>
                  <a:lnTo>
                    <a:pt x="92" y="8"/>
                  </a:lnTo>
                  <a:lnTo>
                    <a:pt x="93" y="10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7" y="20"/>
                  </a:lnTo>
                  <a:lnTo>
                    <a:pt x="99" y="21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4" y="24"/>
                  </a:lnTo>
                  <a:lnTo>
                    <a:pt x="104" y="25"/>
                  </a:lnTo>
                  <a:lnTo>
                    <a:pt x="106" y="27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6" y="28"/>
                  </a:lnTo>
                  <a:lnTo>
                    <a:pt x="104" y="27"/>
                  </a:lnTo>
                  <a:lnTo>
                    <a:pt x="104" y="28"/>
                  </a:lnTo>
                  <a:lnTo>
                    <a:pt x="104" y="30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9" y="35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6" y="40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20" y="38"/>
                  </a:lnTo>
                  <a:lnTo>
                    <a:pt x="120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3" y="40"/>
                  </a:lnTo>
                  <a:lnTo>
                    <a:pt x="124" y="41"/>
                  </a:lnTo>
                  <a:lnTo>
                    <a:pt x="124" y="43"/>
                  </a:lnTo>
                  <a:lnTo>
                    <a:pt x="124" y="43"/>
                  </a:lnTo>
                  <a:lnTo>
                    <a:pt x="124" y="43"/>
                  </a:lnTo>
                  <a:lnTo>
                    <a:pt x="121" y="43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1" y="45"/>
                  </a:lnTo>
                  <a:lnTo>
                    <a:pt x="123" y="47"/>
                  </a:lnTo>
                  <a:lnTo>
                    <a:pt x="126" y="50"/>
                  </a:lnTo>
                  <a:lnTo>
                    <a:pt x="127" y="51"/>
                  </a:lnTo>
                  <a:lnTo>
                    <a:pt x="126" y="53"/>
                  </a:lnTo>
                  <a:lnTo>
                    <a:pt x="124" y="54"/>
                  </a:lnTo>
                  <a:lnTo>
                    <a:pt x="124" y="55"/>
                  </a:lnTo>
                  <a:lnTo>
                    <a:pt x="120" y="60"/>
                  </a:lnTo>
                  <a:lnTo>
                    <a:pt x="119" y="58"/>
                  </a:lnTo>
                  <a:lnTo>
                    <a:pt x="114" y="60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0" y="61"/>
                  </a:lnTo>
                  <a:lnTo>
                    <a:pt x="109" y="61"/>
                  </a:lnTo>
                  <a:lnTo>
                    <a:pt x="109" y="61"/>
                  </a:lnTo>
                  <a:lnTo>
                    <a:pt x="107" y="61"/>
                  </a:lnTo>
                  <a:lnTo>
                    <a:pt x="107" y="61"/>
                  </a:lnTo>
                  <a:lnTo>
                    <a:pt x="107" y="63"/>
                  </a:lnTo>
                  <a:lnTo>
                    <a:pt x="107" y="63"/>
                  </a:lnTo>
                  <a:lnTo>
                    <a:pt x="106" y="63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6" y="65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5"/>
                  </a:lnTo>
                  <a:lnTo>
                    <a:pt x="103" y="65"/>
                  </a:lnTo>
                  <a:lnTo>
                    <a:pt x="103" y="65"/>
                  </a:lnTo>
                  <a:lnTo>
                    <a:pt x="99" y="65"/>
                  </a:lnTo>
                  <a:lnTo>
                    <a:pt x="97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5"/>
                  </a:lnTo>
                  <a:lnTo>
                    <a:pt x="92" y="64"/>
                  </a:lnTo>
                  <a:lnTo>
                    <a:pt x="87" y="64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7" y="65"/>
                  </a:lnTo>
                  <a:lnTo>
                    <a:pt x="76" y="65"/>
                  </a:lnTo>
                  <a:lnTo>
                    <a:pt x="74" y="65"/>
                  </a:lnTo>
                  <a:lnTo>
                    <a:pt x="73" y="65"/>
                  </a:lnTo>
                  <a:lnTo>
                    <a:pt x="72" y="65"/>
                  </a:lnTo>
                  <a:lnTo>
                    <a:pt x="69" y="65"/>
                  </a:lnTo>
                  <a:lnTo>
                    <a:pt x="64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57" y="65"/>
                  </a:lnTo>
                  <a:lnTo>
                    <a:pt x="53" y="65"/>
                  </a:lnTo>
                  <a:lnTo>
                    <a:pt x="49" y="65"/>
                  </a:lnTo>
                  <a:lnTo>
                    <a:pt x="44" y="65"/>
                  </a:lnTo>
                  <a:lnTo>
                    <a:pt x="44" y="65"/>
                  </a:lnTo>
                  <a:lnTo>
                    <a:pt x="43" y="65"/>
                  </a:lnTo>
                  <a:lnTo>
                    <a:pt x="43" y="67"/>
                  </a:lnTo>
                  <a:lnTo>
                    <a:pt x="42" y="70"/>
                  </a:lnTo>
                  <a:lnTo>
                    <a:pt x="42" y="73"/>
                  </a:lnTo>
                  <a:lnTo>
                    <a:pt x="42" y="74"/>
                  </a:lnTo>
                  <a:lnTo>
                    <a:pt x="43" y="74"/>
                  </a:lnTo>
                  <a:lnTo>
                    <a:pt x="43" y="75"/>
                  </a:lnTo>
                  <a:lnTo>
                    <a:pt x="44" y="75"/>
                  </a:lnTo>
                  <a:lnTo>
                    <a:pt x="43" y="75"/>
                  </a:lnTo>
                  <a:lnTo>
                    <a:pt x="43" y="77"/>
                  </a:lnTo>
                  <a:lnTo>
                    <a:pt x="44" y="77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4" y="81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7"/>
                  </a:lnTo>
                  <a:lnTo>
                    <a:pt x="44" y="90"/>
                  </a:lnTo>
                  <a:lnTo>
                    <a:pt x="46" y="90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0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39" y="85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2" y="83"/>
                  </a:lnTo>
                  <a:lnTo>
                    <a:pt x="27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5"/>
                  </a:lnTo>
                  <a:lnTo>
                    <a:pt x="20" y="87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4" y="87"/>
                  </a:lnTo>
                  <a:lnTo>
                    <a:pt x="13" y="85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0"/>
                  </a:lnTo>
                  <a:lnTo>
                    <a:pt x="7" y="78"/>
                  </a:lnTo>
                  <a:lnTo>
                    <a:pt x="6" y="77"/>
                  </a:lnTo>
                  <a:lnTo>
                    <a:pt x="4" y="77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2" y="70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2" y="64"/>
                  </a:lnTo>
                  <a:lnTo>
                    <a:pt x="3" y="64"/>
                  </a:lnTo>
                  <a:lnTo>
                    <a:pt x="3" y="63"/>
                  </a:lnTo>
                  <a:lnTo>
                    <a:pt x="4" y="60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3"/>
                  </a:lnTo>
                  <a:lnTo>
                    <a:pt x="4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9" y="50"/>
                  </a:lnTo>
                  <a:lnTo>
                    <a:pt x="12" y="50"/>
                  </a:lnTo>
                  <a:lnTo>
                    <a:pt x="13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6" y="45"/>
                  </a:lnTo>
                  <a:lnTo>
                    <a:pt x="17" y="45"/>
                  </a:lnTo>
                  <a:lnTo>
                    <a:pt x="17" y="44"/>
                  </a:lnTo>
                  <a:lnTo>
                    <a:pt x="17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6" y="38"/>
                  </a:lnTo>
                  <a:lnTo>
                    <a:pt x="20" y="37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20" y="30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6" y="28"/>
                  </a:lnTo>
                  <a:lnTo>
                    <a:pt x="36" y="27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7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18"/>
                  </a:lnTo>
                  <a:lnTo>
                    <a:pt x="44" y="15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9" y="13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7" y="10"/>
                  </a:lnTo>
                  <a:lnTo>
                    <a:pt x="59" y="8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4" y="7"/>
                  </a:lnTo>
                  <a:lnTo>
                    <a:pt x="69" y="4"/>
                  </a:lnTo>
                  <a:lnTo>
                    <a:pt x="72" y="4"/>
                  </a:lnTo>
                  <a:lnTo>
                    <a:pt x="72" y="3"/>
                  </a:lnTo>
                  <a:lnTo>
                    <a:pt x="74" y="1"/>
                  </a:lnTo>
                  <a:lnTo>
                    <a:pt x="76" y="0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89" y="1"/>
                  </a:lnTo>
                  <a:lnTo>
                    <a:pt x="92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3"/>
            <p:cNvSpPr/>
            <p:nvPr/>
          </p:nvSpPr>
          <p:spPr>
            <a:xfrm>
              <a:off x="4203197" y="3878241"/>
              <a:ext cx="70130" cy="40806"/>
            </a:xfrm>
            <a:custGeom>
              <a:rect b="b" l="l" r="r" t="t"/>
              <a:pathLst>
                <a:path extrusionOk="0" h="65" w="100">
                  <a:moveTo>
                    <a:pt x="100" y="12"/>
                  </a:moveTo>
                  <a:lnTo>
                    <a:pt x="98" y="16"/>
                  </a:lnTo>
                  <a:lnTo>
                    <a:pt x="97" y="19"/>
                  </a:lnTo>
                  <a:lnTo>
                    <a:pt x="95" y="18"/>
                  </a:lnTo>
                  <a:lnTo>
                    <a:pt x="92" y="19"/>
                  </a:lnTo>
                  <a:lnTo>
                    <a:pt x="91" y="22"/>
                  </a:lnTo>
                  <a:lnTo>
                    <a:pt x="90" y="22"/>
                  </a:lnTo>
                  <a:lnTo>
                    <a:pt x="88" y="23"/>
                  </a:lnTo>
                  <a:lnTo>
                    <a:pt x="88" y="28"/>
                  </a:lnTo>
                  <a:lnTo>
                    <a:pt x="88" y="33"/>
                  </a:lnTo>
                  <a:lnTo>
                    <a:pt x="87" y="33"/>
                  </a:lnTo>
                  <a:lnTo>
                    <a:pt x="85" y="33"/>
                  </a:lnTo>
                  <a:lnTo>
                    <a:pt x="81" y="39"/>
                  </a:lnTo>
                  <a:lnTo>
                    <a:pt x="84" y="40"/>
                  </a:lnTo>
                  <a:lnTo>
                    <a:pt x="85" y="42"/>
                  </a:lnTo>
                  <a:lnTo>
                    <a:pt x="87" y="45"/>
                  </a:lnTo>
                  <a:lnTo>
                    <a:pt x="90" y="47"/>
                  </a:lnTo>
                  <a:lnTo>
                    <a:pt x="90" y="50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7" y="50"/>
                  </a:lnTo>
                  <a:lnTo>
                    <a:pt x="85" y="50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1" y="50"/>
                  </a:lnTo>
                  <a:lnTo>
                    <a:pt x="80" y="49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7" y="47"/>
                  </a:lnTo>
                  <a:lnTo>
                    <a:pt x="74" y="47"/>
                  </a:lnTo>
                  <a:lnTo>
                    <a:pt x="74" y="49"/>
                  </a:lnTo>
                  <a:lnTo>
                    <a:pt x="72" y="49"/>
                  </a:lnTo>
                  <a:lnTo>
                    <a:pt x="71" y="49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1" y="55"/>
                  </a:lnTo>
                  <a:lnTo>
                    <a:pt x="60" y="55"/>
                  </a:lnTo>
                  <a:lnTo>
                    <a:pt x="60" y="56"/>
                  </a:lnTo>
                  <a:lnTo>
                    <a:pt x="58" y="56"/>
                  </a:lnTo>
                  <a:lnTo>
                    <a:pt x="60" y="56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8" y="63"/>
                  </a:lnTo>
                  <a:lnTo>
                    <a:pt x="57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1" y="63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5" y="65"/>
                  </a:lnTo>
                  <a:lnTo>
                    <a:pt x="44" y="63"/>
                  </a:lnTo>
                  <a:lnTo>
                    <a:pt x="41" y="63"/>
                  </a:lnTo>
                  <a:lnTo>
                    <a:pt x="40" y="62"/>
                  </a:lnTo>
                  <a:lnTo>
                    <a:pt x="38" y="62"/>
                  </a:lnTo>
                  <a:lnTo>
                    <a:pt x="38" y="63"/>
                  </a:lnTo>
                  <a:lnTo>
                    <a:pt x="37" y="62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2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3" y="62"/>
                  </a:lnTo>
                  <a:lnTo>
                    <a:pt x="20" y="62"/>
                  </a:lnTo>
                  <a:lnTo>
                    <a:pt x="18" y="62"/>
                  </a:lnTo>
                  <a:lnTo>
                    <a:pt x="17" y="62"/>
                  </a:lnTo>
                  <a:lnTo>
                    <a:pt x="15" y="62"/>
                  </a:lnTo>
                  <a:lnTo>
                    <a:pt x="14" y="62"/>
                  </a:lnTo>
                  <a:lnTo>
                    <a:pt x="13" y="63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57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4" y="47"/>
                  </a:lnTo>
                  <a:lnTo>
                    <a:pt x="3" y="47"/>
                  </a:lnTo>
                  <a:lnTo>
                    <a:pt x="1" y="46"/>
                  </a:lnTo>
                  <a:lnTo>
                    <a:pt x="0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5" y="30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6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7" y="22"/>
                  </a:lnTo>
                  <a:lnTo>
                    <a:pt x="7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3" y="18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6"/>
                  </a:lnTo>
                  <a:lnTo>
                    <a:pt x="8" y="6"/>
                  </a:lnTo>
                  <a:lnTo>
                    <a:pt x="7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14" y="8"/>
                  </a:lnTo>
                  <a:lnTo>
                    <a:pt x="18" y="9"/>
                  </a:lnTo>
                  <a:lnTo>
                    <a:pt x="25" y="10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8" y="12"/>
                  </a:lnTo>
                  <a:lnTo>
                    <a:pt x="44" y="12"/>
                  </a:lnTo>
                  <a:lnTo>
                    <a:pt x="50" y="13"/>
                  </a:lnTo>
                  <a:lnTo>
                    <a:pt x="52" y="12"/>
                  </a:lnTo>
                  <a:lnTo>
                    <a:pt x="55" y="10"/>
                  </a:lnTo>
                  <a:lnTo>
                    <a:pt x="57" y="9"/>
                  </a:lnTo>
                  <a:lnTo>
                    <a:pt x="61" y="5"/>
                  </a:lnTo>
                  <a:lnTo>
                    <a:pt x="65" y="3"/>
                  </a:lnTo>
                  <a:lnTo>
                    <a:pt x="71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4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8" y="6"/>
                  </a:lnTo>
                  <a:lnTo>
                    <a:pt x="90" y="8"/>
                  </a:lnTo>
                  <a:lnTo>
                    <a:pt x="91" y="9"/>
                  </a:lnTo>
                  <a:lnTo>
                    <a:pt x="94" y="10"/>
                  </a:lnTo>
                  <a:lnTo>
                    <a:pt x="95" y="10"/>
                  </a:lnTo>
                  <a:lnTo>
                    <a:pt x="97" y="12"/>
                  </a:lnTo>
                  <a:lnTo>
                    <a:pt x="100" y="1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66;p3"/>
            <p:cNvSpPr/>
            <p:nvPr/>
          </p:nvSpPr>
          <p:spPr>
            <a:xfrm>
              <a:off x="4518080" y="4100476"/>
              <a:ext cx="2104" cy="5650"/>
            </a:xfrm>
            <a:custGeom>
              <a:rect b="b" l="l" r="r" t="t"/>
              <a:pathLst>
                <a:path extrusionOk="0" h="9" w="3">
                  <a:moveTo>
                    <a:pt x="3" y="8"/>
                  </a:moveTo>
                  <a:lnTo>
                    <a:pt x="3" y="9"/>
                  </a:lnTo>
                  <a:lnTo>
                    <a:pt x="1" y="8"/>
                  </a:lnTo>
                  <a:lnTo>
                    <a:pt x="0" y="6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167;p3"/>
            <p:cNvSpPr/>
            <p:nvPr/>
          </p:nvSpPr>
          <p:spPr>
            <a:xfrm>
              <a:off x="4278236" y="4395535"/>
              <a:ext cx="19636" cy="21345"/>
            </a:xfrm>
            <a:custGeom>
              <a:rect b="b" l="l" r="r" t="t"/>
              <a:pathLst>
                <a:path extrusionOk="0" h="34" w="28">
                  <a:moveTo>
                    <a:pt x="24" y="2"/>
                  </a:moveTo>
                  <a:lnTo>
                    <a:pt x="24" y="3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10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27" y="16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5" y="19"/>
                  </a:lnTo>
                  <a:lnTo>
                    <a:pt x="24" y="20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18" y="27"/>
                  </a:lnTo>
                  <a:lnTo>
                    <a:pt x="17" y="29"/>
                  </a:lnTo>
                  <a:lnTo>
                    <a:pt x="14" y="33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29"/>
                  </a:lnTo>
                  <a:lnTo>
                    <a:pt x="3" y="26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19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1" y="12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9"/>
                  </a:lnTo>
                  <a:lnTo>
                    <a:pt x="5" y="9"/>
                  </a:lnTo>
                  <a:lnTo>
                    <a:pt x="7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1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168;p3"/>
            <p:cNvSpPr/>
            <p:nvPr/>
          </p:nvSpPr>
          <p:spPr>
            <a:xfrm>
              <a:off x="3959846" y="4248005"/>
              <a:ext cx="35065" cy="62151"/>
            </a:xfrm>
            <a:custGeom>
              <a:rect b="b" l="l" r="r" t="t"/>
              <a:pathLst>
                <a:path extrusionOk="0" h="99" w="50">
                  <a:moveTo>
                    <a:pt x="46" y="11"/>
                  </a:moveTo>
                  <a:lnTo>
                    <a:pt x="46" y="12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49" y="24"/>
                  </a:lnTo>
                  <a:lnTo>
                    <a:pt x="49" y="25"/>
                  </a:lnTo>
                  <a:lnTo>
                    <a:pt x="49" y="27"/>
                  </a:lnTo>
                  <a:lnTo>
                    <a:pt x="50" y="28"/>
                  </a:lnTo>
                  <a:lnTo>
                    <a:pt x="50" y="30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5"/>
                  </a:lnTo>
                  <a:lnTo>
                    <a:pt x="47" y="37"/>
                  </a:lnTo>
                  <a:lnTo>
                    <a:pt x="46" y="40"/>
                  </a:lnTo>
                  <a:lnTo>
                    <a:pt x="46" y="41"/>
                  </a:lnTo>
                  <a:lnTo>
                    <a:pt x="44" y="41"/>
                  </a:lnTo>
                  <a:lnTo>
                    <a:pt x="43" y="41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4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1" y="58"/>
                  </a:lnTo>
                  <a:lnTo>
                    <a:pt x="31" y="61"/>
                  </a:lnTo>
                  <a:lnTo>
                    <a:pt x="31" y="64"/>
                  </a:lnTo>
                  <a:lnTo>
                    <a:pt x="31" y="65"/>
                  </a:lnTo>
                  <a:lnTo>
                    <a:pt x="31" y="67"/>
                  </a:lnTo>
                  <a:lnTo>
                    <a:pt x="31" y="71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1" y="77"/>
                  </a:lnTo>
                  <a:lnTo>
                    <a:pt x="33" y="78"/>
                  </a:lnTo>
                  <a:lnTo>
                    <a:pt x="33" y="80"/>
                  </a:lnTo>
                  <a:lnTo>
                    <a:pt x="33" y="80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5"/>
                  </a:lnTo>
                  <a:lnTo>
                    <a:pt x="33" y="87"/>
                  </a:lnTo>
                  <a:lnTo>
                    <a:pt x="33" y="87"/>
                  </a:lnTo>
                  <a:lnTo>
                    <a:pt x="31" y="88"/>
                  </a:lnTo>
                  <a:lnTo>
                    <a:pt x="31" y="89"/>
                  </a:lnTo>
                  <a:lnTo>
                    <a:pt x="33" y="91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4"/>
                  </a:lnTo>
                  <a:lnTo>
                    <a:pt x="31" y="97"/>
                  </a:lnTo>
                  <a:lnTo>
                    <a:pt x="31" y="98"/>
                  </a:lnTo>
                  <a:lnTo>
                    <a:pt x="24" y="98"/>
                  </a:lnTo>
                  <a:lnTo>
                    <a:pt x="17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7" y="98"/>
                  </a:lnTo>
                  <a:lnTo>
                    <a:pt x="16" y="97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2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89"/>
                  </a:lnTo>
                  <a:lnTo>
                    <a:pt x="13" y="88"/>
                  </a:lnTo>
                  <a:lnTo>
                    <a:pt x="14" y="87"/>
                  </a:lnTo>
                  <a:lnTo>
                    <a:pt x="14" y="81"/>
                  </a:lnTo>
                  <a:lnTo>
                    <a:pt x="14" y="75"/>
                  </a:lnTo>
                  <a:lnTo>
                    <a:pt x="14" y="71"/>
                  </a:lnTo>
                  <a:lnTo>
                    <a:pt x="14" y="67"/>
                  </a:lnTo>
                  <a:lnTo>
                    <a:pt x="14" y="62"/>
                  </a:lnTo>
                  <a:lnTo>
                    <a:pt x="14" y="58"/>
                  </a:lnTo>
                  <a:lnTo>
                    <a:pt x="14" y="54"/>
                  </a:lnTo>
                  <a:lnTo>
                    <a:pt x="13" y="52"/>
                  </a:lnTo>
                  <a:lnTo>
                    <a:pt x="11" y="51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45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37"/>
                  </a:lnTo>
                  <a:lnTo>
                    <a:pt x="4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1" y="27"/>
                  </a:lnTo>
                  <a:lnTo>
                    <a:pt x="3" y="25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7"/>
                  </a:lnTo>
                  <a:lnTo>
                    <a:pt x="19" y="15"/>
                  </a:lnTo>
                  <a:lnTo>
                    <a:pt x="20" y="15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6" y="10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3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9" y="5"/>
                  </a:lnTo>
                  <a:lnTo>
                    <a:pt x="40" y="7"/>
                  </a:lnTo>
                  <a:lnTo>
                    <a:pt x="41" y="8"/>
                  </a:lnTo>
                  <a:lnTo>
                    <a:pt x="43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6" y="1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169;p3"/>
            <p:cNvSpPr/>
            <p:nvPr/>
          </p:nvSpPr>
          <p:spPr>
            <a:xfrm>
              <a:off x="5232001" y="4322712"/>
              <a:ext cx="14026" cy="10045"/>
            </a:xfrm>
            <a:custGeom>
              <a:rect b="b" l="l" r="r" t="t"/>
              <a:pathLst>
                <a:path extrusionOk="0" h="16" w="20">
                  <a:moveTo>
                    <a:pt x="16" y="2"/>
                  </a:moveTo>
                  <a:lnTo>
                    <a:pt x="15" y="2"/>
                  </a:lnTo>
                  <a:lnTo>
                    <a:pt x="13" y="3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2" y="13"/>
                  </a:lnTo>
                  <a:lnTo>
                    <a:pt x="12" y="15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6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9" y="5"/>
                  </a:lnTo>
                  <a:lnTo>
                    <a:pt x="10" y="3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close/>
                  <a:moveTo>
                    <a:pt x="16" y="2"/>
                  </a:moveTo>
                  <a:lnTo>
                    <a:pt x="18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20" y="6"/>
                  </a:lnTo>
                  <a:lnTo>
                    <a:pt x="20" y="9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Google Shape;170;p3"/>
            <p:cNvSpPr/>
            <p:nvPr/>
          </p:nvSpPr>
          <p:spPr>
            <a:xfrm>
              <a:off x="3169483" y="4470241"/>
              <a:ext cx="136052" cy="137485"/>
            </a:xfrm>
            <a:custGeom>
              <a:rect b="b" l="l" r="r" t="t"/>
              <a:pathLst>
                <a:path extrusionOk="0" h="219" w="194">
                  <a:moveTo>
                    <a:pt x="184" y="172"/>
                  </a:moveTo>
                  <a:lnTo>
                    <a:pt x="184" y="169"/>
                  </a:lnTo>
                  <a:lnTo>
                    <a:pt x="184" y="168"/>
                  </a:lnTo>
                  <a:lnTo>
                    <a:pt x="184" y="167"/>
                  </a:lnTo>
                  <a:lnTo>
                    <a:pt x="178" y="164"/>
                  </a:lnTo>
                  <a:lnTo>
                    <a:pt x="174" y="161"/>
                  </a:lnTo>
                  <a:lnTo>
                    <a:pt x="168" y="158"/>
                  </a:lnTo>
                  <a:lnTo>
                    <a:pt x="161" y="158"/>
                  </a:lnTo>
                  <a:lnTo>
                    <a:pt x="154" y="158"/>
                  </a:lnTo>
                  <a:lnTo>
                    <a:pt x="147" y="159"/>
                  </a:lnTo>
                  <a:lnTo>
                    <a:pt x="140" y="161"/>
                  </a:lnTo>
                  <a:lnTo>
                    <a:pt x="137" y="162"/>
                  </a:lnTo>
                  <a:lnTo>
                    <a:pt x="130" y="164"/>
                  </a:lnTo>
                  <a:lnTo>
                    <a:pt x="127" y="164"/>
                  </a:lnTo>
                  <a:lnTo>
                    <a:pt x="126" y="167"/>
                  </a:lnTo>
                  <a:lnTo>
                    <a:pt x="124" y="171"/>
                  </a:lnTo>
                  <a:lnTo>
                    <a:pt x="123" y="174"/>
                  </a:lnTo>
                  <a:lnTo>
                    <a:pt x="120" y="177"/>
                  </a:lnTo>
                  <a:lnTo>
                    <a:pt x="119" y="179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6" y="194"/>
                  </a:lnTo>
                  <a:lnTo>
                    <a:pt x="114" y="199"/>
                  </a:lnTo>
                  <a:lnTo>
                    <a:pt x="113" y="204"/>
                  </a:lnTo>
                  <a:lnTo>
                    <a:pt x="113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10" y="207"/>
                  </a:lnTo>
                  <a:lnTo>
                    <a:pt x="110" y="205"/>
                  </a:lnTo>
                  <a:lnTo>
                    <a:pt x="109" y="204"/>
                  </a:lnTo>
                  <a:lnTo>
                    <a:pt x="109" y="204"/>
                  </a:lnTo>
                  <a:lnTo>
                    <a:pt x="103" y="204"/>
                  </a:lnTo>
                  <a:lnTo>
                    <a:pt x="96" y="204"/>
                  </a:lnTo>
                  <a:lnTo>
                    <a:pt x="96" y="205"/>
                  </a:lnTo>
                  <a:lnTo>
                    <a:pt x="94" y="205"/>
                  </a:lnTo>
                  <a:lnTo>
                    <a:pt x="93" y="204"/>
                  </a:lnTo>
                  <a:lnTo>
                    <a:pt x="93" y="204"/>
                  </a:lnTo>
                  <a:lnTo>
                    <a:pt x="91" y="205"/>
                  </a:lnTo>
                  <a:lnTo>
                    <a:pt x="91" y="205"/>
                  </a:lnTo>
                  <a:lnTo>
                    <a:pt x="89" y="211"/>
                  </a:lnTo>
                  <a:lnTo>
                    <a:pt x="87" y="212"/>
                  </a:lnTo>
                  <a:lnTo>
                    <a:pt x="86" y="215"/>
                  </a:lnTo>
                  <a:lnTo>
                    <a:pt x="86" y="218"/>
                  </a:lnTo>
                  <a:lnTo>
                    <a:pt x="86" y="218"/>
                  </a:lnTo>
                  <a:lnTo>
                    <a:pt x="84" y="218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1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7"/>
                  </a:lnTo>
                  <a:lnTo>
                    <a:pt x="77" y="207"/>
                  </a:lnTo>
                  <a:lnTo>
                    <a:pt x="74" y="207"/>
                  </a:lnTo>
                  <a:lnTo>
                    <a:pt x="73" y="207"/>
                  </a:lnTo>
                  <a:lnTo>
                    <a:pt x="67" y="207"/>
                  </a:lnTo>
                  <a:lnTo>
                    <a:pt x="66" y="205"/>
                  </a:lnTo>
                  <a:lnTo>
                    <a:pt x="63" y="207"/>
                  </a:lnTo>
                  <a:lnTo>
                    <a:pt x="62" y="207"/>
                  </a:lnTo>
                  <a:lnTo>
                    <a:pt x="60" y="205"/>
                  </a:lnTo>
                  <a:lnTo>
                    <a:pt x="57" y="202"/>
                  </a:lnTo>
                  <a:lnTo>
                    <a:pt x="57" y="201"/>
                  </a:lnTo>
                  <a:lnTo>
                    <a:pt x="56" y="201"/>
                  </a:lnTo>
                  <a:lnTo>
                    <a:pt x="54" y="201"/>
                  </a:lnTo>
                  <a:lnTo>
                    <a:pt x="54" y="201"/>
                  </a:lnTo>
                  <a:lnTo>
                    <a:pt x="54" y="204"/>
                  </a:lnTo>
                  <a:lnTo>
                    <a:pt x="53" y="205"/>
                  </a:lnTo>
                  <a:lnTo>
                    <a:pt x="53" y="207"/>
                  </a:lnTo>
                  <a:lnTo>
                    <a:pt x="50" y="207"/>
                  </a:lnTo>
                  <a:lnTo>
                    <a:pt x="49" y="208"/>
                  </a:lnTo>
                  <a:lnTo>
                    <a:pt x="47" y="208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3" y="212"/>
                  </a:lnTo>
                  <a:lnTo>
                    <a:pt x="42" y="214"/>
                  </a:lnTo>
                  <a:lnTo>
                    <a:pt x="42" y="215"/>
                  </a:lnTo>
                  <a:lnTo>
                    <a:pt x="40" y="218"/>
                  </a:lnTo>
                  <a:lnTo>
                    <a:pt x="39" y="218"/>
                  </a:lnTo>
                  <a:lnTo>
                    <a:pt x="37" y="219"/>
                  </a:lnTo>
                  <a:lnTo>
                    <a:pt x="33" y="219"/>
                  </a:lnTo>
                  <a:lnTo>
                    <a:pt x="32" y="219"/>
                  </a:lnTo>
                  <a:lnTo>
                    <a:pt x="30" y="219"/>
                  </a:lnTo>
                  <a:lnTo>
                    <a:pt x="29" y="219"/>
                  </a:lnTo>
                  <a:lnTo>
                    <a:pt x="29" y="218"/>
                  </a:lnTo>
                  <a:lnTo>
                    <a:pt x="29" y="218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2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7" y="208"/>
                  </a:lnTo>
                  <a:lnTo>
                    <a:pt x="27" y="205"/>
                  </a:lnTo>
                  <a:lnTo>
                    <a:pt x="26" y="204"/>
                  </a:lnTo>
                  <a:lnTo>
                    <a:pt x="24" y="202"/>
                  </a:lnTo>
                  <a:lnTo>
                    <a:pt x="24" y="199"/>
                  </a:lnTo>
                  <a:lnTo>
                    <a:pt x="23" y="198"/>
                  </a:lnTo>
                  <a:lnTo>
                    <a:pt x="23" y="195"/>
                  </a:lnTo>
                  <a:lnTo>
                    <a:pt x="23" y="192"/>
                  </a:lnTo>
                  <a:lnTo>
                    <a:pt x="22" y="189"/>
                  </a:lnTo>
                  <a:lnTo>
                    <a:pt x="20" y="187"/>
                  </a:lnTo>
                  <a:lnTo>
                    <a:pt x="17" y="185"/>
                  </a:lnTo>
                  <a:lnTo>
                    <a:pt x="17" y="185"/>
                  </a:lnTo>
                  <a:lnTo>
                    <a:pt x="17" y="185"/>
                  </a:lnTo>
                  <a:lnTo>
                    <a:pt x="17" y="184"/>
                  </a:lnTo>
                  <a:lnTo>
                    <a:pt x="17" y="182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6" y="178"/>
                  </a:lnTo>
                  <a:lnTo>
                    <a:pt x="14" y="178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4" y="175"/>
                  </a:lnTo>
                  <a:lnTo>
                    <a:pt x="16" y="175"/>
                  </a:lnTo>
                  <a:lnTo>
                    <a:pt x="14" y="174"/>
                  </a:lnTo>
                  <a:lnTo>
                    <a:pt x="14" y="172"/>
                  </a:lnTo>
                  <a:lnTo>
                    <a:pt x="14" y="172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7" y="162"/>
                  </a:lnTo>
                  <a:lnTo>
                    <a:pt x="19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6" y="158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3" y="155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0" y="150"/>
                  </a:lnTo>
                  <a:lnTo>
                    <a:pt x="10" y="148"/>
                  </a:lnTo>
                  <a:lnTo>
                    <a:pt x="10" y="145"/>
                  </a:lnTo>
                  <a:lnTo>
                    <a:pt x="10" y="144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9" y="137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4" y="132"/>
                  </a:lnTo>
                  <a:lnTo>
                    <a:pt x="3" y="130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0" y="125"/>
                  </a:lnTo>
                  <a:lnTo>
                    <a:pt x="0" y="124"/>
                  </a:lnTo>
                  <a:lnTo>
                    <a:pt x="0" y="122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4" y="120"/>
                  </a:lnTo>
                  <a:lnTo>
                    <a:pt x="6" y="118"/>
                  </a:lnTo>
                  <a:lnTo>
                    <a:pt x="7" y="115"/>
                  </a:lnTo>
                  <a:lnTo>
                    <a:pt x="9" y="115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2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2" y="108"/>
                  </a:lnTo>
                  <a:lnTo>
                    <a:pt x="10" y="107"/>
                  </a:lnTo>
                  <a:lnTo>
                    <a:pt x="9" y="107"/>
                  </a:lnTo>
                  <a:lnTo>
                    <a:pt x="7" y="107"/>
                  </a:lnTo>
                  <a:lnTo>
                    <a:pt x="7" y="105"/>
                  </a:lnTo>
                  <a:lnTo>
                    <a:pt x="4" y="98"/>
                  </a:lnTo>
                  <a:lnTo>
                    <a:pt x="3" y="97"/>
                  </a:lnTo>
                  <a:lnTo>
                    <a:pt x="4" y="97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7" y="91"/>
                  </a:lnTo>
                  <a:lnTo>
                    <a:pt x="7" y="90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78"/>
                  </a:lnTo>
                  <a:lnTo>
                    <a:pt x="9" y="78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3" y="74"/>
                  </a:lnTo>
                  <a:lnTo>
                    <a:pt x="13" y="72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0" y="70"/>
                  </a:lnTo>
                  <a:lnTo>
                    <a:pt x="10" y="67"/>
                  </a:lnTo>
                  <a:lnTo>
                    <a:pt x="9" y="65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12" y="60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2" y="51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5"/>
                  </a:lnTo>
                  <a:lnTo>
                    <a:pt x="13" y="42"/>
                  </a:lnTo>
                  <a:lnTo>
                    <a:pt x="12" y="38"/>
                  </a:lnTo>
                  <a:lnTo>
                    <a:pt x="10" y="35"/>
                  </a:lnTo>
                  <a:lnTo>
                    <a:pt x="7" y="32"/>
                  </a:lnTo>
                  <a:lnTo>
                    <a:pt x="6" y="30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9" y="22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4" y="18"/>
                  </a:lnTo>
                  <a:lnTo>
                    <a:pt x="26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2" y="15"/>
                  </a:lnTo>
                  <a:lnTo>
                    <a:pt x="33" y="12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60" y="1"/>
                  </a:lnTo>
                  <a:lnTo>
                    <a:pt x="63" y="1"/>
                  </a:lnTo>
                  <a:lnTo>
                    <a:pt x="64" y="2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2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70" y="7"/>
                  </a:lnTo>
                  <a:lnTo>
                    <a:pt x="70" y="10"/>
                  </a:lnTo>
                  <a:lnTo>
                    <a:pt x="69" y="11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8"/>
                  </a:lnTo>
                  <a:lnTo>
                    <a:pt x="70" y="30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3" y="34"/>
                  </a:lnTo>
                  <a:lnTo>
                    <a:pt x="73" y="32"/>
                  </a:lnTo>
                  <a:lnTo>
                    <a:pt x="73" y="34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6" y="38"/>
                  </a:lnTo>
                  <a:lnTo>
                    <a:pt x="77" y="38"/>
                  </a:lnTo>
                  <a:lnTo>
                    <a:pt x="79" y="38"/>
                  </a:lnTo>
                  <a:lnTo>
                    <a:pt x="80" y="40"/>
                  </a:lnTo>
                  <a:lnTo>
                    <a:pt x="80" y="41"/>
                  </a:lnTo>
                  <a:lnTo>
                    <a:pt x="83" y="41"/>
                  </a:lnTo>
                  <a:lnTo>
                    <a:pt x="83" y="42"/>
                  </a:lnTo>
                  <a:lnTo>
                    <a:pt x="84" y="45"/>
                  </a:lnTo>
                  <a:lnTo>
                    <a:pt x="86" y="45"/>
                  </a:lnTo>
                  <a:lnTo>
                    <a:pt x="90" y="45"/>
                  </a:lnTo>
                  <a:lnTo>
                    <a:pt x="91" y="47"/>
                  </a:lnTo>
                  <a:lnTo>
                    <a:pt x="94" y="45"/>
                  </a:lnTo>
                  <a:lnTo>
                    <a:pt x="96" y="45"/>
                  </a:lnTo>
                  <a:lnTo>
                    <a:pt x="97" y="45"/>
                  </a:lnTo>
                  <a:lnTo>
                    <a:pt x="97" y="47"/>
                  </a:lnTo>
                  <a:lnTo>
                    <a:pt x="99" y="47"/>
                  </a:lnTo>
                  <a:lnTo>
                    <a:pt x="101" y="48"/>
                  </a:lnTo>
                  <a:lnTo>
                    <a:pt x="103" y="50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6" y="51"/>
                  </a:lnTo>
                  <a:lnTo>
                    <a:pt x="107" y="51"/>
                  </a:lnTo>
                  <a:lnTo>
                    <a:pt x="109" y="52"/>
                  </a:lnTo>
                  <a:lnTo>
                    <a:pt x="110" y="54"/>
                  </a:lnTo>
                  <a:lnTo>
                    <a:pt x="111" y="54"/>
                  </a:lnTo>
                  <a:lnTo>
                    <a:pt x="114" y="55"/>
                  </a:lnTo>
                  <a:lnTo>
                    <a:pt x="117" y="55"/>
                  </a:lnTo>
                  <a:lnTo>
                    <a:pt x="119" y="57"/>
                  </a:lnTo>
                  <a:lnTo>
                    <a:pt x="120" y="55"/>
                  </a:lnTo>
                  <a:lnTo>
                    <a:pt x="120" y="57"/>
                  </a:lnTo>
                  <a:lnTo>
                    <a:pt x="121" y="58"/>
                  </a:lnTo>
                  <a:lnTo>
                    <a:pt x="123" y="61"/>
                  </a:lnTo>
                  <a:lnTo>
                    <a:pt x="124" y="61"/>
                  </a:lnTo>
                  <a:lnTo>
                    <a:pt x="126" y="62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1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40" y="62"/>
                  </a:lnTo>
                  <a:lnTo>
                    <a:pt x="143" y="65"/>
                  </a:lnTo>
                  <a:lnTo>
                    <a:pt x="146" y="65"/>
                  </a:lnTo>
                  <a:lnTo>
                    <a:pt x="147" y="67"/>
                  </a:lnTo>
                  <a:lnTo>
                    <a:pt x="147" y="68"/>
                  </a:lnTo>
                  <a:lnTo>
                    <a:pt x="149" y="70"/>
                  </a:lnTo>
                  <a:lnTo>
                    <a:pt x="149" y="71"/>
                  </a:lnTo>
                  <a:lnTo>
                    <a:pt x="147" y="72"/>
                  </a:lnTo>
                  <a:lnTo>
                    <a:pt x="147" y="72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9" y="75"/>
                  </a:lnTo>
                  <a:lnTo>
                    <a:pt x="149" y="77"/>
                  </a:lnTo>
                  <a:lnTo>
                    <a:pt x="149" y="80"/>
                  </a:lnTo>
                  <a:lnTo>
                    <a:pt x="150" y="80"/>
                  </a:lnTo>
                  <a:lnTo>
                    <a:pt x="150" y="88"/>
                  </a:lnTo>
                  <a:lnTo>
                    <a:pt x="149" y="88"/>
                  </a:lnTo>
                  <a:lnTo>
                    <a:pt x="146" y="88"/>
                  </a:lnTo>
                  <a:lnTo>
                    <a:pt x="146" y="90"/>
                  </a:lnTo>
                  <a:lnTo>
                    <a:pt x="149" y="92"/>
                  </a:lnTo>
                  <a:lnTo>
                    <a:pt x="151" y="94"/>
                  </a:lnTo>
                  <a:lnTo>
                    <a:pt x="151" y="98"/>
                  </a:lnTo>
                  <a:lnTo>
                    <a:pt x="151" y="101"/>
                  </a:lnTo>
                  <a:lnTo>
                    <a:pt x="151" y="105"/>
                  </a:lnTo>
                  <a:lnTo>
                    <a:pt x="151" y="108"/>
                  </a:lnTo>
                  <a:lnTo>
                    <a:pt x="157" y="108"/>
                  </a:lnTo>
                  <a:lnTo>
                    <a:pt x="164" y="108"/>
                  </a:lnTo>
                  <a:lnTo>
                    <a:pt x="171" y="108"/>
                  </a:lnTo>
                  <a:lnTo>
                    <a:pt x="178" y="108"/>
                  </a:lnTo>
                  <a:lnTo>
                    <a:pt x="178" y="108"/>
                  </a:lnTo>
                  <a:lnTo>
                    <a:pt x="180" y="108"/>
                  </a:lnTo>
                  <a:lnTo>
                    <a:pt x="180" y="108"/>
                  </a:lnTo>
                  <a:lnTo>
                    <a:pt x="181" y="108"/>
                  </a:lnTo>
                  <a:lnTo>
                    <a:pt x="181" y="108"/>
                  </a:lnTo>
                  <a:lnTo>
                    <a:pt x="181" y="110"/>
                  </a:lnTo>
                  <a:lnTo>
                    <a:pt x="181" y="111"/>
                  </a:lnTo>
                  <a:lnTo>
                    <a:pt x="178" y="114"/>
                  </a:lnTo>
                  <a:lnTo>
                    <a:pt x="178" y="115"/>
                  </a:lnTo>
                  <a:lnTo>
                    <a:pt x="180" y="118"/>
                  </a:lnTo>
                  <a:lnTo>
                    <a:pt x="180" y="121"/>
                  </a:lnTo>
                  <a:lnTo>
                    <a:pt x="180" y="124"/>
                  </a:lnTo>
                  <a:lnTo>
                    <a:pt x="181" y="124"/>
                  </a:lnTo>
                  <a:lnTo>
                    <a:pt x="183" y="125"/>
                  </a:lnTo>
                  <a:lnTo>
                    <a:pt x="187" y="128"/>
                  </a:lnTo>
                  <a:lnTo>
                    <a:pt x="188" y="128"/>
                  </a:lnTo>
                  <a:lnTo>
                    <a:pt x="190" y="128"/>
                  </a:lnTo>
                  <a:lnTo>
                    <a:pt x="190" y="130"/>
                  </a:lnTo>
                  <a:lnTo>
                    <a:pt x="190" y="131"/>
                  </a:lnTo>
                  <a:lnTo>
                    <a:pt x="191" y="135"/>
                  </a:lnTo>
                  <a:lnTo>
                    <a:pt x="193" y="138"/>
                  </a:lnTo>
                  <a:lnTo>
                    <a:pt x="194" y="140"/>
                  </a:lnTo>
                  <a:lnTo>
                    <a:pt x="194" y="140"/>
                  </a:lnTo>
                  <a:lnTo>
                    <a:pt x="194" y="141"/>
                  </a:lnTo>
                  <a:lnTo>
                    <a:pt x="194" y="141"/>
                  </a:lnTo>
                  <a:lnTo>
                    <a:pt x="193" y="141"/>
                  </a:lnTo>
                  <a:lnTo>
                    <a:pt x="193" y="144"/>
                  </a:lnTo>
                  <a:lnTo>
                    <a:pt x="191" y="148"/>
                  </a:lnTo>
                  <a:lnTo>
                    <a:pt x="190" y="152"/>
                  </a:lnTo>
                  <a:lnTo>
                    <a:pt x="191" y="152"/>
                  </a:lnTo>
                  <a:lnTo>
                    <a:pt x="191" y="152"/>
                  </a:lnTo>
                  <a:lnTo>
                    <a:pt x="191" y="154"/>
                  </a:lnTo>
                  <a:lnTo>
                    <a:pt x="190" y="154"/>
                  </a:lnTo>
                  <a:lnTo>
                    <a:pt x="190" y="155"/>
                  </a:lnTo>
                  <a:lnTo>
                    <a:pt x="188" y="157"/>
                  </a:lnTo>
                  <a:lnTo>
                    <a:pt x="187" y="161"/>
                  </a:lnTo>
                  <a:lnTo>
                    <a:pt x="186" y="164"/>
                  </a:lnTo>
                  <a:lnTo>
                    <a:pt x="184" y="165"/>
                  </a:lnTo>
                  <a:lnTo>
                    <a:pt x="186" y="167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7" y="171"/>
                  </a:lnTo>
                  <a:lnTo>
                    <a:pt x="186" y="171"/>
                  </a:lnTo>
                  <a:lnTo>
                    <a:pt x="186" y="172"/>
                  </a:lnTo>
                  <a:lnTo>
                    <a:pt x="186" y="172"/>
                  </a:lnTo>
                  <a:lnTo>
                    <a:pt x="184" y="17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171;p3"/>
            <p:cNvSpPr/>
            <p:nvPr/>
          </p:nvSpPr>
          <p:spPr>
            <a:xfrm>
              <a:off x="3120393" y="4320201"/>
              <a:ext cx="440415" cy="411199"/>
            </a:xfrm>
            <a:custGeom>
              <a:rect b="b" l="l" r="r" t="t"/>
              <a:pathLst>
                <a:path extrusionOk="0" h="655" w="628">
                  <a:moveTo>
                    <a:pt x="281" y="53"/>
                  </a:moveTo>
                  <a:lnTo>
                    <a:pt x="281" y="53"/>
                  </a:lnTo>
                  <a:lnTo>
                    <a:pt x="283" y="53"/>
                  </a:lnTo>
                  <a:lnTo>
                    <a:pt x="286" y="54"/>
                  </a:lnTo>
                  <a:lnTo>
                    <a:pt x="288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3"/>
                  </a:lnTo>
                  <a:lnTo>
                    <a:pt x="290" y="52"/>
                  </a:lnTo>
                  <a:lnTo>
                    <a:pt x="290" y="50"/>
                  </a:lnTo>
                  <a:lnTo>
                    <a:pt x="288" y="50"/>
                  </a:lnTo>
                  <a:lnTo>
                    <a:pt x="287" y="49"/>
                  </a:lnTo>
                  <a:lnTo>
                    <a:pt x="287" y="47"/>
                  </a:lnTo>
                  <a:lnTo>
                    <a:pt x="287" y="47"/>
                  </a:lnTo>
                  <a:lnTo>
                    <a:pt x="287" y="47"/>
                  </a:lnTo>
                  <a:lnTo>
                    <a:pt x="288" y="46"/>
                  </a:lnTo>
                  <a:lnTo>
                    <a:pt x="288" y="46"/>
                  </a:lnTo>
                  <a:lnTo>
                    <a:pt x="288" y="44"/>
                  </a:lnTo>
                  <a:lnTo>
                    <a:pt x="288" y="44"/>
                  </a:lnTo>
                  <a:lnTo>
                    <a:pt x="290" y="44"/>
                  </a:lnTo>
                  <a:lnTo>
                    <a:pt x="290" y="44"/>
                  </a:lnTo>
                  <a:lnTo>
                    <a:pt x="290" y="44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8" y="44"/>
                  </a:lnTo>
                  <a:lnTo>
                    <a:pt x="300" y="44"/>
                  </a:lnTo>
                  <a:lnTo>
                    <a:pt x="300" y="44"/>
                  </a:lnTo>
                  <a:lnTo>
                    <a:pt x="301" y="43"/>
                  </a:lnTo>
                  <a:lnTo>
                    <a:pt x="303" y="43"/>
                  </a:lnTo>
                  <a:lnTo>
                    <a:pt x="303" y="43"/>
                  </a:lnTo>
                  <a:lnTo>
                    <a:pt x="304" y="43"/>
                  </a:lnTo>
                  <a:lnTo>
                    <a:pt x="304" y="43"/>
                  </a:lnTo>
                  <a:lnTo>
                    <a:pt x="306" y="43"/>
                  </a:lnTo>
                  <a:lnTo>
                    <a:pt x="306" y="43"/>
                  </a:lnTo>
                  <a:lnTo>
                    <a:pt x="306" y="44"/>
                  </a:lnTo>
                  <a:lnTo>
                    <a:pt x="307" y="44"/>
                  </a:lnTo>
                  <a:lnTo>
                    <a:pt x="307" y="44"/>
                  </a:lnTo>
                  <a:lnTo>
                    <a:pt x="308" y="44"/>
                  </a:lnTo>
                  <a:lnTo>
                    <a:pt x="308" y="44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0" y="47"/>
                  </a:lnTo>
                  <a:lnTo>
                    <a:pt x="311" y="47"/>
                  </a:lnTo>
                  <a:lnTo>
                    <a:pt x="311" y="47"/>
                  </a:lnTo>
                  <a:lnTo>
                    <a:pt x="311" y="47"/>
                  </a:lnTo>
                  <a:lnTo>
                    <a:pt x="313" y="49"/>
                  </a:lnTo>
                  <a:lnTo>
                    <a:pt x="314" y="49"/>
                  </a:lnTo>
                  <a:lnTo>
                    <a:pt x="316" y="50"/>
                  </a:lnTo>
                  <a:lnTo>
                    <a:pt x="317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20" y="50"/>
                  </a:lnTo>
                  <a:lnTo>
                    <a:pt x="321" y="49"/>
                  </a:lnTo>
                  <a:lnTo>
                    <a:pt x="323" y="47"/>
                  </a:lnTo>
                  <a:lnTo>
                    <a:pt x="324" y="47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24" y="47"/>
                  </a:lnTo>
                  <a:lnTo>
                    <a:pt x="326" y="47"/>
                  </a:lnTo>
                  <a:lnTo>
                    <a:pt x="326" y="47"/>
                  </a:lnTo>
                  <a:lnTo>
                    <a:pt x="328" y="47"/>
                  </a:lnTo>
                  <a:lnTo>
                    <a:pt x="328" y="49"/>
                  </a:lnTo>
                  <a:lnTo>
                    <a:pt x="330" y="47"/>
                  </a:lnTo>
                  <a:lnTo>
                    <a:pt x="331" y="47"/>
                  </a:lnTo>
                  <a:lnTo>
                    <a:pt x="331" y="47"/>
                  </a:lnTo>
                  <a:lnTo>
                    <a:pt x="333" y="47"/>
                  </a:lnTo>
                  <a:lnTo>
                    <a:pt x="333" y="49"/>
                  </a:lnTo>
                  <a:lnTo>
                    <a:pt x="333" y="49"/>
                  </a:lnTo>
                  <a:lnTo>
                    <a:pt x="334" y="49"/>
                  </a:lnTo>
                  <a:lnTo>
                    <a:pt x="335" y="49"/>
                  </a:lnTo>
                  <a:lnTo>
                    <a:pt x="337" y="49"/>
                  </a:lnTo>
                  <a:lnTo>
                    <a:pt x="337" y="49"/>
                  </a:lnTo>
                  <a:lnTo>
                    <a:pt x="338" y="49"/>
                  </a:lnTo>
                  <a:lnTo>
                    <a:pt x="338" y="47"/>
                  </a:lnTo>
                  <a:lnTo>
                    <a:pt x="340" y="47"/>
                  </a:lnTo>
                  <a:lnTo>
                    <a:pt x="341" y="46"/>
                  </a:lnTo>
                  <a:lnTo>
                    <a:pt x="343" y="46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2"/>
                  </a:lnTo>
                  <a:lnTo>
                    <a:pt x="345" y="39"/>
                  </a:lnTo>
                  <a:lnTo>
                    <a:pt x="345" y="37"/>
                  </a:lnTo>
                  <a:lnTo>
                    <a:pt x="347" y="36"/>
                  </a:lnTo>
                  <a:lnTo>
                    <a:pt x="347" y="36"/>
                  </a:lnTo>
                  <a:lnTo>
                    <a:pt x="347" y="34"/>
                  </a:lnTo>
                  <a:lnTo>
                    <a:pt x="347" y="33"/>
                  </a:lnTo>
                  <a:lnTo>
                    <a:pt x="348" y="33"/>
                  </a:lnTo>
                  <a:lnTo>
                    <a:pt x="348" y="32"/>
                  </a:lnTo>
                  <a:lnTo>
                    <a:pt x="350" y="30"/>
                  </a:lnTo>
                  <a:lnTo>
                    <a:pt x="351" y="29"/>
                  </a:lnTo>
                  <a:lnTo>
                    <a:pt x="353" y="26"/>
                  </a:lnTo>
                  <a:lnTo>
                    <a:pt x="353" y="24"/>
                  </a:lnTo>
                  <a:lnTo>
                    <a:pt x="354" y="24"/>
                  </a:lnTo>
                  <a:lnTo>
                    <a:pt x="354" y="24"/>
                  </a:lnTo>
                  <a:lnTo>
                    <a:pt x="354" y="23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7" y="20"/>
                  </a:lnTo>
                  <a:lnTo>
                    <a:pt x="358" y="20"/>
                  </a:lnTo>
                  <a:lnTo>
                    <a:pt x="358" y="19"/>
                  </a:lnTo>
                  <a:lnTo>
                    <a:pt x="360" y="16"/>
                  </a:lnTo>
                  <a:lnTo>
                    <a:pt x="360" y="16"/>
                  </a:lnTo>
                  <a:lnTo>
                    <a:pt x="361" y="16"/>
                  </a:lnTo>
                  <a:lnTo>
                    <a:pt x="364" y="17"/>
                  </a:lnTo>
                  <a:lnTo>
                    <a:pt x="365" y="19"/>
                  </a:lnTo>
                  <a:lnTo>
                    <a:pt x="367" y="26"/>
                  </a:lnTo>
                  <a:lnTo>
                    <a:pt x="368" y="32"/>
                  </a:lnTo>
                  <a:lnTo>
                    <a:pt x="368" y="34"/>
                  </a:lnTo>
                  <a:lnTo>
                    <a:pt x="371" y="42"/>
                  </a:lnTo>
                  <a:lnTo>
                    <a:pt x="371" y="43"/>
                  </a:lnTo>
                  <a:lnTo>
                    <a:pt x="373" y="44"/>
                  </a:lnTo>
                  <a:lnTo>
                    <a:pt x="373" y="46"/>
                  </a:lnTo>
                  <a:lnTo>
                    <a:pt x="374" y="49"/>
                  </a:lnTo>
                  <a:lnTo>
                    <a:pt x="374" y="49"/>
                  </a:lnTo>
                  <a:lnTo>
                    <a:pt x="373" y="50"/>
                  </a:lnTo>
                  <a:lnTo>
                    <a:pt x="374" y="50"/>
                  </a:lnTo>
                  <a:lnTo>
                    <a:pt x="375" y="50"/>
                  </a:lnTo>
                  <a:lnTo>
                    <a:pt x="375" y="52"/>
                  </a:lnTo>
                  <a:lnTo>
                    <a:pt x="377" y="53"/>
                  </a:lnTo>
                  <a:lnTo>
                    <a:pt x="377" y="54"/>
                  </a:lnTo>
                  <a:lnTo>
                    <a:pt x="380" y="56"/>
                  </a:lnTo>
                  <a:lnTo>
                    <a:pt x="381" y="56"/>
                  </a:lnTo>
                  <a:lnTo>
                    <a:pt x="384" y="56"/>
                  </a:lnTo>
                  <a:lnTo>
                    <a:pt x="385" y="57"/>
                  </a:lnTo>
                  <a:lnTo>
                    <a:pt x="387" y="62"/>
                  </a:lnTo>
                  <a:lnTo>
                    <a:pt x="387" y="63"/>
                  </a:lnTo>
                  <a:lnTo>
                    <a:pt x="387" y="66"/>
                  </a:lnTo>
                  <a:lnTo>
                    <a:pt x="385" y="66"/>
                  </a:lnTo>
                  <a:lnTo>
                    <a:pt x="384" y="67"/>
                  </a:lnTo>
                  <a:lnTo>
                    <a:pt x="384" y="67"/>
                  </a:lnTo>
                  <a:lnTo>
                    <a:pt x="380" y="70"/>
                  </a:lnTo>
                  <a:lnTo>
                    <a:pt x="380" y="72"/>
                  </a:lnTo>
                  <a:lnTo>
                    <a:pt x="377" y="74"/>
                  </a:lnTo>
                  <a:lnTo>
                    <a:pt x="375" y="77"/>
                  </a:lnTo>
                  <a:lnTo>
                    <a:pt x="373" y="80"/>
                  </a:lnTo>
                  <a:lnTo>
                    <a:pt x="371" y="82"/>
                  </a:lnTo>
                  <a:lnTo>
                    <a:pt x="370" y="82"/>
                  </a:lnTo>
                  <a:lnTo>
                    <a:pt x="370" y="82"/>
                  </a:lnTo>
                  <a:lnTo>
                    <a:pt x="367" y="84"/>
                  </a:lnTo>
                  <a:lnTo>
                    <a:pt x="364" y="86"/>
                  </a:lnTo>
                  <a:lnTo>
                    <a:pt x="364" y="87"/>
                  </a:lnTo>
                  <a:lnTo>
                    <a:pt x="363" y="90"/>
                  </a:lnTo>
                  <a:lnTo>
                    <a:pt x="361" y="92"/>
                  </a:lnTo>
                  <a:lnTo>
                    <a:pt x="360" y="93"/>
                  </a:lnTo>
                  <a:lnTo>
                    <a:pt x="357" y="96"/>
                  </a:lnTo>
                  <a:lnTo>
                    <a:pt x="357" y="97"/>
                  </a:lnTo>
                  <a:lnTo>
                    <a:pt x="357" y="100"/>
                  </a:lnTo>
                  <a:lnTo>
                    <a:pt x="355" y="102"/>
                  </a:lnTo>
                  <a:lnTo>
                    <a:pt x="354" y="103"/>
                  </a:lnTo>
                  <a:lnTo>
                    <a:pt x="354" y="104"/>
                  </a:lnTo>
                  <a:lnTo>
                    <a:pt x="353" y="106"/>
                  </a:lnTo>
                  <a:lnTo>
                    <a:pt x="353" y="106"/>
                  </a:lnTo>
                  <a:lnTo>
                    <a:pt x="348" y="106"/>
                  </a:lnTo>
                  <a:lnTo>
                    <a:pt x="344" y="109"/>
                  </a:lnTo>
                  <a:lnTo>
                    <a:pt x="343" y="109"/>
                  </a:lnTo>
                  <a:lnTo>
                    <a:pt x="348" y="109"/>
                  </a:lnTo>
                  <a:lnTo>
                    <a:pt x="350" y="110"/>
                  </a:lnTo>
                  <a:lnTo>
                    <a:pt x="354" y="109"/>
                  </a:lnTo>
                  <a:lnTo>
                    <a:pt x="358" y="106"/>
                  </a:lnTo>
                  <a:lnTo>
                    <a:pt x="360" y="106"/>
                  </a:lnTo>
                  <a:lnTo>
                    <a:pt x="364" y="103"/>
                  </a:lnTo>
                  <a:lnTo>
                    <a:pt x="365" y="102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370" y="99"/>
                  </a:lnTo>
                  <a:lnTo>
                    <a:pt x="371" y="100"/>
                  </a:lnTo>
                  <a:lnTo>
                    <a:pt x="371" y="100"/>
                  </a:lnTo>
                  <a:lnTo>
                    <a:pt x="370" y="102"/>
                  </a:lnTo>
                  <a:lnTo>
                    <a:pt x="370" y="103"/>
                  </a:lnTo>
                  <a:lnTo>
                    <a:pt x="371" y="103"/>
                  </a:lnTo>
                  <a:lnTo>
                    <a:pt x="371" y="104"/>
                  </a:lnTo>
                  <a:lnTo>
                    <a:pt x="371" y="106"/>
                  </a:lnTo>
                  <a:lnTo>
                    <a:pt x="373" y="107"/>
                  </a:lnTo>
                  <a:lnTo>
                    <a:pt x="374" y="110"/>
                  </a:lnTo>
                  <a:lnTo>
                    <a:pt x="374" y="112"/>
                  </a:lnTo>
                  <a:lnTo>
                    <a:pt x="374" y="112"/>
                  </a:lnTo>
                  <a:lnTo>
                    <a:pt x="374" y="113"/>
                  </a:lnTo>
                  <a:lnTo>
                    <a:pt x="375" y="113"/>
                  </a:lnTo>
                  <a:lnTo>
                    <a:pt x="378" y="116"/>
                  </a:lnTo>
                  <a:lnTo>
                    <a:pt x="381" y="114"/>
                  </a:lnTo>
                  <a:lnTo>
                    <a:pt x="383" y="114"/>
                  </a:lnTo>
                  <a:lnTo>
                    <a:pt x="383" y="113"/>
                  </a:lnTo>
                  <a:lnTo>
                    <a:pt x="385" y="113"/>
                  </a:lnTo>
                  <a:lnTo>
                    <a:pt x="387" y="114"/>
                  </a:lnTo>
                  <a:lnTo>
                    <a:pt x="390" y="114"/>
                  </a:lnTo>
                  <a:lnTo>
                    <a:pt x="391" y="113"/>
                  </a:lnTo>
                  <a:lnTo>
                    <a:pt x="395" y="112"/>
                  </a:lnTo>
                  <a:lnTo>
                    <a:pt x="394" y="116"/>
                  </a:lnTo>
                  <a:lnTo>
                    <a:pt x="394" y="119"/>
                  </a:lnTo>
                  <a:lnTo>
                    <a:pt x="393" y="120"/>
                  </a:lnTo>
                  <a:lnTo>
                    <a:pt x="393" y="124"/>
                  </a:lnTo>
                  <a:lnTo>
                    <a:pt x="391" y="124"/>
                  </a:lnTo>
                  <a:lnTo>
                    <a:pt x="391" y="126"/>
                  </a:lnTo>
                  <a:lnTo>
                    <a:pt x="391" y="126"/>
                  </a:lnTo>
                  <a:lnTo>
                    <a:pt x="393" y="126"/>
                  </a:lnTo>
                  <a:lnTo>
                    <a:pt x="394" y="124"/>
                  </a:lnTo>
                  <a:lnTo>
                    <a:pt x="394" y="122"/>
                  </a:lnTo>
                  <a:lnTo>
                    <a:pt x="397" y="114"/>
                  </a:lnTo>
                  <a:lnTo>
                    <a:pt x="398" y="114"/>
                  </a:lnTo>
                  <a:lnTo>
                    <a:pt x="401" y="113"/>
                  </a:lnTo>
                  <a:lnTo>
                    <a:pt x="405" y="107"/>
                  </a:lnTo>
                  <a:lnTo>
                    <a:pt x="407" y="107"/>
                  </a:lnTo>
                  <a:lnTo>
                    <a:pt x="408" y="109"/>
                  </a:lnTo>
                  <a:lnTo>
                    <a:pt x="410" y="110"/>
                  </a:lnTo>
                  <a:lnTo>
                    <a:pt x="410" y="109"/>
                  </a:lnTo>
                  <a:lnTo>
                    <a:pt x="411" y="107"/>
                  </a:lnTo>
                  <a:lnTo>
                    <a:pt x="410" y="107"/>
                  </a:lnTo>
                  <a:lnTo>
                    <a:pt x="410" y="106"/>
                  </a:lnTo>
                  <a:lnTo>
                    <a:pt x="410" y="104"/>
                  </a:lnTo>
                  <a:lnTo>
                    <a:pt x="410" y="103"/>
                  </a:lnTo>
                  <a:lnTo>
                    <a:pt x="410" y="102"/>
                  </a:lnTo>
                  <a:lnTo>
                    <a:pt x="413" y="100"/>
                  </a:lnTo>
                  <a:lnTo>
                    <a:pt x="411" y="99"/>
                  </a:lnTo>
                  <a:lnTo>
                    <a:pt x="413" y="99"/>
                  </a:lnTo>
                  <a:lnTo>
                    <a:pt x="414" y="97"/>
                  </a:lnTo>
                  <a:lnTo>
                    <a:pt x="415" y="97"/>
                  </a:lnTo>
                  <a:lnTo>
                    <a:pt x="415" y="96"/>
                  </a:lnTo>
                  <a:lnTo>
                    <a:pt x="415" y="96"/>
                  </a:lnTo>
                  <a:lnTo>
                    <a:pt x="417" y="96"/>
                  </a:lnTo>
                  <a:lnTo>
                    <a:pt x="417" y="96"/>
                  </a:lnTo>
                  <a:lnTo>
                    <a:pt x="418" y="94"/>
                  </a:lnTo>
                  <a:lnTo>
                    <a:pt x="420" y="94"/>
                  </a:lnTo>
                  <a:lnTo>
                    <a:pt x="421" y="94"/>
                  </a:lnTo>
                  <a:lnTo>
                    <a:pt x="421" y="96"/>
                  </a:lnTo>
                  <a:lnTo>
                    <a:pt x="421" y="96"/>
                  </a:lnTo>
                  <a:lnTo>
                    <a:pt x="423" y="96"/>
                  </a:lnTo>
                  <a:lnTo>
                    <a:pt x="424" y="94"/>
                  </a:lnTo>
                  <a:lnTo>
                    <a:pt x="425" y="96"/>
                  </a:lnTo>
                  <a:lnTo>
                    <a:pt x="427" y="96"/>
                  </a:lnTo>
                  <a:lnTo>
                    <a:pt x="425" y="96"/>
                  </a:lnTo>
                  <a:lnTo>
                    <a:pt x="425" y="94"/>
                  </a:lnTo>
                  <a:lnTo>
                    <a:pt x="425" y="94"/>
                  </a:lnTo>
                  <a:lnTo>
                    <a:pt x="427" y="94"/>
                  </a:lnTo>
                  <a:lnTo>
                    <a:pt x="428" y="94"/>
                  </a:lnTo>
                  <a:lnTo>
                    <a:pt x="430" y="94"/>
                  </a:lnTo>
                  <a:lnTo>
                    <a:pt x="431" y="96"/>
                  </a:lnTo>
                  <a:lnTo>
                    <a:pt x="432" y="96"/>
                  </a:lnTo>
                  <a:lnTo>
                    <a:pt x="434" y="96"/>
                  </a:lnTo>
                  <a:lnTo>
                    <a:pt x="434" y="96"/>
                  </a:lnTo>
                  <a:lnTo>
                    <a:pt x="435" y="96"/>
                  </a:lnTo>
                  <a:lnTo>
                    <a:pt x="437" y="97"/>
                  </a:lnTo>
                  <a:lnTo>
                    <a:pt x="438" y="99"/>
                  </a:lnTo>
                  <a:lnTo>
                    <a:pt x="440" y="99"/>
                  </a:lnTo>
                  <a:lnTo>
                    <a:pt x="441" y="100"/>
                  </a:lnTo>
                  <a:lnTo>
                    <a:pt x="442" y="100"/>
                  </a:lnTo>
                  <a:lnTo>
                    <a:pt x="444" y="100"/>
                  </a:lnTo>
                  <a:lnTo>
                    <a:pt x="445" y="100"/>
                  </a:lnTo>
                  <a:lnTo>
                    <a:pt x="445" y="102"/>
                  </a:lnTo>
                  <a:lnTo>
                    <a:pt x="447" y="102"/>
                  </a:lnTo>
                  <a:lnTo>
                    <a:pt x="448" y="102"/>
                  </a:lnTo>
                  <a:lnTo>
                    <a:pt x="450" y="103"/>
                  </a:lnTo>
                  <a:lnTo>
                    <a:pt x="452" y="104"/>
                  </a:lnTo>
                  <a:lnTo>
                    <a:pt x="454" y="106"/>
                  </a:lnTo>
                  <a:lnTo>
                    <a:pt x="455" y="106"/>
                  </a:lnTo>
                  <a:lnTo>
                    <a:pt x="458" y="106"/>
                  </a:lnTo>
                  <a:lnTo>
                    <a:pt x="460" y="109"/>
                  </a:lnTo>
                  <a:lnTo>
                    <a:pt x="460" y="112"/>
                  </a:lnTo>
                  <a:lnTo>
                    <a:pt x="460" y="112"/>
                  </a:lnTo>
                  <a:lnTo>
                    <a:pt x="461" y="110"/>
                  </a:lnTo>
                  <a:lnTo>
                    <a:pt x="462" y="107"/>
                  </a:lnTo>
                  <a:lnTo>
                    <a:pt x="464" y="107"/>
                  </a:lnTo>
                  <a:lnTo>
                    <a:pt x="464" y="109"/>
                  </a:lnTo>
                  <a:lnTo>
                    <a:pt x="467" y="109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3"/>
                  </a:lnTo>
                  <a:lnTo>
                    <a:pt x="470" y="113"/>
                  </a:lnTo>
                  <a:lnTo>
                    <a:pt x="471" y="112"/>
                  </a:lnTo>
                  <a:lnTo>
                    <a:pt x="471" y="113"/>
                  </a:lnTo>
                  <a:lnTo>
                    <a:pt x="472" y="114"/>
                  </a:lnTo>
                  <a:lnTo>
                    <a:pt x="472" y="117"/>
                  </a:lnTo>
                  <a:lnTo>
                    <a:pt x="471" y="117"/>
                  </a:lnTo>
                  <a:lnTo>
                    <a:pt x="471" y="119"/>
                  </a:lnTo>
                  <a:lnTo>
                    <a:pt x="470" y="119"/>
                  </a:lnTo>
                  <a:lnTo>
                    <a:pt x="470" y="120"/>
                  </a:lnTo>
                  <a:lnTo>
                    <a:pt x="468" y="120"/>
                  </a:lnTo>
                  <a:lnTo>
                    <a:pt x="470" y="122"/>
                  </a:lnTo>
                  <a:lnTo>
                    <a:pt x="470" y="122"/>
                  </a:lnTo>
                  <a:lnTo>
                    <a:pt x="471" y="120"/>
                  </a:lnTo>
                  <a:lnTo>
                    <a:pt x="472" y="119"/>
                  </a:lnTo>
                  <a:lnTo>
                    <a:pt x="474" y="119"/>
                  </a:lnTo>
                  <a:lnTo>
                    <a:pt x="474" y="120"/>
                  </a:lnTo>
                  <a:lnTo>
                    <a:pt x="475" y="122"/>
                  </a:lnTo>
                  <a:lnTo>
                    <a:pt x="472" y="122"/>
                  </a:lnTo>
                  <a:lnTo>
                    <a:pt x="472" y="123"/>
                  </a:lnTo>
                  <a:lnTo>
                    <a:pt x="472" y="124"/>
                  </a:lnTo>
                  <a:lnTo>
                    <a:pt x="471" y="124"/>
                  </a:lnTo>
                  <a:lnTo>
                    <a:pt x="471" y="127"/>
                  </a:lnTo>
                  <a:lnTo>
                    <a:pt x="471" y="127"/>
                  </a:lnTo>
                  <a:lnTo>
                    <a:pt x="470" y="134"/>
                  </a:lnTo>
                  <a:lnTo>
                    <a:pt x="470" y="134"/>
                  </a:lnTo>
                  <a:lnTo>
                    <a:pt x="471" y="134"/>
                  </a:lnTo>
                  <a:lnTo>
                    <a:pt x="474" y="130"/>
                  </a:lnTo>
                  <a:lnTo>
                    <a:pt x="475" y="127"/>
                  </a:lnTo>
                  <a:lnTo>
                    <a:pt x="475" y="124"/>
                  </a:lnTo>
                  <a:lnTo>
                    <a:pt x="477" y="123"/>
                  </a:lnTo>
                  <a:lnTo>
                    <a:pt x="478" y="123"/>
                  </a:lnTo>
                  <a:lnTo>
                    <a:pt x="480" y="123"/>
                  </a:lnTo>
                  <a:lnTo>
                    <a:pt x="480" y="124"/>
                  </a:lnTo>
                  <a:lnTo>
                    <a:pt x="480" y="126"/>
                  </a:lnTo>
                  <a:lnTo>
                    <a:pt x="478" y="127"/>
                  </a:lnTo>
                  <a:lnTo>
                    <a:pt x="477" y="127"/>
                  </a:lnTo>
                  <a:lnTo>
                    <a:pt x="478" y="129"/>
                  </a:lnTo>
                  <a:lnTo>
                    <a:pt x="481" y="126"/>
                  </a:lnTo>
                  <a:lnTo>
                    <a:pt x="482" y="124"/>
                  </a:lnTo>
                  <a:lnTo>
                    <a:pt x="482" y="126"/>
                  </a:lnTo>
                  <a:lnTo>
                    <a:pt x="485" y="124"/>
                  </a:lnTo>
                  <a:lnTo>
                    <a:pt x="490" y="124"/>
                  </a:lnTo>
                  <a:lnTo>
                    <a:pt x="490" y="123"/>
                  </a:lnTo>
                  <a:lnTo>
                    <a:pt x="491" y="122"/>
                  </a:lnTo>
                  <a:lnTo>
                    <a:pt x="494" y="122"/>
                  </a:lnTo>
                  <a:lnTo>
                    <a:pt x="498" y="123"/>
                  </a:lnTo>
                  <a:lnTo>
                    <a:pt x="500" y="124"/>
                  </a:lnTo>
                  <a:lnTo>
                    <a:pt x="502" y="126"/>
                  </a:lnTo>
                  <a:lnTo>
                    <a:pt x="504" y="126"/>
                  </a:lnTo>
                  <a:lnTo>
                    <a:pt x="510" y="129"/>
                  </a:lnTo>
                  <a:lnTo>
                    <a:pt x="512" y="129"/>
                  </a:lnTo>
                  <a:lnTo>
                    <a:pt x="515" y="127"/>
                  </a:lnTo>
                  <a:lnTo>
                    <a:pt x="517" y="129"/>
                  </a:lnTo>
                  <a:lnTo>
                    <a:pt x="518" y="130"/>
                  </a:lnTo>
                  <a:lnTo>
                    <a:pt x="521" y="130"/>
                  </a:lnTo>
                  <a:lnTo>
                    <a:pt x="524" y="130"/>
                  </a:lnTo>
                  <a:lnTo>
                    <a:pt x="525" y="130"/>
                  </a:lnTo>
                  <a:lnTo>
                    <a:pt x="531" y="130"/>
                  </a:lnTo>
                  <a:lnTo>
                    <a:pt x="537" y="129"/>
                  </a:lnTo>
                  <a:lnTo>
                    <a:pt x="541" y="129"/>
                  </a:lnTo>
                  <a:lnTo>
                    <a:pt x="545" y="130"/>
                  </a:lnTo>
                  <a:lnTo>
                    <a:pt x="548" y="132"/>
                  </a:lnTo>
                  <a:lnTo>
                    <a:pt x="551" y="133"/>
                  </a:lnTo>
                  <a:lnTo>
                    <a:pt x="552" y="133"/>
                  </a:lnTo>
                  <a:lnTo>
                    <a:pt x="555" y="134"/>
                  </a:lnTo>
                  <a:lnTo>
                    <a:pt x="561" y="137"/>
                  </a:lnTo>
                  <a:lnTo>
                    <a:pt x="562" y="140"/>
                  </a:lnTo>
                  <a:lnTo>
                    <a:pt x="567" y="142"/>
                  </a:lnTo>
                  <a:lnTo>
                    <a:pt x="569" y="143"/>
                  </a:lnTo>
                  <a:lnTo>
                    <a:pt x="571" y="146"/>
                  </a:lnTo>
                  <a:lnTo>
                    <a:pt x="572" y="147"/>
                  </a:lnTo>
                  <a:lnTo>
                    <a:pt x="577" y="152"/>
                  </a:lnTo>
                  <a:lnTo>
                    <a:pt x="581" y="154"/>
                  </a:lnTo>
                  <a:lnTo>
                    <a:pt x="582" y="157"/>
                  </a:lnTo>
                  <a:lnTo>
                    <a:pt x="588" y="159"/>
                  </a:lnTo>
                  <a:lnTo>
                    <a:pt x="591" y="162"/>
                  </a:lnTo>
                  <a:lnTo>
                    <a:pt x="594" y="163"/>
                  </a:lnTo>
                  <a:lnTo>
                    <a:pt x="595" y="163"/>
                  </a:lnTo>
                  <a:lnTo>
                    <a:pt x="597" y="164"/>
                  </a:lnTo>
                  <a:lnTo>
                    <a:pt x="599" y="166"/>
                  </a:lnTo>
                  <a:lnTo>
                    <a:pt x="602" y="164"/>
                  </a:lnTo>
                  <a:lnTo>
                    <a:pt x="607" y="164"/>
                  </a:lnTo>
                  <a:lnTo>
                    <a:pt x="609" y="164"/>
                  </a:lnTo>
                  <a:lnTo>
                    <a:pt x="617" y="166"/>
                  </a:lnTo>
                  <a:lnTo>
                    <a:pt x="618" y="166"/>
                  </a:lnTo>
                  <a:lnTo>
                    <a:pt x="619" y="167"/>
                  </a:lnTo>
                  <a:lnTo>
                    <a:pt x="621" y="173"/>
                  </a:lnTo>
                  <a:lnTo>
                    <a:pt x="622" y="179"/>
                  </a:lnTo>
                  <a:lnTo>
                    <a:pt x="624" y="183"/>
                  </a:lnTo>
                  <a:lnTo>
                    <a:pt x="625" y="186"/>
                  </a:lnTo>
                  <a:lnTo>
                    <a:pt x="626" y="191"/>
                  </a:lnTo>
                  <a:lnTo>
                    <a:pt x="626" y="194"/>
                  </a:lnTo>
                  <a:lnTo>
                    <a:pt x="626" y="196"/>
                  </a:lnTo>
                  <a:lnTo>
                    <a:pt x="628" y="196"/>
                  </a:lnTo>
                  <a:lnTo>
                    <a:pt x="628" y="200"/>
                  </a:lnTo>
                  <a:lnTo>
                    <a:pt x="628" y="201"/>
                  </a:lnTo>
                  <a:lnTo>
                    <a:pt x="628" y="204"/>
                  </a:lnTo>
                  <a:lnTo>
                    <a:pt x="628" y="206"/>
                  </a:lnTo>
                  <a:lnTo>
                    <a:pt x="628" y="206"/>
                  </a:lnTo>
                  <a:lnTo>
                    <a:pt x="626" y="207"/>
                  </a:lnTo>
                  <a:lnTo>
                    <a:pt x="626" y="207"/>
                  </a:lnTo>
                  <a:lnTo>
                    <a:pt x="628" y="210"/>
                  </a:lnTo>
                  <a:lnTo>
                    <a:pt x="628" y="211"/>
                  </a:lnTo>
                  <a:lnTo>
                    <a:pt x="626" y="213"/>
                  </a:lnTo>
                  <a:lnTo>
                    <a:pt x="625" y="219"/>
                  </a:lnTo>
                  <a:lnTo>
                    <a:pt x="622" y="227"/>
                  </a:lnTo>
                  <a:lnTo>
                    <a:pt x="619" y="231"/>
                  </a:lnTo>
                  <a:lnTo>
                    <a:pt x="615" y="237"/>
                  </a:lnTo>
                  <a:lnTo>
                    <a:pt x="612" y="239"/>
                  </a:lnTo>
                  <a:lnTo>
                    <a:pt x="612" y="240"/>
                  </a:lnTo>
                  <a:lnTo>
                    <a:pt x="611" y="239"/>
                  </a:lnTo>
                  <a:lnTo>
                    <a:pt x="611" y="240"/>
                  </a:lnTo>
                  <a:lnTo>
                    <a:pt x="611" y="241"/>
                  </a:lnTo>
                  <a:lnTo>
                    <a:pt x="608" y="246"/>
                  </a:lnTo>
                  <a:lnTo>
                    <a:pt x="605" y="247"/>
                  </a:lnTo>
                  <a:lnTo>
                    <a:pt x="602" y="251"/>
                  </a:lnTo>
                  <a:lnTo>
                    <a:pt x="602" y="251"/>
                  </a:lnTo>
                  <a:lnTo>
                    <a:pt x="599" y="253"/>
                  </a:lnTo>
                  <a:lnTo>
                    <a:pt x="597" y="254"/>
                  </a:lnTo>
                  <a:lnTo>
                    <a:pt x="594" y="257"/>
                  </a:lnTo>
                  <a:lnTo>
                    <a:pt x="591" y="261"/>
                  </a:lnTo>
                  <a:lnTo>
                    <a:pt x="591" y="261"/>
                  </a:lnTo>
                  <a:lnTo>
                    <a:pt x="589" y="261"/>
                  </a:lnTo>
                  <a:lnTo>
                    <a:pt x="589" y="263"/>
                  </a:lnTo>
                  <a:lnTo>
                    <a:pt x="588" y="266"/>
                  </a:lnTo>
                  <a:lnTo>
                    <a:pt x="587" y="267"/>
                  </a:lnTo>
                  <a:lnTo>
                    <a:pt x="587" y="266"/>
                  </a:lnTo>
                  <a:lnTo>
                    <a:pt x="588" y="266"/>
                  </a:lnTo>
                  <a:lnTo>
                    <a:pt x="588" y="264"/>
                  </a:lnTo>
                  <a:lnTo>
                    <a:pt x="588" y="264"/>
                  </a:lnTo>
                  <a:lnTo>
                    <a:pt x="587" y="264"/>
                  </a:lnTo>
                  <a:lnTo>
                    <a:pt x="587" y="267"/>
                  </a:lnTo>
                  <a:lnTo>
                    <a:pt x="587" y="269"/>
                  </a:lnTo>
                  <a:lnTo>
                    <a:pt x="585" y="270"/>
                  </a:lnTo>
                  <a:lnTo>
                    <a:pt x="582" y="279"/>
                  </a:lnTo>
                  <a:lnTo>
                    <a:pt x="578" y="284"/>
                  </a:lnTo>
                  <a:lnTo>
                    <a:pt x="577" y="286"/>
                  </a:lnTo>
                  <a:lnTo>
                    <a:pt x="574" y="290"/>
                  </a:lnTo>
                  <a:lnTo>
                    <a:pt x="571" y="291"/>
                  </a:lnTo>
                  <a:lnTo>
                    <a:pt x="569" y="291"/>
                  </a:lnTo>
                  <a:lnTo>
                    <a:pt x="569" y="291"/>
                  </a:lnTo>
                  <a:lnTo>
                    <a:pt x="568" y="289"/>
                  </a:lnTo>
                  <a:lnTo>
                    <a:pt x="567" y="287"/>
                  </a:lnTo>
                  <a:lnTo>
                    <a:pt x="565" y="287"/>
                  </a:lnTo>
                  <a:lnTo>
                    <a:pt x="565" y="289"/>
                  </a:lnTo>
                  <a:lnTo>
                    <a:pt x="564" y="289"/>
                  </a:lnTo>
                  <a:lnTo>
                    <a:pt x="564" y="289"/>
                  </a:lnTo>
                  <a:lnTo>
                    <a:pt x="564" y="290"/>
                  </a:lnTo>
                  <a:lnTo>
                    <a:pt x="565" y="291"/>
                  </a:lnTo>
                  <a:lnTo>
                    <a:pt x="564" y="293"/>
                  </a:lnTo>
                  <a:lnTo>
                    <a:pt x="564" y="296"/>
                  </a:lnTo>
                  <a:lnTo>
                    <a:pt x="561" y="297"/>
                  </a:lnTo>
                  <a:lnTo>
                    <a:pt x="561" y="299"/>
                  </a:lnTo>
                  <a:lnTo>
                    <a:pt x="559" y="300"/>
                  </a:lnTo>
                  <a:lnTo>
                    <a:pt x="559" y="303"/>
                  </a:lnTo>
                  <a:lnTo>
                    <a:pt x="561" y="301"/>
                  </a:lnTo>
                  <a:lnTo>
                    <a:pt x="561" y="303"/>
                  </a:lnTo>
                  <a:lnTo>
                    <a:pt x="561" y="303"/>
                  </a:lnTo>
                  <a:lnTo>
                    <a:pt x="561" y="303"/>
                  </a:lnTo>
                  <a:lnTo>
                    <a:pt x="561" y="306"/>
                  </a:lnTo>
                  <a:lnTo>
                    <a:pt x="561" y="309"/>
                  </a:lnTo>
                  <a:lnTo>
                    <a:pt x="559" y="310"/>
                  </a:lnTo>
                  <a:lnTo>
                    <a:pt x="561" y="310"/>
                  </a:lnTo>
                  <a:lnTo>
                    <a:pt x="561" y="309"/>
                  </a:lnTo>
                  <a:lnTo>
                    <a:pt x="562" y="310"/>
                  </a:lnTo>
                  <a:lnTo>
                    <a:pt x="559" y="320"/>
                  </a:lnTo>
                  <a:lnTo>
                    <a:pt x="561" y="324"/>
                  </a:lnTo>
                  <a:lnTo>
                    <a:pt x="561" y="330"/>
                  </a:lnTo>
                  <a:lnTo>
                    <a:pt x="562" y="334"/>
                  </a:lnTo>
                  <a:lnTo>
                    <a:pt x="562" y="340"/>
                  </a:lnTo>
                  <a:lnTo>
                    <a:pt x="562" y="340"/>
                  </a:lnTo>
                  <a:lnTo>
                    <a:pt x="561" y="346"/>
                  </a:lnTo>
                  <a:lnTo>
                    <a:pt x="559" y="350"/>
                  </a:lnTo>
                  <a:lnTo>
                    <a:pt x="559" y="354"/>
                  </a:lnTo>
                  <a:lnTo>
                    <a:pt x="558" y="360"/>
                  </a:lnTo>
                  <a:lnTo>
                    <a:pt x="558" y="361"/>
                  </a:lnTo>
                  <a:lnTo>
                    <a:pt x="558" y="364"/>
                  </a:lnTo>
                  <a:lnTo>
                    <a:pt x="558" y="370"/>
                  </a:lnTo>
                  <a:lnTo>
                    <a:pt x="558" y="370"/>
                  </a:lnTo>
                  <a:lnTo>
                    <a:pt x="557" y="373"/>
                  </a:lnTo>
                  <a:lnTo>
                    <a:pt x="554" y="374"/>
                  </a:lnTo>
                  <a:lnTo>
                    <a:pt x="554" y="376"/>
                  </a:lnTo>
                  <a:lnTo>
                    <a:pt x="551" y="380"/>
                  </a:lnTo>
                  <a:lnTo>
                    <a:pt x="549" y="386"/>
                  </a:lnTo>
                  <a:lnTo>
                    <a:pt x="549" y="390"/>
                  </a:lnTo>
                  <a:lnTo>
                    <a:pt x="549" y="397"/>
                  </a:lnTo>
                  <a:lnTo>
                    <a:pt x="549" y="400"/>
                  </a:lnTo>
                  <a:lnTo>
                    <a:pt x="548" y="401"/>
                  </a:lnTo>
                  <a:lnTo>
                    <a:pt x="548" y="403"/>
                  </a:lnTo>
                  <a:lnTo>
                    <a:pt x="545" y="404"/>
                  </a:lnTo>
                  <a:lnTo>
                    <a:pt x="542" y="408"/>
                  </a:lnTo>
                  <a:lnTo>
                    <a:pt x="542" y="413"/>
                  </a:lnTo>
                  <a:lnTo>
                    <a:pt x="539" y="414"/>
                  </a:lnTo>
                  <a:lnTo>
                    <a:pt x="539" y="416"/>
                  </a:lnTo>
                  <a:lnTo>
                    <a:pt x="538" y="418"/>
                  </a:lnTo>
                  <a:lnTo>
                    <a:pt x="535" y="423"/>
                  </a:lnTo>
                  <a:lnTo>
                    <a:pt x="534" y="423"/>
                  </a:lnTo>
                  <a:lnTo>
                    <a:pt x="532" y="424"/>
                  </a:lnTo>
                  <a:lnTo>
                    <a:pt x="531" y="427"/>
                  </a:lnTo>
                  <a:lnTo>
                    <a:pt x="529" y="430"/>
                  </a:lnTo>
                  <a:lnTo>
                    <a:pt x="528" y="434"/>
                  </a:lnTo>
                  <a:lnTo>
                    <a:pt x="528" y="436"/>
                  </a:lnTo>
                  <a:lnTo>
                    <a:pt x="528" y="437"/>
                  </a:lnTo>
                  <a:lnTo>
                    <a:pt x="529" y="441"/>
                  </a:lnTo>
                  <a:lnTo>
                    <a:pt x="529" y="443"/>
                  </a:lnTo>
                  <a:lnTo>
                    <a:pt x="527" y="444"/>
                  </a:lnTo>
                  <a:lnTo>
                    <a:pt x="520" y="447"/>
                  </a:lnTo>
                  <a:lnTo>
                    <a:pt x="518" y="448"/>
                  </a:lnTo>
                  <a:lnTo>
                    <a:pt x="514" y="453"/>
                  </a:lnTo>
                  <a:lnTo>
                    <a:pt x="512" y="454"/>
                  </a:lnTo>
                  <a:lnTo>
                    <a:pt x="514" y="456"/>
                  </a:lnTo>
                  <a:lnTo>
                    <a:pt x="514" y="457"/>
                  </a:lnTo>
                  <a:lnTo>
                    <a:pt x="512" y="457"/>
                  </a:lnTo>
                  <a:lnTo>
                    <a:pt x="512" y="460"/>
                  </a:lnTo>
                  <a:lnTo>
                    <a:pt x="511" y="460"/>
                  </a:lnTo>
                  <a:lnTo>
                    <a:pt x="504" y="460"/>
                  </a:lnTo>
                  <a:lnTo>
                    <a:pt x="500" y="460"/>
                  </a:lnTo>
                  <a:lnTo>
                    <a:pt x="498" y="460"/>
                  </a:lnTo>
                  <a:lnTo>
                    <a:pt x="497" y="460"/>
                  </a:lnTo>
                  <a:lnTo>
                    <a:pt x="495" y="458"/>
                  </a:lnTo>
                  <a:lnTo>
                    <a:pt x="495" y="458"/>
                  </a:lnTo>
                  <a:lnTo>
                    <a:pt x="495" y="457"/>
                  </a:lnTo>
                  <a:lnTo>
                    <a:pt x="495" y="456"/>
                  </a:lnTo>
                  <a:lnTo>
                    <a:pt x="494" y="456"/>
                  </a:lnTo>
                  <a:lnTo>
                    <a:pt x="494" y="456"/>
                  </a:lnTo>
                  <a:lnTo>
                    <a:pt x="492" y="457"/>
                  </a:lnTo>
                  <a:lnTo>
                    <a:pt x="492" y="457"/>
                  </a:lnTo>
                  <a:lnTo>
                    <a:pt x="494" y="458"/>
                  </a:lnTo>
                  <a:lnTo>
                    <a:pt x="494" y="460"/>
                  </a:lnTo>
                  <a:lnTo>
                    <a:pt x="494" y="460"/>
                  </a:lnTo>
                  <a:lnTo>
                    <a:pt x="491" y="460"/>
                  </a:lnTo>
                  <a:lnTo>
                    <a:pt x="488" y="461"/>
                  </a:lnTo>
                  <a:lnTo>
                    <a:pt x="485" y="461"/>
                  </a:lnTo>
                  <a:lnTo>
                    <a:pt x="482" y="463"/>
                  </a:lnTo>
                  <a:lnTo>
                    <a:pt x="481" y="461"/>
                  </a:lnTo>
                  <a:lnTo>
                    <a:pt x="482" y="461"/>
                  </a:lnTo>
                  <a:lnTo>
                    <a:pt x="484" y="461"/>
                  </a:lnTo>
                  <a:lnTo>
                    <a:pt x="487" y="460"/>
                  </a:lnTo>
                  <a:lnTo>
                    <a:pt x="485" y="460"/>
                  </a:lnTo>
                  <a:lnTo>
                    <a:pt x="482" y="458"/>
                  </a:lnTo>
                  <a:lnTo>
                    <a:pt x="480" y="460"/>
                  </a:lnTo>
                  <a:lnTo>
                    <a:pt x="478" y="460"/>
                  </a:lnTo>
                  <a:lnTo>
                    <a:pt x="475" y="460"/>
                  </a:lnTo>
                  <a:lnTo>
                    <a:pt x="471" y="461"/>
                  </a:lnTo>
                  <a:lnTo>
                    <a:pt x="470" y="463"/>
                  </a:lnTo>
                  <a:lnTo>
                    <a:pt x="470" y="464"/>
                  </a:lnTo>
                  <a:lnTo>
                    <a:pt x="471" y="464"/>
                  </a:lnTo>
                  <a:lnTo>
                    <a:pt x="472" y="466"/>
                  </a:lnTo>
                  <a:lnTo>
                    <a:pt x="471" y="466"/>
                  </a:lnTo>
                  <a:lnTo>
                    <a:pt x="470" y="466"/>
                  </a:lnTo>
                  <a:lnTo>
                    <a:pt x="465" y="467"/>
                  </a:lnTo>
                  <a:lnTo>
                    <a:pt x="461" y="470"/>
                  </a:lnTo>
                  <a:lnTo>
                    <a:pt x="460" y="471"/>
                  </a:lnTo>
                  <a:lnTo>
                    <a:pt x="458" y="473"/>
                  </a:lnTo>
                  <a:lnTo>
                    <a:pt x="458" y="474"/>
                  </a:lnTo>
                  <a:lnTo>
                    <a:pt x="457" y="474"/>
                  </a:lnTo>
                  <a:lnTo>
                    <a:pt x="457" y="474"/>
                  </a:lnTo>
                  <a:lnTo>
                    <a:pt x="454" y="474"/>
                  </a:lnTo>
                  <a:lnTo>
                    <a:pt x="451" y="474"/>
                  </a:lnTo>
                  <a:lnTo>
                    <a:pt x="450" y="474"/>
                  </a:lnTo>
                  <a:lnTo>
                    <a:pt x="438" y="480"/>
                  </a:lnTo>
                  <a:lnTo>
                    <a:pt x="435" y="481"/>
                  </a:lnTo>
                  <a:lnTo>
                    <a:pt x="431" y="487"/>
                  </a:lnTo>
                  <a:lnTo>
                    <a:pt x="424" y="491"/>
                  </a:lnTo>
                  <a:lnTo>
                    <a:pt x="420" y="494"/>
                  </a:lnTo>
                  <a:lnTo>
                    <a:pt x="418" y="496"/>
                  </a:lnTo>
                  <a:lnTo>
                    <a:pt x="418" y="496"/>
                  </a:lnTo>
                  <a:lnTo>
                    <a:pt x="417" y="496"/>
                  </a:lnTo>
                  <a:lnTo>
                    <a:pt x="417" y="497"/>
                  </a:lnTo>
                  <a:lnTo>
                    <a:pt x="418" y="497"/>
                  </a:lnTo>
                  <a:lnTo>
                    <a:pt x="418" y="498"/>
                  </a:lnTo>
                  <a:lnTo>
                    <a:pt x="417" y="500"/>
                  </a:lnTo>
                  <a:lnTo>
                    <a:pt x="414" y="503"/>
                  </a:lnTo>
                  <a:lnTo>
                    <a:pt x="413" y="503"/>
                  </a:lnTo>
                  <a:lnTo>
                    <a:pt x="414" y="501"/>
                  </a:lnTo>
                  <a:lnTo>
                    <a:pt x="413" y="501"/>
                  </a:lnTo>
                  <a:lnTo>
                    <a:pt x="410" y="500"/>
                  </a:lnTo>
                  <a:lnTo>
                    <a:pt x="410" y="501"/>
                  </a:lnTo>
                  <a:lnTo>
                    <a:pt x="410" y="503"/>
                  </a:lnTo>
                  <a:lnTo>
                    <a:pt x="410" y="503"/>
                  </a:lnTo>
                  <a:lnTo>
                    <a:pt x="408" y="503"/>
                  </a:lnTo>
                  <a:lnTo>
                    <a:pt x="407" y="503"/>
                  </a:lnTo>
                  <a:lnTo>
                    <a:pt x="405" y="501"/>
                  </a:lnTo>
                  <a:lnTo>
                    <a:pt x="405" y="504"/>
                  </a:lnTo>
                  <a:lnTo>
                    <a:pt x="408" y="504"/>
                  </a:lnTo>
                  <a:lnTo>
                    <a:pt x="410" y="506"/>
                  </a:lnTo>
                  <a:lnTo>
                    <a:pt x="411" y="506"/>
                  </a:lnTo>
                  <a:lnTo>
                    <a:pt x="408" y="510"/>
                  </a:lnTo>
                  <a:lnTo>
                    <a:pt x="407" y="510"/>
                  </a:lnTo>
                  <a:lnTo>
                    <a:pt x="405" y="511"/>
                  </a:lnTo>
                  <a:lnTo>
                    <a:pt x="407" y="511"/>
                  </a:lnTo>
                  <a:lnTo>
                    <a:pt x="408" y="511"/>
                  </a:lnTo>
                  <a:lnTo>
                    <a:pt x="407" y="516"/>
                  </a:lnTo>
                  <a:lnTo>
                    <a:pt x="405" y="517"/>
                  </a:lnTo>
                  <a:lnTo>
                    <a:pt x="405" y="517"/>
                  </a:lnTo>
                  <a:lnTo>
                    <a:pt x="405" y="518"/>
                  </a:lnTo>
                  <a:lnTo>
                    <a:pt x="405" y="520"/>
                  </a:lnTo>
                  <a:lnTo>
                    <a:pt x="407" y="520"/>
                  </a:lnTo>
                  <a:lnTo>
                    <a:pt x="407" y="523"/>
                  </a:lnTo>
                  <a:lnTo>
                    <a:pt x="405" y="524"/>
                  </a:lnTo>
                  <a:lnTo>
                    <a:pt x="405" y="526"/>
                  </a:lnTo>
                  <a:lnTo>
                    <a:pt x="407" y="528"/>
                  </a:lnTo>
                  <a:lnTo>
                    <a:pt x="407" y="531"/>
                  </a:lnTo>
                  <a:lnTo>
                    <a:pt x="408" y="533"/>
                  </a:lnTo>
                  <a:lnTo>
                    <a:pt x="408" y="534"/>
                  </a:lnTo>
                  <a:lnTo>
                    <a:pt x="407" y="536"/>
                  </a:lnTo>
                  <a:lnTo>
                    <a:pt x="408" y="537"/>
                  </a:lnTo>
                  <a:lnTo>
                    <a:pt x="407" y="541"/>
                  </a:lnTo>
                  <a:lnTo>
                    <a:pt x="407" y="546"/>
                  </a:lnTo>
                  <a:lnTo>
                    <a:pt x="407" y="550"/>
                  </a:lnTo>
                  <a:lnTo>
                    <a:pt x="407" y="553"/>
                  </a:lnTo>
                  <a:lnTo>
                    <a:pt x="405" y="554"/>
                  </a:lnTo>
                  <a:lnTo>
                    <a:pt x="404" y="557"/>
                  </a:lnTo>
                  <a:lnTo>
                    <a:pt x="404" y="560"/>
                  </a:lnTo>
                  <a:lnTo>
                    <a:pt x="401" y="561"/>
                  </a:lnTo>
                  <a:lnTo>
                    <a:pt x="397" y="564"/>
                  </a:lnTo>
                  <a:lnTo>
                    <a:pt x="393" y="568"/>
                  </a:lnTo>
                  <a:lnTo>
                    <a:pt x="388" y="574"/>
                  </a:lnTo>
                  <a:lnTo>
                    <a:pt x="384" y="581"/>
                  </a:lnTo>
                  <a:lnTo>
                    <a:pt x="380" y="593"/>
                  </a:lnTo>
                  <a:lnTo>
                    <a:pt x="375" y="601"/>
                  </a:lnTo>
                  <a:lnTo>
                    <a:pt x="373" y="605"/>
                  </a:lnTo>
                  <a:lnTo>
                    <a:pt x="370" y="608"/>
                  </a:lnTo>
                  <a:lnTo>
                    <a:pt x="367" y="613"/>
                  </a:lnTo>
                  <a:lnTo>
                    <a:pt x="361" y="617"/>
                  </a:lnTo>
                  <a:lnTo>
                    <a:pt x="355" y="621"/>
                  </a:lnTo>
                  <a:lnTo>
                    <a:pt x="354" y="623"/>
                  </a:lnTo>
                  <a:lnTo>
                    <a:pt x="353" y="624"/>
                  </a:lnTo>
                  <a:lnTo>
                    <a:pt x="351" y="624"/>
                  </a:lnTo>
                  <a:lnTo>
                    <a:pt x="353" y="623"/>
                  </a:lnTo>
                  <a:lnTo>
                    <a:pt x="351" y="621"/>
                  </a:lnTo>
                  <a:lnTo>
                    <a:pt x="351" y="620"/>
                  </a:lnTo>
                  <a:lnTo>
                    <a:pt x="353" y="618"/>
                  </a:lnTo>
                  <a:lnTo>
                    <a:pt x="354" y="620"/>
                  </a:lnTo>
                  <a:lnTo>
                    <a:pt x="355" y="620"/>
                  </a:lnTo>
                  <a:lnTo>
                    <a:pt x="355" y="618"/>
                  </a:lnTo>
                  <a:lnTo>
                    <a:pt x="358" y="618"/>
                  </a:lnTo>
                  <a:lnTo>
                    <a:pt x="361" y="614"/>
                  </a:lnTo>
                  <a:lnTo>
                    <a:pt x="364" y="613"/>
                  </a:lnTo>
                  <a:lnTo>
                    <a:pt x="365" y="610"/>
                  </a:lnTo>
                  <a:lnTo>
                    <a:pt x="367" y="608"/>
                  </a:lnTo>
                  <a:lnTo>
                    <a:pt x="367" y="605"/>
                  </a:lnTo>
                  <a:lnTo>
                    <a:pt x="367" y="605"/>
                  </a:lnTo>
                  <a:lnTo>
                    <a:pt x="370" y="605"/>
                  </a:lnTo>
                  <a:lnTo>
                    <a:pt x="370" y="604"/>
                  </a:lnTo>
                  <a:lnTo>
                    <a:pt x="370" y="604"/>
                  </a:lnTo>
                  <a:lnTo>
                    <a:pt x="370" y="603"/>
                  </a:lnTo>
                  <a:lnTo>
                    <a:pt x="373" y="600"/>
                  </a:lnTo>
                  <a:lnTo>
                    <a:pt x="374" y="598"/>
                  </a:lnTo>
                  <a:lnTo>
                    <a:pt x="374" y="593"/>
                  </a:lnTo>
                  <a:lnTo>
                    <a:pt x="374" y="593"/>
                  </a:lnTo>
                  <a:lnTo>
                    <a:pt x="375" y="594"/>
                  </a:lnTo>
                  <a:lnTo>
                    <a:pt x="375" y="593"/>
                  </a:lnTo>
                  <a:lnTo>
                    <a:pt x="375" y="591"/>
                  </a:lnTo>
                  <a:lnTo>
                    <a:pt x="375" y="590"/>
                  </a:lnTo>
                  <a:lnTo>
                    <a:pt x="374" y="590"/>
                  </a:lnTo>
                  <a:lnTo>
                    <a:pt x="370" y="593"/>
                  </a:lnTo>
                  <a:lnTo>
                    <a:pt x="368" y="593"/>
                  </a:lnTo>
                  <a:lnTo>
                    <a:pt x="368" y="590"/>
                  </a:lnTo>
                  <a:lnTo>
                    <a:pt x="365" y="590"/>
                  </a:lnTo>
                  <a:lnTo>
                    <a:pt x="365" y="587"/>
                  </a:lnTo>
                  <a:lnTo>
                    <a:pt x="365" y="587"/>
                  </a:lnTo>
                  <a:lnTo>
                    <a:pt x="364" y="586"/>
                  </a:lnTo>
                  <a:lnTo>
                    <a:pt x="364" y="588"/>
                  </a:lnTo>
                  <a:lnTo>
                    <a:pt x="364" y="590"/>
                  </a:lnTo>
                  <a:lnTo>
                    <a:pt x="367" y="593"/>
                  </a:lnTo>
                  <a:lnTo>
                    <a:pt x="365" y="593"/>
                  </a:lnTo>
                  <a:lnTo>
                    <a:pt x="365" y="594"/>
                  </a:lnTo>
                  <a:lnTo>
                    <a:pt x="364" y="596"/>
                  </a:lnTo>
                  <a:lnTo>
                    <a:pt x="364" y="600"/>
                  </a:lnTo>
                  <a:lnTo>
                    <a:pt x="364" y="598"/>
                  </a:lnTo>
                  <a:lnTo>
                    <a:pt x="363" y="598"/>
                  </a:lnTo>
                  <a:lnTo>
                    <a:pt x="363" y="601"/>
                  </a:lnTo>
                  <a:lnTo>
                    <a:pt x="361" y="603"/>
                  </a:lnTo>
                  <a:lnTo>
                    <a:pt x="361" y="603"/>
                  </a:lnTo>
                  <a:lnTo>
                    <a:pt x="361" y="604"/>
                  </a:lnTo>
                  <a:lnTo>
                    <a:pt x="361" y="605"/>
                  </a:lnTo>
                  <a:lnTo>
                    <a:pt x="357" y="608"/>
                  </a:lnTo>
                  <a:lnTo>
                    <a:pt x="354" y="610"/>
                  </a:lnTo>
                  <a:lnTo>
                    <a:pt x="353" y="611"/>
                  </a:lnTo>
                  <a:lnTo>
                    <a:pt x="353" y="613"/>
                  </a:lnTo>
                  <a:lnTo>
                    <a:pt x="353" y="615"/>
                  </a:lnTo>
                  <a:lnTo>
                    <a:pt x="351" y="617"/>
                  </a:lnTo>
                  <a:lnTo>
                    <a:pt x="350" y="620"/>
                  </a:lnTo>
                  <a:lnTo>
                    <a:pt x="350" y="621"/>
                  </a:lnTo>
                  <a:lnTo>
                    <a:pt x="350" y="624"/>
                  </a:lnTo>
                  <a:lnTo>
                    <a:pt x="351" y="625"/>
                  </a:lnTo>
                  <a:lnTo>
                    <a:pt x="350" y="627"/>
                  </a:lnTo>
                  <a:lnTo>
                    <a:pt x="348" y="628"/>
                  </a:lnTo>
                  <a:lnTo>
                    <a:pt x="347" y="631"/>
                  </a:lnTo>
                  <a:lnTo>
                    <a:pt x="344" y="638"/>
                  </a:lnTo>
                  <a:lnTo>
                    <a:pt x="343" y="644"/>
                  </a:lnTo>
                  <a:lnTo>
                    <a:pt x="341" y="647"/>
                  </a:lnTo>
                  <a:lnTo>
                    <a:pt x="338" y="650"/>
                  </a:lnTo>
                  <a:lnTo>
                    <a:pt x="331" y="655"/>
                  </a:lnTo>
                  <a:lnTo>
                    <a:pt x="330" y="655"/>
                  </a:lnTo>
                  <a:lnTo>
                    <a:pt x="330" y="655"/>
                  </a:lnTo>
                  <a:lnTo>
                    <a:pt x="328" y="654"/>
                  </a:lnTo>
                  <a:lnTo>
                    <a:pt x="328" y="654"/>
                  </a:lnTo>
                  <a:lnTo>
                    <a:pt x="328" y="653"/>
                  </a:lnTo>
                  <a:lnTo>
                    <a:pt x="328" y="651"/>
                  </a:lnTo>
                  <a:lnTo>
                    <a:pt x="328" y="644"/>
                  </a:lnTo>
                  <a:lnTo>
                    <a:pt x="328" y="644"/>
                  </a:lnTo>
                  <a:lnTo>
                    <a:pt x="328" y="643"/>
                  </a:lnTo>
                  <a:lnTo>
                    <a:pt x="330" y="641"/>
                  </a:lnTo>
                  <a:lnTo>
                    <a:pt x="331" y="640"/>
                  </a:lnTo>
                  <a:lnTo>
                    <a:pt x="333" y="638"/>
                  </a:lnTo>
                  <a:lnTo>
                    <a:pt x="334" y="637"/>
                  </a:lnTo>
                  <a:lnTo>
                    <a:pt x="334" y="635"/>
                  </a:lnTo>
                  <a:lnTo>
                    <a:pt x="333" y="634"/>
                  </a:lnTo>
                  <a:lnTo>
                    <a:pt x="331" y="634"/>
                  </a:lnTo>
                  <a:lnTo>
                    <a:pt x="328" y="633"/>
                  </a:lnTo>
                  <a:lnTo>
                    <a:pt x="327" y="630"/>
                  </a:lnTo>
                  <a:lnTo>
                    <a:pt x="327" y="628"/>
                  </a:lnTo>
                  <a:lnTo>
                    <a:pt x="326" y="625"/>
                  </a:lnTo>
                  <a:lnTo>
                    <a:pt x="326" y="624"/>
                  </a:lnTo>
                  <a:lnTo>
                    <a:pt x="324" y="624"/>
                  </a:lnTo>
                  <a:lnTo>
                    <a:pt x="324" y="623"/>
                  </a:lnTo>
                  <a:lnTo>
                    <a:pt x="323" y="623"/>
                  </a:lnTo>
                  <a:lnTo>
                    <a:pt x="323" y="621"/>
                  </a:lnTo>
                  <a:lnTo>
                    <a:pt x="321" y="621"/>
                  </a:lnTo>
                  <a:lnTo>
                    <a:pt x="320" y="621"/>
                  </a:lnTo>
                  <a:lnTo>
                    <a:pt x="317" y="620"/>
                  </a:lnTo>
                  <a:lnTo>
                    <a:pt x="316" y="618"/>
                  </a:lnTo>
                  <a:lnTo>
                    <a:pt x="313" y="615"/>
                  </a:lnTo>
                  <a:lnTo>
                    <a:pt x="313" y="614"/>
                  </a:lnTo>
                  <a:lnTo>
                    <a:pt x="311" y="613"/>
                  </a:lnTo>
                  <a:lnTo>
                    <a:pt x="307" y="611"/>
                  </a:lnTo>
                  <a:lnTo>
                    <a:pt x="304" y="608"/>
                  </a:lnTo>
                  <a:lnTo>
                    <a:pt x="303" y="610"/>
                  </a:lnTo>
                  <a:lnTo>
                    <a:pt x="301" y="608"/>
                  </a:lnTo>
                  <a:lnTo>
                    <a:pt x="301" y="608"/>
                  </a:lnTo>
                  <a:lnTo>
                    <a:pt x="300" y="607"/>
                  </a:lnTo>
                  <a:lnTo>
                    <a:pt x="300" y="607"/>
                  </a:lnTo>
                  <a:lnTo>
                    <a:pt x="300" y="605"/>
                  </a:lnTo>
                  <a:lnTo>
                    <a:pt x="298" y="604"/>
                  </a:lnTo>
                  <a:lnTo>
                    <a:pt x="297" y="603"/>
                  </a:lnTo>
                  <a:lnTo>
                    <a:pt x="296" y="601"/>
                  </a:lnTo>
                  <a:lnTo>
                    <a:pt x="296" y="601"/>
                  </a:lnTo>
                  <a:lnTo>
                    <a:pt x="294" y="601"/>
                  </a:lnTo>
                  <a:lnTo>
                    <a:pt x="294" y="601"/>
                  </a:lnTo>
                  <a:lnTo>
                    <a:pt x="294" y="603"/>
                  </a:lnTo>
                  <a:lnTo>
                    <a:pt x="294" y="603"/>
                  </a:lnTo>
                  <a:lnTo>
                    <a:pt x="293" y="604"/>
                  </a:lnTo>
                  <a:lnTo>
                    <a:pt x="291" y="604"/>
                  </a:lnTo>
                  <a:lnTo>
                    <a:pt x="291" y="605"/>
                  </a:lnTo>
                  <a:lnTo>
                    <a:pt x="290" y="605"/>
                  </a:lnTo>
                  <a:lnTo>
                    <a:pt x="288" y="605"/>
                  </a:lnTo>
                  <a:lnTo>
                    <a:pt x="288" y="605"/>
                  </a:lnTo>
                  <a:lnTo>
                    <a:pt x="288" y="604"/>
                  </a:lnTo>
                  <a:lnTo>
                    <a:pt x="288" y="601"/>
                  </a:lnTo>
                  <a:lnTo>
                    <a:pt x="288" y="600"/>
                  </a:lnTo>
                  <a:lnTo>
                    <a:pt x="287" y="598"/>
                  </a:lnTo>
                  <a:lnTo>
                    <a:pt x="286" y="597"/>
                  </a:lnTo>
                  <a:lnTo>
                    <a:pt x="283" y="594"/>
                  </a:lnTo>
                  <a:lnTo>
                    <a:pt x="277" y="588"/>
                  </a:lnTo>
                  <a:lnTo>
                    <a:pt x="276" y="587"/>
                  </a:lnTo>
                  <a:lnTo>
                    <a:pt x="274" y="587"/>
                  </a:lnTo>
                  <a:lnTo>
                    <a:pt x="273" y="587"/>
                  </a:lnTo>
                  <a:lnTo>
                    <a:pt x="271" y="588"/>
                  </a:lnTo>
                  <a:lnTo>
                    <a:pt x="270" y="590"/>
                  </a:lnTo>
                  <a:lnTo>
                    <a:pt x="270" y="590"/>
                  </a:lnTo>
                  <a:lnTo>
                    <a:pt x="267" y="590"/>
                  </a:lnTo>
                  <a:lnTo>
                    <a:pt x="264" y="590"/>
                  </a:lnTo>
                  <a:lnTo>
                    <a:pt x="263" y="588"/>
                  </a:lnTo>
                  <a:lnTo>
                    <a:pt x="264" y="588"/>
                  </a:lnTo>
                  <a:lnTo>
                    <a:pt x="266" y="586"/>
                  </a:lnTo>
                  <a:lnTo>
                    <a:pt x="267" y="584"/>
                  </a:lnTo>
                  <a:lnTo>
                    <a:pt x="268" y="583"/>
                  </a:lnTo>
                  <a:lnTo>
                    <a:pt x="268" y="581"/>
                  </a:lnTo>
                  <a:lnTo>
                    <a:pt x="271" y="580"/>
                  </a:lnTo>
                  <a:lnTo>
                    <a:pt x="274" y="578"/>
                  </a:lnTo>
                  <a:lnTo>
                    <a:pt x="277" y="574"/>
                  </a:lnTo>
                  <a:lnTo>
                    <a:pt x="278" y="573"/>
                  </a:lnTo>
                  <a:lnTo>
                    <a:pt x="278" y="571"/>
                  </a:lnTo>
                  <a:lnTo>
                    <a:pt x="280" y="570"/>
                  </a:lnTo>
                  <a:lnTo>
                    <a:pt x="281" y="568"/>
                  </a:lnTo>
                  <a:lnTo>
                    <a:pt x="283" y="567"/>
                  </a:lnTo>
                  <a:lnTo>
                    <a:pt x="284" y="564"/>
                  </a:lnTo>
                  <a:lnTo>
                    <a:pt x="286" y="563"/>
                  </a:lnTo>
                  <a:lnTo>
                    <a:pt x="287" y="561"/>
                  </a:lnTo>
                  <a:lnTo>
                    <a:pt x="288" y="560"/>
                  </a:lnTo>
                  <a:lnTo>
                    <a:pt x="288" y="558"/>
                  </a:lnTo>
                  <a:lnTo>
                    <a:pt x="288" y="557"/>
                  </a:lnTo>
                  <a:lnTo>
                    <a:pt x="290" y="557"/>
                  </a:lnTo>
                  <a:lnTo>
                    <a:pt x="290" y="557"/>
                  </a:lnTo>
                  <a:lnTo>
                    <a:pt x="290" y="556"/>
                  </a:lnTo>
                  <a:lnTo>
                    <a:pt x="290" y="556"/>
                  </a:lnTo>
                  <a:lnTo>
                    <a:pt x="291" y="556"/>
                  </a:lnTo>
                  <a:lnTo>
                    <a:pt x="291" y="556"/>
                  </a:lnTo>
                  <a:lnTo>
                    <a:pt x="293" y="556"/>
                  </a:lnTo>
                  <a:lnTo>
                    <a:pt x="294" y="556"/>
                  </a:lnTo>
                  <a:lnTo>
                    <a:pt x="294" y="556"/>
                  </a:lnTo>
                  <a:lnTo>
                    <a:pt x="294" y="554"/>
                  </a:lnTo>
                  <a:lnTo>
                    <a:pt x="293" y="553"/>
                  </a:lnTo>
                  <a:lnTo>
                    <a:pt x="293" y="553"/>
                  </a:lnTo>
                  <a:lnTo>
                    <a:pt x="296" y="551"/>
                  </a:lnTo>
                  <a:lnTo>
                    <a:pt x="297" y="550"/>
                  </a:lnTo>
                  <a:lnTo>
                    <a:pt x="298" y="550"/>
                  </a:lnTo>
                  <a:lnTo>
                    <a:pt x="300" y="548"/>
                  </a:lnTo>
                  <a:lnTo>
                    <a:pt x="301" y="547"/>
                  </a:lnTo>
                  <a:lnTo>
                    <a:pt x="303" y="547"/>
                  </a:lnTo>
                  <a:lnTo>
                    <a:pt x="304" y="546"/>
                  </a:lnTo>
                  <a:lnTo>
                    <a:pt x="304" y="546"/>
                  </a:lnTo>
                  <a:lnTo>
                    <a:pt x="304" y="544"/>
                  </a:lnTo>
                  <a:lnTo>
                    <a:pt x="306" y="544"/>
                  </a:lnTo>
                  <a:lnTo>
                    <a:pt x="306" y="544"/>
                  </a:lnTo>
                  <a:lnTo>
                    <a:pt x="307" y="543"/>
                  </a:lnTo>
                  <a:lnTo>
                    <a:pt x="307" y="541"/>
                  </a:lnTo>
                  <a:lnTo>
                    <a:pt x="307" y="541"/>
                  </a:lnTo>
                  <a:lnTo>
                    <a:pt x="308" y="540"/>
                  </a:lnTo>
                  <a:lnTo>
                    <a:pt x="310" y="540"/>
                  </a:lnTo>
                  <a:lnTo>
                    <a:pt x="310" y="540"/>
                  </a:lnTo>
                  <a:lnTo>
                    <a:pt x="311" y="540"/>
                  </a:lnTo>
                  <a:lnTo>
                    <a:pt x="311" y="538"/>
                  </a:lnTo>
                  <a:lnTo>
                    <a:pt x="313" y="538"/>
                  </a:lnTo>
                  <a:lnTo>
                    <a:pt x="314" y="538"/>
                  </a:lnTo>
                  <a:lnTo>
                    <a:pt x="316" y="538"/>
                  </a:lnTo>
                  <a:lnTo>
                    <a:pt x="317" y="537"/>
                  </a:lnTo>
                  <a:lnTo>
                    <a:pt x="317" y="536"/>
                  </a:lnTo>
                  <a:lnTo>
                    <a:pt x="318" y="536"/>
                  </a:lnTo>
                  <a:lnTo>
                    <a:pt x="318" y="536"/>
                  </a:lnTo>
                  <a:lnTo>
                    <a:pt x="320" y="536"/>
                  </a:lnTo>
                  <a:lnTo>
                    <a:pt x="321" y="534"/>
                  </a:lnTo>
                  <a:lnTo>
                    <a:pt x="323" y="534"/>
                  </a:lnTo>
                  <a:lnTo>
                    <a:pt x="323" y="533"/>
                  </a:lnTo>
                  <a:lnTo>
                    <a:pt x="324" y="530"/>
                  </a:lnTo>
                  <a:lnTo>
                    <a:pt x="326" y="528"/>
                  </a:lnTo>
                  <a:lnTo>
                    <a:pt x="326" y="527"/>
                  </a:lnTo>
                  <a:lnTo>
                    <a:pt x="324" y="527"/>
                  </a:lnTo>
                  <a:lnTo>
                    <a:pt x="326" y="524"/>
                  </a:lnTo>
                  <a:lnTo>
                    <a:pt x="326" y="521"/>
                  </a:lnTo>
                  <a:lnTo>
                    <a:pt x="326" y="520"/>
                  </a:lnTo>
                  <a:lnTo>
                    <a:pt x="326" y="518"/>
                  </a:lnTo>
                  <a:lnTo>
                    <a:pt x="326" y="517"/>
                  </a:lnTo>
                  <a:lnTo>
                    <a:pt x="326" y="514"/>
                  </a:lnTo>
                  <a:lnTo>
                    <a:pt x="324" y="513"/>
                  </a:lnTo>
                  <a:lnTo>
                    <a:pt x="323" y="508"/>
                  </a:lnTo>
                  <a:lnTo>
                    <a:pt x="323" y="507"/>
                  </a:lnTo>
                  <a:lnTo>
                    <a:pt x="321" y="507"/>
                  </a:lnTo>
                  <a:lnTo>
                    <a:pt x="321" y="506"/>
                  </a:lnTo>
                  <a:lnTo>
                    <a:pt x="320" y="506"/>
                  </a:lnTo>
                  <a:lnTo>
                    <a:pt x="318" y="506"/>
                  </a:lnTo>
                  <a:lnTo>
                    <a:pt x="318" y="504"/>
                  </a:lnTo>
                  <a:lnTo>
                    <a:pt x="317" y="504"/>
                  </a:lnTo>
                  <a:lnTo>
                    <a:pt x="317" y="506"/>
                  </a:lnTo>
                  <a:lnTo>
                    <a:pt x="316" y="506"/>
                  </a:lnTo>
                  <a:lnTo>
                    <a:pt x="314" y="506"/>
                  </a:lnTo>
                  <a:lnTo>
                    <a:pt x="314" y="507"/>
                  </a:lnTo>
                  <a:lnTo>
                    <a:pt x="313" y="506"/>
                  </a:lnTo>
                  <a:lnTo>
                    <a:pt x="313" y="506"/>
                  </a:lnTo>
                  <a:lnTo>
                    <a:pt x="311" y="506"/>
                  </a:lnTo>
                  <a:lnTo>
                    <a:pt x="311" y="503"/>
                  </a:lnTo>
                  <a:lnTo>
                    <a:pt x="313" y="500"/>
                  </a:lnTo>
                  <a:lnTo>
                    <a:pt x="314" y="497"/>
                  </a:lnTo>
                  <a:lnTo>
                    <a:pt x="314" y="497"/>
                  </a:lnTo>
                  <a:lnTo>
                    <a:pt x="314" y="493"/>
                  </a:lnTo>
                  <a:lnTo>
                    <a:pt x="316" y="487"/>
                  </a:lnTo>
                  <a:lnTo>
                    <a:pt x="317" y="483"/>
                  </a:lnTo>
                  <a:lnTo>
                    <a:pt x="316" y="481"/>
                  </a:lnTo>
                  <a:lnTo>
                    <a:pt x="316" y="480"/>
                  </a:lnTo>
                  <a:lnTo>
                    <a:pt x="317" y="478"/>
                  </a:lnTo>
                  <a:lnTo>
                    <a:pt x="317" y="478"/>
                  </a:lnTo>
                  <a:lnTo>
                    <a:pt x="316" y="477"/>
                  </a:lnTo>
                  <a:lnTo>
                    <a:pt x="314" y="476"/>
                  </a:lnTo>
                  <a:lnTo>
                    <a:pt x="313" y="476"/>
                  </a:lnTo>
                  <a:lnTo>
                    <a:pt x="311" y="474"/>
                  </a:lnTo>
                  <a:lnTo>
                    <a:pt x="310" y="474"/>
                  </a:lnTo>
                  <a:lnTo>
                    <a:pt x="310" y="476"/>
                  </a:lnTo>
                  <a:lnTo>
                    <a:pt x="307" y="476"/>
                  </a:lnTo>
                  <a:lnTo>
                    <a:pt x="306" y="477"/>
                  </a:lnTo>
                  <a:lnTo>
                    <a:pt x="306" y="477"/>
                  </a:lnTo>
                  <a:lnTo>
                    <a:pt x="304" y="478"/>
                  </a:lnTo>
                  <a:lnTo>
                    <a:pt x="301" y="478"/>
                  </a:lnTo>
                  <a:lnTo>
                    <a:pt x="300" y="478"/>
                  </a:lnTo>
                  <a:lnTo>
                    <a:pt x="298" y="477"/>
                  </a:lnTo>
                  <a:lnTo>
                    <a:pt x="298" y="477"/>
                  </a:lnTo>
                  <a:lnTo>
                    <a:pt x="297" y="476"/>
                  </a:lnTo>
                  <a:lnTo>
                    <a:pt x="297" y="474"/>
                  </a:lnTo>
                  <a:lnTo>
                    <a:pt x="297" y="473"/>
                  </a:lnTo>
                  <a:lnTo>
                    <a:pt x="297" y="471"/>
                  </a:lnTo>
                  <a:lnTo>
                    <a:pt x="296" y="470"/>
                  </a:lnTo>
                  <a:lnTo>
                    <a:pt x="296" y="470"/>
                  </a:lnTo>
                  <a:lnTo>
                    <a:pt x="296" y="468"/>
                  </a:lnTo>
                  <a:lnTo>
                    <a:pt x="297" y="467"/>
                  </a:lnTo>
                  <a:lnTo>
                    <a:pt x="297" y="467"/>
                  </a:lnTo>
                  <a:lnTo>
                    <a:pt x="296" y="466"/>
                  </a:lnTo>
                  <a:lnTo>
                    <a:pt x="296" y="464"/>
                  </a:lnTo>
                  <a:lnTo>
                    <a:pt x="296" y="463"/>
                  </a:lnTo>
                  <a:lnTo>
                    <a:pt x="296" y="463"/>
                  </a:lnTo>
                  <a:lnTo>
                    <a:pt x="294" y="461"/>
                  </a:lnTo>
                  <a:lnTo>
                    <a:pt x="294" y="460"/>
                  </a:lnTo>
                  <a:lnTo>
                    <a:pt x="294" y="458"/>
                  </a:lnTo>
                  <a:lnTo>
                    <a:pt x="294" y="457"/>
                  </a:lnTo>
                  <a:lnTo>
                    <a:pt x="294" y="456"/>
                  </a:lnTo>
                  <a:lnTo>
                    <a:pt x="296" y="454"/>
                  </a:lnTo>
                  <a:lnTo>
                    <a:pt x="294" y="454"/>
                  </a:lnTo>
                  <a:lnTo>
                    <a:pt x="294" y="453"/>
                  </a:lnTo>
                  <a:lnTo>
                    <a:pt x="293" y="451"/>
                  </a:lnTo>
                  <a:lnTo>
                    <a:pt x="293" y="450"/>
                  </a:lnTo>
                  <a:lnTo>
                    <a:pt x="291" y="450"/>
                  </a:lnTo>
                  <a:lnTo>
                    <a:pt x="291" y="448"/>
                  </a:lnTo>
                  <a:lnTo>
                    <a:pt x="290" y="448"/>
                  </a:lnTo>
                  <a:lnTo>
                    <a:pt x="288" y="448"/>
                  </a:lnTo>
                  <a:lnTo>
                    <a:pt x="287" y="448"/>
                  </a:lnTo>
                  <a:lnTo>
                    <a:pt x="286" y="448"/>
                  </a:lnTo>
                  <a:lnTo>
                    <a:pt x="284" y="447"/>
                  </a:lnTo>
                  <a:lnTo>
                    <a:pt x="284" y="447"/>
                  </a:lnTo>
                  <a:lnTo>
                    <a:pt x="283" y="446"/>
                  </a:lnTo>
                  <a:lnTo>
                    <a:pt x="283" y="444"/>
                  </a:lnTo>
                  <a:lnTo>
                    <a:pt x="281" y="444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78" y="447"/>
                  </a:lnTo>
                  <a:lnTo>
                    <a:pt x="277" y="447"/>
                  </a:lnTo>
                  <a:lnTo>
                    <a:pt x="277" y="447"/>
                  </a:lnTo>
                  <a:lnTo>
                    <a:pt x="276" y="447"/>
                  </a:lnTo>
                  <a:lnTo>
                    <a:pt x="274" y="448"/>
                  </a:lnTo>
                  <a:lnTo>
                    <a:pt x="273" y="447"/>
                  </a:lnTo>
                  <a:lnTo>
                    <a:pt x="270" y="447"/>
                  </a:lnTo>
                  <a:lnTo>
                    <a:pt x="268" y="447"/>
                  </a:lnTo>
                  <a:lnTo>
                    <a:pt x="267" y="447"/>
                  </a:lnTo>
                  <a:lnTo>
                    <a:pt x="267" y="447"/>
                  </a:lnTo>
                  <a:lnTo>
                    <a:pt x="266" y="447"/>
                  </a:lnTo>
                  <a:lnTo>
                    <a:pt x="264" y="446"/>
                  </a:lnTo>
                  <a:lnTo>
                    <a:pt x="263" y="446"/>
                  </a:lnTo>
                  <a:lnTo>
                    <a:pt x="261" y="444"/>
                  </a:lnTo>
                  <a:lnTo>
                    <a:pt x="260" y="446"/>
                  </a:lnTo>
                  <a:lnTo>
                    <a:pt x="260" y="446"/>
                  </a:lnTo>
                  <a:lnTo>
                    <a:pt x="258" y="446"/>
                  </a:lnTo>
                  <a:lnTo>
                    <a:pt x="257" y="446"/>
                  </a:lnTo>
                  <a:lnTo>
                    <a:pt x="257" y="444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8" y="441"/>
                  </a:lnTo>
                  <a:lnTo>
                    <a:pt x="257" y="440"/>
                  </a:lnTo>
                  <a:lnTo>
                    <a:pt x="257" y="440"/>
                  </a:lnTo>
                  <a:lnTo>
                    <a:pt x="258" y="438"/>
                  </a:lnTo>
                  <a:lnTo>
                    <a:pt x="258" y="438"/>
                  </a:lnTo>
                  <a:lnTo>
                    <a:pt x="258" y="437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7" y="434"/>
                  </a:lnTo>
                  <a:lnTo>
                    <a:pt x="258" y="433"/>
                  </a:lnTo>
                  <a:lnTo>
                    <a:pt x="258" y="433"/>
                  </a:lnTo>
                  <a:lnTo>
                    <a:pt x="258" y="431"/>
                  </a:lnTo>
                  <a:lnTo>
                    <a:pt x="258" y="430"/>
                  </a:lnTo>
                  <a:lnTo>
                    <a:pt x="258" y="430"/>
                  </a:lnTo>
                  <a:lnTo>
                    <a:pt x="260" y="428"/>
                  </a:lnTo>
                  <a:lnTo>
                    <a:pt x="260" y="426"/>
                  </a:lnTo>
                  <a:lnTo>
                    <a:pt x="258" y="424"/>
                  </a:lnTo>
                  <a:lnTo>
                    <a:pt x="258" y="424"/>
                  </a:lnTo>
                  <a:lnTo>
                    <a:pt x="258" y="424"/>
                  </a:lnTo>
                  <a:lnTo>
                    <a:pt x="258" y="423"/>
                  </a:lnTo>
                  <a:lnTo>
                    <a:pt x="258" y="423"/>
                  </a:lnTo>
                  <a:lnTo>
                    <a:pt x="258" y="423"/>
                  </a:lnTo>
                  <a:lnTo>
                    <a:pt x="258" y="421"/>
                  </a:lnTo>
                  <a:lnTo>
                    <a:pt x="258" y="421"/>
                  </a:lnTo>
                  <a:lnTo>
                    <a:pt x="257" y="420"/>
                  </a:lnTo>
                  <a:lnTo>
                    <a:pt x="257" y="420"/>
                  </a:lnTo>
                  <a:lnTo>
                    <a:pt x="257" y="418"/>
                  </a:lnTo>
                  <a:lnTo>
                    <a:pt x="257" y="418"/>
                  </a:lnTo>
                  <a:lnTo>
                    <a:pt x="257" y="417"/>
                  </a:lnTo>
                  <a:lnTo>
                    <a:pt x="257" y="416"/>
                  </a:lnTo>
                  <a:lnTo>
                    <a:pt x="256" y="416"/>
                  </a:lnTo>
                  <a:lnTo>
                    <a:pt x="256" y="414"/>
                  </a:lnTo>
                  <a:lnTo>
                    <a:pt x="254" y="414"/>
                  </a:lnTo>
                  <a:lnTo>
                    <a:pt x="254" y="413"/>
                  </a:lnTo>
                  <a:lnTo>
                    <a:pt x="254" y="411"/>
                  </a:lnTo>
                  <a:lnTo>
                    <a:pt x="256" y="411"/>
                  </a:lnTo>
                  <a:lnTo>
                    <a:pt x="256" y="411"/>
                  </a:lnTo>
                  <a:lnTo>
                    <a:pt x="257" y="410"/>
                  </a:lnTo>
                  <a:lnTo>
                    <a:pt x="257" y="410"/>
                  </a:lnTo>
                  <a:lnTo>
                    <a:pt x="258" y="410"/>
                  </a:lnTo>
                  <a:lnTo>
                    <a:pt x="258" y="408"/>
                  </a:lnTo>
                  <a:lnTo>
                    <a:pt x="256" y="406"/>
                  </a:lnTo>
                  <a:lnTo>
                    <a:pt x="254" y="404"/>
                  </a:lnTo>
                  <a:lnTo>
                    <a:pt x="256" y="403"/>
                  </a:lnTo>
                  <a:lnTo>
                    <a:pt x="257" y="400"/>
                  </a:lnTo>
                  <a:lnTo>
                    <a:pt x="258" y="396"/>
                  </a:lnTo>
                  <a:lnTo>
                    <a:pt x="260" y="394"/>
                  </a:lnTo>
                  <a:lnTo>
                    <a:pt x="260" y="393"/>
                  </a:lnTo>
                  <a:lnTo>
                    <a:pt x="261" y="393"/>
                  </a:lnTo>
                  <a:lnTo>
                    <a:pt x="261" y="391"/>
                  </a:lnTo>
                  <a:lnTo>
                    <a:pt x="261" y="391"/>
                  </a:lnTo>
                  <a:lnTo>
                    <a:pt x="260" y="391"/>
                  </a:lnTo>
                  <a:lnTo>
                    <a:pt x="261" y="387"/>
                  </a:lnTo>
                  <a:lnTo>
                    <a:pt x="263" y="383"/>
                  </a:lnTo>
                  <a:lnTo>
                    <a:pt x="264" y="380"/>
                  </a:lnTo>
                  <a:lnTo>
                    <a:pt x="264" y="380"/>
                  </a:lnTo>
                  <a:lnTo>
                    <a:pt x="264" y="380"/>
                  </a:lnTo>
                  <a:lnTo>
                    <a:pt x="264" y="379"/>
                  </a:lnTo>
                  <a:lnTo>
                    <a:pt x="264" y="379"/>
                  </a:lnTo>
                  <a:lnTo>
                    <a:pt x="263" y="377"/>
                  </a:lnTo>
                  <a:lnTo>
                    <a:pt x="263" y="374"/>
                  </a:lnTo>
                  <a:lnTo>
                    <a:pt x="260" y="370"/>
                  </a:lnTo>
                  <a:lnTo>
                    <a:pt x="260" y="369"/>
                  </a:lnTo>
                  <a:lnTo>
                    <a:pt x="260" y="367"/>
                  </a:lnTo>
                  <a:lnTo>
                    <a:pt x="258" y="367"/>
                  </a:lnTo>
                  <a:lnTo>
                    <a:pt x="257" y="367"/>
                  </a:lnTo>
                  <a:lnTo>
                    <a:pt x="253" y="364"/>
                  </a:lnTo>
                  <a:lnTo>
                    <a:pt x="251" y="363"/>
                  </a:lnTo>
                  <a:lnTo>
                    <a:pt x="250" y="363"/>
                  </a:lnTo>
                  <a:lnTo>
                    <a:pt x="250" y="360"/>
                  </a:lnTo>
                  <a:lnTo>
                    <a:pt x="250" y="357"/>
                  </a:lnTo>
                  <a:lnTo>
                    <a:pt x="248" y="354"/>
                  </a:lnTo>
                  <a:lnTo>
                    <a:pt x="250" y="353"/>
                  </a:lnTo>
                  <a:lnTo>
                    <a:pt x="251" y="350"/>
                  </a:lnTo>
                  <a:lnTo>
                    <a:pt x="251" y="349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0" y="347"/>
                  </a:lnTo>
                  <a:lnTo>
                    <a:pt x="248" y="347"/>
                  </a:lnTo>
                  <a:lnTo>
                    <a:pt x="248" y="347"/>
                  </a:lnTo>
                  <a:lnTo>
                    <a:pt x="241" y="347"/>
                  </a:lnTo>
                  <a:lnTo>
                    <a:pt x="234" y="347"/>
                  </a:lnTo>
                  <a:lnTo>
                    <a:pt x="227" y="347"/>
                  </a:lnTo>
                  <a:lnTo>
                    <a:pt x="221" y="347"/>
                  </a:lnTo>
                  <a:lnTo>
                    <a:pt x="221" y="344"/>
                  </a:lnTo>
                  <a:lnTo>
                    <a:pt x="221" y="340"/>
                  </a:lnTo>
                  <a:lnTo>
                    <a:pt x="221" y="337"/>
                  </a:lnTo>
                  <a:lnTo>
                    <a:pt x="221" y="333"/>
                  </a:lnTo>
                  <a:lnTo>
                    <a:pt x="219" y="331"/>
                  </a:lnTo>
                  <a:lnTo>
                    <a:pt x="216" y="329"/>
                  </a:lnTo>
                  <a:lnTo>
                    <a:pt x="216" y="327"/>
                  </a:lnTo>
                  <a:lnTo>
                    <a:pt x="219" y="327"/>
                  </a:lnTo>
                  <a:lnTo>
                    <a:pt x="220" y="327"/>
                  </a:lnTo>
                  <a:lnTo>
                    <a:pt x="220" y="319"/>
                  </a:lnTo>
                  <a:lnTo>
                    <a:pt x="220" y="319"/>
                  </a:lnTo>
                  <a:lnTo>
                    <a:pt x="219" y="316"/>
                  </a:lnTo>
                  <a:lnTo>
                    <a:pt x="219" y="314"/>
                  </a:lnTo>
                  <a:lnTo>
                    <a:pt x="217" y="313"/>
                  </a:lnTo>
                  <a:lnTo>
                    <a:pt x="217" y="311"/>
                  </a:lnTo>
                  <a:lnTo>
                    <a:pt x="217" y="311"/>
                  </a:lnTo>
                  <a:lnTo>
                    <a:pt x="219" y="311"/>
                  </a:lnTo>
                  <a:lnTo>
                    <a:pt x="219" y="310"/>
                  </a:lnTo>
                  <a:lnTo>
                    <a:pt x="219" y="309"/>
                  </a:lnTo>
                  <a:lnTo>
                    <a:pt x="217" y="307"/>
                  </a:lnTo>
                  <a:lnTo>
                    <a:pt x="217" y="306"/>
                  </a:lnTo>
                  <a:lnTo>
                    <a:pt x="216" y="304"/>
                  </a:lnTo>
                  <a:lnTo>
                    <a:pt x="213" y="304"/>
                  </a:lnTo>
                  <a:lnTo>
                    <a:pt x="210" y="301"/>
                  </a:lnTo>
                  <a:lnTo>
                    <a:pt x="207" y="301"/>
                  </a:lnTo>
                  <a:lnTo>
                    <a:pt x="207" y="301"/>
                  </a:lnTo>
                  <a:lnTo>
                    <a:pt x="201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196" y="301"/>
                  </a:lnTo>
                  <a:lnTo>
                    <a:pt x="194" y="300"/>
                  </a:lnTo>
                  <a:lnTo>
                    <a:pt x="194" y="300"/>
                  </a:lnTo>
                  <a:lnTo>
                    <a:pt x="191" y="297"/>
                  </a:lnTo>
                  <a:lnTo>
                    <a:pt x="191" y="296"/>
                  </a:lnTo>
                  <a:lnTo>
                    <a:pt x="190" y="294"/>
                  </a:lnTo>
                  <a:lnTo>
                    <a:pt x="189" y="296"/>
                  </a:lnTo>
                  <a:lnTo>
                    <a:pt x="187" y="294"/>
                  </a:lnTo>
                  <a:lnTo>
                    <a:pt x="184" y="294"/>
                  </a:lnTo>
                  <a:lnTo>
                    <a:pt x="181" y="293"/>
                  </a:lnTo>
                  <a:lnTo>
                    <a:pt x="180" y="293"/>
                  </a:lnTo>
                  <a:lnTo>
                    <a:pt x="180" y="291"/>
                  </a:lnTo>
                  <a:lnTo>
                    <a:pt x="177" y="290"/>
                  </a:lnTo>
                  <a:lnTo>
                    <a:pt x="176" y="290"/>
                  </a:lnTo>
                  <a:lnTo>
                    <a:pt x="176" y="289"/>
                  </a:lnTo>
                  <a:lnTo>
                    <a:pt x="176" y="287"/>
                  </a:lnTo>
                  <a:lnTo>
                    <a:pt x="174" y="287"/>
                  </a:lnTo>
                  <a:lnTo>
                    <a:pt x="174" y="287"/>
                  </a:lnTo>
                  <a:lnTo>
                    <a:pt x="173" y="289"/>
                  </a:lnTo>
                  <a:lnTo>
                    <a:pt x="171" y="287"/>
                  </a:lnTo>
                  <a:lnTo>
                    <a:pt x="169" y="286"/>
                  </a:lnTo>
                  <a:lnTo>
                    <a:pt x="169" y="286"/>
                  </a:lnTo>
                  <a:lnTo>
                    <a:pt x="167" y="284"/>
                  </a:lnTo>
                  <a:lnTo>
                    <a:pt x="166" y="284"/>
                  </a:lnTo>
                  <a:lnTo>
                    <a:pt x="164" y="284"/>
                  </a:lnTo>
                  <a:lnTo>
                    <a:pt x="161" y="286"/>
                  </a:lnTo>
                  <a:lnTo>
                    <a:pt x="160" y="284"/>
                  </a:lnTo>
                  <a:lnTo>
                    <a:pt x="157" y="284"/>
                  </a:lnTo>
                  <a:lnTo>
                    <a:pt x="154" y="283"/>
                  </a:lnTo>
                  <a:lnTo>
                    <a:pt x="153" y="281"/>
                  </a:lnTo>
                  <a:lnTo>
                    <a:pt x="153" y="280"/>
                  </a:lnTo>
                  <a:lnTo>
                    <a:pt x="151" y="280"/>
                  </a:lnTo>
                  <a:lnTo>
                    <a:pt x="150" y="279"/>
                  </a:lnTo>
                  <a:lnTo>
                    <a:pt x="149" y="277"/>
                  </a:lnTo>
                  <a:lnTo>
                    <a:pt x="147" y="277"/>
                  </a:lnTo>
                  <a:lnTo>
                    <a:pt x="146" y="277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4" y="274"/>
                  </a:lnTo>
                  <a:lnTo>
                    <a:pt x="144" y="274"/>
                  </a:lnTo>
                  <a:lnTo>
                    <a:pt x="143" y="273"/>
                  </a:lnTo>
                  <a:lnTo>
                    <a:pt x="143" y="271"/>
                  </a:lnTo>
                  <a:lnTo>
                    <a:pt x="143" y="273"/>
                  </a:lnTo>
                  <a:lnTo>
                    <a:pt x="141" y="273"/>
                  </a:lnTo>
                  <a:lnTo>
                    <a:pt x="141" y="273"/>
                  </a:lnTo>
                  <a:lnTo>
                    <a:pt x="141" y="271"/>
                  </a:lnTo>
                  <a:lnTo>
                    <a:pt x="141" y="270"/>
                  </a:lnTo>
                  <a:lnTo>
                    <a:pt x="141" y="270"/>
                  </a:lnTo>
                  <a:lnTo>
                    <a:pt x="140" y="269"/>
                  </a:lnTo>
                  <a:lnTo>
                    <a:pt x="140" y="267"/>
                  </a:lnTo>
                  <a:lnTo>
                    <a:pt x="140" y="266"/>
                  </a:lnTo>
                  <a:lnTo>
                    <a:pt x="139" y="266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3"/>
                  </a:lnTo>
                  <a:lnTo>
                    <a:pt x="139" y="261"/>
                  </a:lnTo>
                  <a:lnTo>
                    <a:pt x="140" y="260"/>
                  </a:lnTo>
                  <a:lnTo>
                    <a:pt x="139" y="259"/>
                  </a:lnTo>
                  <a:lnTo>
                    <a:pt x="139" y="256"/>
                  </a:lnTo>
                  <a:lnTo>
                    <a:pt x="137" y="253"/>
                  </a:lnTo>
                  <a:lnTo>
                    <a:pt x="137" y="251"/>
                  </a:lnTo>
                  <a:lnTo>
                    <a:pt x="137" y="251"/>
                  </a:lnTo>
                  <a:lnTo>
                    <a:pt x="139" y="250"/>
                  </a:lnTo>
                  <a:lnTo>
                    <a:pt x="140" y="249"/>
                  </a:lnTo>
                  <a:lnTo>
                    <a:pt x="140" y="246"/>
                  </a:lnTo>
                  <a:lnTo>
                    <a:pt x="140" y="244"/>
                  </a:lnTo>
                  <a:lnTo>
                    <a:pt x="140" y="243"/>
                  </a:lnTo>
                  <a:lnTo>
                    <a:pt x="140" y="241"/>
                  </a:lnTo>
                  <a:lnTo>
                    <a:pt x="139" y="240"/>
                  </a:lnTo>
                  <a:lnTo>
                    <a:pt x="139" y="239"/>
                  </a:lnTo>
                  <a:lnTo>
                    <a:pt x="137" y="239"/>
                  </a:lnTo>
                  <a:lnTo>
                    <a:pt x="137" y="240"/>
                  </a:lnTo>
                  <a:lnTo>
                    <a:pt x="136" y="240"/>
                  </a:lnTo>
                  <a:lnTo>
                    <a:pt x="134" y="241"/>
                  </a:lnTo>
                  <a:lnTo>
                    <a:pt x="133" y="240"/>
                  </a:lnTo>
                  <a:lnTo>
                    <a:pt x="130" y="240"/>
                  </a:lnTo>
                  <a:lnTo>
                    <a:pt x="124" y="241"/>
                  </a:lnTo>
                  <a:lnTo>
                    <a:pt x="123" y="241"/>
                  </a:lnTo>
                  <a:lnTo>
                    <a:pt x="122" y="241"/>
                  </a:lnTo>
                  <a:lnTo>
                    <a:pt x="120" y="243"/>
                  </a:lnTo>
                  <a:lnTo>
                    <a:pt x="117" y="243"/>
                  </a:lnTo>
                  <a:lnTo>
                    <a:pt x="112" y="249"/>
                  </a:lnTo>
                  <a:lnTo>
                    <a:pt x="110" y="249"/>
                  </a:lnTo>
                  <a:lnTo>
                    <a:pt x="109" y="249"/>
                  </a:lnTo>
                  <a:lnTo>
                    <a:pt x="107" y="250"/>
                  </a:lnTo>
                  <a:lnTo>
                    <a:pt x="106" y="250"/>
                  </a:lnTo>
                  <a:lnTo>
                    <a:pt x="103" y="251"/>
                  </a:lnTo>
                  <a:lnTo>
                    <a:pt x="102" y="254"/>
                  </a:lnTo>
                  <a:lnTo>
                    <a:pt x="102" y="254"/>
                  </a:lnTo>
                  <a:lnTo>
                    <a:pt x="100" y="256"/>
                  </a:lnTo>
                  <a:lnTo>
                    <a:pt x="99" y="254"/>
                  </a:lnTo>
                  <a:lnTo>
                    <a:pt x="97" y="254"/>
                  </a:lnTo>
                  <a:lnTo>
                    <a:pt x="96" y="256"/>
                  </a:lnTo>
                  <a:lnTo>
                    <a:pt x="94" y="257"/>
                  </a:lnTo>
                  <a:lnTo>
                    <a:pt x="93" y="259"/>
                  </a:lnTo>
                  <a:lnTo>
                    <a:pt x="92" y="260"/>
                  </a:lnTo>
                  <a:lnTo>
                    <a:pt x="90" y="260"/>
                  </a:lnTo>
                  <a:lnTo>
                    <a:pt x="89" y="261"/>
                  </a:lnTo>
                  <a:lnTo>
                    <a:pt x="87" y="261"/>
                  </a:lnTo>
                  <a:lnTo>
                    <a:pt x="86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3" y="260"/>
                  </a:lnTo>
                  <a:lnTo>
                    <a:pt x="80" y="260"/>
                  </a:lnTo>
                  <a:lnTo>
                    <a:pt x="77" y="260"/>
                  </a:lnTo>
                  <a:lnTo>
                    <a:pt x="73" y="260"/>
                  </a:lnTo>
                  <a:lnTo>
                    <a:pt x="72" y="260"/>
                  </a:lnTo>
                  <a:lnTo>
                    <a:pt x="70" y="260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3" y="260"/>
                  </a:lnTo>
                  <a:lnTo>
                    <a:pt x="62" y="261"/>
                  </a:lnTo>
                  <a:lnTo>
                    <a:pt x="60" y="261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7" y="260"/>
                  </a:lnTo>
                  <a:lnTo>
                    <a:pt x="56" y="259"/>
                  </a:lnTo>
                  <a:lnTo>
                    <a:pt x="54" y="260"/>
                  </a:lnTo>
                  <a:lnTo>
                    <a:pt x="54" y="260"/>
                  </a:lnTo>
                  <a:lnTo>
                    <a:pt x="54" y="257"/>
                  </a:lnTo>
                  <a:lnTo>
                    <a:pt x="54" y="253"/>
                  </a:lnTo>
                  <a:lnTo>
                    <a:pt x="54" y="250"/>
                  </a:lnTo>
                  <a:lnTo>
                    <a:pt x="54" y="247"/>
                  </a:lnTo>
                  <a:lnTo>
                    <a:pt x="54" y="243"/>
                  </a:lnTo>
                  <a:lnTo>
                    <a:pt x="54" y="241"/>
                  </a:lnTo>
                  <a:lnTo>
                    <a:pt x="54" y="240"/>
                  </a:lnTo>
                  <a:lnTo>
                    <a:pt x="56" y="239"/>
                  </a:lnTo>
                  <a:lnTo>
                    <a:pt x="54" y="237"/>
                  </a:lnTo>
                  <a:lnTo>
                    <a:pt x="54" y="237"/>
                  </a:lnTo>
                  <a:lnTo>
                    <a:pt x="56" y="236"/>
                  </a:lnTo>
                  <a:lnTo>
                    <a:pt x="56" y="234"/>
                  </a:lnTo>
                  <a:lnTo>
                    <a:pt x="54" y="236"/>
                  </a:lnTo>
                  <a:lnTo>
                    <a:pt x="54" y="236"/>
                  </a:lnTo>
                  <a:lnTo>
                    <a:pt x="54" y="236"/>
                  </a:lnTo>
                  <a:lnTo>
                    <a:pt x="53" y="237"/>
                  </a:lnTo>
                  <a:lnTo>
                    <a:pt x="52" y="239"/>
                  </a:lnTo>
                  <a:lnTo>
                    <a:pt x="50" y="239"/>
                  </a:lnTo>
                  <a:lnTo>
                    <a:pt x="49" y="240"/>
                  </a:lnTo>
                  <a:lnTo>
                    <a:pt x="47" y="241"/>
                  </a:lnTo>
                  <a:lnTo>
                    <a:pt x="47" y="241"/>
                  </a:lnTo>
                  <a:lnTo>
                    <a:pt x="45" y="243"/>
                  </a:lnTo>
                  <a:lnTo>
                    <a:pt x="43" y="244"/>
                  </a:lnTo>
                  <a:lnTo>
                    <a:pt x="39" y="244"/>
                  </a:lnTo>
                  <a:lnTo>
                    <a:pt x="35" y="244"/>
                  </a:lnTo>
                  <a:lnTo>
                    <a:pt x="30" y="244"/>
                  </a:lnTo>
                  <a:lnTo>
                    <a:pt x="30" y="244"/>
                  </a:lnTo>
                  <a:lnTo>
                    <a:pt x="30" y="243"/>
                  </a:lnTo>
                  <a:lnTo>
                    <a:pt x="30" y="241"/>
                  </a:lnTo>
                  <a:lnTo>
                    <a:pt x="29" y="240"/>
                  </a:lnTo>
                  <a:lnTo>
                    <a:pt x="29" y="239"/>
                  </a:lnTo>
                  <a:lnTo>
                    <a:pt x="27" y="239"/>
                  </a:lnTo>
                  <a:lnTo>
                    <a:pt x="27" y="237"/>
                  </a:lnTo>
                  <a:lnTo>
                    <a:pt x="26" y="236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19" y="234"/>
                  </a:lnTo>
                  <a:lnTo>
                    <a:pt x="16" y="234"/>
                  </a:lnTo>
                  <a:lnTo>
                    <a:pt x="13" y="234"/>
                  </a:lnTo>
                  <a:lnTo>
                    <a:pt x="15" y="231"/>
                  </a:lnTo>
                  <a:lnTo>
                    <a:pt x="17" y="230"/>
                  </a:lnTo>
                  <a:lnTo>
                    <a:pt x="17" y="227"/>
                  </a:lnTo>
                  <a:lnTo>
                    <a:pt x="16" y="226"/>
                  </a:lnTo>
                  <a:lnTo>
                    <a:pt x="15" y="224"/>
                  </a:lnTo>
                  <a:lnTo>
                    <a:pt x="13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0"/>
                  </a:lnTo>
                  <a:lnTo>
                    <a:pt x="10" y="220"/>
                  </a:lnTo>
                  <a:lnTo>
                    <a:pt x="10" y="219"/>
                  </a:lnTo>
                  <a:lnTo>
                    <a:pt x="10" y="219"/>
                  </a:lnTo>
                  <a:lnTo>
                    <a:pt x="9" y="219"/>
                  </a:lnTo>
                  <a:lnTo>
                    <a:pt x="7" y="217"/>
                  </a:lnTo>
                  <a:lnTo>
                    <a:pt x="7" y="217"/>
                  </a:lnTo>
                  <a:lnTo>
                    <a:pt x="7" y="216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6" y="213"/>
                  </a:lnTo>
                  <a:lnTo>
                    <a:pt x="6" y="211"/>
                  </a:lnTo>
                  <a:lnTo>
                    <a:pt x="5" y="211"/>
                  </a:lnTo>
                  <a:lnTo>
                    <a:pt x="5" y="210"/>
                  </a:lnTo>
                  <a:lnTo>
                    <a:pt x="5" y="210"/>
                  </a:lnTo>
                  <a:lnTo>
                    <a:pt x="5" y="210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7"/>
                  </a:lnTo>
                  <a:lnTo>
                    <a:pt x="3" y="207"/>
                  </a:lnTo>
                  <a:lnTo>
                    <a:pt x="2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2" y="204"/>
                  </a:lnTo>
                  <a:lnTo>
                    <a:pt x="2" y="203"/>
                  </a:lnTo>
                  <a:lnTo>
                    <a:pt x="2" y="203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3" y="201"/>
                  </a:lnTo>
                  <a:lnTo>
                    <a:pt x="3" y="201"/>
                  </a:lnTo>
                  <a:lnTo>
                    <a:pt x="5" y="201"/>
                  </a:lnTo>
                  <a:lnTo>
                    <a:pt x="5" y="200"/>
                  </a:lnTo>
                  <a:lnTo>
                    <a:pt x="5" y="200"/>
                  </a:lnTo>
                  <a:lnTo>
                    <a:pt x="5" y="199"/>
                  </a:lnTo>
                  <a:lnTo>
                    <a:pt x="3" y="197"/>
                  </a:lnTo>
                  <a:lnTo>
                    <a:pt x="3" y="197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6" y="193"/>
                  </a:lnTo>
                  <a:lnTo>
                    <a:pt x="9" y="190"/>
                  </a:lnTo>
                  <a:lnTo>
                    <a:pt x="12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5" y="187"/>
                  </a:lnTo>
                  <a:lnTo>
                    <a:pt x="15" y="186"/>
                  </a:lnTo>
                  <a:lnTo>
                    <a:pt x="15" y="186"/>
                  </a:lnTo>
                  <a:lnTo>
                    <a:pt x="15" y="184"/>
                  </a:lnTo>
                  <a:lnTo>
                    <a:pt x="13" y="181"/>
                  </a:lnTo>
                  <a:lnTo>
                    <a:pt x="13" y="181"/>
                  </a:lnTo>
                  <a:lnTo>
                    <a:pt x="13" y="180"/>
                  </a:lnTo>
                  <a:lnTo>
                    <a:pt x="15" y="179"/>
                  </a:lnTo>
                  <a:lnTo>
                    <a:pt x="16" y="176"/>
                  </a:lnTo>
                  <a:lnTo>
                    <a:pt x="17" y="174"/>
                  </a:lnTo>
                  <a:lnTo>
                    <a:pt x="17" y="173"/>
                  </a:lnTo>
                  <a:lnTo>
                    <a:pt x="17" y="172"/>
                  </a:lnTo>
                  <a:lnTo>
                    <a:pt x="17" y="169"/>
                  </a:lnTo>
                  <a:lnTo>
                    <a:pt x="19" y="167"/>
                  </a:lnTo>
                  <a:lnTo>
                    <a:pt x="17" y="166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22" y="164"/>
                  </a:lnTo>
                  <a:lnTo>
                    <a:pt x="23" y="164"/>
                  </a:lnTo>
                  <a:lnTo>
                    <a:pt x="25" y="162"/>
                  </a:lnTo>
                  <a:lnTo>
                    <a:pt x="27" y="160"/>
                  </a:lnTo>
                  <a:lnTo>
                    <a:pt x="29" y="160"/>
                  </a:lnTo>
                  <a:lnTo>
                    <a:pt x="32" y="157"/>
                  </a:lnTo>
                  <a:lnTo>
                    <a:pt x="33" y="157"/>
                  </a:lnTo>
                  <a:lnTo>
                    <a:pt x="33" y="156"/>
                  </a:lnTo>
                  <a:lnTo>
                    <a:pt x="35" y="156"/>
                  </a:lnTo>
                  <a:lnTo>
                    <a:pt x="37" y="156"/>
                  </a:lnTo>
                  <a:lnTo>
                    <a:pt x="40" y="156"/>
                  </a:lnTo>
                  <a:lnTo>
                    <a:pt x="42" y="154"/>
                  </a:lnTo>
                  <a:lnTo>
                    <a:pt x="43" y="154"/>
                  </a:lnTo>
                  <a:lnTo>
                    <a:pt x="45" y="154"/>
                  </a:lnTo>
                  <a:lnTo>
                    <a:pt x="46" y="154"/>
                  </a:lnTo>
                  <a:lnTo>
                    <a:pt x="49" y="153"/>
                  </a:lnTo>
                  <a:lnTo>
                    <a:pt x="50" y="153"/>
                  </a:lnTo>
                  <a:lnTo>
                    <a:pt x="50" y="152"/>
                  </a:lnTo>
                  <a:lnTo>
                    <a:pt x="52" y="150"/>
                  </a:lnTo>
                  <a:lnTo>
                    <a:pt x="53" y="150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60" y="152"/>
                  </a:lnTo>
                  <a:lnTo>
                    <a:pt x="60" y="153"/>
                  </a:lnTo>
                  <a:lnTo>
                    <a:pt x="62" y="153"/>
                  </a:lnTo>
                  <a:lnTo>
                    <a:pt x="63" y="152"/>
                  </a:lnTo>
                  <a:lnTo>
                    <a:pt x="63" y="153"/>
                  </a:lnTo>
                  <a:lnTo>
                    <a:pt x="64" y="153"/>
                  </a:lnTo>
                  <a:lnTo>
                    <a:pt x="64" y="153"/>
                  </a:lnTo>
                  <a:lnTo>
                    <a:pt x="64" y="152"/>
                  </a:lnTo>
                  <a:lnTo>
                    <a:pt x="66" y="152"/>
                  </a:lnTo>
                  <a:lnTo>
                    <a:pt x="66" y="147"/>
                  </a:lnTo>
                  <a:lnTo>
                    <a:pt x="67" y="142"/>
                  </a:lnTo>
                  <a:lnTo>
                    <a:pt x="67" y="137"/>
                  </a:lnTo>
                  <a:lnTo>
                    <a:pt x="69" y="132"/>
                  </a:lnTo>
                  <a:lnTo>
                    <a:pt x="70" y="126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73" y="112"/>
                  </a:lnTo>
                  <a:lnTo>
                    <a:pt x="73" y="110"/>
                  </a:lnTo>
                  <a:lnTo>
                    <a:pt x="73" y="107"/>
                  </a:lnTo>
                  <a:lnTo>
                    <a:pt x="74" y="104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0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3"/>
                  </a:lnTo>
                  <a:lnTo>
                    <a:pt x="70" y="93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9" y="92"/>
                  </a:lnTo>
                  <a:lnTo>
                    <a:pt x="67" y="90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3" y="86"/>
                  </a:lnTo>
                  <a:lnTo>
                    <a:pt x="63" y="83"/>
                  </a:lnTo>
                  <a:lnTo>
                    <a:pt x="63" y="82"/>
                  </a:lnTo>
                  <a:lnTo>
                    <a:pt x="63" y="77"/>
                  </a:lnTo>
                  <a:lnTo>
                    <a:pt x="63" y="74"/>
                  </a:lnTo>
                  <a:lnTo>
                    <a:pt x="64" y="74"/>
                  </a:lnTo>
                  <a:lnTo>
                    <a:pt x="66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2" y="73"/>
                  </a:lnTo>
                  <a:lnTo>
                    <a:pt x="72" y="73"/>
                  </a:lnTo>
                  <a:lnTo>
                    <a:pt x="72" y="73"/>
                  </a:lnTo>
                  <a:lnTo>
                    <a:pt x="73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6" y="73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7" y="70"/>
                  </a:lnTo>
                  <a:lnTo>
                    <a:pt x="77" y="70"/>
                  </a:lnTo>
                  <a:lnTo>
                    <a:pt x="77" y="69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2" y="67"/>
                  </a:lnTo>
                  <a:lnTo>
                    <a:pt x="70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3"/>
                  </a:lnTo>
                  <a:lnTo>
                    <a:pt x="67" y="59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9" y="56"/>
                  </a:lnTo>
                  <a:lnTo>
                    <a:pt x="70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3" y="56"/>
                  </a:lnTo>
                  <a:lnTo>
                    <a:pt x="74" y="56"/>
                  </a:lnTo>
                  <a:lnTo>
                    <a:pt x="76" y="56"/>
                  </a:lnTo>
                  <a:lnTo>
                    <a:pt x="79" y="56"/>
                  </a:lnTo>
                  <a:lnTo>
                    <a:pt x="82" y="56"/>
                  </a:lnTo>
                  <a:lnTo>
                    <a:pt x="86" y="56"/>
                  </a:lnTo>
                  <a:lnTo>
                    <a:pt x="90" y="56"/>
                  </a:lnTo>
                  <a:lnTo>
                    <a:pt x="93" y="56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3" y="54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3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7" y="56"/>
                  </a:lnTo>
                  <a:lnTo>
                    <a:pt x="97" y="56"/>
                  </a:lnTo>
                  <a:lnTo>
                    <a:pt x="99" y="56"/>
                  </a:lnTo>
                  <a:lnTo>
                    <a:pt x="100" y="56"/>
                  </a:lnTo>
                  <a:lnTo>
                    <a:pt x="102" y="53"/>
                  </a:lnTo>
                  <a:lnTo>
                    <a:pt x="103" y="52"/>
                  </a:lnTo>
                  <a:lnTo>
                    <a:pt x="104" y="52"/>
                  </a:lnTo>
                  <a:lnTo>
                    <a:pt x="104" y="50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7" y="50"/>
                  </a:lnTo>
                  <a:lnTo>
                    <a:pt x="107" y="52"/>
                  </a:lnTo>
                  <a:lnTo>
                    <a:pt x="109" y="54"/>
                  </a:lnTo>
                  <a:lnTo>
                    <a:pt x="110" y="57"/>
                  </a:lnTo>
                  <a:lnTo>
                    <a:pt x="112" y="59"/>
                  </a:lnTo>
                  <a:lnTo>
                    <a:pt x="112" y="62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4" y="64"/>
                  </a:lnTo>
                  <a:lnTo>
                    <a:pt x="119" y="69"/>
                  </a:lnTo>
                  <a:lnTo>
                    <a:pt x="122" y="70"/>
                  </a:lnTo>
                  <a:lnTo>
                    <a:pt x="123" y="72"/>
                  </a:lnTo>
                  <a:lnTo>
                    <a:pt x="124" y="72"/>
                  </a:lnTo>
                  <a:lnTo>
                    <a:pt x="126" y="72"/>
                  </a:lnTo>
                  <a:lnTo>
                    <a:pt x="127" y="72"/>
                  </a:lnTo>
                  <a:lnTo>
                    <a:pt x="129" y="72"/>
                  </a:lnTo>
                  <a:lnTo>
                    <a:pt x="130" y="70"/>
                  </a:lnTo>
                  <a:lnTo>
                    <a:pt x="132" y="69"/>
                  </a:lnTo>
                  <a:lnTo>
                    <a:pt x="133" y="69"/>
                  </a:lnTo>
                  <a:lnTo>
                    <a:pt x="134" y="69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6" y="70"/>
                  </a:lnTo>
                  <a:lnTo>
                    <a:pt x="136" y="72"/>
                  </a:lnTo>
                  <a:lnTo>
                    <a:pt x="136" y="73"/>
                  </a:lnTo>
                  <a:lnTo>
                    <a:pt x="137" y="73"/>
                  </a:lnTo>
                  <a:lnTo>
                    <a:pt x="139" y="72"/>
                  </a:lnTo>
                  <a:lnTo>
                    <a:pt x="139" y="70"/>
                  </a:lnTo>
                  <a:lnTo>
                    <a:pt x="140" y="69"/>
                  </a:lnTo>
                  <a:lnTo>
                    <a:pt x="141" y="67"/>
                  </a:lnTo>
                  <a:lnTo>
                    <a:pt x="143" y="66"/>
                  </a:lnTo>
                  <a:lnTo>
                    <a:pt x="144" y="66"/>
                  </a:lnTo>
                  <a:lnTo>
                    <a:pt x="146" y="64"/>
                  </a:lnTo>
                  <a:lnTo>
                    <a:pt x="147" y="64"/>
                  </a:lnTo>
                  <a:lnTo>
                    <a:pt x="149" y="64"/>
                  </a:lnTo>
                  <a:lnTo>
                    <a:pt x="150" y="63"/>
                  </a:lnTo>
                  <a:lnTo>
                    <a:pt x="151" y="62"/>
                  </a:lnTo>
                  <a:lnTo>
                    <a:pt x="153" y="62"/>
                  </a:lnTo>
                  <a:lnTo>
                    <a:pt x="153" y="60"/>
                  </a:lnTo>
                  <a:lnTo>
                    <a:pt x="154" y="62"/>
                  </a:lnTo>
                  <a:lnTo>
                    <a:pt x="156" y="60"/>
                  </a:lnTo>
                  <a:lnTo>
                    <a:pt x="157" y="60"/>
                  </a:lnTo>
                  <a:lnTo>
                    <a:pt x="159" y="59"/>
                  </a:lnTo>
                  <a:lnTo>
                    <a:pt x="160" y="56"/>
                  </a:lnTo>
                  <a:lnTo>
                    <a:pt x="160" y="53"/>
                  </a:lnTo>
                  <a:lnTo>
                    <a:pt x="160" y="53"/>
                  </a:lnTo>
                  <a:lnTo>
                    <a:pt x="161" y="53"/>
                  </a:lnTo>
                  <a:lnTo>
                    <a:pt x="161" y="53"/>
                  </a:lnTo>
                  <a:lnTo>
                    <a:pt x="163" y="53"/>
                  </a:lnTo>
                  <a:lnTo>
                    <a:pt x="166" y="52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70" y="50"/>
                  </a:lnTo>
                  <a:lnTo>
                    <a:pt x="170" y="49"/>
                  </a:lnTo>
                  <a:lnTo>
                    <a:pt x="170" y="47"/>
                  </a:lnTo>
                  <a:lnTo>
                    <a:pt x="170" y="46"/>
                  </a:lnTo>
                  <a:lnTo>
                    <a:pt x="167" y="46"/>
                  </a:lnTo>
                  <a:lnTo>
                    <a:pt x="166" y="46"/>
                  </a:lnTo>
                  <a:lnTo>
                    <a:pt x="161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43"/>
                  </a:lnTo>
                  <a:lnTo>
                    <a:pt x="160" y="43"/>
                  </a:lnTo>
                  <a:lnTo>
                    <a:pt x="160" y="42"/>
                  </a:lnTo>
                  <a:lnTo>
                    <a:pt x="160" y="39"/>
                  </a:lnTo>
                  <a:lnTo>
                    <a:pt x="159" y="36"/>
                  </a:lnTo>
                  <a:lnTo>
                    <a:pt x="157" y="33"/>
                  </a:lnTo>
                  <a:lnTo>
                    <a:pt x="157" y="30"/>
                  </a:lnTo>
                  <a:lnTo>
                    <a:pt x="157" y="29"/>
                  </a:lnTo>
                  <a:lnTo>
                    <a:pt x="157" y="27"/>
                  </a:lnTo>
                  <a:lnTo>
                    <a:pt x="156" y="26"/>
                  </a:lnTo>
                  <a:lnTo>
                    <a:pt x="151" y="22"/>
                  </a:lnTo>
                  <a:lnTo>
                    <a:pt x="150" y="20"/>
                  </a:lnTo>
                  <a:lnTo>
                    <a:pt x="150" y="19"/>
                  </a:lnTo>
                  <a:lnTo>
                    <a:pt x="147" y="16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50" y="16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3" y="17"/>
                  </a:lnTo>
                  <a:lnTo>
                    <a:pt x="157" y="17"/>
                  </a:lnTo>
                  <a:lnTo>
                    <a:pt x="157" y="19"/>
                  </a:lnTo>
                  <a:lnTo>
                    <a:pt x="159" y="19"/>
                  </a:lnTo>
                  <a:lnTo>
                    <a:pt x="159" y="19"/>
                  </a:lnTo>
                  <a:lnTo>
                    <a:pt x="160" y="20"/>
                  </a:lnTo>
                  <a:lnTo>
                    <a:pt x="160" y="22"/>
                  </a:lnTo>
                  <a:lnTo>
                    <a:pt x="161" y="22"/>
                  </a:lnTo>
                  <a:lnTo>
                    <a:pt x="164" y="22"/>
                  </a:lnTo>
                  <a:lnTo>
                    <a:pt x="166" y="22"/>
                  </a:lnTo>
                  <a:lnTo>
                    <a:pt x="167" y="22"/>
                  </a:lnTo>
                  <a:lnTo>
                    <a:pt x="169" y="22"/>
                  </a:lnTo>
                  <a:lnTo>
                    <a:pt x="170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4" y="24"/>
                  </a:lnTo>
                  <a:lnTo>
                    <a:pt x="176" y="26"/>
                  </a:lnTo>
                  <a:lnTo>
                    <a:pt x="177" y="27"/>
                  </a:lnTo>
                  <a:lnTo>
                    <a:pt x="179" y="27"/>
                  </a:lnTo>
                  <a:lnTo>
                    <a:pt x="180" y="26"/>
                  </a:lnTo>
                  <a:lnTo>
                    <a:pt x="181" y="22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83" y="20"/>
                  </a:lnTo>
                  <a:lnTo>
                    <a:pt x="184" y="19"/>
                  </a:lnTo>
                  <a:lnTo>
                    <a:pt x="186" y="17"/>
                  </a:lnTo>
                  <a:lnTo>
                    <a:pt x="186" y="17"/>
                  </a:lnTo>
                  <a:lnTo>
                    <a:pt x="190" y="19"/>
                  </a:lnTo>
                  <a:lnTo>
                    <a:pt x="191" y="19"/>
                  </a:lnTo>
                  <a:lnTo>
                    <a:pt x="196" y="17"/>
                  </a:lnTo>
                  <a:lnTo>
                    <a:pt x="200" y="16"/>
                  </a:lnTo>
                  <a:lnTo>
                    <a:pt x="201" y="14"/>
                  </a:lnTo>
                  <a:lnTo>
                    <a:pt x="203" y="13"/>
                  </a:lnTo>
                  <a:lnTo>
                    <a:pt x="204" y="12"/>
                  </a:lnTo>
                  <a:lnTo>
                    <a:pt x="206" y="12"/>
                  </a:lnTo>
                  <a:lnTo>
                    <a:pt x="207" y="12"/>
                  </a:lnTo>
                  <a:lnTo>
                    <a:pt x="209" y="12"/>
                  </a:lnTo>
                  <a:lnTo>
                    <a:pt x="209" y="12"/>
                  </a:lnTo>
                  <a:lnTo>
                    <a:pt x="209" y="12"/>
                  </a:lnTo>
                  <a:lnTo>
                    <a:pt x="210" y="9"/>
                  </a:lnTo>
                  <a:lnTo>
                    <a:pt x="211" y="9"/>
                  </a:lnTo>
                  <a:lnTo>
                    <a:pt x="213" y="7"/>
                  </a:lnTo>
                  <a:lnTo>
                    <a:pt x="214" y="7"/>
                  </a:lnTo>
                  <a:lnTo>
                    <a:pt x="214" y="6"/>
                  </a:lnTo>
                  <a:lnTo>
                    <a:pt x="216" y="4"/>
                  </a:lnTo>
                  <a:lnTo>
                    <a:pt x="216" y="4"/>
                  </a:lnTo>
                  <a:lnTo>
                    <a:pt x="214" y="3"/>
                  </a:lnTo>
                  <a:lnTo>
                    <a:pt x="214" y="2"/>
                  </a:lnTo>
                  <a:lnTo>
                    <a:pt x="213" y="2"/>
                  </a:lnTo>
                  <a:lnTo>
                    <a:pt x="213" y="2"/>
                  </a:lnTo>
                  <a:lnTo>
                    <a:pt x="214" y="0"/>
                  </a:lnTo>
                  <a:lnTo>
                    <a:pt x="216" y="2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0" y="2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23" y="0"/>
                  </a:lnTo>
                  <a:lnTo>
                    <a:pt x="223" y="2"/>
                  </a:lnTo>
                  <a:lnTo>
                    <a:pt x="223" y="2"/>
                  </a:lnTo>
                  <a:lnTo>
                    <a:pt x="224" y="3"/>
                  </a:lnTo>
                  <a:lnTo>
                    <a:pt x="224" y="4"/>
                  </a:lnTo>
                  <a:lnTo>
                    <a:pt x="224" y="6"/>
                  </a:lnTo>
                  <a:lnTo>
                    <a:pt x="224" y="7"/>
                  </a:lnTo>
                  <a:lnTo>
                    <a:pt x="224" y="9"/>
                  </a:lnTo>
                  <a:lnTo>
                    <a:pt x="224" y="10"/>
                  </a:lnTo>
                  <a:lnTo>
                    <a:pt x="223" y="10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4" y="12"/>
                  </a:lnTo>
                  <a:lnTo>
                    <a:pt x="226" y="12"/>
                  </a:lnTo>
                  <a:lnTo>
                    <a:pt x="226" y="13"/>
                  </a:lnTo>
                  <a:lnTo>
                    <a:pt x="227" y="13"/>
                  </a:lnTo>
                  <a:lnTo>
                    <a:pt x="229" y="13"/>
                  </a:lnTo>
                  <a:lnTo>
                    <a:pt x="230" y="14"/>
                  </a:lnTo>
                  <a:lnTo>
                    <a:pt x="230" y="14"/>
                  </a:lnTo>
                  <a:lnTo>
                    <a:pt x="229" y="16"/>
                  </a:lnTo>
                  <a:lnTo>
                    <a:pt x="229" y="17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31" y="20"/>
                  </a:lnTo>
                  <a:lnTo>
                    <a:pt x="231" y="20"/>
                  </a:lnTo>
                  <a:lnTo>
                    <a:pt x="231" y="22"/>
                  </a:lnTo>
                  <a:lnTo>
                    <a:pt x="231" y="22"/>
                  </a:lnTo>
                  <a:lnTo>
                    <a:pt x="231" y="22"/>
                  </a:lnTo>
                  <a:lnTo>
                    <a:pt x="231" y="23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29" y="26"/>
                  </a:lnTo>
                  <a:lnTo>
                    <a:pt x="227" y="27"/>
                  </a:lnTo>
                  <a:lnTo>
                    <a:pt x="227" y="29"/>
                  </a:lnTo>
                  <a:lnTo>
                    <a:pt x="227" y="30"/>
                  </a:lnTo>
                  <a:lnTo>
                    <a:pt x="227" y="30"/>
                  </a:lnTo>
                  <a:lnTo>
                    <a:pt x="227" y="32"/>
                  </a:lnTo>
                  <a:lnTo>
                    <a:pt x="226" y="34"/>
                  </a:lnTo>
                  <a:lnTo>
                    <a:pt x="226" y="36"/>
                  </a:lnTo>
                  <a:lnTo>
                    <a:pt x="224" y="40"/>
                  </a:lnTo>
                  <a:lnTo>
                    <a:pt x="224" y="42"/>
                  </a:lnTo>
                  <a:lnTo>
                    <a:pt x="226" y="43"/>
                  </a:lnTo>
                  <a:lnTo>
                    <a:pt x="227" y="46"/>
                  </a:lnTo>
                  <a:lnTo>
                    <a:pt x="227" y="47"/>
                  </a:lnTo>
                  <a:lnTo>
                    <a:pt x="229" y="47"/>
                  </a:lnTo>
                  <a:lnTo>
                    <a:pt x="229" y="50"/>
                  </a:lnTo>
                  <a:lnTo>
                    <a:pt x="229" y="53"/>
                  </a:lnTo>
                  <a:lnTo>
                    <a:pt x="229" y="54"/>
                  </a:lnTo>
                  <a:lnTo>
                    <a:pt x="229" y="54"/>
                  </a:lnTo>
                  <a:lnTo>
                    <a:pt x="230" y="54"/>
                  </a:lnTo>
                  <a:lnTo>
                    <a:pt x="230" y="54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1" y="57"/>
                  </a:lnTo>
                  <a:lnTo>
                    <a:pt x="233" y="57"/>
                  </a:lnTo>
                  <a:lnTo>
                    <a:pt x="233" y="57"/>
                  </a:lnTo>
                  <a:lnTo>
                    <a:pt x="234" y="60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7" y="62"/>
                  </a:lnTo>
                  <a:lnTo>
                    <a:pt x="238" y="63"/>
                  </a:lnTo>
                  <a:lnTo>
                    <a:pt x="241" y="63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4" y="64"/>
                  </a:lnTo>
                  <a:lnTo>
                    <a:pt x="244" y="64"/>
                  </a:lnTo>
                  <a:lnTo>
                    <a:pt x="246" y="64"/>
                  </a:lnTo>
                  <a:lnTo>
                    <a:pt x="246" y="63"/>
                  </a:lnTo>
                  <a:lnTo>
                    <a:pt x="247" y="63"/>
                  </a:lnTo>
                  <a:lnTo>
                    <a:pt x="248" y="63"/>
                  </a:lnTo>
                  <a:lnTo>
                    <a:pt x="248" y="63"/>
                  </a:lnTo>
                  <a:lnTo>
                    <a:pt x="248" y="63"/>
                  </a:lnTo>
                  <a:lnTo>
                    <a:pt x="248" y="62"/>
                  </a:lnTo>
                  <a:lnTo>
                    <a:pt x="248" y="60"/>
                  </a:lnTo>
                  <a:lnTo>
                    <a:pt x="250" y="60"/>
                  </a:lnTo>
                  <a:lnTo>
                    <a:pt x="251" y="60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4" y="59"/>
                  </a:lnTo>
                  <a:lnTo>
                    <a:pt x="254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7" y="60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8" y="57"/>
                  </a:lnTo>
                  <a:lnTo>
                    <a:pt x="260" y="57"/>
                  </a:lnTo>
                  <a:lnTo>
                    <a:pt x="261" y="57"/>
                  </a:lnTo>
                  <a:lnTo>
                    <a:pt x="263" y="57"/>
                  </a:lnTo>
                  <a:lnTo>
                    <a:pt x="264" y="56"/>
                  </a:lnTo>
                  <a:lnTo>
                    <a:pt x="264" y="56"/>
                  </a:lnTo>
                  <a:lnTo>
                    <a:pt x="266" y="53"/>
                  </a:lnTo>
                  <a:lnTo>
                    <a:pt x="267" y="53"/>
                  </a:lnTo>
                  <a:lnTo>
                    <a:pt x="267" y="53"/>
                  </a:lnTo>
                  <a:lnTo>
                    <a:pt x="268" y="53"/>
                  </a:lnTo>
                  <a:lnTo>
                    <a:pt x="270" y="53"/>
                  </a:lnTo>
                  <a:lnTo>
                    <a:pt x="271" y="52"/>
                  </a:lnTo>
                  <a:lnTo>
                    <a:pt x="271" y="52"/>
                  </a:lnTo>
                  <a:lnTo>
                    <a:pt x="273" y="53"/>
                  </a:lnTo>
                  <a:lnTo>
                    <a:pt x="273" y="53"/>
                  </a:lnTo>
                  <a:lnTo>
                    <a:pt x="273" y="53"/>
                  </a:lnTo>
                  <a:lnTo>
                    <a:pt x="276" y="54"/>
                  </a:lnTo>
                  <a:lnTo>
                    <a:pt x="277" y="54"/>
                  </a:lnTo>
                  <a:lnTo>
                    <a:pt x="278" y="53"/>
                  </a:lnTo>
                  <a:lnTo>
                    <a:pt x="278" y="53"/>
                  </a:lnTo>
                  <a:lnTo>
                    <a:pt x="280" y="53"/>
                  </a:lnTo>
                  <a:lnTo>
                    <a:pt x="280" y="53"/>
                  </a:lnTo>
                  <a:lnTo>
                    <a:pt x="281" y="53"/>
                  </a:lnTo>
                  <a:close/>
                  <a:moveTo>
                    <a:pt x="380" y="53"/>
                  </a:moveTo>
                  <a:lnTo>
                    <a:pt x="378" y="54"/>
                  </a:lnTo>
                  <a:lnTo>
                    <a:pt x="377" y="53"/>
                  </a:lnTo>
                  <a:lnTo>
                    <a:pt x="377" y="52"/>
                  </a:lnTo>
                  <a:lnTo>
                    <a:pt x="377" y="50"/>
                  </a:lnTo>
                  <a:lnTo>
                    <a:pt x="378" y="50"/>
                  </a:lnTo>
                  <a:lnTo>
                    <a:pt x="378" y="50"/>
                  </a:lnTo>
                  <a:lnTo>
                    <a:pt x="380" y="50"/>
                  </a:lnTo>
                  <a:lnTo>
                    <a:pt x="380" y="53"/>
                  </a:lnTo>
                  <a:lnTo>
                    <a:pt x="380" y="53"/>
                  </a:lnTo>
                  <a:close/>
                  <a:moveTo>
                    <a:pt x="383" y="77"/>
                  </a:moveTo>
                  <a:lnTo>
                    <a:pt x="381" y="79"/>
                  </a:lnTo>
                  <a:lnTo>
                    <a:pt x="380" y="77"/>
                  </a:lnTo>
                  <a:lnTo>
                    <a:pt x="380" y="76"/>
                  </a:lnTo>
                  <a:lnTo>
                    <a:pt x="381" y="74"/>
                  </a:lnTo>
                  <a:lnTo>
                    <a:pt x="383" y="74"/>
                  </a:lnTo>
                  <a:lnTo>
                    <a:pt x="383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6"/>
                  </a:lnTo>
                  <a:lnTo>
                    <a:pt x="383" y="77"/>
                  </a:lnTo>
                  <a:close/>
                  <a:moveTo>
                    <a:pt x="378" y="82"/>
                  </a:moveTo>
                  <a:lnTo>
                    <a:pt x="378" y="84"/>
                  </a:lnTo>
                  <a:lnTo>
                    <a:pt x="374" y="83"/>
                  </a:lnTo>
                  <a:lnTo>
                    <a:pt x="375" y="80"/>
                  </a:lnTo>
                  <a:lnTo>
                    <a:pt x="377" y="80"/>
                  </a:lnTo>
                  <a:lnTo>
                    <a:pt x="377" y="79"/>
                  </a:lnTo>
                  <a:lnTo>
                    <a:pt x="378" y="77"/>
                  </a:lnTo>
                  <a:lnTo>
                    <a:pt x="378" y="74"/>
                  </a:lnTo>
                  <a:lnTo>
                    <a:pt x="378" y="74"/>
                  </a:lnTo>
                  <a:lnTo>
                    <a:pt x="378" y="74"/>
                  </a:lnTo>
                  <a:lnTo>
                    <a:pt x="380" y="74"/>
                  </a:lnTo>
                  <a:lnTo>
                    <a:pt x="380" y="77"/>
                  </a:lnTo>
                  <a:lnTo>
                    <a:pt x="380" y="80"/>
                  </a:lnTo>
                  <a:lnTo>
                    <a:pt x="378" y="82"/>
                  </a:lnTo>
                  <a:close/>
                  <a:moveTo>
                    <a:pt x="388" y="80"/>
                  </a:moveTo>
                  <a:lnTo>
                    <a:pt x="390" y="80"/>
                  </a:lnTo>
                  <a:lnTo>
                    <a:pt x="387" y="84"/>
                  </a:lnTo>
                  <a:lnTo>
                    <a:pt x="385" y="84"/>
                  </a:lnTo>
                  <a:lnTo>
                    <a:pt x="384" y="84"/>
                  </a:lnTo>
                  <a:lnTo>
                    <a:pt x="383" y="83"/>
                  </a:lnTo>
                  <a:lnTo>
                    <a:pt x="380" y="83"/>
                  </a:lnTo>
                  <a:lnTo>
                    <a:pt x="380" y="83"/>
                  </a:lnTo>
                  <a:lnTo>
                    <a:pt x="380" y="82"/>
                  </a:lnTo>
                  <a:lnTo>
                    <a:pt x="380" y="80"/>
                  </a:lnTo>
                  <a:lnTo>
                    <a:pt x="383" y="80"/>
                  </a:lnTo>
                  <a:lnTo>
                    <a:pt x="387" y="79"/>
                  </a:lnTo>
                  <a:lnTo>
                    <a:pt x="388" y="80"/>
                  </a:lnTo>
                  <a:close/>
                  <a:moveTo>
                    <a:pt x="394" y="86"/>
                  </a:moveTo>
                  <a:lnTo>
                    <a:pt x="390" y="86"/>
                  </a:lnTo>
                  <a:lnTo>
                    <a:pt x="387" y="86"/>
                  </a:lnTo>
                  <a:lnTo>
                    <a:pt x="388" y="84"/>
                  </a:lnTo>
                  <a:lnTo>
                    <a:pt x="390" y="84"/>
                  </a:lnTo>
                  <a:lnTo>
                    <a:pt x="391" y="83"/>
                  </a:lnTo>
                  <a:lnTo>
                    <a:pt x="393" y="83"/>
                  </a:lnTo>
                  <a:lnTo>
                    <a:pt x="394" y="83"/>
                  </a:lnTo>
                  <a:lnTo>
                    <a:pt x="395" y="84"/>
                  </a:lnTo>
                  <a:lnTo>
                    <a:pt x="394" y="84"/>
                  </a:lnTo>
                  <a:lnTo>
                    <a:pt x="394" y="86"/>
                  </a:lnTo>
                  <a:close/>
                  <a:moveTo>
                    <a:pt x="374" y="86"/>
                  </a:moveTo>
                  <a:lnTo>
                    <a:pt x="370" y="89"/>
                  </a:lnTo>
                  <a:lnTo>
                    <a:pt x="368" y="89"/>
                  </a:lnTo>
                  <a:lnTo>
                    <a:pt x="368" y="87"/>
                  </a:lnTo>
                  <a:lnTo>
                    <a:pt x="368" y="87"/>
                  </a:lnTo>
                  <a:lnTo>
                    <a:pt x="368" y="87"/>
                  </a:lnTo>
                  <a:lnTo>
                    <a:pt x="368" y="86"/>
                  </a:lnTo>
                  <a:lnTo>
                    <a:pt x="371" y="84"/>
                  </a:lnTo>
                  <a:lnTo>
                    <a:pt x="373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4" y="86"/>
                  </a:lnTo>
                  <a:close/>
                  <a:moveTo>
                    <a:pt x="391" y="87"/>
                  </a:moveTo>
                  <a:lnTo>
                    <a:pt x="393" y="87"/>
                  </a:lnTo>
                  <a:lnTo>
                    <a:pt x="394" y="87"/>
                  </a:lnTo>
                  <a:lnTo>
                    <a:pt x="395" y="87"/>
                  </a:lnTo>
                  <a:lnTo>
                    <a:pt x="397" y="86"/>
                  </a:lnTo>
                  <a:lnTo>
                    <a:pt x="398" y="87"/>
                  </a:lnTo>
                  <a:lnTo>
                    <a:pt x="404" y="87"/>
                  </a:lnTo>
                  <a:lnTo>
                    <a:pt x="407" y="87"/>
                  </a:lnTo>
                  <a:lnTo>
                    <a:pt x="408" y="87"/>
                  </a:lnTo>
                  <a:lnTo>
                    <a:pt x="410" y="89"/>
                  </a:lnTo>
                  <a:lnTo>
                    <a:pt x="411" y="89"/>
                  </a:lnTo>
                  <a:lnTo>
                    <a:pt x="411" y="90"/>
                  </a:lnTo>
                  <a:lnTo>
                    <a:pt x="410" y="92"/>
                  </a:lnTo>
                  <a:lnTo>
                    <a:pt x="410" y="93"/>
                  </a:lnTo>
                  <a:lnTo>
                    <a:pt x="408" y="94"/>
                  </a:lnTo>
                  <a:lnTo>
                    <a:pt x="408" y="94"/>
                  </a:lnTo>
                  <a:lnTo>
                    <a:pt x="408" y="94"/>
                  </a:lnTo>
                  <a:lnTo>
                    <a:pt x="408" y="97"/>
                  </a:lnTo>
                  <a:lnTo>
                    <a:pt x="408" y="97"/>
                  </a:lnTo>
                  <a:lnTo>
                    <a:pt x="408" y="99"/>
                  </a:lnTo>
                  <a:lnTo>
                    <a:pt x="407" y="100"/>
                  </a:lnTo>
                  <a:lnTo>
                    <a:pt x="405" y="102"/>
                  </a:lnTo>
                  <a:lnTo>
                    <a:pt x="405" y="102"/>
                  </a:lnTo>
                  <a:lnTo>
                    <a:pt x="404" y="103"/>
                  </a:lnTo>
                  <a:lnTo>
                    <a:pt x="404" y="103"/>
                  </a:lnTo>
                  <a:lnTo>
                    <a:pt x="404" y="104"/>
                  </a:lnTo>
                  <a:lnTo>
                    <a:pt x="404" y="104"/>
                  </a:lnTo>
                  <a:lnTo>
                    <a:pt x="404" y="106"/>
                  </a:lnTo>
                  <a:lnTo>
                    <a:pt x="403" y="107"/>
                  </a:lnTo>
                  <a:lnTo>
                    <a:pt x="401" y="107"/>
                  </a:lnTo>
                  <a:lnTo>
                    <a:pt x="400" y="109"/>
                  </a:lnTo>
                  <a:lnTo>
                    <a:pt x="400" y="107"/>
                  </a:lnTo>
                  <a:lnTo>
                    <a:pt x="398" y="106"/>
                  </a:lnTo>
                  <a:lnTo>
                    <a:pt x="398" y="107"/>
                  </a:lnTo>
                  <a:lnTo>
                    <a:pt x="397" y="109"/>
                  </a:lnTo>
                  <a:lnTo>
                    <a:pt x="397" y="110"/>
                  </a:lnTo>
                  <a:lnTo>
                    <a:pt x="395" y="109"/>
                  </a:lnTo>
                  <a:lnTo>
                    <a:pt x="394" y="109"/>
                  </a:lnTo>
                  <a:lnTo>
                    <a:pt x="393" y="109"/>
                  </a:lnTo>
                  <a:lnTo>
                    <a:pt x="393" y="110"/>
                  </a:lnTo>
                  <a:lnTo>
                    <a:pt x="391" y="112"/>
                  </a:lnTo>
                  <a:lnTo>
                    <a:pt x="390" y="112"/>
                  </a:lnTo>
                  <a:lnTo>
                    <a:pt x="388" y="112"/>
                  </a:lnTo>
                  <a:lnTo>
                    <a:pt x="388" y="113"/>
                  </a:lnTo>
                  <a:lnTo>
                    <a:pt x="385" y="112"/>
                  </a:lnTo>
                  <a:lnTo>
                    <a:pt x="384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0" y="112"/>
                  </a:lnTo>
                  <a:lnTo>
                    <a:pt x="378" y="113"/>
                  </a:lnTo>
                  <a:lnTo>
                    <a:pt x="377" y="113"/>
                  </a:lnTo>
                  <a:lnTo>
                    <a:pt x="375" y="112"/>
                  </a:lnTo>
                  <a:lnTo>
                    <a:pt x="375" y="110"/>
                  </a:lnTo>
                  <a:lnTo>
                    <a:pt x="374" y="109"/>
                  </a:lnTo>
                  <a:lnTo>
                    <a:pt x="373" y="106"/>
                  </a:lnTo>
                  <a:lnTo>
                    <a:pt x="373" y="104"/>
                  </a:lnTo>
                  <a:lnTo>
                    <a:pt x="373" y="102"/>
                  </a:lnTo>
                  <a:lnTo>
                    <a:pt x="374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4" y="102"/>
                  </a:lnTo>
                  <a:lnTo>
                    <a:pt x="373" y="100"/>
                  </a:lnTo>
                  <a:lnTo>
                    <a:pt x="373" y="99"/>
                  </a:lnTo>
                  <a:lnTo>
                    <a:pt x="373" y="94"/>
                  </a:lnTo>
                  <a:lnTo>
                    <a:pt x="373" y="94"/>
                  </a:lnTo>
                  <a:lnTo>
                    <a:pt x="373" y="93"/>
                  </a:lnTo>
                  <a:lnTo>
                    <a:pt x="374" y="93"/>
                  </a:lnTo>
                  <a:lnTo>
                    <a:pt x="373" y="92"/>
                  </a:lnTo>
                  <a:lnTo>
                    <a:pt x="374" y="90"/>
                  </a:lnTo>
                  <a:lnTo>
                    <a:pt x="374" y="89"/>
                  </a:lnTo>
                  <a:lnTo>
                    <a:pt x="377" y="86"/>
                  </a:lnTo>
                  <a:lnTo>
                    <a:pt x="381" y="86"/>
                  </a:lnTo>
                  <a:lnTo>
                    <a:pt x="391" y="87"/>
                  </a:lnTo>
                  <a:close/>
                  <a:moveTo>
                    <a:pt x="355" y="107"/>
                  </a:moveTo>
                  <a:lnTo>
                    <a:pt x="354" y="107"/>
                  </a:lnTo>
                  <a:lnTo>
                    <a:pt x="355" y="103"/>
                  </a:lnTo>
                  <a:lnTo>
                    <a:pt x="358" y="102"/>
                  </a:lnTo>
                  <a:lnTo>
                    <a:pt x="358" y="97"/>
                  </a:lnTo>
                  <a:lnTo>
                    <a:pt x="360" y="94"/>
                  </a:lnTo>
                  <a:lnTo>
                    <a:pt x="363" y="93"/>
                  </a:lnTo>
                  <a:lnTo>
                    <a:pt x="364" y="93"/>
                  </a:lnTo>
                  <a:lnTo>
                    <a:pt x="365" y="94"/>
                  </a:lnTo>
                  <a:lnTo>
                    <a:pt x="364" y="100"/>
                  </a:lnTo>
                  <a:lnTo>
                    <a:pt x="364" y="100"/>
                  </a:lnTo>
                  <a:lnTo>
                    <a:pt x="361" y="103"/>
                  </a:lnTo>
                  <a:lnTo>
                    <a:pt x="358" y="106"/>
                  </a:lnTo>
                  <a:lnTo>
                    <a:pt x="355" y="107"/>
                  </a:lnTo>
                  <a:close/>
                  <a:moveTo>
                    <a:pt x="467" y="104"/>
                  </a:moveTo>
                  <a:lnTo>
                    <a:pt x="465" y="106"/>
                  </a:lnTo>
                  <a:lnTo>
                    <a:pt x="465" y="106"/>
                  </a:lnTo>
                  <a:lnTo>
                    <a:pt x="464" y="106"/>
                  </a:lnTo>
                  <a:lnTo>
                    <a:pt x="465" y="106"/>
                  </a:lnTo>
                  <a:lnTo>
                    <a:pt x="465" y="106"/>
                  </a:lnTo>
                  <a:lnTo>
                    <a:pt x="465" y="104"/>
                  </a:lnTo>
                  <a:lnTo>
                    <a:pt x="467" y="104"/>
                  </a:lnTo>
                  <a:lnTo>
                    <a:pt x="467" y="104"/>
                  </a:lnTo>
                  <a:close/>
                  <a:moveTo>
                    <a:pt x="472" y="130"/>
                  </a:moveTo>
                  <a:lnTo>
                    <a:pt x="471" y="133"/>
                  </a:lnTo>
                  <a:lnTo>
                    <a:pt x="472" y="130"/>
                  </a:lnTo>
                  <a:lnTo>
                    <a:pt x="471" y="129"/>
                  </a:lnTo>
                  <a:lnTo>
                    <a:pt x="471" y="129"/>
                  </a:lnTo>
                  <a:lnTo>
                    <a:pt x="472" y="127"/>
                  </a:lnTo>
                  <a:lnTo>
                    <a:pt x="472" y="127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30"/>
                  </a:lnTo>
                  <a:close/>
                  <a:moveTo>
                    <a:pt x="565" y="294"/>
                  </a:moveTo>
                  <a:lnTo>
                    <a:pt x="564" y="294"/>
                  </a:lnTo>
                  <a:lnTo>
                    <a:pt x="564" y="294"/>
                  </a:lnTo>
                  <a:lnTo>
                    <a:pt x="567" y="293"/>
                  </a:lnTo>
                  <a:lnTo>
                    <a:pt x="567" y="291"/>
                  </a:lnTo>
                  <a:lnTo>
                    <a:pt x="567" y="291"/>
                  </a:lnTo>
                  <a:lnTo>
                    <a:pt x="567" y="293"/>
                  </a:lnTo>
                  <a:lnTo>
                    <a:pt x="567" y="293"/>
                  </a:lnTo>
                  <a:lnTo>
                    <a:pt x="565" y="294"/>
                  </a:lnTo>
                  <a:close/>
                  <a:moveTo>
                    <a:pt x="562" y="300"/>
                  </a:moveTo>
                  <a:lnTo>
                    <a:pt x="562" y="301"/>
                  </a:lnTo>
                  <a:lnTo>
                    <a:pt x="561" y="301"/>
                  </a:lnTo>
                  <a:lnTo>
                    <a:pt x="561" y="300"/>
                  </a:lnTo>
                  <a:lnTo>
                    <a:pt x="561" y="300"/>
                  </a:lnTo>
                  <a:lnTo>
                    <a:pt x="561" y="300"/>
                  </a:lnTo>
                  <a:lnTo>
                    <a:pt x="561" y="299"/>
                  </a:lnTo>
                  <a:lnTo>
                    <a:pt x="562" y="300"/>
                  </a:lnTo>
                  <a:lnTo>
                    <a:pt x="562" y="300"/>
                  </a:lnTo>
                  <a:close/>
                  <a:moveTo>
                    <a:pt x="478" y="463"/>
                  </a:moveTo>
                  <a:lnTo>
                    <a:pt x="480" y="463"/>
                  </a:lnTo>
                  <a:lnTo>
                    <a:pt x="478" y="463"/>
                  </a:lnTo>
                  <a:lnTo>
                    <a:pt x="477" y="464"/>
                  </a:lnTo>
                  <a:lnTo>
                    <a:pt x="475" y="464"/>
                  </a:lnTo>
                  <a:lnTo>
                    <a:pt x="475" y="464"/>
                  </a:lnTo>
                  <a:lnTo>
                    <a:pt x="477" y="463"/>
                  </a:lnTo>
                  <a:lnTo>
                    <a:pt x="477" y="461"/>
                  </a:lnTo>
                  <a:lnTo>
                    <a:pt x="477" y="461"/>
                  </a:lnTo>
                  <a:lnTo>
                    <a:pt x="478" y="463"/>
                  </a:lnTo>
                  <a:lnTo>
                    <a:pt x="478" y="463"/>
                  </a:lnTo>
                  <a:close/>
                  <a:moveTo>
                    <a:pt x="461" y="476"/>
                  </a:moveTo>
                  <a:lnTo>
                    <a:pt x="461" y="477"/>
                  </a:lnTo>
                  <a:lnTo>
                    <a:pt x="460" y="477"/>
                  </a:lnTo>
                  <a:lnTo>
                    <a:pt x="458" y="477"/>
                  </a:lnTo>
                  <a:lnTo>
                    <a:pt x="458" y="476"/>
                  </a:lnTo>
                  <a:lnTo>
                    <a:pt x="460" y="473"/>
                  </a:lnTo>
                  <a:lnTo>
                    <a:pt x="461" y="474"/>
                  </a:lnTo>
                  <a:lnTo>
                    <a:pt x="461" y="474"/>
                  </a:lnTo>
                  <a:lnTo>
                    <a:pt x="461" y="474"/>
                  </a:lnTo>
                  <a:lnTo>
                    <a:pt x="461" y="476"/>
                  </a:lnTo>
                  <a:lnTo>
                    <a:pt x="461" y="476"/>
                  </a:lnTo>
                  <a:close/>
                  <a:moveTo>
                    <a:pt x="407" y="520"/>
                  </a:moveTo>
                  <a:lnTo>
                    <a:pt x="407" y="520"/>
                  </a:lnTo>
                  <a:lnTo>
                    <a:pt x="405" y="518"/>
                  </a:lnTo>
                  <a:lnTo>
                    <a:pt x="408" y="516"/>
                  </a:lnTo>
                  <a:lnTo>
                    <a:pt x="408" y="517"/>
                  </a:lnTo>
                  <a:lnTo>
                    <a:pt x="408" y="518"/>
                  </a:lnTo>
                  <a:lnTo>
                    <a:pt x="408" y="520"/>
                  </a:lnTo>
                  <a:lnTo>
                    <a:pt x="407" y="520"/>
                  </a:lnTo>
                  <a:close/>
                  <a:moveTo>
                    <a:pt x="410" y="544"/>
                  </a:moveTo>
                  <a:lnTo>
                    <a:pt x="408" y="546"/>
                  </a:lnTo>
                  <a:lnTo>
                    <a:pt x="408" y="541"/>
                  </a:lnTo>
                  <a:lnTo>
                    <a:pt x="408" y="540"/>
                  </a:lnTo>
                  <a:lnTo>
                    <a:pt x="410" y="538"/>
                  </a:lnTo>
                  <a:lnTo>
                    <a:pt x="410" y="538"/>
                  </a:lnTo>
                  <a:lnTo>
                    <a:pt x="411" y="538"/>
                  </a:lnTo>
                  <a:lnTo>
                    <a:pt x="410" y="541"/>
                  </a:lnTo>
                  <a:lnTo>
                    <a:pt x="408" y="544"/>
                  </a:lnTo>
                  <a:lnTo>
                    <a:pt x="410" y="54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172;p3"/>
            <p:cNvSpPr/>
            <p:nvPr/>
          </p:nvSpPr>
          <p:spPr>
            <a:xfrm>
              <a:off x="3064289" y="4092943"/>
              <a:ext cx="70130" cy="65918"/>
            </a:xfrm>
            <a:custGeom>
              <a:rect b="b" l="l" r="r" t="t"/>
              <a:pathLst>
                <a:path extrusionOk="0" h="105" w="100">
                  <a:moveTo>
                    <a:pt x="29" y="18"/>
                  </a:moveTo>
                  <a:lnTo>
                    <a:pt x="29" y="18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8" y="15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8" y="5"/>
                  </a:lnTo>
                  <a:lnTo>
                    <a:pt x="25" y="2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5" y="2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7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0" y="12"/>
                  </a:lnTo>
                  <a:lnTo>
                    <a:pt x="29" y="18"/>
                  </a:lnTo>
                  <a:lnTo>
                    <a:pt x="29" y="18"/>
                  </a:lnTo>
                  <a:close/>
                  <a:moveTo>
                    <a:pt x="9" y="4"/>
                  </a:moveTo>
                  <a:lnTo>
                    <a:pt x="10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5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3" y="5"/>
                  </a:lnTo>
                  <a:lnTo>
                    <a:pt x="8" y="7"/>
                  </a:lnTo>
                  <a:lnTo>
                    <a:pt x="6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7"/>
                  </a:lnTo>
                  <a:lnTo>
                    <a:pt x="5" y="7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9" y="4"/>
                  </a:lnTo>
                  <a:close/>
                  <a:moveTo>
                    <a:pt x="37" y="25"/>
                  </a:moveTo>
                  <a:lnTo>
                    <a:pt x="40" y="28"/>
                  </a:lnTo>
                  <a:lnTo>
                    <a:pt x="43" y="28"/>
                  </a:lnTo>
                  <a:lnTo>
                    <a:pt x="45" y="3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7"/>
                  </a:lnTo>
                  <a:lnTo>
                    <a:pt x="46" y="38"/>
                  </a:lnTo>
                  <a:lnTo>
                    <a:pt x="46" y="41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8"/>
                  </a:lnTo>
                  <a:lnTo>
                    <a:pt x="45" y="35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3" y="31"/>
                  </a:lnTo>
                  <a:lnTo>
                    <a:pt x="42" y="30"/>
                  </a:lnTo>
                  <a:lnTo>
                    <a:pt x="40" y="28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7" y="25"/>
                  </a:lnTo>
                  <a:lnTo>
                    <a:pt x="37" y="25"/>
                  </a:lnTo>
                  <a:close/>
                  <a:moveTo>
                    <a:pt x="20" y="40"/>
                  </a:moveTo>
                  <a:lnTo>
                    <a:pt x="20" y="42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0" y="42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2" y="42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8" y="35"/>
                  </a:lnTo>
                  <a:lnTo>
                    <a:pt x="19" y="38"/>
                  </a:lnTo>
                  <a:lnTo>
                    <a:pt x="20" y="40"/>
                  </a:lnTo>
                  <a:close/>
                  <a:moveTo>
                    <a:pt x="28" y="34"/>
                  </a:moveTo>
                  <a:lnTo>
                    <a:pt x="25" y="35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5" y="34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4"/>
                  </a:lnTo>
                  <a:close/>
                  <a:moveTo>
                    <a:pt x="59" y="48"/>
                  </a:moveTo>
                  <a:lnTo>
                    <a:pt x="59" y="50"/>
                  </a:lnTo>
                  <a:lnTo>
                    <a:pt x="59" y="50"/>
                  </a:lnTo>
                  <a:lnTo>
                    <a:pt x="57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7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3" y="42"/>
                  </a:lnTo>
                  <a:lnTo>
                    <a:pt x="53" y="41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5" y="40"/>
                  </a:lnTo>
                  <a:lnTo>
                    <a:pt x="56" y="44"/>
                  </a:lnTo>
                  <a:lnTo>
                    <a:pt x="56" y="45"/>
                  </a:lnTo>
                  <a:lnTo>
                    <a:pt x="59" y="48"/>
                  </a:lnTo>
                  <a:close/>
                  <a:moveTo>
                    <a:pt x="22" y="48"/>
                  </a:moveTo>
                  <a:lnTo>
                    <a:pt x="22" y="48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2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3" y="57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19" y="54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20" y="47"/>
                  </a:lnTo>
                  <a:lnTo>
                    <a:pt x="22" y="47"/>
                  </a:lnTo>
                  <a:lnTo>
                    <a:pt x="22" y="48"/>
                  </a:lnTo>
                  <a:close/>
                  <a:moveTo>
                    <a:pt x="73" y="51"/>
                  </a:moveTo>
                  <a:lnTo>
                    <a:pt x="72" y="52"/>
                  </a:lnTo>
                  <a:lnTo>
                    <a:pt x="72" y="52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close/>
                  <a:moveTo>
                    <a:pt x="53" y="61"/>
                  </a:moveTo>
                  <a:lnTo>
                    <a:pt x="53" y="62"/>
                  </a:lnTo>
                  <a:lnTo>
                    <a:pt x="52" y="61"/>
                  </a:lnTo>
                  <a:lnTo>
                    <a:pt x="49" y="60"/>
                  </a:lnTo>
                  <a:lnTo>
                    <a:pt x="47" y="60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2" y="60"/>
                  </a:lnTo>
                  <a:lnTo>
                    <a:pt x="52" y="61"/>
                  </a:lnTo>
                  <a:lnTo>
                    <a:pt x="53" y="61"/>
                  </a:lnTo>
                  <a:close/>
                  <a:moveTo>
                    <a:pt x="67" y="71"/>
                  </a:moveTo>
                  <a:lnTo>
                    <a:pt x="67" y="72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0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4"/>
                  </a:lnTo>
                  <a:lnTo>
                    <a:pt x="60" y="61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60" y="60"/>
                  </a:lnTo>
                  <a:lnTo>
                    <a:pt x="62" y="62"/>
                  </a:lnTo>
                  <a:lnTo>
                    <a:pt x="63" y="64"/>
                  </a:lnTo>
                  <a:lnTo>
                    <a:pt x="63" y="67"/>
                  </a:lnTo>
                  <a:lnTo>
                    <a:pt x="66" y="68"/>
                  </a:lnTo>
                  <a:lnTo>
                    <a:pt x="67" y="70"/>
                  </a:lnTo>
                  <a:lnTo>
                    <a:pt x="67" y="71"/>
                  </a:lnTo>
                  <a:close/>
                  <a:moveTo>
                    <a:pt x="79" y="74"/>
                  </a:moveTo>
                  <a:lnTo>
                    <a:pt x="80" y="75"/>
                  </a:lnTo>
                  <a:lnTo>
                    <a:pt x="79" y="75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7" y="72"/>
                  </a:lnTo>
                  <a:lnTo>
                    <a:pt x="77" y="74"/>
                  </a:lnTo>
                  <a:lnTo>
                    <a:pt x="79" y="74"/>
                  </a:lnTo>
                  <a:close/>
                  <a:moveTo>
                    <a:pt x="77" y="82"/>
                  </a:moveTo>
                  <a:lnTo>
                    <a:pt x="76" y="84"/>
                  </a:lnTo>
                  <a:lnTo>
                    <a:pt x="76" y="82"/>
                  </a:lnTo>
                  <a:lnTo>
                    <a:pt x="79" y="81"/>
                  </a:lnTo>
                  <a:lnTo>
                    <a:pt x="79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7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2" y="74"/>
                  </a:lnTo>
                  <a:lnTo>
                    <a:pt x="83" y="74"/>
                  </a:lnTo>
                  <a:lnTo>
                    <a:pt x="82" y="75"/>
                  </a:lnTo>
                  <a:lnTo>
                    <a:pt x="83" y="78"/>
                  </a:lnTo>
                  <a:lnTo>
                    <a:pt x="80" y="81"/>
                  </a:lnTo>
                  <a:lnTo>
                    <a:pt x="79" y="81"/>
                  </a:lnTo>
                  <a:lnTo>
                    <a:pt x="77" y="82"/>
                  </a:lnTo>
                  <a:close/>
                  <a:moveTo>
                    <a:pt x="96" y="80"/>
                  </a:moveTo>
                  <a:lnTo>
                    <a:pt x="97" y="80"/>
                  </a:lnTo>
                  <a:lnTo>
                    <a:pt x="97" y="80"/>
                  </a:lnTo>
                  <a:lnTo>
                    <a:pt x="99" y="80"/>
                  </a:lnTo>
                  <a:lnTo>
                    <a:pt x="100" y="81"/>
                  </a:lnTo>
                  <a:lnTo>
                    <a:pt x="100" y="81"/>
                  </a:lnTo>
                  <a:lnTo>
                    <a:pt x="100" y="82"/>
                  </a:lnTo>
                  <a:lnTo>
                    <a:pt x="99" y="81"/>
                  </a:lnTo>
                  <a:lnTo>
                    <a:pt x="97" y="81"/>
                  </a:lnTo>
                  <a:lnTo>
                    <a:pt x="95" y="81"/>
                  </a:lnTo>
                  <a:lnTo>
                    <a:pt x="93" y="80"/>
                  </a:lnTo>
                  <a:lnTo>
                    <a:pt x="95" y="80"/>
                  </a:lnTo>
                  <a:lnTo>
                    <a:pt x="96" y="80"/>
                  </a:lnTo>
                  <a:close/>
                  <a:moveTo>
                    <a:pt x="97" y="95"/>
                  </a:moveTo>
                  <a:lnTo>
                    <a:pt x="96" y="97"/>
                  </a:lnTo>
                  <a:lnTo>
                    <a:pt x="96" y="95"/>
                  </a:lnTo>
                  <a:lnTo>
                    <a:pt x="96" y="94"/>
                  </a:lnTo>
                  <a:lnTo>
                    <a:pt x="97" y="95"/>
                  </a:lnTo>
                  <a:close/>
                  <a:moveTo>
                    <a:pt x="96" y="101"/>
                  </a:moveTo>
                  <a:lnTo>
                    <a:pt x="96" y="102"/>
                  </a:lnTo>
                  <a:lnTo>
                    <a:pt x="93" y="104"/>
                  </a:lnTo>
                  <a:lnTo>
                    <a:pt x="90" y="105"/>
                  </a:lnTo>
                  <a:lnTo>
                    <a:pt x="86" y="105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7" y="102"/>
                  </a:lnTo>
                  <a:lnTo>
                    <a:pt x="87" y="101"/>
                  </a:lnTo>
                  <a:lnTo>
                    <a:pt x="90" y="101"/>
                  </a:lnTo>
                  <a:lnTo>
                    <a:pt x="92" y="101"/>
                  </a:lnTo>
                  <a:lnTo>
                    <a:pt x="93" y="101"/>
                  </a:lnTo>
                  <a:lnTo>
                    <a:pt x="95" y="101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10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173;p3"/>
            <p:cNvSpPr/>
            <p:nvPr/>
          </p:nvSpPr>
          <p:spPr>
            <a:xfrm>
              <a:off x="4947975" y="4077248"/>
              <a:ext cx="38572" cy="18206"/>
            </a:xfrm>
            <a:custGeom>
              <a:rect b="b" l="l" r="r" t="t"/>
              <a:pathLst>
                <a:path extrusionOk="0" h="29" w="55">
                  <a:moveTo>
                    <a:pt x="46" y="10"/>
                  </a:moveTo>
                  <a:lnTo>
                    <a:pt x="46" y="10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9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3" y="17"/>
                  </a:lnTo>
                  <a:lnTo>
                    <a:pt x="55" y="19"/>
                  </a:lnTo>
                  <a:lnTo>
                    <a:pt x="53" y="20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7"/>
                  </a:lnTo>
                  <a:lnTo>
                    <a:pt x="47" y="27"/>
                  </a:lnTo>
                  <a:lnTo>
                    <a:pt x="45" y="27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7"/>
                  </a:lnTo>
                  <a:lnTo>
                    <a:pt x="39" y="27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0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5" y="26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6"/>
                  </a:lnTo>
                  <a:lnTo>
                    <a:pt x="5" y="15"/>
                  </a:lnTo>
                  <a:lnTo>
                    <a:pt x="6" y="13"/>
                  </a:lnTo>
                  <a:lnTo>
                    <a:pt x="8" y="12"/>
                  </a:lnTo>
                  <a:lnTo>
                    <a:pt x="9" y="9"/>
                  </a:lnTo>
                  <a:lnTo>
                    <a:pt x="10" y="7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6" y="10"/>
                  </a:lnTo>
                  <a:lnTo>
                    <a:pt x="46" y="1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174;p3"/>
            <p:cNvSpPr/>
            <p:nvPr/>
          </p:nvSpPr>
          <p:spPr>
            <a:xfrm>
              <a:off x="4175846" y="4553109"/>
              <a:ext cx="105195" cy="98562"/>
            </a:xfrm>
            <a:custGeom>
              <a:rect b="b" l="l" r="r" t="t"/>
              <a:pathLst>
                <a:path extrusionOk="0" h="157" w="150">
                  <a:moveTo>
                    <a:pt x="84" y="0"/>
                  </a:moveTo>
                  <a:lnTo>
                    <a:pt x="84" y="2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6" y="5"/>
                  </a:lnTo>
                  <a:lnTo>
                    <a:pt x="86" y="6"/>
                  </a:lnTo>
                  <a:lnTo>
                    <a:pt x="87" y="6"/>
                  </a:lnTo>
                  <a:lnTo>
                    <a:pt x="87" y="9"/>
                  </a:lnTo>
                  <a:lnTo>
                    <a:pt x="89" y="10"/>
                  </a:lnTo>
                  <a:lnTo>
                    <a:pt x="90" y="12"/>
                  </a:lnTo>
                  <a:lnTo>
                    <a:pt x="93" y="15"/>
                  </a:lnTo>
                  <a:lnTo>
                    <a:pt x="93" y="16"/>
                  </a:lnTo>
                  <a:lnTo>
                    <a:pt x="94" y="18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3"/>
                  </a:lnTo>
                  <a:lnTo>
                    <a:pt x="99" y="27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4" y="33"/>
                  </a:lnTo>
                  <a:lnTo>
                    <a:pt x="107" y="36"/>
                  </a:lnTo>
                  <a:lnTo>
                    <a:pt x="111" y="37"/>
                  </a:lnTo>
                  <a:lnTo>
                    <a:pt x="114" y="39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7" y="42"/>
                  </a:lnTo>
                  <a:lnTo>
                    <a:pt x="117" y="45"/>
                  </a:lnTo>
                  <a:lnTo>
                    <a:pt x="117" y="46"/>
                  </a:lnTo>
                  <a:lnTo>
                    <a:pt x="120" y="46"/>
                  </a:lnTo>
                  <a:lnTo>
                    <a:pt x="123" y="46"/>
                  </a:lnTo>
                  <a:lnTo>
                    <a:pt x="124" y="46"/>
                  </a:lnTo>
                  <a:lnTo>
                    <a:pt x="124" y="47"/>
                  </a:lnTo>
                  <a:lnTo>
                    <a:pt x="124" y="49"/>
                  </a:lnTo>
                  <a:lnTo>
                    <a:pt x="124" y="50"/>
                  </a:lnTo>
                  <a:lnTo>
                    <a:pt x="124" y="52"/>
                  </a:lnTo>
                  <a:lnTo>
                    <a:pt x="124" y="53"/>
                  </a:lnTo>
                  <a:lnTo>
                    <a:pt x="123" y="55"/>
                  </a:lnTo>
                  <a:lnTo>
                    <a:pt x="123" y="56"/>
                  </a:lnTo>
                  <a:lnTo>
                    <a:pt x="124" y="57"/>
                  </a:lnTo>
                  <a:lnTo>
                    <a:pt x="126" y="59"/>
                  </a:lnTo>
                  <a:lnTo>
                    <a:pt x="127" y="62"/>
                  </a:lnTo>
                  <a:lnTo>
                    <a:pt x="129" y="63"/>
                  </a:lnTo>
                  <a:lnTo>
                    <a:pt x="129" y="65"/>
                  </a:lnTo>
                  <a:lnTo>
                    <a:pt x="130" y="65"/>
                  </a:lnTo>
                  <a:lnTo>
                    <a:pt x="131" y="65"/>
                  </a:lnTo>
                  <a:lnTo>
                    <a:pt x="137" y="66"/>
                  </a:lnTo>
                  <a:lnTo>
                    <a:pt x="141" y="67"/>
                  </a:lnTo>
                  <a:lnTo>
                    <a:pt x="143" y="69"/>
                  </a:lnTo>
                  <a:lnTo>
                    <a:pt x="144" y="69"/>
                  </a:lnTo>
                  <a:lnTo>
                    <a:pt x="146" y="69"/>
                  </a:lnTo>
                  <a:lnTo>
                    <a:pt x="146" y="69"/>
                  </a:lnTo>
                  <a:lnTo>
                    <a:pt x="146" y="72"/>
                  </a:lnTo>
                  <a:lnTo>
                    <a:pt x="146" y="72"/>
                  </a:lnTo>
                  <a:lnTo>
                    <a:pt x="146" y="73"/>
                  </a:lnTo>
                  <a:lnTo>
                    <a:pt x="146" y="73"/>
                  </a:lnTo>
                  <a:lnTo>
                    <a:pt x="147" y="73"/>
                  </a:lnTo>
                  <a:lnTo>
                    <a:pt x="149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7" y="76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3" y="80"/>
                  </a:lnTo>
                  <a:lnTo>
                    <a:pt x="140" y="82"/>
                  </a:lnTo>
                  <a:lnTo>
                    <a:pt x="137" y="82"/>
                  </a:lnTo>
                  <a:lnTo>
                    <a:pt x="134" y="83"/>
                  </a:lnTo>
                  <a:lnTo>
                    <a:pt x="131" y="85"/>
                  </a:lnTo>
                  <a:lnTo>
                    <a:pt x="129" y="87"/>
                  </a:lnTo>
                  <a:lnTo>
                    <a:pt x="127" y="89"/>
                  </a:lnTo>
                  <a:lnTo>
                    <a:pt x="127" y="90"/>
                  </a:lnTo>
                  <a:lnTo>
                    <a:pt x="127" y="90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4" y="93"/>
                  </a:lnTo>
                  <a:lnTo>
                    <a:pt x="124" y="93"/>
                  </a:lnTo>
                  <a:lnTo>
                    <a:pt x="123" y="93"/>
                  </a:lnTo>
                  <a:lnTo>
                    <a:pt x="123" y="95"/>
                  </a:lnTo>
                  <a:lnTo>
                    <a:pt x="121" y="95"/>
                  </a:lnTo>
                  <a:lnTo>
                    <a:pt x="120" y="96"/>
                  </a:lnTo>
                  <a:lnTo>
                    <a:pt x="119" y="96"/>
                  </a:lnTo>
                  <a:lnTo>
                    <a:pt x="117" y="97"/>
                  </a:lnTo>
                  <a:lnTo>
                    <a:pt x="117" y="97"/>
                  </a:lnTo>
                  <a:lnTo>
                    <a:pt x="116" y="99"/>
                  </a:lnTo>
                  <a:lnTo>
                    <a:pt x="116" y="99"/>
                  </a:lnTo>
                  <a:lnTo>
                    <a:pt x="114" y="99"/>
                  </a:lnTo>
                  <a:lnTo>
                    <a:pt x="113" y="102"/>
                  </a:lnTo>
                  <a:lnTo>
                    <a:pt x="113" y="103"/>
                  </a:lnTo>
                  <a:lnTo>
                    <a:pt x="110" y="112"/>
                  </a:lnTo>
                  <a:lnTo>
                    <a:pt x="109" y="112"/>
                  </a:lnTo>
                  <a:lnTo>
                    <a:pt x="107" y="113"/>
                  </a:lnTo>
                  <a:lnTo>
                    <a:pt x="104" y="116"/>
                  </a:lnTo>
                  <a:lnTo>
                    <a:pt x="104" y="117"/>
                  </a:lnTo>
                  <a:lnTo>
                    <a:pt x="103" y="117"/>
                  </a:lnTo>
                  <a:lnTo>
                    <a:pt x="99" y="119"/>
                  </a:lnTo>
                  <a:lnTo>
                    <a:pt x="97" y="119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3" y="127"/>
                  </a:lnTo>
                  <a:lnTo>
                    <a:pt x="91" y="130"/>
                  </a:lnTo>
                  <a:lnTo>
                    <a:pt x="91" y="132"/>
                  </a:lnTo>
                  <a:lnTo>
                    <a:pt x="90" y="135"/>
                  </a:lnTo>
                  <a:lnTo>
                    <a:pt x="89" y="136"/>
                  </a:lnTo>
                  <a:lnTo>
                    <a:pt x="87" y="137"/>
                  </a:lnTo>
                  <a:lnTo>
                    <a:pt x="86" y="137"/>
                  </a:lnTo>
                  <a:lnTo>
                    <a:pt x="84" y="137"/>
                  </a:lnTo>
                  <a:lnTo>
                    <a:pt x="81" y="137"/>
                  </a:lnTo>
                  <a:lnTo>
                    <a:pt x="80" y="137"/>
                  </a:lnTo>
                  <a:lnTo>
                    <a:pt x="79" y="139"/>
                  </a:lnTo>
                  <a:lnTo>
                    <a:pt x="77" y="139"/>
                  </a:lnTo>
                  <a:lnTo>
                    <a:pt x="73" y="139"/>
                  </a:lnTo>
                  <a:lnTo>
                    <a:pt x="71" y="137"/>
                  </a:lnTo>
                  <a:lnTo>
                    <a:pt x="70" y="137"/>
                  </a:lnTo>
                  <a:lnTo>
                    <a:pt x="67" y="136"/>
                  </a:lnTo>
                  <a:lnTo>
                    <a:pt x="66" y="136"/>
                  </a:lnTo>
                  <a:lnTo>
                    <a:pt x="64" y="136"/>
                  </a:lnTo>
                  <a:lnTo>
                    <a:pt x="63" y="135"/>
                  </a:lnTo>
                  <a:lnTo>
                    <a:pt x="62" y="135"/>
                  </a:lnTo>
                  <a:lnTo>
                    <a:pt x="60" y="132"/>
                  </a:lnTo>
                  <a:lnTo>
                    <a:pt x="57" y="130"/>
                  </a:lnTo>
                  <a:lnTo>
                    <a:pt x="54" y="129"/>
                  </a:lnTo>
                  <a:lnTo>
                    <a:pt x="53" y="129"/>
                  </a:lnTo>
                  <a:lnTo>
                    <a:pt x="52" y="129"/>
                  </a:lnTo>
                  <a:lnTo>
                    <a:pt x="50" y="130"/>
                  </a:lnTo>
                  <a:lnTo>
                    <a:pt x="49" y="130"/>
                  </a:lnTo>
                  <a:lnTo>
                    <a:pt x="47" y="130"/>
                  </a:lnTo>
                  <a:lnTo>
                    <a:pt x="47" y="133"/>
                  </a:lnTo>
                  <a:lnTo>
                    <a:pt x="46" y="135"/>
                  </a:lnTo>
                  <a:lnTo>
                    <a:pt x="46" y="136"/>
                  </a:lnTo>
                  <a:lnTo>
                    <a:pt x="44" y="139"/>
                  </a:lnTo>
                  <a:lnTo>
                    <a:pt x="43" y="143"/>
                  </a:lnTo>
                  <a:lnTo>
                    <a:pt x="42" y="145"/>
                  </a:lnTo>
                  <a:lnTo>
                    <a:pt x="42" y="145"/>
                  </a:lnTo>
                  <a:lnTo>
                    <a:pt x="40" y="146"/>
                  </a:lnTo>
                  <a:lnTo>
                    <a:pt x="36" y="149"/>
                  </a:lnTo>
                  <a:lnTo>
                    <a:pt x="34" y="152"/>
                  </a:lnTo>
                  <a:lnTo>
                    <a:pt x="33" y="153"/>
                  </a:lnTo>
                  <a:lnTo>
                    <a:pt x="32" y="155"/>
                  </a:lnTo>
                  <a:lnTo>
                    <a:pt x="30" y="155"/>
                  </a:lnTo>
                  <a:lnTo>
                    <a:pt x="29" y="155"/>
                  </a:lnTo>
                  <a:lnTo>
                    <a:pt x="29" y="156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6"/>
                  </a:lnTo>
                  <a:lnTo>
                    <a:pt x="13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0" y="153"/>
                  </a:lnTo>
                  <a:lnTo>
                    <a:pt x="10" y="150"/>
                  </a:lnTo>
                  <a:lnTo>
                    <a:pt x="12" y="149"/>
                  </a:lnTo>
                  <a:lnTo>
                    <a:pt x="13" y="147"/>
                  </a:lnTo>
                  <a:lnTo>
                    <a:pt x="13" y="145"/>
                  </a:lnTo>
                  <a:lnTo>
                    <a:pt x="14" y="145"/>
                  </a:lnTo>
                  <a:lnTo>
                    <a:pt x="13" y="143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2" y="137"/>
                  </a:lnTo>
                  <a:lnTo>
                    <a:pt x="10" y="133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6" y="125"/>
                  </a:lnTo>
                  <a:lnTo>
                    <a:pt x="2" y="122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6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2"/>
                  </a:lnTo>
                  <a:lnTo>
                    <a:pt x="16" y="55"/>
                  </a:lnTo>
                  <a:lnTo>
                    <a:pt x="16" y="47"/>
                  </a:lnTo>
                  <a:lnTo>
                    <a:pt x="16" y="40"/>
                  </a:lnTo>
                  <a:lnTo>
                    <a:pt x="16" y="33"/>
                  </a:lnTo>
                  <a:lnTo>
                    <a:pt x="16" y="27"/>
                  </a:lnTo>
                  <a:lnTo>
                    <a:pt x="16" y="20"/>
                  </a:lnTo>
                  <a:lnTo>
                    <a:pt x="16" y="13"/>
                  </a:lnTo>
                  <a:lnTo>
                    <a:pt x="16" y="10"/>
                  </a:lnTo>
                  <a:lnTo>
                    <a:pt x="20" y="9"/>
                  </a:lnTo>
                  <a:lnTo>
                    <a:pt x="24" y="9"/>
                  </a:lnTo>
                  <a:lnTo>
                    <a:pt x="33" y="8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6" y="9"/>
                  </a:lnTo>
                  <a:lnTo>
                    <a:pt x="57" y="10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60" y="12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8"/>
                  </a:lnTo>
                  <a:lnTo>
                    <a:pt x="67" y="6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4" y="0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175;p3"/>
            <p:cNvSpPr/>
            <p:nvPr/>
          </p:nvSpPr>
          <p:spPr>
            <a:xfrm>
              <a:off x="4212314" y="3690533"/>
              <a:ext cx="106597" cy="82868"/>
            </a:xfrm>
            <a:custGeom>
              <a:rect b="b" l="l" r="r" t="t"/>
              <a:pathLst>
                <a:path extrusionOk="0" h="132" w="152">
                  <a:moveTo>
                    <a:pt x="79" y="0"/>
                  </a:moveTo>
                  <a:lnTo>
                    <a:pt x="81" y="2"/>
                  </a:lnTo>
                  <a:lnTo>
                    <a:pt x="82" y="2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7" y="2"/>
                  </a:lnTo>
                  <a:lnTo>
                    <a:pt x="88" y="4"/>
                  </a:lnTo>
                  <a:lnTo>
                    <a:pt x="88" y="5"/>
                  </a:lnTo>
                  <a:lnTo>
                    <a:pt x="89" y="5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8" y="5"/>
                  </a:lnTo>
                  <a:lnTo>
                    <a:pt x="99" y="5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8"/>
                  </a:lnTo>
                  <a:lnTo>
                    <a:pt x="98" y="10"/>
                  </a:lnTo>
                  <a:lnTo>
                    <a:pt x="99" y="12"/>
                  </a:lnTo>
                  <a:lnTo>
                    <a:pt x="101" y="12"/>
                  </a:lnTo>
                  <a:lnTo>
                    <a:pt x="102" y="11"/>
                  </a:lnTo>
                  <a:lnTo>
                    <a:pt x="104" y="11"/>
                  </a:lnTo>
                  <a:lnTo>
                    <a:pt x="105" y="11"/>
                  </a:lnTo>
                  <a:lnTo>
                    <a:pt x="107" y="10"/>
                  </a:lnTo>
                  <a:lnTo>
                    <a:pt x="107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12" y="8"/>
                  </a:lnTo>
                  <a:lnTo>
                    <a:pt x="116" y="10"/>
                  </a:lnTo>
                  <a:lnTo>
                    <a:pt x="116" y="11"/>
                  </a:lnTo>
                  <a:lnTo>
                    <a:pt x="118" y="12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21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2" y="25"/>
                  </a:lnTo>
                  <a:lnTo>
                    <a:pt x="124" y="28"/>
                  </a:lnTo>
                  <a:lnTo>
                    <a:pt x="125" y="30"/>
                  </a:lnTo>
                  <a:lnTo>
                    <a:pt x="125" y="31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7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5" y="41"/>
                  </a:lnTo>
                  <a:lnTo>
                    <a:pt x="126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6" y="45"/>
                  </a:lnTo>
                  <a:lnTo>
                    <a:pt x="126" y="47"/>
                  </a:lnTo>
                  <a:lnTo>
                    <a:pt x="128" y="47"/>
                  </a:lnTo>
                  <a:lnTo>
                    <a:pt x="129" y="50"/>
                  </a:lnTo>
                  <a:lnTo>
                    <a:pt x="129" y="52"/>
                  </a:lnTo>
                  <a:lnTo>
                    <a:pt x="131" y="54"/>
                  </a:lnTo>
                  <a:lnTo>
                    <a:pt x="135" y="57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38" y="60"/>
                  </a:lnTo>
                  <a:lnTo>
                    <a:pt x="138" y="61"/>
                  </a:lnTo>
                  <a:lnTo>
                    <a:pt x="138" y="64"/>
                  </a:lnTo>
                  <a:lnTo>
                    <a:pt x="136" y="65"/>
                  </a:lnTo>
                  <a:lnTo>
                    <a:pt x="138" y="65"/>
                  </a:lnTo>
                  <a:lnTo>
                    <a:pt x="141" y="65"/>
                  </a:lnTo>
                  <a:lnTo>
                    <a:pt x="144" y="65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71"/>
                  </a:lnTo>
                  <a:lnTo>
                    <a:pt x="148" y="72"/>
                  </a:lnTo>
                  <a:lnTo>
                    <a:pt x="152" y="75"/>
                  </a:lnTo>
                  <a:lnTo>
                    <a:pt x="152" y="75"/>
                  </a:lnTo>
                  <a:lnTo>
                    <a:pt x="152" y="77"/>
                  </a:lnTo>
                  <a:lnTo>
                    <a:pt x="152" y="78"/>
                  </a:lnTo>
                  <a:lnTo>
                    <a:pt x="151" y="78"/>
                  </a:lnTo>
                  <a:lnTo>
                    <a:pt x="151" y="78"/>
                  </a:lnTo>
                  <a:lnTo>
                    <a:pt x="148" y="80"/>
                  </a:lnTo>
                  <a:lnTo>
                    <a:pt x="148" y="81"/>
                  </a:lnTo>
                  <a:lnTo>
                    <a:pt x="145" y="84"/>
                  </a:lnTo>
                  <a:lnTo>
                    <a:pt x="144" y="84"/>
                  </a:lnTo>
                  <a:lnTo>
                    <a:pt x="142" y="84"/>
                  </a:lnTo>
                  <a:lnTo>
                    <a:pt x="138" y="84"/>
                  </a:lnTo>
                  <a:lnTo>
                    <a:pt x="138" y="82"/>
                  </a:lnTo>
                  <a:lnTo>
                    <a:pt x="136" y="81"/>
                  </a:lnTo>
                  <a:lnTo>
                    <a:pt x="135" y="81"/>
                  </a:lnTo>
                  <a:lnTo>
                    <a:pt x="134" y="81"/>
                  </a:lnTo>
                  <a:lnTo>
                    <a:pt x="132" y="81"/>
                  </a:lnTo>
                  <a:lnTo>
                    <a:pt x="131" y="81"/>
                  </a:lnTo>
                  <a:lnTo>
                    <a:pt x="131" y="82"/>
                  </a:lnTo>
                  <a:lnTo>
                    <a:pt x="129" y="85"/>
                  </a:lnTo>
                  <a:lnTo>
                    <a:pt x="129" y="87"/>
                  </a:lnTo>
                  <a:lnTo>
                    <a:pt x="129" y="87"/>
                  </a:lnTo>
                  <a:lnTo>
                    <a:pt x="131" y="88"/>
                  </a:lnTo>
                  <a:lnTo>
                    <a:pt x="132" y="90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4"/>
                  </a:lnTo>
                  <a:lnTo>
                    <a:pt x="134" y="95"/>
                  </a:lnTo>
                  <a:lnTo>
                    <a:pt x="134" y="97"/>
                  </a:lnTo>
                  <a:lnTo>
                    <a:pt x="135" y="98"/>
                  </a:lnTo>
                  <a:lnTo>
                    <a:pt x="134" y="100"/>
                  </a:lnTo>
                  <a:lnTo>
                    <a:pt x="134" y="102"/>
                  </a:lnTo>
                  <a:lnTo>
                    <a:pt x="134" y="105"/>
                  </a:lnTo>
                  <a:lnTo>
                    <a:pt x="135" y="105"/>
                  </a:lnTo>
                  <a:lnTo>
                    <a:pt x="135" y="107"/>
                  </a:lnTo>
                  <a:lnTo>
                    <a:pt x="136" y="107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34" y="110"/>
                  </a:lnTo>
                  <a:lnTo>
                    <a:pt x="131" y="11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6" y="111"/>
                  </a:lnTo>
                  <a:lnTo>
                    <a:pt x="125" y="111"/>
                  </a:lnTo>
                  <a:lnTo>
                    <a:pt x="122" y="114"/>
                  </a:lnTo>
                  <a:lnTo>
                    <a:pt x="121" y="115"/>
                  </a:lnTo>
                  <a:lnTo>
                    <a:pt x="119" y="118"/>
                  </a:lnTo>
                  <a:lnTo>
                    <a:pt x="119" y="118"/>
                  </a:lnTo>
                  <a:lnTo>
                    <a:pt x="118" y="121"/>
                  </a:lnTo>
                  <a:lnTo>
                    <a:pt x="118" y="124"/>
                  </a:lnTo>
                  <a:lnTo>
                    <a:pt x="118" y="125"/>
                  </a:lnTo>
                  <a:lnTo>
                    <a:pt x="118" y="127"/>
                  </a:lnTo>
                  <a:lnTo>
                    <a:pt x="118" y="128"/>
                  </a:lnTo>
                  <a:lnTo>
                    <a:pt x="119" y="129"/>
                  </a:lnTo>
                  <a:lnTo>
                    <a:pt x="118" y="131"/>
                  </a:lnTo>
                  <a:lnTo>
                    <a:pt x="118" y="132"/>
                  </a:lnTo>
                  <a:lnTo>
                    <a:pt x="116" y="131"/>
                  </a:lnTo>
                  <a:lnTo>
                    <a:pt x="114" y="129"/>
                  </a:lnTo>
                  <a:lnTo>
                    <a:pt x="114" y="128"/>
                  </a:lnTo>
                  <a:lnTo>
                    <a:pt x="112" y="127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8" y="127"/>
                  </a:lnTo>
                  <a:lnTo>
                    <a:pt x="104" y="127"/>
                  </a:lnTo>
                  <a:lnTo>
                    <a:pt x="102" y="128"/>
                  </a:lnTo>
                  <a:lnTo>
                    <a:pt x="101" y="128"/>
                  </a:lnTo>
                  <a:lnTo>
                    <a:pt x="98" y="128"/>
                  </a:lnTo>
                  <a:lnTo>
                    <a:pt x="98" y="128"/>
                  </a:lnTo>
                  <a:lnTo>
                    <a:pt x="97" y="125"/>
                  </a:lnTo>
                  <a:lnTo>
                    <a:pt x="95" y="124"/>
                  </a:lnTo>
                  <a:lnTo>
                    <a:pt x="95" y="122"/>
                  </a:lnTo>
                  <a:lnTo>
                    <a:pt x="95" y="122"/>
                  </a:lnTo>
                  <a:lnTo>
                    <a:pt x="94" y="122"/>
                  </a:lnTo>
                  <a:lnTo>
                    <a:pt x="94" y="124"/>
                  </a:lnTo>
                  <a:lnTo>
                    <a:pt x="92" y="124"/>
                  </a:lnTo>
                  <a:lnTo>
                    <a:pt x="92" y="124"/>
                  </a:lnTo>
                  <a:lnTo>
                    <a:pt x="91" y="125"/>
                  </a:lnTo>
                  <a:lnTo>
                    <a:pt x="89" y="125"/>
                  </a:lnTo>
                  <a:lnTo>
                    <a:pt x="88" y="128"/>
                  </a:lnTo>
                  <a:lnTo>
                    <a:pt x="88" y="127"/>
                  </a:lnTo>
                  <a:lnTo>
                    <a:pt x="87" y="127"/>
                  </a:lnTo>
                  <a:lnTo>
                    <a:pt x="87" y="125"/>
                  </a:lnTo>
                  <a:lnTo>
                    <a:pt x="85" y="124"/>
                  </a:lnTo>
                  <a:lnTo>
                    <a:pt x="84" y="124"/>
                  </a:lnTo>
                  <a:lnTo>
                    <a:pt x="81" y="124"/>
                  </a:lnTo>
                  <a:lnTo>
                    <a:pt x="79" y="122"/>
                  </a:lnTo>
                  <a:lnTo>
                    <a:pt x="79" y="124"/>
                  </a:lnTo>
                  <a:lnTo>
                    <a:pt x="78" y="124"/>
                  </a:lnTo>
                  <a:lnTo>
                    <a:pt x="77" y="124"/>
                  </a:lnTo>
                  <a:lnTo>
                    <a:pt x="75" y="124"/>
                  </a:lnTo>
                  <a:lnTo>
                    <a:pt x="74" y="124"/>
                  </a:lnTo>
                  <a:lnTo>
                    <a:pt x="74" y="125"/>
                  </a:lnTo>
                  <a:lnTo>
                    <a:pt x="72" y="127"/>
                  </a:lnTo>
                  <a:lnTo>
                    <a:pt x="72" y="127"/>
                  </a:lnTo>
                  <a:lnTo>
                    <a:pt x="72" y="127"/>
                  </a:lnTo>
                  <a:lnTo>
                    <a:pt x="72" y="124"/>
                  </a:lnTo>
                  <a:lnTo>
                    <a:pt x="71" y="124"/>
                  </a:lnTo>
                  <a:lnTo>
                    <a:pt x="68" y="122"/>
                  </a:lnTo>
                  <a:lnTo>
                    <a:pt x="67" y="124"/>
                  </a:lnTo>
                  <a:lnTo>
                    <a:pt x="65" y="124"/>
                  </a:lnTo>
                  <a:lnTo>
                    <a:pt x="65" y="122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59" y="119"/>
                  </a:lnTo>
                  <a:lnTo>
                    <a:pt x="57" y="118"/>
                  </a:lnTo>
                  <a:lnTo>
                    <a:pt x="54" y="118"/>
                  </a:lnTo>
                  <a:lnTo>
                    <a:pt x="52" y="118"/>
                  </a:lnTo>
                  <a:lnTo>
                    <a:pt x="51" y="117"/>
                  </a:lnTo>
                  <a:lnTo>
                    <a:pt x="49" y="117"/>
                  </a:lnTo>
                  <a:lnTo>
                    <a:pt x="44" y="115"/>
                  </a:lnTo>
                  <a:lnTo>
                    <a:pt x="41" y="115"/>
                  </a:lnTo>
                  <a:lnTo>
                    <a:pt x="38" y="115"/>
                  </a:lnTo>
                  <a:lnTo>
                    <a:pt x="32" y="114"/>
                  </a:lnTo>
                  <a:lnTo>
                    <a:pt x="29" y="115"/>
                  </a:lnTo>
                  <a:lnTo>
                    <a:pt x="28" y="115"/>
                  </a:lnTo>
                  <a:lnTo>
                    <a:pt x="27" y="115"/>
                  </a:lnTo>
                  <a:lnTo>
                    <a:pt x="24" y="115"/>
                  </a:lnTo>
                  <a:lnTo>
                    <a:pt x="22" y="115"/>
                  </a:lnTo>
                  <a:lnTo>
                    <a:pt x="21" y="115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7" y="118"/>
                  </a:lnTo>
                  <a:lnTo>
                    <a:pt x="15" y="121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1" y="122"/>
                  </a:lnTo>
                  <a:lnTo>
                    <a:pt x="10" y="122"/>
                  </a:lnTo>
                  <a:lnTo>
                    <a:pt x="8" y="122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5" y="122"/>
                  </a:lnTo>
                  <a:lnTo>
                    <a:pt x="5" y="121"/>
                  </a:lnTo>
                  <a:lnTo>
                    <a:pt x="7" y="119"/>
                  </a:lnTo>
                  <a:lnTo>
                    <a:pt x="7" y="118"/>
                  </a:lnTo>
                  <a:lnTo>
                    <a:pt x="7" y="117"/>
                  </a:lnTo>
                  <a:lnTo>
                    <a:pt x="7" y="114"/>
                  </a:lnTo>
                  <a:lnTo>
                    <a:pt x="7" y="112"/>
                  </a:lnTo>
                  <a:lnTo>
                    <a:pt x="7" y="111"/>
                  </a:lnTo>
                  <a:lnTo>
                    <a:pt x="7" y="110"/>
                  </a:lnTo>
                  <a:lnTo>
                    <a:pt x="5" y="110"/>
                  </a:lnTo>
                  <a:lnTo>
                    <a:pt x="4" y="108"/>
                  </a:lnTo>
                  <a:lnTo>
                    <a:pt x="2" y="108"/>
                  </a:lnTo>
                  <a:lnTo>
                    <a:pt x="0" y="107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4"/>
                  </a:lnTo>
                  <a:lnTo>
                    <a:pt x="1" y="101"/>
                  </a:lnTo>
                  <a:lnTo>
                    <a:pt x="4" y="100"/>
                  </a:lnTo>
                  <a:lnTo>
                    <a:pt x="4" y="98"/>
                  </a:lnTo>
                  <a:lnTo>
                    <a:pt x="11" y="95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11" y="85"/>
                  </a:lnTo>
                  <a:lnTo>
                    <a:pt x="11" y="84"/>
                  </a:lnTo>
                  <a:lnTo>
                    <a:pt x="10" y="80"/>
                  </a:lnTo>
                  <a:lnTo>
                    <a:pt x="7" y="71"/>
                  </a:lnTo>
                  <a:lnTo>
                    <a:pt x="4" y="61"/>
                  </a:lnTo>
                  <a:lnTo>
                    <a:pt x="5" y="62"/>
                  </a:lnTo>
                  <a:lnTo>
                    <a:pt x="8" y="62"/>
                  </a:lnTo>
                  <a:lnTo>
                    <a:pt x="11" y="61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5" y="61"/>
                  </a:lnTo>
                  <a:lnTo>
                    <a:pt x="17" y="62"/>
                  </a:lnTo>
                  <a:lnTo>
                    <a:pt x="18" y="62"/>
                  </a:lnTo>
                  <a:lnTo>
                    <a:pt x="21" y="61"/>
                  </a:lnTo>
                  <a:lnTo>
                    <a:pt x="22" y="60"/>
                  </a:lnTo>
                  <a:lnTo>
                    <a:pt x="25" y="61"/>
                  </a:lnTo>
                  <a:lnTo>
                    <a:pt x="25" y="60"/>
                  </a:lnTo>
                  <a:lnTo>
                    <a:pt x="27" y="57"/>
                  </a:lnTo>
                  <a:lnTo>
                    <a:pt x="27" y="55"/>
                  </a:lnTo>
                  <a:lnTo>
                    <a:pt x="29" y="57"/>
                  </a:lnTo>
                  <a:lnTo>
                    <a:pt x="31" y="55"/>
                  </a:lnTo>
                  <a:lnTo>
                    <a:pt x="31" y="54"/>
                  </a:lnTo>
                  <a:lnTo>
                    <a:pt x="34" y="52"/>
                  </a:lnTo>
                  <a:lnTo>
                    <a:pt x="35" y="52"/>
                  </a:lnTo>
                  <a:lnTo>
                    <a:pt x="37" y="51"/>
                  </a:lnTo>
                  <a:lnTo>
                    <a:pt x="37" y="52"/>
                  </a:lnTo>
                  <a:lnTo>
                    <a:pt x="37" y="54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8" y="55"/>
                  </a:lnTo>
                  <a:lnTo>
                    <a:pt x="39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4"/>
                  </a:lnTo>
                  <a:lnTo>
                    <a:pt x="41" y="52"/>
                  </a:lnTo>
                  <a:lnTo>
                    <a:pt x="39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0"/>
                  </a:lnTo>
                  <a:lnTo>
                    <a:pt x="38" y="47"/>
                  </a:lnTo>
                  <a:lnTo>
                    <a:pt x="39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2"/>
                  </a:lnTo>
                  <a:lnTo>
                    <a:pt x="41" y="40"/>
                  </a:lnTo>
                  <a:lnTo>
                    <a:pt x="41" y="37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7" y="34"/>
                  </a:lnTo>
                  <a:lnTo>
                    <a:pt x="48" y="32"/>
                  </a:lnTo>
                  <a:lnTo>
                    <a:pt x="48" y="31"/>
                  </a:lnTo>
                  <a:lnTo>
                    <a:pt x="48" y="30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54" y="28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5" y="24"/>
                  </a:lnTo>
                  <a:lnTo>
                    <a:pt x="52" y="24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0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5" y="12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9" y="10"/>
                  </a:lnTo>
                  <a:lnTo>
                    <a:pt x="62" y="8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1" y="7"/>
                  </a:lnTo>
                  <a:lnTo>
                    <a:pt x="72" y="5"/>
                  </a:lnTo>
                  <a:lnTo>
                    <a:pt x="75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176;p3"/>
            <p:cNvSpPr/>
            <p:nvPr/>
          </p:nvSpPr>
          <p:spPr>
            <a:xfrm>
              <a:off x="2949276" y="4185227"/>
              <a:ext cx="16130" cy="26367"/>
            </a:xfrm>
            <a:custGeom>
              <a:rect b="b" l="l" r="r" t="t"/>
              <a:pathLst>
                <a:path extrusionOk="0" h="42" w="23">
                  <a:moveTo>
                    <a:pt x="16" y="0"/>
                  </a:move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17" y="10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7" y="15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5"/>
                  </a:lnTo>
                  <a:lnTo>
                    <a:pt x="15" y="31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2" y="35"/>
                  </a:lnTo>
                  <a:lnTo>
                    <a:pt x="9" y="37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2" y="15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8"/>
                  </a:lnTo>
                  <a:lnTo>
                    <a:pt x="3" y="8"/>
                  </a:lnTo>
                  <a:lnTo>
                    <a:pt x="5" y="8"/>
                  </a:lnTo>
                  <a:lnTo>
                    <a:pt x="6" y="10"/>
                  </a:lnTo>
                  <a:lnTo>
                    <a:pt x="6" y="8"/>
                  </a:lnTo>
                  <a:lnTo>
                    <a:pt x="7" y="8"/>
                  </a:lnTo>
                  <a:lnTo>
                    <a:pt x="9" y="7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6" y="0"/>
                  </a:lnTo>
                  <a:close/>
                  <a:moveTo>
                    <a:pt x="20" y="8"/>
                  </a:moveTo>
                  <a:lnTo>
                    <a:pt x="20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0" y="8"/>
                  </a:lnTo>
                  <a:close/>
                  <a:moveTo>
                    <a:pt x="23" y="17"/>
                  </a:moveTo>
                  <a:lnTo>
                    <a:pt x="22" y="20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7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177;p3"/>
            <p:cNvSpPr/>
            <p:nvPr/>
          </p:nvSpPr>
          <p:spPr>
            <a:xfrm>
              <a:off x="2368601" y="2756389"/>
              <a:ext cx="992337" cy="1156379"/>
            </a:xfrm>
            <a:custGeom>
              <a:rect b="b" l="l" r="r" t="t"/>
              <a:pathLst>
                <a:path extrusionOk="0" h="1842" w="1415">
                  <a:moveTo>
                    <a:pt x="1145" y="13"/>
                  </a:moveTo>
                  <a:lnTo>
                    <a:pt x="1158" y="16"/>
                  </a:lnTo>
                  <a:lnTo>
                    <a:pt x="1162" y="14"/>
                  </a:lnTo>
                  <a:lnTo>
                    <a:pt x="1166" y="20"/>
                  </a:lnTo>
                  <a:lnTo>
                    <a:pt x="1169" y="21"/>
                  </a:lnTo>
                  <a:lnTo>
                    <a:pt x="1175" y="20"/>
                  </a:lnTo>
                  <a:lnTo>
                    <a:pt x="1178" y="21"/>
                  </a:lnTo>
                  <a:lnTo>
                    <a:pt x="1191" y="23"/>
                  </a:lnTo>
                  <a:lnTo>
                    <a:pt x="1194" y="24"/>
                  </a:lnTo>
                  <a:lnTo>
                    <a:pt x="1194" y="27"/>
                  </a:lnTo>
                  <a:lnTo>
                    <a:pt x="1191" y="33"/>
                  </a:lnTo>
                  <a:lnTo>
                    <a:pt x="1188" y="39"/>
                  </a:lnTo>
                  <a:lnTo>
                    <a:pt x="1162" y="57"/>
                  </a:lnTo>
                  <a:lnTo>
                    <a:pt x="1161" y="60"/>
                  </a:lnTo>
                  <a:lnTo>
                    <a:pt x="1165" y="61"/>
                  </a:lnTo>
                  <a:lnTo>
                    <a:pt x="1172" y="60"/>
                  </a:lnTo>
                  <a:lnTo>
                    <a:pt x="1178" y="59"/>
                  </a:lnTo>
                  <a:lnTo>
                    <a:pt x="1185" y="51"/>
                  </a:lnTo>
                  <a:lnTo>
                    <a:pt x="1186" y="51"/>
                  </a:lnTo>
                  <a:lnTo>
                    <a:pt x="1191" y="49"/>
                  </a:lnTo>
                  <a:lnTo>
                    <a:pt x="1199" y="40"/>
                  </a:lnTo>
                  <a:lnTo>
                    <a:pt x="1205" y="36"/>
                  </a:lnTo>
                  <a:lnTo>
                    <a:pt x="1208" y="37"/>
                  </a:lnTo>
                  <a:lnTo>
                    <a:pt x="1211" y="41"/>
                  </a:lnTo>
                  <a:lnTo>
                    <a:pt x="1212" y="41"/>
                  </a:lnTo>
                  <a:lnTo>
                    <a:pt x="1212" y="39"/>
                  </a:lnTo>
                  <a:lnTo>
                    <a:pt x="1213" y="33"/>
                  </a:lnTo>
                  <a:lnTo>
                    <a:pt x="1215" y="30"/>
                  </a:lnTo>
                  <a:lnTo>
                    <a:pt x="1216" y="29"/>
                  </a:lnTo>
                  <a:lnTo>
                    <a:pt x="1218" y="29"/>
                  </a:lnTo>
                  <a:lnTo>
                    <a:pt x="1221" y="31"/>
                  </a:lnTo>
                  <a:lnTo>
                    <a:pt x="1222" y="39"/>
                  </a:lnTo>
                  <a:lnTo>
                    <a:pt x="1225" y="44"/>
                  </a:lnTo>
                  <a:lnTo>
                    <a:pt x="1225" y="44"/>
                  </a:lnTo>
                  <a:lnTo>
                    <a:pt x="1231" y="39"/>
                  </a:lnTo>
                  <a:lnTo>
                    <a:pt x="1233" y="37"/>
                  </a:lnTo>
                  <a:lnTo>
                    <a:pt x="1238" y="40"/>
                  </a:lnTo>
                  <a:lnTo>
                    <a:pt x="1241" y="43"/>
                  </a:lnTo>
                  <a:lnTo>
                    <a:pt x="1241" y="44"/>
                  </a:lnTo>
                  <a:lnTo>
                    <a:pt x="1239" y="47"/>
                  </a:lnTo>
                  <a:lnTo>
                    <a:pt x="1239" y="50"/>
                  </a:lnTo>
                  <a:lnTo>
                    <a:pt x="1238" y="53"/>
                  </a:lnTo>
                  <a:lnTo>
                    <a:pt x="1239" y="54"/>
                  </a:lnTo>
                  <a:lnTo>
                    <a:pt x="1242" y="60"/>
                  </a:lnTo>
                  <a:lnTo>
                    <a:pt x="1248" y="71"/>
                  </a:lnTo>
                  <a:lnTo>
                    <a:pt x="1248" y="74"/>
                  </a:lnTo>
                  <a:lnTo>
                    <a:pt x="1245" y="83"/>
                  </a:lnTo>
                  <a:lnTo>
                    <a:pt x="1245" y="84"/>
                  </a:lnTo>
                  <a:lnTo>
                    <a:pt x="1256" y="77"/>
                  </a:lnTo>
                  <a:lnTo>
                    <a:pt x="1269" y="80"/>
                  </a:lnTo>
                  <a:lnTo>
                    <a:pt x="1273" y="83"/>
                  </a:lnTo>
                  <a:lnTo>
                    <a:pt x="1275" y="86"/>
                  </a:lnTo>
                  <a:lnTo>
                    <a:pt x="1276" y="91"/>
                  </a:lnTo>
                  <a:lnTo>
                    <a:pt x="1278" y="99"/>
                  </a:lnTo>
                  <a:lnTo>
                    <a:pt x="1276" y="106"/>
                  </a:lnTo>
                  <a:lnTo>
                    <a:pt x="1271" y="117"/>
                  </a:lnTo>
                  <a:lnTo>
                    <a:pt x="1265" y="126"/>
                  </a:lnTo>
                  <a:lnTo>
                    <a:pt x="1262" y="133"/>
                  </a:lnTo>
                  <a:lnTo>
                    <a:pt x="1256" y="137"/>
                  </a:lnTo>
                  <a:lnTo>
                    <a:pt x="1239" y="156"/>
                  </a:lnTo>
                  <a:lnTo>
                    <a:pt x="1231" y="161"/>
                  </a:lnTo>
                  <a:lnTo>
                    <a:pt x="1225" y="167"/>
                  </a:lnTo>
                  <a:lnTo>
                    <a:pt x="1223" y="168"/>
                  </a:lnTo>
                  <a:lnTo>
                    <a:pt x="1213" y="167"/>
                  </a:lnTo>
                  <a:lnTo>
                    <a:pt x="1211" y="170"/>
                  </a:lnTo>
                  <a:lnTo>
                    <a:pt x="1209" y="176"/>
                  </a:lnTo>
                  <a:lnTo>
                    <a:pt x="1205" y="178"/>
                  </a:lnTo>
                  <a:lnTo>
                    <a:pt x="1201" y="180"/>
                  </a:lnTo>
                  <a:lnTo>
                    <a:pt x="1191" y="181"/>
                  </a:lnTo>
                  <a:lnTo>
                    <a:pt x="1188" y="187"/>
                  </a:lnTo>
                  <a:lnTo>
                    <a:pt x="1188" y="191"/>
                  </a:lnTo>
                  <a:lnTo>
                    <a:pt x="1186" y="194"/>
                  </a:lnTo>
                  <a:lnTo>
                    <a:pt x="1186" y="196"/>
                  </a:lnTo>
                  <a:lnTo>
                    <a:pt x="1158" y="216"/>
                  </a:lnTo>
                  <a:lnTo>
                    <a:pt x="1156" y="220"/>
                  </a:lnTo>
                  <a:lnTo>
                    <a:pt x="1159" y="221"/>
                  </a:lnTo>
                  <a:lnTo>
                    <a:pt x="1164" y="220"/>
                  </a:lnTo>
                  <a:lnTo>
                    <a:pt x="1205" y="194"/>
                  </a:lnTo>
                  <a:lnTo>
                    <a:pt x="1212" y="193"/>
                  </a:lnTo>
                  <a:lnTo>
                    <a:pt x="1221" y="194"/>
                  </a:lnTo>
                  <a:lnTo>
                    <a:pt x="1219" y="201"/>
                  </a:lnTo>
                  <a:lnTo>
                    <a:pt x="1209" y="217"/>
                  </a:lnTo>
                  <a:lnTo>
                    <a:pt x="1195" y="231"/>
                  </a:lnTo>
                  <a:lnTo>
                    <a:pt x="1189" y="243"/>
                  </a:lnTo>
                  <a:lnTo>
                    <a:pt x="1172" y="261"/>
                  </a:lnTo>
                  <a:lnTo>
                    <a:pt x="1158" y="280"/>
                  </a:lnTo>
                  <a:lnTo>
                    <a:pt x="1154" y="288"/>
                  </a:lnTo>
                  <a:lnTo>
                    <a:pt x="1146" y="304"/>
                  </a:lnTo>
                  <a:lnTo>
                    <a:pt x="1144" y="308"/>
                  </a:lnTo>
                  <a:lnTo>
                    <a:pt x="1141" y="310"/>
                  </a:lnTo>
                  <a:lnTo>
                    <a:pt x="1138" y="308"/>
                  </a:lnTo>
                  <a:lnTo>
                    <a:pt x="1134" y="307"/>
                  </a:lnTo>
                  <a:lnTo>
                    <a:pt x="1129" y="301"/>
                  </a:lnTo>
                  <a:lnTo>
                    <a:pt x="1126" y="294"/>
                  </a:lnTo>
                  <a:lnTo>
                    <a:pt x="1125" y="293"/>
                  </a:lnTo>
                  <a:lnTo>
                    <a:pt x="1125" y="296"/>
                  </a:lnTo>
                  <a:lnTo>
                    <a:pt x="1134" y="318"/>
                  </a:lnTo>
                  <a:lnTo>
                    <a:pt x="1132" y="323"/>
                  </a:lnTo>
                  <a:lnTo>
                    <a:pt x="1119" y="327"/>
                  </a:lnTo>
                  <a:lnTo>
                    <a:pt x="1112" y="330"/>
                  </a:lnTo>
                  <a:lnTo>
                    <a:pt x="1109" y="331"/>
                  </a:lnTo>
                  <a:lnTo>
                    <a:pt x="1108" y="331"/>
                  </a:lnTo>
                  <a:lnTo>
                    <a:pt x="1105" y="331"/>
                  </a:lnTo>
                  <a:lnTo>
                    <a:pt x="1104" y="333"/>
                  </a:lnTo>
                  <a:lnTo>
                    <a:pt x="1104" y="334"/>
                  </a:lnTo>
                  <a:lnTo>
                    <a:pt x="1105" y="335"/>
                  </a:lnTo>
                  <a:lnTo>
                    <a:pt x="1111" y="337"/>
                  </a:lnTo>
                  <a:lnTo>
                    <a:pt x="1122" y="333"/>
                  </a:lnTo>
                  <a:lnTo>
                    <a:pt x="1124" y="333"/>
                  </a:lnTo>
                  <a:lnTo>
                    <a:pt x="1128" y="335"/>
                  </a:lnTo>
                  <a:lnTo>
                    <a:pt x="1128" y="337"/>
                  </a:lnTo>
                  <a:lnTo>
                    <a:pt x="1124" y="344"/>
                  </a:lnTo>
                  <a:lnTo>
                    <a:pt x="1115" y="353"/>
                  </a:lnTo>
                  <a:lnTo>
                    <a:pt x="1117" y="353"/>
                  </a:lnTo>
                  <a:lnTo>
                    <a:pt x="1119" y="355"/>
                  </a:lnTo>
                  <a:lnTo>
                    <a:pt x="1119" y="358"/>
                  </a:lnTo>
                  <a:lnTo>
                    <a:pt x="1115" y="364"/>
                  </a:lnTo>
                  <a:lnTo>
                    <a:pt x="1114" y="365"/>
                  </a:lnTo>
                  <a:lnTo>
                    <a:pt x="1105" y="371"/>
                  </a:lnTo>
                  <a:lnTo>
                    <a:pt x="1101" y="373"/>
                  </a:lnTo>
                  <a:lnTo>
                    <a:pt x="1098" y="371"/>
                  </a:lnTo>
                  <a:lnTo>
                    <a:pt x="1081" y="360"/>
                  </a:lnTo>
                  <a:lnTo>
                    <a:pt x="1075" y="358"/>
                  </a:lnTo>
                  <a:lnTo>
                    <a:pt x="1069" y="355"/>
                  </a:lnTo>
                  <a:lnTo>
                    <a:pt x="1067" y="355"/>
                  </a:lnTo>
                  <a:lnTo>
                    <a:pt x="1062" y="358"/>
                  </a:lnTo>
                  <a:lnTo>
                    <a:pt x="1064" y="361"/>
                  </a:lnTo>
                  <a:lnTo>
                    <a:pt x="1071" y="364"/>
                  </a:lnTo>
                  <a:lnTo>
                    <a:pt x="1078" y="365"/>
                  </a:lnTo>
                  <a:lnTo>
                    <a:pt x="1081" y="365"/>
                  </a:lnTo>
                  <a:lnTo>
                    <a:pt x="1082" y="368"/>
                  </a:lnTo>
                  <a:lnTo>
                    <a:pt x="1085" y="377"/>
                  </a:lnTo>
                  <a:lnTo>
                    <a:pt x="1085" y="380"/>
                  </a:lnTo>
                  <a:lnTo>
                    <a:pt x="1085" y="384"/>
                  </a:lnTo>
                  <a:lnTo>
                    <a:pt x="1084" y="387"/>
                  </a:lnTo>
                  <a:lnTo>
                    <a:pt x="1082" y="388"/>
                  </a:lnTo>
                  <a:lnTo>
                    <a:pt x="1081" y="390"/>
                  </a:lnTo>
                  <a:lnTo>
                    <a:pt x="1075" y="388"/>
                  </a:lnTo>
                  <a:lnTo>
                    <a:pt x="1072" y="390"/>
                  </a:lnTo>
                  <a:lnTo>
                    <a:pt x="1069" y="393"/>
                  </a:lnTo>
                  <a:lnTo>
                    <a:pt x="1067" y="393"/>
                  </a:lnTo>
                  <a:lnTo>
                    <a:pt x="1059" y="393"/>
                  </a:lnTo>
                  <a:lnTo>
                    <a:pt x="1052" y="395"/>
                  </a:lnTo>
                  <a:lnTo>
                    <a:pt x="1048" y="397"/>
                  </a:lnTo>
                  <a:lnTo>
                    <a:pt x="1044" y="395"/>
                  </a:lnTo>
                  <a:lnTo>
                    <a:pt x="1039" y="391"/>
                  </a:lnTo>
                  <a:lnTo>
                    <a:pt x="1034" y="390"/>
                  </a:lnTo>
                  <a:lnTo>
                    <a:pt x="1027" y="388"/>
                  </a:lnTo>
                  <a:lnTo>
                    <a:pt x="1027" y="390"/>
                  </a:lnTo>
                  <a:lnTo>
                    <a:pt x="1029" y="391"/>
                  </a:lnTo>
                  <a:lnTo>
                    <a:pt x="1035" y="397"/>
                  </a:lnTo>
                  <a:lnTo>
                    <a:pt x="1038" y="404"/>
                  </a:lnTo>
                  <a:lnTo>
                    <a:pt x="1041" y="405"/>
                  </a:lnTo>
                  <a:lnTo>
                    <a:pt x="1047" y="411"/>
                  </a:lnTo>
                  <a:lnTo>
                    <a:pt x="1051" y="413"/>
                  </a:lnTo>
                  <a:lnTo>
                    <a:pt x="1055" y="414"/>
                  </a:lnTo>
                  <a:lnTo>
                    <a:pt x="1061" y="413"/>
                  </a:lnTo>
                  <a:lnTo>
                    <a:pt x="1065" y="413"/>
                  </a:lnTo>
                  <a:lnTo>
                    <a:pt x="1064" y="427"/>
                  </a:lnTo>
                  <a:lnTo>
                    <a:pt x="1062" y="428"/>
                  </a:lnTo>
                  <a:lnTo>
                    <a:pt x="1052" y="428"/>
                  </a:lnTo>
                  <a:lnTo>
                    <a:pt x="1048" y="427"/>
                  </a:lnTo>
                  <a:lnTo>
                    <a:pt x="1047" y="424"/>
                  </a:lnTo>
                  <a:lnTo>
                    <a:pt x="1042" y="423"/>
                  </a:lnTo>
                  <a:lnTo>
                    <a:pt x="1038" y="424"/>
                  </a:lnTo>
                  <a:lnTo>
                    <a:pt x="1034" y="423"/>
                  </a:lnTo>
                  <a:lnTo>
                    <a:pt x="1032" y="424"/>
                  </a:lnTo>
                  <a:lnTo>
                    <a:pt x="1028" y="424"/>
                  </a:lnTo>
                  <a:lnTo>
                    <a:pt x="1018" y="427"/>
                  </a:lnTo>
                  <a:lnTo>
                    <a:pt x="1012" y="427"/>
                  </a:lnTo>
                  <a:lnTo>
                    <a:pt x="1008" y="425"/>
                  </a:lnTo>
                  <a:lnTo>
                    <a:pt x="1004" y="425"/>
                  </a:lnTo>
                  <a:lnTo>
                    <a:pt x="1000" y="425"/>
                  </a:lnTo>
                  <a:lnTo>
                    <a:pt x="1000" y="427"/>
                  </a:lnTo>
                  <a:lnTo>
                    <a:pt x="1001" y="428"/>
                  </a:lnTo>
                  <a:lnTo>
                    <a:pt x="1005" y="431"/>
                  </a:lnTo>
                  <a:lnTo>
                    <a:pt x="1008" y="435"/>
                  </a:lnTo>
                  <a:lnTo>
                    <a:pt x="1010" y="437"/>
                  </a:lnTo>
                  <a:lnTo>
                    <a:pt x="1014" y="435"/>
                  </a:lnTo>
                  <a:lnTo>
                    <a:pt x="1017" y="434"/>
                  </a:lnTo>
                  <a:lnTo>
                    <a:pt x="1027" y="431"/>
                  </a:lnTo>
                  <a:lnTo>
                    <a:pt x="1032" y="430"/>
                  </a:lnTo>
                  <a:lnTo>
                    <a:pt x="1037" y="431"/>
                  </a:lnTo>
                  <a:lnTo>
                    <a:pt x="1039" y="433"/>
                  </a:lnTo>
                  <a:lnTo>
                    <a:pt x="1041" y="435"/>
                  </a:lnTo>
                  <a:lnTo>
                    <a:pt x="1044" y="441"/>
                  </a:lnTo>
                  <a:lnTo>
                    <a:pt x="1049" y="443"/>
                  </a:lnTo>
                  <a:lnTo>
                    <a:pt x="1055" y="444"/>
                  </a:lnTo>
                  <a:lnTo>
                    <a:pt x="1062" y="453"/>
                  </a:lnTo>
                  <a:lnTo>
                    <a:pt x="1065" y="453"/>
                  </a:lnTo>
                  <a:lnTo>
                    <a:pt x="1065" y="455"/>
                  </a:lnTo>
                  <a:lnTo>
                    <a:pt x="1064" y="460"/>
                  </a:lnTo>
                  <a:lnTo>
                    <a:pt x="1064" y="464"/>
                  </a:lnTo>
                  <a:lnTo>
                    <a:pt x="1058" y="470"/>
                  </a:lnTo>
                  <a:lnTo>
                    <a:pt x="1049" y="471"/>
                  </a:lnTo>
                  <a:lnTo>
                    <a:pt x="1041" y="471"/>
                  </a:lnTo>
                  <a:lnTo>
                    <a:pt x="1034" y="471"/>
                  </a:lnTo>
                  <a:lnTo>
                    <a:pt x="1034" y="473"/>
                  </a:lnTo>
                  <a:lnTo>
                    <a:pt x="1038" y="474"/>
                  </a:lnTo>
                  <a:lnTo>
                    <a:pt x="1048" y="481"/>
                  </a:lnTo>
                  <a:lnTo>
                    <a:pt x="1052" y="484"/>
                  </a:lnTo>
                  <a:lnTo>
                    <a:pt x="1054" y="487"/>
                  </a:lnTo>
                  <a:lnTo>
                    <a:pt x="1048" y="495"/>
                  </a:lnTo>
                  <a:lnTo>
                    <a:pt x="1042" y="511"/>
                  </a:lnTo>
                  <a:lnTo>
                    <a:pt x="1041" y="513"/>
                  </a:lnTo>
                  <a:lnTo>
                    <a:pt x="1039" y="514"/>
                  </a:lnTo>
                  <a:lnTo>
                    <a:pt x="1035" y="513"/>
                  </a:lnTo>
                  <a:lnTo>
                    <a:pt x="1029" y="517"/>
                  </a:lnTo>
                  <a:lnTo>
                    <a:pt x="1025" y="518"/>
                  </a:lnTo>
                  <a:lnTo>
                    <a:pt x="1017" y="517"/>
                  </a:lnTo>
                  <a:lnTo>
                    <a:pt x="1008" y="517"/>
                  </a:lnTo>
                  <a:lnTo>
                    <a:pt x="1008" y="520"/>
                  </a:lnTo>
                  <a:lnTo>
                    <a:pt x="1007" y="524"/>
                  </a:lnTo>
                  <a:lnTo>
                    <a:pt x="1007" y="531"/>
                  </a:lnTo>
                  <a:lnTo>
                    <a:pt x="1008" y="541"/>
                  </a:lnTo>
                  <a:lnTo>
                    <a:pt x="1007" y="548"/>
                  </a:lnTo>
                  <a:lnTo>
                    <a:pt x="1005" y="554"/>
                  </a:lnTo>
                  <a:lnTo>
                    <a:pt x="1004" y="557"/>
                  </a:lnTo>
                  <a:lnTo>
                    <a:pt x="1001" y="560"/>
                  </a:lnTo>
                  <a:lnTo>
                    <a:pt x="997" y="561"/>
                  </a:lnTo>
                  <a:lnTo>
                    <a:pt x="994" y="562"/>
                  </a:lnTo>
                  <a:lnTo>
                    <a:pt x="990" y="562"/>
                  </a:lnTo>
                  <a:lnTo>
                    <a:pt x="978" y="565"/>
                  </a:lnTo>
                  <a:lnTo>
                    <a:pt x="972" y="565"/>
                  </a:lnTo>
                  <a:lnTo>
                    <a:pt x="967" y="564"/>
                  </a:lnTo>
                  <a:lnTo>
                    <a:pt x="962" y="561"/>
                  </a:lnTo>
                  <a:lnTo>
                    <a:pt x="954" y="551"/>
                  </a:lnTo>
                  <a:lnTo>
                    <a:pt x="952" y="550"/>
                  </a:lnTo>
                  <a:lnTo>
                    <a:pt x="950" y="548"/>
                  </a:lnTo>
                  <a:lnTo>
                    <a:pt x="950" y="550"/>
                  </a:lnTo>
                  <a:lnTo>
                    <a:pt x="952" y="555"/>
                  </a:lnTo>
                  <a:lnTo>
                    <a:pt x="954" y="558"/>
                  </a:lnTo>
                  <a:lnTo>
                    <a:pt x="955" y="560"/>
                  </a:lnTo>
                  <a:lnTo>
                    <a:pt x="955" y="561"/>
                  </a:lnTo>
                  <a:lnTo>
                    <a:pt x="952" y="564"/>
                  </a:lnTo>
                  <a:lnTo>
                    <a:pt x="948" y="565"/>
                  </a:lnTo>
                  <a:lnTo>
                    <a:pt x="944" y="565"/>
                  </a:lnTo>
                  <a:lnTo>
                    <a:pt x="944" y="565"/>
                  </a:lnTo>
                  <a:lnTo>
                    <a:pt x="945" y="568"/>
                  </a:lnTo>
                  <a:lnTo>
                    <a:pt x="947" y="571"/>
                  </a:lnTo>
                  <a:lnTo>
                    <a:pt x="948" y="572"/>
                  </a:lnTo>
                  <a:lnTo>
                    <a:pt x="951" y="571"/>
                  </a:lnTo>
                  <a:lnTo>
                    <a:pt x="955" y="568"/>
                  </a:lnTo>
                  <a:lnTo>
                    <a:pt x="958" y="567"/>
                  </a:lnTo>
                  <a:lnTo>
                    <a:pt x="964" y="568"/>
                  </a:lnTo>
                  <a:lnTo>
                    <a:pt x="965" y="568"/>
                  </a:lnTo>
                  <a:lnTo>
                    <a:pt x="972" y="575"/>
                  </a:lnTo>
                  <a:lnTo>
                    <a:pt x="972" y="575"/>
                  </a:lnTo>
                  <a:lnTo>
                    <a:pt x="978" y="572"/>
                  </a:lnTo>
                  <a:lnTo>
                    <a:pt x="984" y="572"/>
                  </a:lnTo>
                  <a:lnTo>
                    <a:pt x="987" y="575"/>
                  </a:lnTo>
                  <a:lnTo>
                    <a:pt x="988" y="581"/>
                  </a:lnTo>
                  <a:lnTo>
                    <a:pt x="988" y="584"/>
                  </a:lnTo>
                  <a:lnTo>
                    <a:pt x="987" y="588"/>
                  </a:lnTo>
                  <a:lnTo>
                    <a:pt x="988" y="591"/>
                  </a:lnTo>
                  <a:lnTo>
                    <a:pt x="992" y="594"/>
                  </a:lnTo>
                  <a:lnTo>
                    <a:pt x="995" y="595"/>
                  </a:lnTo>
                  <a:lnTo>
                    <a:pt x="998" y="592"/>
                  </a:lnTo>
                  <a:lnTo>
                    <a:pt x="1001" y="588"/>
                  </a:lnTo>
                  <a:lnTo>
                    <a:pt x="1002" y="588"/>
                  </a:lnTo>
                  <a:lnTo>
                    <a:pt x="1004" y="588"/>
                  </a:lnTo>
                  <a:lnTo>
                    <a:pt x="1005" y="591"/>
                  </a:lnTo>
                  <a:lnTo>
                    <a:pt x="1008" y="597"/>
                  </a:lnTo>
                  <a:lnTo>
                    <a:pt x="1008" y="604"/>
                  </a:lnTo>
                  <a:lnTo>
                    <a:pt x="1007" y="611"/>
                  </a:lnTo>
                  <a:lnTo>
                    <a:pt x="1004" y="617"/>
                  </a:lnTo>
                  <a:lnTo>
                    <a:pt x="994" y="625"/>
                  </a:lnTo>
                  <a:lnTo>
                    <a:pt x="990" y="628"/>
                  </a:lnTo>
                  <a:lnTo>
                    <a:pt x="988" y="631"/>
                  </a:lnTo>
                  <a:lnTo>
                    <a:pt x="984" y="634"/>
                  </a:lnTo>
                  <a:lnTo>
                    <a:pt x="977" y="638"/>
                  </a:lnTo>
                  <a:lnTo>
                    <a:pt x="974" y="640"/>
                  </a:lnTo>
                  <a:lnTo>
                    <a:pt x="965" y="644"/>
                  </a:lnTo>
                  <a:lnTo>
                    <a:pt x="964" y="644"/>
                  </a:lnTo>
                  <a:lnTo>
                    <a:pt x="961" y="642"/>
                  </a:lnTo>
                  <a:lnTo>
                    <a:pt x="961" y="641"/>
                  </a:lnTo>
                  <a:lnTo>
                    <a:pt x="961" y="637"/>
                  </a:lnTo>
                  <a:lnTo>
                    <a:pt x="962" y="634"/>
                  </a:lnTo>
                  <a:lnTo>
                    <a:pt x="962" y="631"/>
                  </a:lnTo>
                  <a:lnTo>
                    <a:pt x="962" y="628"/>
                  </a:lnTo>
                  <a:lnTo>
                    <a:pt x="961" y="624"/>
                  </a:lnTo>
                  <a:lnTo>
                    <a:pt x="960" y="621"/>
                  </a:lnTo>
                  <a:lnTo>
                    <a:pt x="958" y="621"/>
                  </a:lnTo>
                  <a:lnTo>
                    <a:pt x="954" y="621"/>
                  </a:lnTo>
                  <a:lnTo>
                    <a:pt x="952" y="622"/>
                  </a:lnTo>
                  <a:lnTo>
                    <a:pt x="951" y="622"/>
                  </a:lnTo>
                  <a:lnTo>
                    <a:pt x="948" y="622"/>
                  </a:lnTo>
                  <a:lnTo>
                    <a:pt x="947" y="620"/>
                  </a:lnTo>
                  <a:lnTo>
                    <a:pt x="944" y="612"/>
                  </a:lnTo>
                  <a:lnTo>
                    <a:pt x="942" y="611"/>
                  </a:lnTo>
                  <a:lnTo>
                    <a:pt x="941" y="612"/>
                  </a:lnTo>
                  <a:lnTo>
                    <a:pt x="940" y="611"/>
                  </a:lnTo>
                  <a:lnTo>
                    <a:pt x="938" y="608"/>
                  </a:lnTo>
                  <a:lnTo>
                    <a:pt x="935" y="605"/>
                  </a:lnTo>
                  <a:lnTo>
                    <a:pt x="937" y="608"/>
                  </a:lnTo>
                  <a:lnTo>
                    <a:pt x="938" y="612"/>
                  </a:lnTo>
                  <a:lnTo>
                    <a:pt x="940" y="617"/>
                  </a:lnTo>
                  <a:lnTo>
                    <a:pt x="941" y="621"/>
                  </a:lnTo>
                  <a:lnTo>
                    <a:pt x="941" y="624"/>
                  </a:lnTo>
                  <a:lnTo>
                    <a:pt x="923" y="625"/>
                  </a:lnTo>
                  <a:lnTo>
                    <a:pt x="914" y="625"/>
                  </a:lnTo>
                  <a:lnTo>
                    <a:pt x="913" y="622"/>
                  </a:lnTo>
                  <a:lnTo>
                    <a:pt x="908" y="610"/>
                  </a:lnTo>
                  <a:lnTo>
                    <a:pt x="908" y="631"/>
                  </a:lnTo>
                  <a:lnTo>
                    <a:pt x="894" y="635"/>
                  </a:lnTo>
                  <a:lnTo>
                    <a:pt x="891" y="634"/>
                  </a:lnTo>
                  <a:lnTo>
                    <a:pt x="885" y="631"/>
                  </a:lnTo>
                  <a:lnTo>
                    <a:pt x="878" y="625"/>
                  </a:lnTo>
                  <a:lnTo>
                    <a:pt x="875" y="622"/>
                  </a:lnTo>
                  <a:lnTo>
                    <a:pt x="874" y="618"/>
                  </a:lnTo>
                  <a:lnTo>
                    <a:pt x="874" y="615"/>
                  </a:lnTo>
                  <a:lnTo>
                    <a:pt x="873" y="615"/>
                  </a:lnTo>
                  <a:lnTo>
                    <a:pt x="871" y="620"/>
                  </a:lnTo>
                  <a:lnTo>
                    <a:pt x="870" y="630"/>
                  </a:lnTo>
                  <a:lnTo>
                    <a:pt x="864" y="627"/>
                  </a:lnTo>
                  <a:lnTo>
                    <a:pt x="858" y="625"/>
                  </a:lnTo>
                  <a:lnTo>
                    <a:pt x="857" y="615"/>
                  </a:lnTo>
                  <a:lnTo>
                    <a:pt x="857" y="630"/>
                  </a:lnTo>
                  <a:lnTo>
                    <a:pt x="847" y="627"/>
                  </a:lnTo>
                  <a:lnTo>
                    <a:pt x="841" y="628"/>
                  </a:lnTo>
                  <a:lnTo>
                    <a:pt x="840" y="615"/>
                  </a:lnTo>
                  <a:lnTo>
                    <a:pt x="840" y="602"/>
                  </a:lnTo>
                  <a:lnTo>
                    <a:pt x="838" y="611"/>
                  </a:lnTo>
                  <a:lnTo>
                    <a:pt x="840" y="618"/>
                  </a:lnTo>
                  <a:lnTo>
                    <a:pt x="840" y="627"/>
                  </a:lnTo>
                  <a:lnTo>
                    <a:pt x="835" y="624"/>
                  </a:lnTo>
                  <a:lnTo>
                    <a:pt x="827" y="622"/>
                  </a:lnTo>
                  <a:lnTo>
                    <a:pt x="823" y="622"/>
                  </a:lnTo>
                  <a:lnTo>
                    <a:pt x="824" y="611"/>
                  </a:lnTo>
                  <a:lnTo>
                    <a:pt x="824" y="598"/>
                  </a:lnTo>
                  <a:lnTo>
                    <a:pt x="835" y="587"/>
                  </a:lnTo>
                  <a:lnTo>
                    <a:pt x="840" y="581"/>
                  </a:lnTo>
                  <a:lnTo>
                    <a:pt x="841" y="580"/>
                  </a:lnTo>
                  <a:lnTo>
                    <a:pt x="845" y="578"/>
                  </a:lnTo>
                  <a:lnTo>
                    <a:pt x="851" y="577"/>
                  </a:lnTo>
                  <a:lnTo>
                    <a:pt x="854" y="577"/>
                  </a:lnTo>
                  <a:lnTo>
                    <a:pt x="858" y="577"/>
                  </a:lnTo>
                  <a:lnTo>
                    <a:pt x="863" y="574"/>
                  </a:lnTo>
                  <a:lnTo>
                    <a:pt x="867" y="574"/>
                  </a:lnTo>
                  <a:lnTo>
                    <a:pt x="867" y="572"/>
                  </a:lnTo>
                  <a:lnTo>
                    <a:pt x="867" y="572"/>
                  </a:lnTo>
                  <a:lnTo>
                    <a:pt x="863" y="564"/>
                  </a:lnTo>
                  <a:lnTo>
                    <a:pt x="861" y="562"/>
                  </a:lnTo>
                  <a:lnTo>
                    <a:pt x="860" y="561"/>
                  </a:lnTo>
                  <a:lnTo>
                    <a:pt x="857" y="561"/>
                  </a:lnTo>
                  <a:lnTo>
                    <a:pt x="855" y="558"/>
                  </a:lnTo>
                  <a:lnTo>
                    <a:pt x="853" y="555"/>
                  </a:lnTo>
                  <a:lnTo>
                    <a:pt x="851" y="551"/>
                  </a:lnTo>
                  <a:lnTo>
                    <a:pt x="850" y="543"/>
                  </a:lnTo>
                  <a:lnTo>
                    <a:pt x="847" y="534"/>
                  </a:lnTo>
                  <a:lnTo>
                    <a:pt x="848" y="528"/>
                  </a:lnTo>
                  <a:lnTo>
                    <a:pt x="853" y="525"/>
                  </a:lnTo>
                  <a:lnTo>
                    <a:pt x="857" y="523"/>
                  </a:lnTo>
                  <a:lnTo>
                    <a:pt x="860" y="521"/>
                  </a:lnTo>
                  <a:lnTo>
                    <a:pt x="864" y="521"/>
                  </a:lnTo>
                  <a:lnTo>
                    <a:pt x="868" y="523"/>
                  </a:lnTo>
                  <a:lnTo>
                    <a:pt x="874" y="527"/>
                  </a:lnTo>
                  <a:lnTo>
                    <a:pt x="877" y="531"/>
                  </a:lnTo>
                  <a:lnTo>
                    <a:pt x="881" y="541"/>
                  </a:lnTo>
                  <a:lnTo>
                    <a:pt x="884" y="550"/>
                  </a:lnTo>
                  <a:lnTo>
                    <a:pt x="887" y="552"/>
                  </a:lnTo>
                  <a:lnTo>
                    <a:pt x="897" y="560"/>
                  </a:lnTo>
                  <a:lnTo>
                    <a:pt x="901" y="561"/>
                  </a:lnTo>
                  <a:lnTo>
                    <a:pt x="904" y="560"/>
                  </a:lnTo>
                  <a:lnTo>
                    <a:pt x="913" y="558"/>
                  </a:lnTo>
                  <a:lnTo>
                    <a:pt x="917" y="557"/>
                  </a:lnTo>
                  <a:lnTo>
                    <a:pt x="918" y="554"/>
                  </a:lnTo>
                  <a:lnTo>
                    <a:pt x="920" y="551"/>
                  </a:lnTo>
                  <a:lnTo>
                    <a:pt x="921" y="550"/>
                  </a:lnTo>
                  <a:lnTo>
                    <a:pt x="924" y="544"/>
                  </a:lnTo>
                  <a:lnTo>
                    <a:pt x="930" y="533"/>
                  </a:lnTo>
                  <a:lnTo>
                    <a:pt x="932" y="524"/>
                  </a:lnTo>
                  <a:lnTo>
                    <a:pt x="934" y="521"/>
                  </a:lnTo>
                  <a:lnTo>
                    <a:pt x="934" y="517"/>
                  </a:lnTo>
                  <a:lnTo>
                    <a:pt x="935" y="513"/>
                  </a:lnTo>
                  <a:lnTo>
                    <a:pt x="932" y="515"/>
                  </a:lnTo>
                  <a:lnTo>
                    <a:pt x="924" y="537"/>
                  </a:lnTo>
                  <a:lnTo>
                    <a:pt x="921" y="541"/>
                  </a:lnTo>
                  <a:lnTo>
                    <a:pt x="915" y="548"/>
                  </a:lnTo>
                  <a:lnTo>
                    <a:pt x="914" y="548"/>
                  </a:lnTo>
                  <a:lnTo>
                    <a:pt x="910" y="548"/>
                  </a:lnTo>
                  <a:lnTo>
                    <a:pt x="904" y="545"/>
                  </a:lnTo>
                  <a:lnTo>
                    <a:pt x="898" y="550"/>
                  </a:lnTo>
                  <a:lnTo>
                    <a:pt x="895" y="550"/>
                  </a:lnTo>
                  <a:lnTo>
                    <a:pt x="891" y="545"/>
                  </a:lnTo>
                  <a:lnTo>
                    <a:pt x="891" y="531"/>
                  </a:lnTo>
                  <a:lnTo>
                    <a:pt x="887" y="518"/>
                  </a:lnTo>
                  <a:lnTo>
                    <a:pt x="893" y="511"/>
                  </a:lnTo>
                  <a:lnTo>
                    <a:pt x="895" y="508"/>
                  </a:lnTo>
                  <a:lnTo>
                    <a:pt x="903" y="497"/>
                  </a:lnTo>
                  <a:lnTo>
                    <a:pt x="904" y="497"/>
                  </a:lnTo>
                  <a:lnTo>
                    <a:pt x="908" y="498"/>
                  </a:lnTo>
                  <a:lnTo>
                    <a:pt x="905" y="497"/>
                  </a:lnTo>
                  <a:lnTo>
                    <a:pt x="904" y="493"/>
                  </a:lnTo>
                  <a:lnTo>
                    <a:pt x="898" y="494"/>
                  </a:lnTo>
                  <a:lnTo>
                    <a:pt x="900" y="471"/>
                  </a:lnTo>
                  <a:lnTo>
                    <a:pt x="895" y="488"/>
                  </a:lnTo>
                  <a:lnTo>
                    <a:pt x="893" y="497"/>
                  </a:lnTo>
                  <a:lnTo>
                    <a:pt x="890" y="501"/>
                  </a:lnTo>
                  <a:lnTo>
                    <a:pt x="887" y="504"/>
                  </a:lnTo>
                  <a:lnTo>
                    <a:pt x="877" y="505"/>
                  </a:lnTo>
                  <a:lnTo>
                    <a:pt x="880" y="498"/>
                  </a:lnTo>
                  <a:lnTo>
                    <a:pt x="881" y="485"/>
                  </a:lnTo>
                  <a:lnTo>
                    <a:pt x="880" y="490"/>
                  </a:lnTo>
                  <a:lnTo>
                    <a:pt x="874" y="497"/>
                  </a:lnTo>
                  <a:lnTo>
                    <a:pt x="870" y="501"/>
                  </a:lnTo>
                  <a:lnTo>
                    <a:pt x="865" y="503"/>
                  </a:lnTo>
                  <a:lnTo>
                    <a:pt x="858" y="503"/>
                  </a:lnTo>
                  <a:lnTo>
                    <a:pt x="855" y="498"/>
                  </a:lnTo>
                  <a:lnTo>
                    <a:pt x="857" y="490"/>
                  </a:lnTo>
                  <a:lnTo>
                    <a:pt x="857" y="480"/>
                  </a:lnTo>
                  <a:lnTo>
                    <a:pt x="858" y="475"/>
                  </a:lnTo>
                  <a:lnTo>
                    <a:pt x="861" y="468"/>
                  </a:lnTo>
                  <a:lnTo>
                    <a:pt x="865" y="460"/>
                  </a:lnTo>
                  <a:lnTo>
                    <a:pt x="867" y="451"/>
                  </a:lnTo>
                  <a:lnTo>
                    <a:pt x="877" y="447"/>
                  </a:lnTo>
                  <a:lnTo>
                    <a:pt x="885" y="445"/>
                  </a:lnTo>
                  <a:lnTo>
                    <a:pt x="893" y="440"/>
                  </a:lnTo>
                  <a:lnTo>
                    <a:pt x="897" y="440"/>
                  </a:lnTo>
                  <a:lnTo>
                    <a:pt x="900" y="441"/>
                  </a:lnTo>
                  <a:lnTo>
                    <a:pt x="914" y="445"/>
                  </a:lnTo>
                  <a:lnTo>
                    <a:pt x="920" y="448"/>
                  </a:lnTo>
                  <a:lnTo>
                    <a:pt x="923" y="450"/>
                  </a:lnTo>
                  <a:lnTo>
                    <a:pt x="924" y="451"/>
                  </a:lnTo>
                  <a:lnTo>
                    <a:pt x="925" y="448"/>
                  </a:lnTo>
                  <a:lnTo>
                    <a:pt x="928" y="445"/>
                  </a:lnTo>
                  <a:lnTo>
                    <a:pt x="937" y="445"/>
                  </a:lnTo>
                  <a:lnTo>
                    <a:pt x="940" y="444"/>
                  </a:lnTo>
                  <a:lnTo>
                    <a:pt x="942" y="444"/>
                  </a:lnTo>
                  <a:lnTo>
                    <a:pt x="944" y="441"/>
                  </a:lnTo>
                  <a:lnTo>
                    <a:pt x="948" y="435"/>
                  </a:lnTo>
                  <a:lnTo>
                    <a:pt x="948" y="434"/>
                  </a:lnTo>
                  <a:lnTo>
                    <a:pt x="947" y="434"/>
                  </a:lnTo>
                  <a:lnTo>
                    <a:pt x="944" y="435"/>
                  </a:lnTo>
                  <a:lnTo>
                    <a:pt x="941" y="438"/>
                  </a:lnTo>
                  <a:lnTo>
                    <a:pt x="937" y="440"/>
                  </a:lnTo>
                  <a:lnTo>
                    <a:pt x="934" y="440"/>
                  </a:lnTo>
                  <a:lnTo>
                    <a:pt x="927" y="437"/>
                  </a:lnTo>
                  <a:lnTo>
                    <a:pt x="915" y="437"/>
                  </a:lnTo>
                  <a:lnTo>
                    <a:pt x="910" y="435"/>
                  </a:lnTo>
                  <a:lnTo>
                    <a:pt x="907" y="434"/>
                  </a:lnTo>
                  <a:lnTo>
                    <a:pt x="905" y="433"/>
                  </a:lnTo>
                  <a:lnTo>
                    <a:pt x="904" y="430"/>
                  </a:lnTo>
                  <a:lnTo>
                    <a:pt x="903" y="425"/>
                  </a:lnTo>
                  <a:lnTo>
                    <a:pt x="904" y="424"/>
                  </a:lnTo>
                  <a:lnTo>
                    <a:pt x="907" y="423"/>
                  </a:lnTo>
                  <a:lnTo>
                    <a:pt x="908" y="421"/>
                  </a:lnTo>
                  <a:lnTo>
                    <a:pt x="911" y="424"/>
                  </a:lnTo>
                  <a:lnTo>
                    <a:pt x="915" y="427"/>
                  </a:lnTo>
                  <a:lnTo>
                    <a:pt x="920" y="427"/>
                  </a:lnTo>
                  <a:lnTo>
                    <a:pt x="918" y="424"/>
                  </a:lnTo>
                  <a:lnTo>
                    <a:pt x="913" y="418"/>
                  </a:lnTo>
                  <a:lnTo>
                    <a:pt x="910" y="413"/>
                  </a:lnTo>
                  <a:lnTo>
                    <a:pt x="907" y="407"/>
                  </a:lnTo>
                  <a:lnTo>
                    <a:pt x="904" y="400"/>
                  </a:lnTo>
                  <a:lnTo>
                    <a:pt x="898" y="390"/>
                  </a:lnTo>
                  <a:lnTo>
                    <a:pt x="895" y="380"/>
                  </a:lnTo>
                  <a:lnTo>
                    <a:pt x="893" y="374"/>
                  </a:lnTo>
                  <a:lnTo>
                    <a:pt x="888" y="373"/>
                  </a:lnTo>
                  <a:lnTo>
                    <a:pt x="880" y="370"/>
                  </a:lnTo>
                  <a:lnTo>
                    <a:pt x="878" y="367"/>
                  </a:lnTo>
                  <a:lnTo>
                    <a:pt x="874" y="358"/>
                  </a:lnTo>
                  <a:lnTo>
                    <a:pt x="873" y="343"/>
                  </a:lnTo>
                  <a:lnTo>
                    <a:pt x="870" y="333"/>
                  </a:lnTo>
                  <a:lnTo>
                    <a:pt x="873" y="320"/>
                  </a:lnTo>
                  <a:lnTo>
                    <a:pt x="875" y="314"/>
                  </a:lnTo>
                  <a:lnTo>
                    <a:pt x="894" y="318"/>
                  </a:lnTo>
                  <a:lnTo>
                    <a:pt x="901" y="318"/>
                  </a:lnTo>
                  <a:lnTo>
                    <a:pt x="911" y="320"/>
                  </a:lnTo>
                  <a:lnTo>
                    <a:pt x="917" y="323"/>
                  </a:lnTo>
                  <a:lnTo>
                    <a:pt x="923" y="330"/>
                  </a:lnTo>
                  <a:lnTo>
                    <a:pt x="928" y="338"/>
                  </a:lnTo>
                  <a:lnTo>
                    <a:pt x="934" y="344"/>
                  </a:lnTo>
                  <a:lnTo>
                    <a:pt x="938" y="353"/>
                  </a:lnTo>
                  <a:lnTo>
                    <a:pt x="944" y="364"/>
                  </a:lnTo>
                  <a:lnTo>
                    <a:pt x="947" y="370"/>
                  </a:lnTo>
                  <a:lnTo>
                    <a:pt x="950" y="373"/>
                  </a:lnTo>
                  <a:lnTo>
                    <a:pt x="952" y="375"/>
                  </a:lnTo>
                  <a:lnTo>
                    <a:pt x="960" y="378"/>
                  </a:lnTo>
                  <a:lnTo>
                    <a:pt x="965" y="380"/>
                  </a:lnTo>
                  <a:lnTo>
                    <a:pt x="968" y="380"/>
                  </a:lnTo>
                  <a:lnTo>
                    <a:pt x="972" y="377"/>
                  </a:lnTo>
                  <a:lnTo>
                    <a:pt x="974" y="374"/>
                  </a:lnTo>
                  <a:lnTo>
                    <a:pt x="971" y="373"/>
                  </a:lnTo>
                  <a:lnTo>
                    <a:pt x="965" y="374"/>
                  </a:lnTo>
                  <a:lnTo>
                    <a:pt x="960" y="371"/>
                  </a:lnTo>
                  <a:lnTo>
                    <a:pt x="957" y="368"/>
                  </a:lnTo>
                  <a:lnTo>
                    <a:pt x="954" y="364"/>
                  </a:lnTo>
                  <a:lnTo>
                    <a:pt x="950" y="354"/>
                  </a:lnTo>
                  <a:lnTo>
                    <a:pt x="947" y="348"/>
                  </a:lnTo>
                  <a:lnTo>
                    <a:pt x="940" y="338"/>
                  </a:lnTo>
                  <a:lnTo>
                    <a:pt x="934" y="328"/>
                  </a:lnTo>
                  <a:lnTo>
                    <a:pt x="928" y="318"/>
                  </a:lnTo>
                  <a:lnTo>
                    <a:pt x="928" y="314"/>
                  </a:lnTo>
                  <a:lnTo>
                    <a:pt x="931" y="311"/>
                  </a:lnTo>
                  <a:lnTo>
                    <a:pt x="935" y="308"/>
                  </a:lnTo>
                  <a:lnTo>
                    <a:pt x="961" y="301"/>
                  </a:lnTo>
                  <a:lnTo>
                    <a:pt x="975" y="294"/>
                  </a:lnTo>
                  <a:lnTo>
                    <a:pt x="981" y="284"/>
                  </a:lnTo>
                  <a:lnTo>
                    <a:pt x="982" y="283"/>
                  </a:lnTo>
                  <a:lnTo>
                    <a:pt x="1002" y="268"/>
                  </a:lnTo>
                  <a:lnTo>
                    <a:pt x="1017" y="264"/>
                  </a:lnTo>
                  <a:lnTo>
                    <a:pt x="1022" y="263"/>
                  </a:lnTo>
                  <a:lnTo>
                    <a:pt x="1027" y="260"/>
                  </a:lnTo>
                  <a:lnTo>
                    <a:pt x="1027" y="260"/>
                  </a:lnTo>
                  <a:lnTo>
                    <a:pt x="1022" y="257"/>
                  </a:lnTo>
                  <a:lnTo>
                    <a:pt x="1018" y="257"/>
                  </a:lnTo>
                  <a:lnTo>
                    <a:pt x="1008" y="257"/>
                  </a:lnTo>
                  <a:lnTo>
                    <a:pt x="1000" y="254"/>
                  </a:lnTo>
                  <a:lnTo>
                    <a:pt x="997" y="251"/>
                  </a:lnTo>
                  <a:lnTo>
                    <a:pt x="998" y="247"/>
                  </a:lnTo>
                  <a:lnTo>
                    <a:pt x="998" y="243"/>
                  </a:lnTo>
                  <a:lnTo>
                    <a:pt x="1001" y="236"/>
                  </a:lnTo>
                  <a:lnTo>
                    <a:pt x="1004" y="230"/>
                  </a:lnTo>
                  <a:lnTo>
                    <a:pt x="1015" y="213"/>
                  </a:lnTo>
                  <a:lnTo>
                    <a:pt x="1024" y="207"/>
                  </a:lnTo>
                  <a:lnTo>
                    <a:pt x="1027" y="201"/>
                  </a:lnTo>
                  <a:lnTo>
                    <a:pt x="1008" y="213"/>
                  </a:lnTo>
                  <a:lnTo>
                    <a:pt x="1002" y="220"/>
                  </a:lnTo>
                  <a:lnTo>
                    <a:pt x="997" y="231"/>
                  </a:lnTo>
                  <a:lnTo>
                    <a:pt x="994" y="234"/>
                  </a:lnTo>
                  <a:lnTo>
                    <a:pt x="991" y="234"/>
                  </a:lnTo>
                  <a:lnTo>
                    <a:pt x="990" y="234"/>
                  </a:lnTo>
                  <a:lnTo>
                    <a:pt x="987" y="237"/>
                  </a:lnTo>
                  <a:lnTo>
                    <a:pt x="985" y="243"/>
                  </a:lnTo>
                  <a:lnTo>
                    <a:pt x="985" y="251"/>
                  </a:lnTo>
                  <a:lnTo>
                    <a:pt x="984" y="256"/>
                  </a:lnTo>
                  <a:lnTo>
                    <a:pt x="982" y="258"/>
                  </a:lnTo>
                  <a:lnTo>
                    <a:pt x="980" y="263"/>
                  </a:lnTo>
                  <a:lnTo>
                    <a:pt x="974" y="271"/>
                  </a:lnTo>
                  <a:lnTo>
                    <a:pt x="960" y="281"/>
                  </a:lnTo>
                  <a:lnTo>
                    <a:pt x="955" y="284"/>
                  </a:lnTo>
                  <a:lnTo>
                    <a:pt x="951" y="284"/>
                  </a:lnTo>
                  <a:lnTo>
                    <a:pt x="938" y="291"/>
                  </a:lnTo>
                  <a:lnTo>
                    <a:pt x="934" y="291"/>
                  </a:lnTo>
                  <a:lnTo>
                    <a:pt x="930" y="288"/>
                  </a:lnTo>
                  <a:lnTo>
                    <a:pt x="932" y="284"/>
                  </a:lnTo>
                  <a:lnTo>
                    <a:pt x="938" y="274"/>
                  </a:lnTo>
                  <a:lnTo>
                    <a:pt x="941" y="270"/>
                  </a:lnTo>
                  <a:lnTo>
                    <a:pt x="937" y="271"/>
                  </a:lnTo>
                  <a:lnTo>
                    <a:pt x="932" y="274"/>
                  </a:lnTo>
                  <a:lnTo>
                    <a:pt x="923" y="276"/>
                  </a:lnTo>
                  <a:lnTo>
                    <a:pt x="918" y="280"/>
                  </a:lnTo>
                  <a:lnTo>
                    <a:pt x="914" y="287"/>
                  </a:lnTo>
                  <a:lnTo>
                    <a:pt x="911" y="291"/>
                  </a:lnTo>
                  <a:lnTo>
                    <a:pt x="908" y="293"/>
                  </a:lnTo>
                  <a:lnTo>
                    <a:pt x="905" y="294"/>
                  </a:lnTo>
                  <a:lnTo>
                    <a:pt x="894" y="294"/>
                  </a:lnTo>
                  <a:lnTo>
                    <a:pt x="891" y="294"/>
                  </a:lnTo>
                  <a:lnTo>
                    <a:pt x="884" y="288"/>
                  </a:lnTo>
                  <a:lnTo>
                    <a:pt x="878" y="291"/>
                  </a:lnTo>
                  <a:lnTo>
                    <a:pt x="877" y="290"/>
                  </a:lnTo>
                  <a:lnTo>
                    <a:pt x="871" y="287"/>
                  </a:lnTo>
                  <a:lnTo>
                    <a:pt x="870" y="284"/>
                  </a:lnTo>
                  <a:lnTo>
                    <a:pt x="871" y="281"/>
                  </a:lnTo>
                  <a:lnTo>
                    <a:pt x="873" y="274"/>
                  </a:lnTo>
                  <a:lnTo>
                    <a:pt x="877" y="268"/>
                  </a:lnTo>
                  <a:lnTo>
                    <a:pt x="885" y="254"/>
                  </a:lnTo>
                  <a:lnTo>
                    <a:pt x="893" y="248"/>
                  </a:lnTo>
                  <a:lnTo>
                    <a:pt x="901" y="243"/>
                  </a:lnTo>
                  <a:lnTo>
                    <a:pt x="923" y="236"/>
                  </a:lnTo>
                  <a:lnTo>
                    <a:pt x="924" y="231"/>
                  </a:lnTo>
                  <a:lnTo>
                    <a:pt x="903" y="237"/>
                  </a:lnTo>
                  <a:lnTo>
                    <a:pt x="884" y="243"/>
                  </a:lnTo>
                  <a:lnTo>
                    <a:pt x="881" y="246"/>
                  </a:lnTo>
                  <a:lnTo>
                    <a:pt x="877" y="251"/>
                  </a:lnTo>
                  <a:lnTo>
                    <a:pt x="863" y="274"/>
                  </a:lnTo>
                  <a:lnTo>
                    <a:pt x="858" y="280"/>
                  </a:lnTo>
                  <a:lnTo>
                    <a:pt x="853" y="281"/>
                  </a:lnTo>
                  <a:lnTo>
                    <a:pt x="848" y="280"/>
                  </a:lnTo>
                  <a:lnTo>
                    <a:pt x="844" y="277"/>
                  </a:lnTo>
                  <a:lnTo>
                    <a:pt x="838" y="270"/>
                  </a:lnTo>
                  <a:lnTo>
                    <a:pt x="834" y="267"/>
                  </a:lnTo>
                  <a:lnTo>
                    <a:pt x="831" y="264"/>
                  </a:lnTo>
                  <a:lnTo>
                    <a:pt x="830" y="261"/>
                  </a:lnTo>
                  <a:lnTo>
                    <a:pt x="828" y="258"/>
                  </a:lnTo>
                  <a:lnTo>
                    <a:pt x="828" y="256"/>
                  </a:lnTo>
                  <a:lnTo>
                    <a:pt x="830" y="253"/>
                  </a:lnTo>
                  <a:lnTo>
                    <a:pt x="841" y="247"/>
                  </a:lnTo>
                  <a:lnTo>
                    <a:pt x="858" y="248"/>
                  </a:lnTo>
                  <a:lnTo>
                    <a:pt x="865" y="247"/>
                  </a:lnTo>
                  <a:lnTo>
                    <a:pt x="873" y="243"/>
                  </a:lnTo>
                  <a:lnTo>
                    <a:pt x="883" y="234"/>
                  </a:lnTo>
                  <a:lnTo>
                    <a:pt x="895" y="221"/>
                  </a:lnTo>
                  <a:lnTo>
                    <a:pt x="897" y="217"/>
                  </a:lnTo>
                  <a:lnTo>
                    <a:pt x="893" y="216"/>
                  </a:lnTo>
                  <a:lnTo>
                    <a:pt x="890" y="217"/>
                  </a:lnTo>
                  <a:lnTo>
                    <a:pt x="883" y="221"/>
                  </a:lnTo>
                  <a:lnTo>
                    <a:pt x="870" y="234"/>
                  </a:lnTo>
                  <a:lnTo>
                    <a:pt x="860" y="238"/>
                  </a:lnTo>
                  <a:lnTo>
                    <a:pt x="834" y="241"/>
                  </a:lnTo>
                  <a:lnTo>
                    <a:pt x="826" y="244"/>
                  </a:lnTo>
                  <a:lnTo>
                    <a:pt x="823" y="244"/>
                  </a:lnTo>
                  <a:lnTo>
                    <a:pt x="820" y="240"/>
                  </a:lnTo>
                  <a:lnTo>
                    <a:pt x="817" y="234"/>
                  </a:lnTo>
                  <a:lnTo>
                    <a:pt x="817" y="228"/>
                  </a:lnTo>
                  <a:lnTo>
                    <a:pt x="823" y="223"/>
                  </a:lnTo>
                  <a:lnTo>
                    <a:pt x="828" y="221"/>
                  </a:lnTo>
                  <a:lnTo>
                    <a:pt x="828" y="221"/>
                  </a:lnTo>
                  <a:lnTo>
                    <a:pt x="823" y="216"/>
                  </a:lnTo>
                  <a:lnTo>
                    <a:pt x="821" y="213"/>
                  </a:lnTo>
                  <a:lnTo>
                    <a:pt x="826" y="206"/>
                  </a:lnTo>
                  <a:lnTo>
                    <a:pt x="834" y="197"/>
                  </a:lnTo>
                  <a:lnTo>
                    <a:pt x="838" y="194"/>
                  </a:lnTo>
                  <a:lnTo>
                    <a:pt x="845" y="193"/>
                  </a:lnTo>
                  <a:lnTo>
                    <a:pt x="854" y="193"/>
                  </a:lnTo>
                  <a:lnTo>
                    <a:pt x="854" y="191"/>
                  </a:lnTo>
                  <a:lnTo>
                    <a:pt x="847" y="187"/>
                  </a:lnTo>
                  <a:lnTo>
                    <a:pt x="841" y="187"/>
                  </a:lnTo>
                  <a:lnTo>
                    <a:pt x="833" y="190"/>
                  </a:lnTo>
                  <a:lnTo>
                    <a:pt x="811" y="204"/>
                  </a:lnTo>
                  <a:lnTo>
                    <a:pt x="810" y="204"/>
                  </a:lnTo>
                  <a:lnTo>
                    <a:pt x="807" y="201"/>
                  </a:lnTo>
                  <a:lnTo>
                    <a:pt x="807" y="198"/>
                  </a:lnTo>
                  <a:lnTo>
                    <a:pt x="818" y="181"/>
                  </a:lnTo>
                  <a:lnTo>
                    <a:pt x="818" y="180"/>
                  </a:lnTo>
                  <a:lnTo>
                    <a:pt x="811" y="180"/>
                  </a:lnTo>
                  <a:lnTo>
                    <a:pt x="808" y="178"/>
                  </a:lnTo>
                  <a:lnTo>
                    <a:pt x="806" y="177"/>
                  </a:lnTo>
                  <a:lnTo>
                    <a:pt x="803" y="178"/>
                  </a:lnTo>
                  <a:lnTo>
                    <a:pt x="798" y="184"/>
                  </a:lnTo>
                  <a:lnTo>
                    <a:pt x="796" y="187"/>
                  </a:lnTo>
                  <a:lnTo>
                    <a:pt x="794" y="186"/>
                  </a:lnTo>
                  <a:lnTo>
                    <a:pt x="790" y="180"/>
                  </a:lnTo>
                  <a:lnTo>
                    <a:pt x="790" y="174"/>
                  </a:lnTo>
                  <a:lnTo>
                    <a:pt x="793" y="167"/>
                  </a:lnTo>
                  <a:lnTo>
                    <a:pt x="797" y="163"/>
                  </a:lnTo>
                  <a:lnTo>
                    <a:pt x="801" y="158"/>
                  </a:lnTo>
                  <a:lnTo>
                    <a:pt x="808" y="153"/>
                  </a:lnTo>
                  <a:lnTo>
                    <a:pt x="814" y="150"/>
                  </a:lnTo>
                  <a:lnTo>
                    <a:pt x="823" y="150"/>
                  </a:lnTo>
                  <a:lnTo>
                    <a:pt x="826" y="148"/>
                  </a:lnTo>
                  <a:lnTo>
                    <a:pt x="830" y="143"/>
                  </a:lnTo>
                  <a:lnTo>
                    <a:pt x="834" y="136"/>
                  </a:lnTo>
                  <a:lnTo>
                    <a:pt x="840" y="131"/>
                  </a:lnTo>
                  <a:lnTo>
                    <a:pt x="847" y="127"/>
                  </a:lnTo>
                  <a:lnTo>
                    <a:pt x="854" y="128"/>
                  </a:lnTo>
                  <a:lnTo>
                    <a:pt x="858" y="131"/>
                  </a:lnTo>
                  <a:lnTo>
                    <a:pt x="861" y="138"/>
                  </a:lnTo>
                  <a:lnTo>
                    <a:pt x="864" y="143"/>
                  </a:lnTo>
                  <a:lnTo>
                    <a:pt x="864" y="138"/>
                  </a:lnTo>
                  <a:lnTo>
                    <a:pt x="867" y="134"/>
                  </a:lnTo>
                  <a:lnTo>
                    <a:pt x="870" y="133"/>
                  </a:lnTo>
                  <a:lnTo>
                    <a:pt x="874" y="133"/>
                  </a:lnTo>
                  <a:lnTo>
                    <a:pt x="878" y="136"/>
                  </a:lnTo>
                  <a:lnTo>
                    <a:pt x="883" y="141"/>
                  </a:lnTo>
                  <a:lnTo>
                    <a:pt x="885" y="144"/>
                  </a:lnTo>
                  <a:lnTo>
                    <a:pt x="888" y="143"/>
                  </a:lnTo>
                  <a:lnTo>
                    <a:pt x="890" y="140"/>
                  </a:lnTo>
                  <a:lnTo>
                    <a:pt x="895" y="140"/>
                  </a:lnTo>
                  <a:lnTo>
                    <a:pt x="895" y="138"/>
                  </a:lnTo>
                  <a:lnTo>
                    <a:pt x="894" y="136"/>
                  </a:lnTo>
                  <a:lnTo>
                    <a:pt x="891" y="133"/>
                  </a:lnTo>
                  <a:lnTo>
                    <a:pt x="871" y="117"/>
                  </a:lnTo>
                  <a:lnTo>
                    <a:pt x="870" y="113"/>
                  </a:lnTo>
                  <a:lnTo>
                    <a:pt x="877" y="110"/>
                  </a:lnTo>
                  <a:lnTo>
                    <a:pt x="881" y="106"/>
                  </a:lnTo>
                  <a:lnTo>
                    <a:pt x="884" y="104"/>
                  </a:lnTo>
                  <a:lnTo>
                    <a:pt x="888" y="96"/>
                  </a:lnTo>
                  <a:lnTo>
                    <a:pt x="891" y="90"/>
                  </a:lnTo>
                  <a:lnTo>
                    <a:pt x="898" y="86"/>
                  </a:lnTo>
                  <a:lnTo>
                    <a:pt x="900" y="87"/>
                  </a:lnTo>
                  <a:lnTo>
                    <a:pt x="904" y="91"/>
                  </a:lnTo>
                  <a:lnTo>
                    <a:pt x="907" y="94"/>
                  </a:lnTo>
                  <a:lnTo>
                    <a:pt x="915" y="97"/>
                  </a:lnTo>
                  <a:lnTo>
                    <a:pt x="918" y="100"/>
                  </a:lnTo>
                  <a:lnTo>
                    <a:pt x="925" y="117"/>
                  </a:lnTo>
                  <a:lnTo>
                    <a:pt x="928" y="121"/>
                  </a:lnTo>
                  <a:lnTo>
                    <a:pt x="932" y="127"/>
                  </a:lnTo>
                  <a:lnTo>
                    <a:pt x="934" y="130"/>
                  </a:lnTo>
                  <a:lnTo>
                    <a:pt x="938" y="130"/>
                  </a:lnTo>
                  <a:lnTo>
                    <a:pt x="940" y="127"/>
                  </a:lnTo>
                  <a:lnTo>
                    <a:pt x="934" y="120"/>
                  </a:lnTo>
                  <a:lnTo>
                    <a:pt x="932" y="116"/>
                  </a:lnTo>
                  <a:lnTo>
                    <a:pt x="932" y="111"/>
                  </a:lnTo>
                  <a:lnTo>
                    <a:pt x="934" y="110"/>
                  </a:lnTo>
                  <a:lnTo>
                    <a:pt x="935" y="110"/>
                  </a:lnTo>
                  <a:lnTo>
                    <a:pt x="940" y="113"/>
                  </a:lnTo>
                  <a:lnTo>
                    <a:pt x="951" y="124"/>
                  </a:lnTo>
                  <a:lnTo>
                    <a:pt x="968" y="137"/>
                  </a:lnTo>
                  <a:lnTo>
                    <a:pt x="974" y="141"/>
                  </a:lnTo>
                  <a:lnTo>
                    <a:pt x="978" y="146"/>
                  </a:lnTo>
                  <a:lnTo>
                    <a:pt x="981" y="151"/>
                  </a:lnTo>
                  <a:lnTo>
                    <a:pt x="985" y="156"/>
                  </a:lnTo>
                  <a:lnTo>
                    <a:pt x="985" y="154"/>
                  </a:lnTo>
                  <a:lnTo>
                    <a:pt x="982" y="146"/>
                  </a:lnTo>
                  <a:lnTo>
                    <a:pt x="974" y="136"/>
                  </a:lnTo>
                  <a:lnTo>
                    <a:pt x="952" y="116"/>
                  </a:lnTo>
                  <a:lnTo>
                    <a:pt x="944" y="106"/>
                  </a:lnTo>
                  <a:lnTo>
                    <a:pt x="940" y="99"/>
                  </a:lnTo>
                  <a:lnTo>
                    <a:pt x="937" y="91"/>
                  </a:lnTo>
                  <a:lnTo>
                    <a:pt x="937" y="87"/>
                  </a:lnTo>
                  <a:lnTo>
                    <a:pt x="940" y="83"/>
                  </a:lnTo>
                  <a:lnTo>
                    <a:pt x="944" y="80"/>
                  </a:lnTo>
                  <a:lnTo>
                    <a:pt x="948" y="79"/>
                  </a:lnTo>
                  <a:lnTo>
                    <a:pt x="950" y="77"/>
                  </a:lnTo>
                  <a:lnTo>
                    <a:pt x="945" y="71"/>
                  </a:lnTo>
                  <a:lnTo>
                    <a:pt x="942" y="66"/>
                  </a:lnTo>
                  <a:lnTo>
                    <a:pt x="942" y="63"/>
                  </a:lnTo>
                  <a:lnTo>
                    <a:pt x="948" y="60"/>
                  </a:lnTo>
                  <a:lnTo>
                    <a:pt x="951" y="61"/>
                  </a:lnTo>
                  <a:lnTo>
                    <a:pt x="957" y="67"/>
                  </a:lnTo>
                  <a:lnTo>
                    <a:pt x="962" y="70"/>
                  </a:lnTo>
                  <a:lnTo>
                    <a:pt x="964" y="69"/>
                  </a:lnTo>
                  <a:lnTo>
                    <a:pt x="958" y="51"/>
                  </a:lnTo>
                  <a:lnTo>
                    <a:pt x="957" y="49"/>
                  </a:lnTo>
                  <a:lnTo>
                    <a:pt x="958" y="46"/>
                  </a:lnTo>
                  <a:lnTo>
                    <a:pt x="960" y="44"/>
                  </a:lnTo>
                  <a:lnTo>
                    <a:pt x="965" y="46"/>
                  </a:lnTo>
                  <a:lnTo>
                    <a:pt x="975" y="53"/>
                  </a:lnTo>
                  <a:lnTo>
                    <a:pt x="992" y="57"/>
                  </a:lnTo>
                  <a:lnTo>
                    <a:pt x="997" y="57"/>
                  </a:lnTo>
                  <a:lnTo>
                    <a:pt x="995" y="54"/>
                  </a:lnTo>
                  <a:lnTo>
                    <a:pt x="990" y="50"/>
                  </a:lnTo>
                  <a:lnTo>
                    <a:pt x="982" y="43"/>
                  </a:lnTo>
                  <a:lnTo>
                    <a:pt x="980" y="39"/>
                  </a:lnTo>
                  <a:lnTo>
                    <a:pt x="977" y="34"/>
                  </a:lnTo>
                  <a:lnTo>
                    <a:pt x="974" y="29"/>
                  </a:lnTo>
                  <a:lnTo>
                    <a:pt x="974" y="27"/>
                  </a:lnTo>
                  <a:lnTo>
                    <a:pt x="978" y="23"/>
                  </a:lnTo>
                  <a:lnTo>
                    <a:pt x="990" y="24"/>
                  </a:lnTo>
                  <a:lnTo>
                    <a:pt x="1000" y="30"/>
                  </a:lnTo>
                  <a:lnTo>
                    <a:pt x="1010" y="27"/>
                  </a:lnTo>
                  <a:lnTo>
                    <a:pt x="1014" y="29"/>
                  </a:lnTo>
                  <a:lnTo>
                    <a:pt x="1017" y="30"/>
                  </a:lnTo>
                  <a:lnTo>
                    <a:pt x="1021" y="37"/>
                  </a:lnTo>
                  <a:lnTo>
                    <a:pt x="1034" y="57"/>
                  </a:lnTo>
                  <a:lnTo>
                    <a:pt x="1035" y="61"/>
                  </a:lnTo>
                  <a:lnTo>
                    <a:pt x="1037" y="66"/>
                  </a:lnTo>
                  <a:lnTo>
                    <a:pt x="1038" y="73"/>
                  </a:lnTo>
                  <a:lnTo>
                    <a:pt x="1041" y="74"/>
                  </a:lnTo>
                  <a:lnTo>
                    <a:pt x="1044" y="70"/>
                  </a:lnTo>
                  <a:lnTo>
                    <a:pt x="1047" y="66"/>
                  </a:lnTo>
                  <a:lnTo>
                    <a:pt x="1047" y="61"/>
                  </a:lnTo>
                  <a:lnTo>
                    <a:pt x="1039" y="51"/>
                  </a:lnTo>
                  <a:lnTo>
                    <a:pt x="1037" y="47"/>
                  </a:lnTo>
                  <a:lnTo>
                    <a:pt x="1034" y="39"/>
                  </a:lnTo>
                  <a:lnTo>
                    <a:pt x="1025" y="26"/>
                  </a:lnTo>
                  <a:lnTo>
                    <a:pt x="1024" y="20"/>
                  </a:lnTo>
                  <a:lnTo>
                    <a:pt x="1022" y="14"/>
                  </a:lnTo>
                  <a:lnTo>
                    <a:pt x="1044" y="9"/>
                  </a:lnTo>
                  <a:lnTo>
                    <a:pt x="1065" y="13"/>
                  </a:lnTo>
                  <a:lnTo>
                    <a:pt x="1069" y="17"/>
                  </a:lnTo>
                  <a:lnTo>
                    <a:pt x="1071" y="21"/>
                  </a:lnTo>
                  <a:lnTo>
                    <a:pt x="1074" y="27"/>
                  </a:lnTo>
                  <a:lnTo>
                    <a:pt x="1077" y="34"/>
                  </a:lnTo>
                  <a:lnTo>
                    <a:pt x="1084" y="44"/>
                  </a:lnTo>
                  <a:lnTo>
                    <a:pt x="1094" y="51"/>
                  </a:lnTo>
                  <a:lnTo>
                    <a:pt x="1092" y="47"/>
                  </a:lnTo>
                  <a:lnTo>
                    <a:pt x="1085" y="36"/>
                  </a:lnTo>
                  <a:lnTo>
                    <a:pt x="1081" y="27"/>
                  </a:lnTo>
                  <a:lnTo>
                    <a:pt x="1081" y="23"/>
                  </a:lnTo>
                  <a:lnTo>
                    <a:pt x="1082" y="19"/>
                  </a:lnTo>
                  <a:lnTo>
                    <a:pt x="1084" y="16"/>
                  </a:lnTo>
                  <a:lnTo>
                    <a:pt x="1091" y="4"/>
                  </a:lnTo>
                  <a:lnTo>
                    <a:pt x="1104" y="1"/>
                  </a:lnTo>
                  <a:lnTo>
                    <a:pt x="1105" y="1"/>
                  </a:lnTo>
                  <a:lnTo>
                    <a:pt x="1114" y="19"/>
                  </a:lnTo>
                  <a:lnTo>
                    <a:pt x="1118" y="26"/>
                  </a:lnTo>
                  <a:lnTo>
                    <a:pt x="1121" y="29"/>
                  </a:lnTo>
                  <a:lnTo>
                    <a:pt x="1121" y="27"/>
                  </a:lnTo>
                  <a:lnTo>
                    <a:pt x="1117" y="19"/>
                  </a:lnTo>
                  <a:lnTo>
                    <a:pt x="1114" y="16"/>
                  </a:lnTo>
                  <a:lnTo>
                    <a:pt x="1114" y="13"/>
                  </a:lnTo>
                  <a:lnTo>
                    <a:pt x="1119" y="4"/>
                  </a:lnTo>
                  <a:lnTo>
                    <a:pt x="1122" y="3"/>
                  </a:lnTo>
                  <a:lnTo>
                    <a:pt x="1136" y="0"/>
                  </a:lnTo>
                  <a:lnTo>
                    <a:pt x="1138" y="1"/>
                  </a:lnTo>
                  <a:lnTo>
                    <a:pt x="1139" y="3"/>
                  </a:lnTo>
                  <a:lnTo>
                    <a:pt x="1144" y="11"/>
                  </a:lnTo>
                  <a:lnTo>
                    <a:pt x="1145" y="13"/>
                  </a:lnTo>
                  <a:close/>
                  <a:moveTo>
                    <a:pt x="786" y="233"/>
                  </a:moveTo>
                  <a:lnTo>
                    <a:pt x="788" y="241"/>
                  </a:lnTo>
                  <a:lnTo>
                    <a:pt x="796" y="263"/>
                  </a:lnTo>
                  <a:lnTo>
                    <a:pt x="800" y="270"/>
                  </a:lnTo>
                  <a:lnTo>
                    <a:pt x="806" y="278"/>
                  </a:lnTo>
                  <a:lnTo>
                    <a:pt x="806" y="281"/>
                  </a:lnTo>
                  <a:lnTo>
                    <a:pt x="806" y="283"/>
                  </a:lnTo>
                  <a:lnTo>
                    <a:pt x="806" y="287"/>
                  </a:lnTo>
                  <a:lnTo>
                    <a:pt x="807" y="290"/>
                  </a:lnTo>
                  <a:lnTo>
                    <a:pt x="813" y="291"/>
                  </a:lnTo>
                  <a:lnTo>
                    <a:pt x="818" y="297"/>
                  </a:lnTo>
                  <a:lnTo>
                    <a:pt x="820" y="297"/>
                  </a:lnTo>
                  <a:lnTo>
                    <a:pt x="821" y="294"/>
                  </a:lnTo>
                  <a:lnTo>
                    <a:pt x="824" y="293"/>
                  </a:lnTo>
                  <a:lnTo>
                    <a:pt x="827" y="294"/>
                  </a:lnTo>
                  <a:lnTo>
                    <a:pt x="828" y="296"/>
                  </a:lnTo>
                  <a:lnTo>
                    <a:pt x="830" y="298"/>
                  </a:lnTo>
                  <a:lnTo>
                    <a:pt x="830" y="301"/>
                  </a:lnTo>
                  <a:lnTo>
                    <a:pt x="830" y="303"/>
                  </a:lnTo>
                  <a:lnTo>
                    <a:pt x="828" y="306"/>
                  </a:lnTo>
                  <a:lnTo>
                    <a:pt x="828" y="307"/>
                  </a:lnTo>
                  <a:lnTo>
                    <a:pt x="830" y="308"/>
                  </a:lnTo>
                  <a:lnTo>
                    <a:pt x="830" y="310"/>
                  </a:lnTo>
                  <a:lnTo>
                    <a:pt x="828" y="317"/>
                  </a:lnTo>
                  <a:lnTo>
                    <a:pt x="828" y="320"/>
                  </a:lnTo>
                  <a:lnTo>
                    <a:pt x="831" y="326"/>
                  </a:lnTo>
                  <a:lnTo>
                    <a:pt x="834" y="328"/>
                  </a:lnTo>
                  <a:lnTo>
                    <a:pt x="840" y="331"/>
                  </a:lnTo>
                  <a:lnTo>
                    <a:pt x="843" y="331"/>
                  </a:lnTo>
                  <a:lnTo>
                    <a:pt x="845" y="334"/>
                  </a:lnTo>
                  <a:lnTo>
                    <a:pt x="845" y="333"/>
                  </a:lnTo>
                  <a:lnTo>
                    <a:pt x="844" y="328"/>
                  </a:lnTo>
                  <a:lnTo>
                    <a:pt x="843" y="323"/>
                  </a:lnTo>
                  <a:lnTo>
                    <a:pt x="838" y="320"/>
                  </a:lnTo>
                  <a:lnTo>
                    <a:pt x="838" y="317"/>
                  </a:lnTo>
                  <a:lnTo>
                    <a:pt x="837" y="311"/>
                  </a:lnTo>
                  <a:lnTo>
                    <a:pt x="838" y="307"/>
                  </a:lnTo>
                  <a:lnTo>
                    <a:pt x="840" y="304"/>
                  </a:lnTo>
                  <a:lnTo>
                    <a:pt x="841" y="304"/>
                  </a:lnTo>
                  <a:lnTo>
                    <a:pt x="847" y="304"/>
                  </a:lnTo>
                  <a:lnTo>
                    <a:pt x="848" y="306"/>
                  </a:lnTo>
                  <a:lnTo>
                    <a:pt x="854" y="308"/>
                  </a:lnTo>
                  <a:lnTo>
                    <a:pt x="854" y="311"/>
                  </a:lnTo>
                  <a:lnTo>
                    <a:pt x="854" y="316"/>
                  </a:lnTo>
                  <a:lnTo>
                    <a:pt x="854" y="324"/>
                  </a:lnTo>
                  <a:lnTo>
                    <a:pt x="854" y="327"/>
                  </a:lnTo>
                  <a:lnTo>
                    <a:pt x="850" y="331"/>
                  </a:lnTo>
                  <a:lnTo>
                    <a:pt x="850" y="335"/>
                  </a:lnTo>
                  <a:lnTo>
                    <a:pt x="850" y="335"/>
                  </a:lnTo>
                  <a:lnTo>
                    <a:pt x="854" y="337"/>
                  </a:lnTo>
                  <a:lnTo>
                    <a:pt x="858" y="340"/>
                  </a:lnTo>
                  <a:lnTo>
                    <a:pt x="861" y="340"/>
                  </a:lnTo>
                  <a:lnTo>
                    <a:pt x="863" y="347"/>
                  </a:lnTo>
                  <a:lnTo>
                    <a:pt x="864" y="354"/>
                  </a:lnTo>
                  <a:lnTo>
                    <a:pt x="864" y="361"/>
                  </a:lnTo>
                  <a:lnTo>
                    <a:pt x="863" y="374"/>
                  </a:lnTo>
                  <a:lnTo>
                    <a:pt x="861" y="377"/>
                  </a:lnTo>
                  <a:lnTo>
                    <a:pt x="860" y="383"/>
                  </a:lnTo>
                  <a:lnTo>
                    <a:pt x="860" y="383"/>
                  </a:lnTo>
                  <a:lnTo>
                    <a:pt x="865" y="381"/>
                  </a:lnTo>
                  <a:lnTo>
                    <a:pt x="867" y="380"/>
                  </a:lnTo>
                  <a:lnTo>
                    <a:pt x="870" y="375"/>
                  </a:lnTo>
                  <a:lnTo>
                    <a:pt x="875" y="377"/>
                  </a:lnTo>
                  <a:lnTo>
                    <a:pt x="877" y="378"/>
                  </a:lnTo>
                  <a:lnTo>
                    <a:pt x="877" y="380"/>
                  </a:lnTo>
                  <a:lnTo>
                    <a:pt x="878" y="384"/>
                  </a:lnTo>
                  <a:lnTo>
                    <a:pt x="880" y="391"/>
                  </a:lnTo>
                  <a:lnTo>
                    <a:pt x="881" y="390"/>
                  </a:lnTo>
                  <a:lnTo>
                    <a:pt x="884" y="383"/>
                  </a:lnTo>
                  <a:lnTo>
                    <a:pt x="884" y="381"/>
                  </a:lnTo>
                  <a:lnTo>
                    <a:pt x="885" y="378"/>
                  </a:lnTo>
                  <a:lnTo>
                    <a:pt x="885" y="380"/>
                  </a:lnTo>
                  <a:lnTo>
                    <a:pt x="888" y="387"/>
                  </a:lnTo>
                  <a:lnTo>
                    <a:pt x="894" y="398"/>
                  </a:lnTo>
                  <a:lnTo>
                    <a:pt x="895" y="404"/>
                  </a:lnTo>
                  <a:lnTo>
                    <a:pt x="895" y="408"/>
                  </a:lnTo>
                  <a:lnTo>
                    <a:pt x="894" y="413"/>
                  </a:lnTo>
                  <a:lnTo>
                    <a:pt x="891" y="414"/>
                  </a:lnTo>
                  <a:lnTo>
                    <a:pt x="878" y="424"/>
                  </a:lnTo>
                  <a:lnTo>
                    <a:pt x="873" y="428"/>
                  </a:lnTo>
                  <a:lnTo>
                    <a:pt x="870" y="433"/>
                  </a:lnTo>
                  <a:lnTo>
                    <a:pt x="868" y="434"/>
                  </a:lnTo>
                  <a:lnTo>
                    <a:pt x="865" y="434"/>
                  </a:lnTo>
                  <a:lnTo>
                    <a:pt x="865" y="434"/>
                  </a:lnTo>
                  <a:lnTo>
                    <a:pt x="864" y="441"/>
                  </a:lnTo>
                  <a:lnTo>
                    <a:pt x="863" y="443"/>
                  </a:lnTo>
                  <a:lnTo>
                    <a:pt x="860" y="447"/>
                  </a:lnTo>
                  <a:lnTo>
                    <a:pt x="857" y="455"/>
                  </a:lnTo>
                  <a:lnTo>
                    <a:pt x="854" y="458"/>
                  </a:lnTo>
                  <a:lnTo>
                    <a:pt x="850" y="457"/>
                  </a:lnTo>
                  <a:lnTo>
                    <a:pt x="850" y="453"/>
                  </a:lnTo>
                  <a:lnTo>
                    <a:pt x="848" y="444"/>
                  </a:lnTo>
                  <a:lnTo>
                    <a:pt x="848" y="441"/>
                  </a:lnTo>
                  <a:lnTo>
                    <a:pt x="848" y="440"/>
                  </a:lnTo>
                  <a:lnTo>
                    <a:pt x="850" y="435"/>
                  </a:lnTo>
                  <a:lnTo>
                    <a:pt x="851" y="428"/>
                  </a:lnTo>
                  <a:lnTo>
                    <a:pt x="851" y="428"/>
                  </a:lnTo>
                  <a:lnTo>
                    <a:pt x="850" y="428"/>
                  </a:lnTo>
                  <a:lnTo>
                    <a:pt x="847" y="433"/>
                  </a:lnTo>
                  <a:lnTo>
                    <a:pt x="847" y="434"/>
                  </a:lnTo>
                  <a:lnTo>
                    <a:pt x="845" y="437"/>
                  </a:lnTo>
                  <a:lnTo>
                    <a:pt x="845" y="443"/>
                  </a:lnTo>
                  <a:lnTo>
                    <a:pt x="845" y="453"/>
                  </a:lnTo>
                  <a:lnTo>
                    <a:pt x="845" y="457"/>
                  </a:lnTo>
                  <a:lnTo>
                    <a:pt x="844" y="460"/>
                  </a:lnTo>
                  <a:lnTo>
                    <a:pt x="844" y="461"/>
                  </a:lnTo>
                  <a:lnTo>
                    <a:pt x="848" y="463"/>
                  </a:lnTo>
                  <a:lnTo>
                    <a:pt x="848" y="464"/>
                  </a:lnTo>
                  <a:lnTo>
                    <a:pt x="848" y="465"/>
                  </a:lnTo>
                  <a:lnTo>
                    <a:pt x="848" y="468"/>
                  </a:lnTo>
                  <a:lnTo>
                    <a:pt x="848" y="470"/>
                  </a:lnTo>
                  <a:lnTo>
                    <a:pt x="847" y="474"/>
                  </a:lnTo>
                  <a:lnTo>
                    <a:pt x="845" y="475"/>
                  </a:lnTo>
                  <a:lnTo>
                    <a:pt x="844" y="474"/>
                  </a:lnTo>
                  <a:lnTo>
                    <a:pt x="838" y="465"/>
                  </a:lnTo>
                  <a:lnTo>
                    <a:pt x="837" y="465"/>
                  </a:lnTo>
                  <a:lnTo>
                    <a:pt x="837" y="467"/>
                  </a:lnTo>
                  <a:lnTo>
                    <a:pt x="837" y="470"/>
                  </a:lnTo>
                  <a:lnTo>
                    <a:pt x="838" y="475"/>
                  </a:lnTo>
                  <a:lnTo>
                    <a:pt x="838" y="481"/>
                  </a:lnTo>
                  <a:lnTo>
                    <a:pt x="838" y="487"/>
                  </a:lnTo>
                  <a:lnTo>
                    <a:pt x="837" y="494"/>
                  </a:lnTo>
                  <a:lnTo>
                    <a:pt x="835" y="497"/>
                  </a:lnTo>
                  <a:lnTo>
                    <a:pt x="835" y="498"/>
                  </a:lnTo>
                  <a:lnTo>
                    <a:pt x="833" y="498"/>
                  </a:lnTo>
                  <a:lnTo>
                    <a:pt x="831" y="497"/>
                  </a:lnTo>
                  <a:lnTo>
                    <a:pt x="824" y="484"/>
                  </a:lnTo>
                  <a:lnTo>
                    <a:pt x="821" y="478"/>
                  </a:lnTo>
                  <a:lnTo>
                    <a:pt x="817" y="467"/>
                  </a:lnTo>
                  <a:lnTo>
                    <a:pt x="817" y="465"/>
                  </a:lnTo>
                  <a:lnTo>
                    <a:pt x="816" y="464"/>
                  </a:lnTo>
                  <a:lnTo>
                    <a:pt x="816" y="470"/>
                  </a:lnTo>
                  <a:lnTo>
                    <a:pt x="816" y="474"/>
                  </a:lnTo>
                  <a:lnTo>
                    <a:pt x="820" y="484"/>
                  </a:lnTo>
                  <a:lnTo>
                    <a:pt x="823" y="491"/>
                  </a:lnTo>
                  <a:lnTo>
                    <a:pt x="824" y="497"/>
                  </a:lnTo>
                  <a:lnTo>
                    <a:pt x="824" y="500"/>
                  </a:lnTo>
                  <a:lnTo>
                    <a:pt x="824" y="500"/>
                  </a:lnTo>
                  <a:lnTo>
                    <a:pt x="823" y="500"/>
                  </a:lnTo>
                  <a:lnTo>
                    <a:pt x="821" y="497"/>
                  </a:lnTo>
                  <a:lnTo>
                    <a:pt x="818" y="494"/>
                  </a:lnTo>
                  <a:lnTo>
                    <a:pt x="817" y="493"/>
                  </a:lnTo>
                  <a:lnTo>
                    <a:pt x="816" y="490"/>
                  </a:lnTo>
                  <a:lnTo>
                    <a:pt x="814" y="488"/>
                  </a:lnTo>
                  <a:lnTo>
                    <a:pt x="811" y="487"/>
                  </a:lnTo>
                  <a:lnTo>
                    <a:pt x="808" y="487"/>
                  </a:lnTo>
                  <a:lnTo>
                    <a:pt x="806" y="487"/>
                  </a:lnTo>
                  <a:lnTo>
                    <a:pt x="806" y="488"/>
                  </a:lnTo>
                  <a:lnTo>
                    <a:pt x="808" y="491"/>
                  </a:lnTo>
                  <a:lnTo>
                    <a:pt x="810" y="493"/>
                  </a:lnTo>
                  <a:lnTo>
                    <a:pt x="810" y="495"/>
                  </a:lnTo>
                  <a:lnTo>
                    <a:pt x="811" y="498"/>
                  </a:lnTo>
                  <a:lnTo>
                    <a:pt x="810" y="500"/>
                  </a:lnTo>
                  <a:lnTo>
                    <a:pt x="807" y="501"/>
                  </a:lnTo>
                  <a:lnTo>
                    <a:pt x="801" y="500"/>
                  </a:lnTo>
                  <a:lnTo>
                    <a:pt x="794" y="498"/>
                  </a:lnTo>
                  <a:lnTo>
                    <a:pt x="786" y="494"/>
                  </a:lnTo>
                  <a:lnTo>
                    <a:pt x="778" y="488"/>
                  </a:lnTo>
                  <a:lnTo>
                    <a:pt x="773" y="483"/>
                  </a:lnTo>
                  <a:lnTo>
                    <a:pt x="771" y="478"/>
                  </a:lnTo>
                  <a:lnTo>
                    <a:pt x="770" y="477"/>
                  </a:lnTo>
                  <a:lnTo>
                    <a:pt x="773" y="474"/>
                  </a:lnTo>
                  <a:lnTo>
                    <a:pt x="780" y="471"/>
                  </a:lnTo>
                  <a:lnTo>
                    <a:pt x="786" y="470"/>
                  </a:lnTo>
                  <a:lnTo>
                    <a:pt x="786" y="468"/>
                  </a:lnTo>
                  <a:lnTo>
                    <a:pt x="773" y="464"/>
                  </a:lnTo>
                  <a:lnTo>
                    <a:pt x="768" y="464"/>
                  </a:lnTo>
                  <a:lnTo>
                    <a:pt x="767" y="465"/>
                  </a:lnTo>
                  <a:lnTo>
                    <a:pt x="764" y="464"/>
                  </a:lnTo>
                  <a:lnTo>
                    <a:pt x="761" y="461"/>
                  </a:lnTo>
                  <a:lnTo>
                    <a:pt x="760" y="457"/>
                  </a:lnTo>
                  <a:lnTo>
                    <a:pt x="758" y="453"/>
                  </a:lnTo>
                  <a:lnTo>
                    <a:pt x="758" y="451"/>
                  </a:lnTo>
                  <a:lnTo>
                    <a:pt x="758" y="451"/>
                  </a:lnTo>
                  <a:lnTo>
                    <a:pt x="764" y="451"/>
                  </a:lnTo>
                  <a:lnTo>
                    <a:pt x="766" y="451"/>
                  </a:lnTo>
                  <a:lnTo>
                    <a:pt x="763" y="448"/>
                  </a:lnTo>
                  <a:lnTo>
                    <a:pt x="754" y="443"/>
                  </a:lnTo>
                  <a:lnTo>
                    <a:pt x="750" y="438"/>
                  </a:lnTo>
                  <a:lnTo>
                    <a:pt x="750" y="435"/>
                  </a:lnTo>
                  <a:lnTo>
                    <a:pt x="750" y="434"/>
                  </a:lnTo>
                  <a:lnTo>
                    <a:pt x="750" y="433"/>
                  </a:lnTo>
                  <a:lnTo>
                    <a:pt x="753" y="428"/>
                  </a:lnTo>
                  <a:lnTo>
                    <a:pt x="763" y="420"/>
                  </a:lnTo>
                  <a:lnTo>
                    <a:pt x="767" y="418"/>
                  </a:lnTo>
                  <a:lnTo>
                    <a:pt x="771" y="418"/>
                  </a:lnTo>
                  <a:lnTo>
                    <a:pt x="773" y="417"/>
                  </a:lnTo>
                  <a:lnTo>
                    <a:pt x="776" y="408"/>
                  </a:lnTo>
                  <a:lnTo>
                    <a:pt x="786" y="405"/>
                  </a:lnTo>
                  <a:lnTo>
                    <a:pt x="794" y="401"/>
                  </a:lnTo>
                  <a:lnTo>
                    <a:pt x="796" y="400"/>
                  </a:lnTo>
                  <a:lnTo>
                    <a:pt x="788" y="401"/>
                  </a:lnTo>
                  <a:lnTo>
                    <a:pt x="780" y="400"/>
                  </a:lnTo>
                  <a:lnTo>
                    <a:pt x="777" y="394"/>
                  </a:lnTo>
                  <a:lnTo>
                    <a:pt x="774" y="394"/>
                  </a:lnTo>
                  <a:lnTo>
                    <a:pt x="771" y="394"/>
                  </a:lnTo>
                  <a:lnTo>
                    <a:pt x="767" y="395"/>
                  </a:lnTo>
                  <a:lnTo>
                    <a:pt x="761" y="401"/>
                  </a:lnTo>
                  <a:lnTo>
                    <a:pt x="760" y="401"/>
                  </a:lnTo>
                  <a:lnTo>
                    <a:pt x="753" y="407"/>
                  </a:lnTo>
                  <a:lnTo>
                    <a:pt x="751" y="407"/>
                  </a:lnTo>
                  <a:lnTo>
                    <a:pt x="750" y="407"/>
                  </a:lnTo>
                  <a:lnTo>
                    <a:pt x="750" y="405"/>
                  </a:lnTo>
                  <a:lnTo>
                    <a:pt x="751" y="401"/>
                  </a:lnTo>
                  <a:lnTo>
                    <a:pt x="753" y="398"/>
                  </a:lnTo>
                  <a:lnTo>
                    <a:pt x="753" y="398"/>
                  </a:lnTo>
                  <a:lnTo>
                    <a:pt x="750" y="398"/>
                  </a:lnTo>
                  <a:lnTo>
                    <a:pt x="747" y="398"/>
                  </a:lnTo>
                  <a:lnTo>
                    <a:pt x="746" y="398"/>
                  </a:lnTo>
                  <a:lnTo>
                    <a:pt x="738" y="404"/>
                  </a:lnTo>
                  <a:lnTo>
                    <a:pt x="736" y="407"/>
                  </a:lnTo>
                  <a:lnTo>
                    <a:pt x="734" y="407"/>
                  </a:lnTo>
                  <a:lnTo>
                    <a:pt x="731" y="401"/>
                  </a:lnTo>
                  <a:lnTo>
                    <a:pt x="726" y="398"/>
                  </a:lnTo>
                  <a:lnTo>
                    <a:pt x="724" y="397"/>
                  </a:lnTo>
                  <a:lnTo>
                    <a:pt x="726" y="387"/>
                  </a:lnTo>
                  <a:lnTo>
                    <a:pt x="727" y="384"/>
                  </a:lnTo>
                  <a:lnTo>
                    <a:pt x="731" y="383"/>
                  </a:lnTo>
                  <a:lnTo>
                    <a:pt x="744" y="374"/>
                  </a:lnTo>
                  <a:lnTo>
                    <a:pt x="744" y="373"/>
                  </a:lnTo>
                  <a:lnTo>
                    <a:pt x="746" y="368"/>
                  </a:lnTo>
                  <a:lnTo>
                    <a:pt x="743" y="368"/>
                  </a:lnTo>
                  <a:lnTo>
                    <a:pt x="737" y="373"/>
                  </a:lnTo>
                  <a:lnTo>
                    <a:pt x="731" y="375"/>
                  </a:lnTo>
                  <a:lnTo>
                    <a:pt x="727" y="375"/>
                  </a:lnTo>
                  <a:lnTo>
                    <a:pt x="724" y="375"/>
                  </a:lnTo>
                  <a:lnTo>
                    <a:pt x="723" y="374"/>
                  </a:lnTo>
                  <a:lnTo>
                    <a:pt x="720" y="371"/>
                  </a:lnTo>
                  <a:lnTo>
                    <a:pt x="713" y="358"/>
                  </a:lnTo>
                  <a:lnTo>
                    <a:pt x="710" y="351"/>
                  </a:lnTo>
                  <a:lnTo>
                    <a:pt x="710" y="345"/>
                  </a:lnTo>
                  <a:lnTo>
                    <a:pt x="710" y="341"/>
                  </a:lnTo>
                  <a:lnTo>
                    <a:pt x="707" y="331"/>
                  </a:lnTo>
                  <a:lnTo>
                    <a:pt x="724" y="338"/>
                  </a:lnTo>
                  <a:lnTo>
                    <a:pt x="730" y="340"/>
                  </a:lnTo>
                  <a:lnTo>
                    <a:pt x="741" y="340"/>
                  </a:lnTo>
                  <a:lnTo>
                    <a:pt x="743" y="338"/>
                  </a:lnTo>
                  <a:lnTo>
                    <a:pt x="743" y="337"/>
                  </a:lnTo>
                  <a:lnTo>
                    <a:pt x="743" y="334"/>
                  </a:lnTo>
                  <a:lnTo>
                    <a:pt x="743" y="333"/>
                  </a:lnTo>
                  <a:lnTo>
                    <a:pt x="743" y="331"/>
                  </a:lnTo>
                  <a:lnTo>
                    <a:pt x="747" y="327"/>
                  </a:lnTo>
                  <a:lnTo>
                    <a:pt x="748" y="326"/>
                  </a:lnTo>
                  <a:lnTo>
                    <a:pt x="743" y="326"/>
                  </a:lnTo>
                  <a:lnTo>
                    <a:pt x="733" y="331"/>
                  </a:lnTo>
                  <a:lnTo>
                    <a:pt x="730" y="331"/>
                  </a:lnTo>
                  <a:lnTo>
                    <a:pt x="726" y="323"/>
                  </a:lnTo>
                  <a:lnTo>
                    <a:pt x="721" y="324"/>
                  </a:lnTo>
                  <a:lnTo>
                    <a:pt x="720" y="323"/>
                  </a:lnTo>
                  <a:lnTo>
                    <a:pt x="717" y="321"/>
                  </a:lnTo>
                  <a:lnTo>
                    <a:pt x="716" y="318"/>
                  </a:lnTo>
                  <a:lnTo>
                    <a:pt x="714" y="317"/>
                  </a:lnTo>
                  <a:lnTo>
                    <a:pt x="714" y="314"/>
                  </a:lnTo>
                  <a:lnTo>
                    <a:pt x="714" y="313"/>
                  </a:lnTo>
                  <a:lnTo>
                    <a:pt x="714" y="311"/>
                  </a:lnTo>
                  <a:lnTo>
                    <a:pt x="719" y="308"/>
                  </a:lnTo>
                  <a:lnTo>
                    <a:pt x="720" y="308"/>
                  </a:lnTo>
                  <a:lnTo>
                    <a:pt x="724" y="310"/>
                  </a:lnTo>
                  <a:lnTo>
                    <a:pt x="727" y="310"/>
                  </a:lnTo>
                  <a:lnTo>
                    <a:pt x="726" y="307"/>
                  </a:lnTo>
                  <a:lnTo>
                    <a:pt x="721" y="300"/>
                  </a:lnTo>
                  <a:lnTo>
                    <a:pt x="717" y="291"/>
                  </a:lnTo>
                  <a:lnTo>
                    <a:pt x="719" y="278"/>
                  </a:lnTo>
                  <a:lnTo>
                    <a:pt x="721" y="276"/>
                  </a:lnTo>
                  <a:lnTo>
                    <a:pt x="724" y="274"/>
                  </a:lnTo>
                  <a:lnTo>
                    <a:pt x="729" y="278"/>
                  </a:lnTo>
                  <a:lnTo>
                    <a:pt x="733" y="278"/>
                  </a:lnTo>
                  <a:lnTo>
                    <a:pt x="736" y="283"/>
                  </a:lnTo>
                  <a:lnTo>
                    <a:pt x="738" y="290"/>
                  </a:lnTo>
                  <a:lnTo>
                    <a:pt x="740" y="290"/>
                  </a:lnTo>
                  <a:lnTo>
                    <a:pt x="744" y="291"/>
                  </a:lnTo>
                  <a:lnTo>
                    <a:pt x="753" y="291"/>
                  </a:lnTo>
                  <a:lnTo>
                    <a:pt x="751" y="288"/>
                  </a:lnTo>
                  <a:lnTo>
                    <a:pt x="748" y="286"/>
                  </a:lnTo>
                  <a:lnTo>
                    <a:pt x="743" y="283"/>
                  </a:lnTo>
                  <a:lnTo>
                    <a:pt x="740" y="271"/>
                  </a:lnTo>
                  <a:lnTo>
                    <a:pt x="733" y="267"/>
                  </a:lnTo>
                  <a:lnTo>
                    <a:pt x="729" y="263"/>
                  </a:lnTo>
                  <a:lnTo>
                    <a:pt x="729" y="261"/>
                  </a:lnTo>
                  <a:lnTo>
                    <a:pt x="731" y="247"/>
                  </a:lnTo>
                  <a:lnTo>
                    <a:pt x="737" y="241"/>
                  </a:lnTo>
                  <a:lnTo>
                    <a:pt x="744" y="244"/>
                  </a:lnTo>
                  <a:lnTo>
                    <a:pt x="748" y="241"/>
                  </a:lnTo>
                  <a:lnTo>
                    <a:pt x="754" y="236"/>
                  </a:lnTo>
                  <a:lnTo>
                    <a:pt x="761" y="238"/>
                  </a:lnTo>
                  <a:lnTo>
                    <a:pt x="763" y="238"/>
                  </a:lnTo>
                  <a:lnTo>
                    <a:pt x="764" y="237"/>
                  </a:lnTo>
                  <a:lnTo>
                    <a:pt x="764" y="234"/>
                  </a:lnTo>
                  <a:lnTo>
                    <a:pt x="764" y="231"/>
                  </a:lnTo>
                  <a:lnTo>
                    <a:pt x="764" y="228"/>
                  </a:lnTo>
                  <a:lnTo>
                    <a:pt x="761" y="226"/>
                  </a:lnTo>
                  <a:lnTo>
                    <a:pt x="754" y="224"/>
                  </a:lnTo>
                  <a:lnTo>
                    <a:pt x="750" y="224"/>
                  </a:lnTo>
                  <a:lnTo>
                    <a:pt x="748" y="221"/>
                  </a:lnTo>
                  <a:lnTo>
                    <a:pt x="748" y="220"/>
                  </a:lnTo>
                  <a:lnTo>
                    <a:pt x="748" y="217"/>
                  </a:lnTo>
                  <a:lnTo>
                    <a:pt x="748" y="214"/>
                  </a:lnTo>
                  <a:lnTo>
                    <a:pt x="748" y="213"/>
                  </a:lnTo>
                  <a:lnTo>
                    <a:pt x="750" y="211"/>
                  </a:lnTo>
                  <a:lnTo>
                    <a:pt x="751" y="210"/>
                  </a:lnTo>
                  <a:lnTo>
                    <a:pt x="758" y="210"/>
                  </a:lnTo>
                  <a:lnTo>
                    <a:pt x="763" y="208"/>
                  </a:lnTo>
                  <a:lnTo>
                    <a:pt x="767" y="211"/>
                  </a:lnTo>
                  <a:lnTo>
                    <a:pt x="777" y="218"/>
                  </a:lnTo>
                  <a:lnTo>
                    <a:pt x="781" y="221"/>
                  </a:lnTo>
                  <a:lnTo>
                    <a:pt x="784" y="227"/>
                  </a:lnTo>
                  <a:lnTo>
                    <a:pt x="786" y="233"/>
                  </a:lnTo>
                  <a:close/>
                  <a:moveTo>
                    <a:pt x="676" y="345"/>
                  </a:moveTo>
                  <a:lnTo>
                    <a:pt x="676" y="358"/>
                  </a:lnTo>
                  <a:lnTo>
                    <a:pt x="676" y="364"/>
                  </a:lnTo>
                  <a:lnTo>
                    <a:pt x="674" y="368"/>
                  </a:lnTo>
                  <a:lnTo>
                    <a:pt x="674" y="368"/>
                  </a:lnTo>
                  <a:lnTo>
                    <a:pt x="673" y="370"/>
                  </a:lnTo>
                  <a:lnTo>
                    <a:pt x="669" y="365"/>
                  </a:lnTo>
                  <a:lnTo>
                    <a:pt x="667" y="364"/>
                  </a:lnTo>
                  <a:lnTo>
                    <a:pt x="667" y="363"/>
                  </a:lnTo>
                  <a:lnTo>
                    <a:pt x="667" y="358"/>
                  </a:lnTo>
                  <a:lnTo>
                    <a:pt x="664" y="354"/>
                  </a:lnTo>
                  <a:lnTo>
                    <a:pt x="659" y="355"/>
                  </a:lnTo>
                  <a:lnTo>
                    <a:pt x="656" y="354"/>
                  </a:lnTo>
                  <a:lnTo>
                    <a:pt x="656" y="353"/>
                  </a:lnTo>
                  <a:lnTo>
                    <a:pt x="654" y="351"/>
                  </a:lnTo>
                  <a:lnTo>
                    <a:pt x="654" y="344"/>
                  </a:lnTo>
                  <a:lnTo>
                    <a:pt x="654" y="341"/>
                  </a:lnTo>
                  <a:lnTo>
                    <a:pt x="654" y="337"/>
                  </a:lnTo>
                  <a:lnTo>
                    <a:pt x="656" y="335"/>
                  </a:lnTo>
                  <a:lnTo>
                    <a:pt x="659" y="331"/>
                  </a:lnTo>
                  <a:lnTo>
                    <a:pt x="660" y="331"/>
                  </a:lnTo>
                  <a:lnTo>
                    <a:pt x="666" y="333"/>
                  </a:lnTo>
                  <a:lnTo>
                    <a:pt x="670" y="333"/>
                  </a:lnTo>
                  <a:lnTo>
                    <a:pt x="671" y="334"/>
                  </a:lnTo>
                  <a:lnTo>
                    <a:pt x="674" y="337"/>
                  </a:lnTo>
                  <a:lnTo>
                    <a:pt x="674" y="341"/>
                  </a:lnTo>
                  <a:lnTo>
                    <a:pt x="676" y="345"/>
                  </a:lnTo>
                  <a:close/>
                  <a:moveTo>
                    <a:pt x="602" y="405"/>
                  </a:moveTo>
                  <a:lnTo>
                    <a:pt x="604" y="407"/>
                  </a:lnTo>
                  <a:lnTo>
                    <a:pt x="609" y="413"/>
                  </a:lnTo>
                  <a:lnTo>
                    <a:pt x="613" y="424"/>
                  </a:lnTo>
                  <a:lnTo>
                    <a:pt x="614" y="425"/>
                  </a:lnTo>
                  <a:lnTo>
                    <a:pt x="614" y="427"/>
                  </a:lnTo>
                  <a:lnTo>
                    <a:pt x="613" y="430"/>
                  </a:lnTo>
                  <a:lnTo>
                    <a:pt x="613" y="433"/>
                  </a:lnTo>
                  <a:lnTo>
                    <a:pt x="613" y="434"/>
                  </a:lnTo>
                  <a:lnTo>
                    <a:pt x="614" y="437"/>
                  </a:lnTo>
                  <a:lnTo>
                    <a:pt x="614" y="438"/>
                  </a:lnTo>
                  <a:lnTo>
                    <a:pt x="614" y="440"/>
                  </a:lnTo>
                  <a:lnTo>
                    <a:pt x="614" y="443"/>
                  </a:lnTo>
                  <a:lnTo>
                    <a:pt x="616" y="440"/>
                  </a:lnTo>
                  <a:lnTo>
                    <a:pt x="617" y="437"/>
                  </a:lnTo>
                  <a:lnTo>
                    <a:pt x="617" y="435"/>
                  </a:lnTo>
                  <a:lnTo>
                    <a:pt x="617" y="431"/>
                  </a:lnTo>
                  <a:lnTo>
                    <a:pt x="622" y="428"/>
                  </a:lnTo>
                  <a:lnTo>
                    <a:pt x="624" y="425"/>
                  </a:lnTo>
                  <a:lnTo>
                    <a:pt x="626" y="424"/>
                  </a:lnTo>
                  <a:lnTo>
                    <a:pt x="629" y="425"/>
                  </a:lnTo>
                  <a:lnTo>
                    <a:pt x="636" y="434"/>
                  </a:lnTo>
                  <a:lnTo>
                    <a:pt x="637" y="434"/>
                  </a:lnTo>
                  <a:lnTo>
                    <a:pt x="639" y="435"/>
                  </a:lnTo>
                  <a:lnTo>
                    <a:pt x="640" y="437"/>
                  </a:lnTo>
                  <a:lnTo>
                    <a:pt x="640" y="440"/>
                  </a:lnTo>
                  <a:lnTo>
                    <a:pt x="639" y="444"/>
                  </a:lnTo>
                  <a:lnTo>
                    <a:pt x="637" y="447"/>
                  </a:lnTo>
                  <a:lnTo>
                    <a:pt x="639" y="448"/>
                  </a:lnTo>
                  <a:lnTo>
                    <a:pt x="641" y="450"/>
                  </a:lnTo>
                  <a:lnTo>
                    <a:pt x="649" y="447"/>
                  </a:lnTo>
                  <a:lnTo>
                    <a:pt x="656" y="454"/>
                  </a:lnTo>
                  <a:lnTo>
                    <a:pt x="660" y="464"/>
                  </a:lnTo>
                  <a:lnTo>
                    <a:pt x="663" y="467"/>
                  </a:lnTo>
                  <a:lnTo>
                    <a:pt x="663" y="468"/>
                  </a:lnTo>
                  <a:lnTo>
                    <a:pt x="661" y="470"/>
                  </a:lnTo>
                  <a:lnTo>
                    <a:pt x="661" y="474"/>
                  </a:lnTo>
                  <a:lnTo>
                    <a:pt x="659" y="477"/>
                  </a:lnTo>
                  <a:lnTo>
                    <a:pt x="659" y="478"/>
                  </a:lnTo>
                  <a:lnTo>
                    <a:pt x="660" y="481"/>
                  </a:lnTo>
                  <a:lnTo>
                    <a:pt x="660" y="484"/>
                  </a:lnTo>
                  <a:lnTo>
                    <a:pt x="660" y="487"/>
                  </a:lnTo>
                  <a:lnTo>
                    <a:pt x="660" y="488"/>
                  </a:lnTo>
                  <a:lnTo>
                    <a:pt x="663" y="491"/>
                  </a:lnTo>
                  <a:lnTo>
                    <a:pt x="670" y="504"/>
                  </a:lnTo>
                  <a:lnTo>
                    <a:pt x="671" y="507"/>
                  </a:lnTo>
                  <a:lnTo>
                    <a:pt x="671" y="511"/>
                  </a:lnTo>
                  <a:lnTo>
                    <a:pt x="671" y="513"/>
                  </a:lnTo>
                  <a:lnTo>
                    <a:pt x="671" y="515"/>
                  </a:lnTo>
                  <a:lnTo>
                    <a:pt x="670" y="521"/>
                  </a:lnTo>
                  <a:lnTo>
                    <a:pt x="670" y="524"/>
                  </a:lnTo>
                  <a:lnTo>
                    <a:pt x="667" y="524"/>
                  </a:lnTo>
                  <a:lnTo>
                    <a:pt x="661" y="525"/>
                  </a:lnTo>
                  <a:lnTo>
                    <a:pt x="657" y="528"/>
                  </a:lnTo>
                  <a:lnTo>
                    <a:pt x="651" y="525"/>
                  </a:lnTo>
                  <a:lnTo>
                    <a:pt x="647" y="521"/>
                  </a:lnTo>
                  <a:lnTo>
                    <a:pt x="646" y="518"/>
                  </a:lnTo>
                  <a:lnTo>
                    <a:pt x="644" y="514"/>
                  </a:lnTo>
                  <a:lnTo>
                    <a:pt x="643" y="513"/>
                  </a:lnTo>
                  <a:lnTo>
                    <a:pt x="643" y="507"/>
                  </a:lnTo>
                  <a:lnTo>
                    <a:pt x="643" y="505"/>
                  </a:lnTo>
                  <a:lnTo>
                    <a:pt x="640" y="503"/>
                  </a:lnTo>
                  <a:lnTo>
                    <a:pt x="639" y="497"/>
                  </a:lnTo>
                  <a:lnTo>
                    <a:pt x="636" y="497"/>
                  </a:lnTo>
                  <a:lnTo>
                    <a:pt x="627" y="491"/>
                  </a:lnTo>
                  <a:lnTo>
                    <a:pt x="623" y="491"/>
                  </a:lnTo>
                  <a:lnTo>
                    <a:pt x="620" y="491"/>
                  </a:lnTo>
                  <a:lnTo>
                    <a:pt x="614" y="493"/>
                  </a:lnTo>
                  <a:lnTo>
                    <a:pt x="613" y="493"/>
                  </a:lnTo>
                  <a:lnTo>
                    <a:pt x="613" y="491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3" y="484"/>
                  </a:lnTo>
                  <a:lnTo>
                    <a:pt x="597" y="487"/>
                  </a:lnTo>
                  <a:lnTo>
                    <a:pt x="593" y="493"/>
                  </a:lnTo>
                  <a:lnTo>
                    <a:pt x="587" y="491"/>
                  </a:lnTo>
                  <a:lnTo>
                    <a:pt x="584" y="490"/>
                  </a:lnTo>
                  <a:lnTo>
                    <a:pt x="580" y="485"/>
                  </a:lnTo>
                  <a:lnTo>
                    <a:pt x="577" y="481"/>
                  </a:lnTo>
                  <a:lnTo>
                    <a:pt x="576" y="475"/>
                  </a:lnTo>
                  <a:lnTo>
                    <a:pt x="576" y="471"/>
                  </a:lnTo>
                  <a:lnTo>
                    <a:pt x="577" y="468"/>
                  </a:lnTo>
                  <a:lnTo>
                    <a:pt x="579" y="467"/>
                  </a:lnTo>
                  <a:lnTo>
                    <a:pt x="580" y="467"/>
                  </a:lnTo>
                  <a:lnTo>
                    <a:pt x="589" y="470"/>
                  </a:lnTo>
                  <a:lnTo>
                    <a:pt x="596" y="471"/>
                  </a:lnTo>
                  <a:lnTo>
                    <a:pt x="599" y="470"/>
                  </a:lnTo>
                  <a:lnTo>
                    <a:pt x="600" y="465"/>
                  </a:lnTo>
                  <a:lnTo>
                    <a:pt x="599" y="463"/>
                  </a:lnTo>
                  <a:lnTo>
                    <a:pt x="592" y="463"/>
                  </a:lnTo>
                  <a:lnTo>
                    <a:pt x="593" y="460"/>
                  </a:lnTo>
                  <a:lnTo>
                    <a:pt x="599" y="457"/>
                  </a:lnTo>
                  <a:lnTo>
                    <a:pt x="602" y="454"/>
                  </a:lnTo>
                  <a:lnTo>
                    <a:pt x="602" y="453"/>
                  </a:lnTo>
                  <a:lnTo>
                    <a:pt x="600" y="451"/>
                  </a:lnTo>
                  <a:lnTo>
                    <a:pt x="592" y="451"/>
                  </a:lnTo>
                  <a:lnTo>
                    <a:pt x="589" y="450"/>
                  </a:lnTo>
                  <a:lnTo>
                    <a:pt x="589" y="448"/>
                  </a:lnTo>
                  <a:lnTo>
                    <a:pt x="590" y="447"/>
                  </a:lnTo>
                  <a:lnTo>
                    <a:pt x="594" y="440"/>
                  </a:lnTo>
                  <a:lnTo>
                    <a:pt x="594" y="438"/>
                  </a:lnTo>
                  <a:lnTo>
                    <a:pt x="592" y="437"/>
                  </a:lnTo>
                  <a:lnTo>
                    <a:pt x="590" y="433"/>
                  </a:lnTo>
                  <a:lnTo>
                    <a:pt x="590" y="433"/>
                  </a:lnTo>
                  <a:lnTo>
                    <a:pt x="586" y="435"/>
                  </a:lnTo>
                  <a:lnTo>
                    <a:pt x="580" y="447"/>
                  </a:lnTo>
                  <a:lnTo>
                    <a:pt x="579" y="448"/>
                  </a:lnTo>
                  <a:lnTo>
                    <a:pt x="577" y="448"/>
                  </a:lnTo>
                  <a:lnTo>
                    <a:pt x="576" y="447"/>
                  </a:lnTo>
                  <a:lnTo>
                    <a:pt x="576" y="444"/>
                  </a:lnTo>
                  <a:lnTo>
                    <a:pt x="577" y="441"/>
                  </a:lnTo>
                  <a:lnTo>
                    <a:pt x="580" y="433"/>
                  </a:lnTo>
                  <a:lnTo>
                    <a:pt x="580" y="430"/>
                  </a:lnTo>
                  <a:lnTo>
                    <a:pt x="577" y="428"/>
                  </a:lnTo>
                  <a:lnTo>
                    <a:pt x="572" y="430"/>
                  </a:lnTo>
                  <a:lnTo>
                    <a:pt x="567" y="430"/>
                  </a:lnTo>
                  <a:lnTo>
                    <a:pt x="567" y="427"/>
                  </a:lnTo>
                  <a:lnTo>
                    <a:pt x="567" y="423"/>
                  </a:lnTo>
                  <a:lnTo>
                    <a:pt x="567" y="418"/>
                  </a:lnTo>
                  <a:lnTo>
                    <a:pt x="567" y="411"/>
                  </a:lnTo>
                  <a:lnTo>
                    <a:pt x="569" y="407"/>
                  </a:lnTo>
                  <a:lnTo>
                    <a:pt x="570" y="404"/>
                  </a:lnTo>
                  <a:lnTo>
                    <a:pt x="579" y="405"/>
                  </a:lnTo>
                  <a:lnTo>
                    <a:pt x="593" y="403"/>
                  </a:lnTo>
                  <a:lnTo>
                    <a:pt x="597" y="403"/>
                  </a:lnTo>
                  <a:lnTo>
                    <a:pt x="602" y="405"/>
                  </a:lnTo>
                  <a:close/>
                  <a:moveTo>
                    <a:pt x="717" y="471"/>
                  </a:moveTo>
                  <a:lnTo>
                    <a:pt x="720" y="473"/>
                  </a:lnTo>
                  <a:lnTo>
                    <a:pt x="727" y="471"/>
                  </a:lnTo>
                  <a:lnTo>
                    <a:pt x="730" y="473"/>
                  </a:lnTo>
                  <a:lnTo>
                    <a:pt x="736" y="478"/>
                  </a:lnTo>
                  <a:lnTo>
                    <a:pt x="737" y="481"/>
                  </a:lnTo>
                  <a:lnTo>
                    <a:pt x="738" y="484"/>
                  </a:lnTo>
                  <a:lnTo>
                    <a:pt x="738" y="485"/>
                  </a:lnTo>
                  <a:lnTo>
                    <a:pt x="736" y="488"/>
                  </a:lnTo>
                  <a:lnTo>
                    <a:pt x="731" y="493"/>
                  </a:lnTo>
                  <a:lnTo>
                    <a:pt x="731" y="495"/>
                  </a:lnTo>
                  <a:lnTo>
                    <a:pt x="734" y="498"/>
                  </a:lnTo>
                  <a:lnTo>
                    <a:pt x="736" y="503"/>
                  </a:lnTo>
                  <a:lnTo>
                    <a:pt x="737" y="504"/>
                  </a:lnTo>
                  <a:lnTo>
                    <a:pt x="737" y="507"/>
                  </a:lnTo>
                  <a:lnTo>
                    <a:pt x="734" y="513"/>
                  </a:lnTo>
                  <a:lnTo>
                    <a:pt x="733" y="515"/>
                  </a:lnTo>
                  <a:lnTo>
                    <a:pt x="730" y="514"/>
                  </a:lnTo>
                  <a:lnTo>
                    <a:pt x="729" y="515"/>
                  </a:lnTo>
                  <a:lnTo>
                    <a:pt x="726" y="518"/>
                  </a:lnTo>
                  <a:lnTo>
                    <a:pt x="720" y="521"/>
                  </a:lnTo>
                  <a:lnTo>
                    <a:pt x="713" y="523"/>
                  </a:lnTo>
                  <a:lnTo>
                    <a:pt x="710" y="524"/>
                  </a:lnTo>
                  <a:lnTo>
                    <a:pt x="707" y="527"/>
                  </a:lnTo>
                  <a:lnTo>
                    <a:pt x="704" y="527"/>
                  </a:lnTo>
                  <a:lnTo>
                    <a:pt x="703" y="525"/>
                  </a:lnTo>
                  <a:lnTo>
                    <a:pt x="703" y="523"/>
                  </a:lnTo>
                  <a:lnTo>
                    <a:pt x="703" y="521"/>
                  </a:lnTo>
                  <a:lnTo>
                    <a:pt x="704" y="520"/>
                  </a:lnTo>
                  <a:lnTo>
                    <a:pt x="703" y="517"/>
                  </a:lnTo>
                  <a:lnTo>
                    <a:pt x="697" y="514"/>
                  </a:lnTo>
                  <a:lnTo>
                    <a:pt x="694" y="508"/>
                  </a:lnTo>
                  <a:lnTo>
                    <a:pt x="694" y="507"/>
                  </a:lnTo>
                  <a:lnTo>
                    <a:pt x="693" y="505"/>
                  </a:lnTo>
                  <a:lnTo>
                    <a:pt x="700" y="504"/>
                  </a:lnTo>
                  <a:lnTo>
                    <a:pt x="703" y="504"/>
                  </a:lnTo>
                  <a:lnTo>
                    <a:pt x="704" y="501"/>
                  </a:lnTo>
                  <a:lnTo>
                    <a:pt x="706" y="501"/>
                  </a:lnTo>
                  <a:lnTo>
                    <a:pt x="704" y="500"/>
                  </a:lnTo>
                  <a:lnTo>
                    <a:pt x="699" y="497"/>
                  </a:lnTo>
                  <a:lnTo>
                    <a:pt x="691" y="494"/>
                  </a:lnTo>
                  <a:lnTo>
                    <a:pt x="690" y="493"/>
                  </a:lnTo>
                  <a:lnTo>
                    <a:pt x="687" y="487"/>
                  </a:lnTo>
                  <a:lnTo>
                    <a:pt x="687" y="483"/>
                  </a:lnTo>
                  <a:lnTo>
                    <a:pt x="686" y="481"/>
                  </a:lnTo>
                  <a:lnTo>
                    <a:pt x="684" y="478"/>
                  </a:lnTo>
                  <a:lnTo>
                    <a:pt x="684" y="478"/>
                  </a:lnTo>
                  <a:lnTo>
                    <a:pt x="683" y="475"/>
                  </a:lnTo>
                  <a:lnTo>
                    <a:pt x="683" y="473"/>
                  </a:lnTo>
                  <a:lnTo>
                    <a:pt x="683" y="471"/>
                  </a:lnTo>
                  <a:lnTo>
                    <a:pt x="687" y="468"/>
                  </a:lnTo>
                  <a:lnTo>
                    <a:pt x="687" y="465"/>
                  </a:lnTo>
                  <a:lnTo>
                    <a:pt x="683" y="457"/>
                  </a:lnTo>
                  <a:lnTo>
                    <a:pt x="683" y="453"/>
                  </a:lnTo>
                  <a:lnTo>
                    <a:pt x="683" y="451"/>
                  </a:lnTo>
                  <a:lnTo>
                    <a:pt x="684" y="448"/>
                  </a:lnTo>
                  <a:lnTo>
                    <a:pt x="687" y="448"/>
                  </a:lnTo>
                  <a:lnTo>
                    <a:pt x="694" y="448"/>
                  </a:lnTo>
                  <a:lnTo>
                    <a:pt x="699" y="450"/>
                  </a:lnTo>
                  <a:lnTo>
                    <a:pt x="701" y="453"/>
                  </a:lnTo>
                  <a:lnTo>
                    <a:pt x="706" y="455"/>
                  </a:lnTo>
                  <a:lnTo>
                    <a:pt x="711" y="458"/>
                  </a:lnTo>
                  <a:lnTo>
                    <a:pt x="713" y="460"/>
                  </a:lnTo>
                  <a:lnTo>
                    <a:pt x="716" y="465"/>
                  </a:lnTo>
                  <a:lnTo>
                    <a:pt x="716" y="467"/>
                  </a:lnTo>
                  <a:lnTo>
                    <a:pt x="716" y="468"/>
                  </a:lnTo>
                  <a:lnTo>
                    <a:pt x="717" y="471"/>
                  </a:lnTo>
                  <a:close/>
                  <a:moveTo>
                    <a:pt x="499" y="461"/>
                  </a:moveTo>
                  <a:lnTo>
                    <a:pt x="502" y="465"/>
                  </a:lnTo>
                  <a:lnTo>
                    <a:pt x="503" y="465"/>
                  </a:lnTo>
                  <a:lnTo>
                    <a:pt x="505" y="467"/>
                  </a:lnTo>
                  <a:lnTo>
                    <a:pt x="505" y="468"/>
                  </a:lnTo>
                  <a:lnTo>
                    <a:pt x="506" y="474"/>
                  </a:lnTo>
                  <a:lnTo>
                    <a:pt x="506" y="477"/>
                  </a:lnTo>
                  <a:lnTo>
                    <a:pt x="506" y="480"/>
                  </a:lnTo>
                  <a:lnTo>
                    <a:pt x="506" y="484"/>
                  </a:lnTo>
                  <a:lnTo>
                    <a:pt x="506" y="485"/>
                  </a:lnTo>
                  <a:lnTo>
                    <a:pt x="505" y="488"/>
                  </a:lnTo>
                  <a:lnTo>
                    <a:pt x="500" y="488"/>
                  </a:lnTo>
                  <a:lnTo>
                    <a:pt x="496" y="487"/>
                  </a:lnTo>
                  <a:lnTo>
                    <a:pt x="492" y="490"/>
                  </a:lnTo>
                  <a:lnTo>
                    <a:pt x="489" y="490"/>
                  </a:lnTo>
                  <a:lnTo>
                    <a:pt x="483" y="488"/>
                  </a:lnTo>
                  <a:lnTo>
                    <a:pt x="483" y="487"/>
                  </a:lnTo>
                  <a:lnTo>
                    <a:pt x="479" y="484"/>
                  </a:lnTo>
                  <a:lnTo>
                    <a:pt x="477" y="483"/>
                  </a:lnTo>
                  <a:lnTo>
                    <a:pt x="476" y="483"/>
                  </a:lnTo>
                  <a:lnTo>
                    <a:pt x="475" y="485"/>
                  </a:lnTo>
                  <a:lnTo>
                    <a:pt x="473" y="490"/>
                  </a:lnTo>
                  <a:lnTo>
                    <a:pt x="472" y="491"/>
                  </a:lnTo>
                  <a:lnTo>
                    <a:pt x="467" y="490"/>
                  </a:lnTo>
                  <a:lnTo>
                    <a:pt x="462" y="484"/>
                  </a:lnTo>
                  <a:lnTo>
                    <a:pt x="455" y="485"/>
                  </a:lnTo>
                  <a:lnTo>
                    <a:pt x="448" y="490"/>
                  </a:lnTo>
                  <a:lnTo>
                    <a:pt x="445" y="490"/>
                  </a:lnTo>
                  <a:lnTo>
                    <a:pt x="445" y="490"/>
                  </a:lnTo>
                  <a:lnTo>
                    <a:pt x="443" y="487"/>
                  </a:lnTo>
                  <a:lnTo>
                    <a:pt x="443" y="485"/>
                  </a:lnTo>
                  <a:lnTo>
                    <a:pt x="446" y="480"/>
                  </a:lnTo>
                  <a:lnTo>
                    <a:pt x="450" y="475"/>
                  </a:lnTo>
                  <a:lnTo>
                    <a:pt x="453" y="473"/>
                  </a:lnTo>
                  <a:lnTo>
                    <a:pt x="460" y="470"/>
                  </a:lnTo>
                  <a:lnTo>
                    <a:pt x="469" y="467"/>
                  </a:lnTo>
                  <a:lnTo>
                    <a:pt x="472" y="465"/>
                  </a:lnTo>
                  <a:lnTo>
                    <a:pt x="473" y="461"/>
                  </a:lnTo>
                  <a:lnTo>
                    <a:pt x="479" y="457"/>
                  </a:lnTo>
                  <a:lnTo>
                    <a:pt x="482" y="454"/>
                  </a:lnTo>
                  <a:lnTo>
                    <a:pt x="486" y="453"/>
                  </a:lnTo>
                  <a:lnTo>
                    <a:pt x="489" y="453"/>
                  </a:lnTo>
                  <a:lnTo>
                    <a:pt x="493" y="457"/>
                  </a:lnTo>
                  <a:lnTo>
                    <a:pt x="497" y="458"/>
                  </a:lnTo>
                  <a:lnTo>
                    <a:pt x="499" y="461"/>
                  </a:lnTo>
                  <a:close/>
                  <a:moveTo>
                    <a:pt x="607" y="501"/>
                  </a:moveTo>
                  <a:lnTo>
                    <a:pt x="606" y="503"/>
                  </a:lnTo>
                  <a:lnTo>
                    <a:pt x="604" y="501"/>
                  </a:lnTo>
                  <a:lnTo>
                    <a:pt x="603" y="501"/>
                  </a:lnTo>
                  <a:lnTo>
                    <a:pt x="603" y="500"/>
                  </a:lnTo>
                  <a:lnTo>
                    <a:pt x="604" y="498"/>
                  </a:lnTo>
                  <a:lnTo>
                    <a:pt x="606" y="493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3"/>
                  </a:lnTo>
                  <a:lnTo>
                    <a:pt x="612" y="495"/>
                  </a:lnTo>
                  <a:lnTo>
                    <a:pt x="607" y="501"/>
                  </a:lnTo>
                  <a:close/>
                  <a:moveTo>
                    <a:pt x="489" y="504"/>
                  </a:moveTo>
                  <a:lnTo>
                    <a:pt x="502" y="507"/>
                  </a:lnTo>
                  <a:lnTo>
                    <a:pt x="502" y="507"/>
                  </a:lnTo>
                  <a:lnTo>
                    <a:pt x="502" y="508"/>
                  </a:lnTo>
                  <a:lnTo>
                    <a:pt x="502" y="513"/>
                  </a:lnTo>
                  <a:lnTo>
                    <a:pt x="500" y="515"/>
                  </a:lnTo>
                  <a:lnTo>
                    <a:pt x="493" y="520"/>
                  </a:lnTo>
                  <a:lnTo>
                    <a:pt x="485" y="524"/>
                  </a:lnTo>
                  <a:lnTo>
                    <a:pt x="482" y="525"/>
                  </a:lnTo>
                  <a:lnTo>
                    <a:pt x="482" y="527"/>
                  </a:lnTo>
                  <a:lnTo>
                    <a:pt x="483" y="527"/>
                  </a:lnTo>
                  <a:lnTo>
                    <a:pt x="485" y="530"/>
                  </a:lnTo>
                  <a:lnTo>
                    <a:pt x="492" y="528"/>
                  </a:lnTo>
                  <a:lnTo>
                    <a:pt x="493" y="530"/>
                  </a:lnTo>
                  <a:lnTo>
                    <a:pt x="493" y="531"/>
                  </a:lnTo>
                  <a:lnTo>
                    <a:pt x="493" y="533"/>
                  </a:lnTo>
                  <a:lnTo>
                    <a:pt x="495" y="534"/>
                  </a:lnTo>
                  <a:lnTo>
                    <a:pt x="495" y="541"/>
                  </a:lnTo>
                  <a:lnTo>
                    <a:pt x="493" y="545"/>
                  </a:lnTo>
                  <a:lnTo>
                    <a:pt x="493" y="548"/>
                  </a:lnTo>
                  <a:lnTo>
                    <a:pt x="490" y="551"/>
                  </a:lnTo>
                  <a:lnTo>
                    <a:pt x="485" y="554"/>
                  </a:lnTo>
                  <a:lnTo>
                    <a:pt x="482" y="555"/>
                  </a:lnTo>
                  <a:lnTo>
                    <a:pt x="479" y="555"/>
                  </a:lnTo>
                  <a:lnTo>
                    <a:pt x="476" y="555"/>
                  </a:lnTo>
                  <a:lnTo>
                    <a:pt x="465" y="561"/>
                  </a:lnTo>
                  <a:lnTo>
                    <a:pt x="462" y="561"/>
                  </a:lnTo>
                  <a:lnTo>
                    <a:pt x="457" y="560"/>
                  </a:lnTo>
                  <a:lnTo>
                    <a:pt x="453" y="554"/>
                  </a:lnTo>
                  <a:lnTo>
                    <a:pt x="449" y="552"/>
                  </a:lnTo>
                  <a:lnTo>
                    <a:pt x="448" y="550"/>
                  </a:lnTo>
                  <a:lnTo>
                    <a:pt x="445" y="548"/>
                  </a:lnTo>
                  <a:lnTo>
                    <a:pt x="445" y="545"/>
                  </a:lnTo>
                  <a:lnTo>
                    <a:pt x="445" y="544"/>
                  </a:lnTo>
                  <a:lnTo>
                    <a:pt x="445" y="543"/>
                  </a:lnTo>
                  <a:lnTo>
                    <a:pt x="446" y="541"/>
                  </a:lnTo>
                  <a:lnTo>
                    <a:pt x="446" y="540"/>
                  </a:lnTo>
                  <a:lnTo>
                    <a:pt x="445" y="537"/>
                  </a:lnTo>
                  <a:lnTo>
                    <a:pt x="445" y="534"/>
                  </a:lnTo>
                  <a:lnTo>
                    <a:pt x="443" y="530"/>
                  </a:lnTo>
                  <a:lnTo>
                    <a:pt x="443" y="527"/>
                  </a:lnTo>
                  <a:lnTo>
                    <a:pt x="443" y="525"/>
                  </a:lnTo>
                  <a:lnTo>
                    <a:pt x="443" y="523"/>
                  </a:lnTo>
                  <a:lnTo>
                    <a:pt x="445" y="520"/>
                  </a:lnTo>
                  <a:lnTo>
                    <a:pt x="445" y="520"/>
                  </a:lnTo>
                  <a:lnTo>
                    <a:pt x="448" y="518"/>
                  </a:lnTo>
                  <a:lnTo>
                    <a:pt x="450" y="517"/>
                  </a:lnTo>
                  <a:lnTo>
                    <a:pt x="459" y="513"/>
                  </a:lnTo>
                  <a:lnTo>
                    <a:pt x="476" y="505"/>
                  </a:lnTo>
                  <a:lnTo>
                    <a:pt x="482" y="507"/>
                  </a:lnTo>
                  <a:lnTo>
                    <a:pt x="485" y="505"/>
                  </a:lnTo>
                  <a:lnTo>
                    <a:pt x="489" y="504"/>
                  </a:lnTo>
                  <a:close/>
                  <a:moveTo>
                    <a:pt x="435" y="531"/>
                  </a:moveTo>
                  <a:lnTo>
                    <a:pt x="430" y="534"/>
                  </a:lnTo>
                  <a:lnTo>
                    <a:pt x="428" y="534"/>
                  </a:lnTo>
                  <a:lnTo>
                    <a:pt x="422" y="530"/>
                  </a:lnTo>
                  <a:lnTo>
                    <a:pt x="416" y="518"/>
                  </a:lnTo>
                  <a:lnTo>
                    <a:pt x="415" y="515"/>
                  </a:lnTo>
                  <a:lnTo>
                    <a:pt x="418" y="514"/>
                  </a:lnTo>
                  <a:lnTo>
                    <a:pt x="419" y="513"/>
                  </a:lnTo>
                  <a:lnTo>
                    <a:pt x="420" y="511"/>
                  </a:lnTo>
                  <a:lnTo>
                    <a:pt x="422" y="510"/>
                  </a:lnTo>
                  <a:lnTo>
                    <a:pt x="426" y="507"/>
                  </a:lnTo>
                  <a:lnTo>
                    <a:pt x="428" y="507"/>
                  </a:lnTo>
                  <a:lnTo>
                    <a:pt x="428" y="510"/>
                  </a:lnTo>
                  <a:lnTo>
                    <a:pt x="428" y="513"/>
                  </a:lnTo>
                  <a:lnTo>
                    <a:pt x="429" y="513"/>
                  </a:lnTo>
                  <a:lnTo>
                    <a:pt x="430" y="514"/>
                  </a:lnTo>
                  <a:lnTo>
                    <a:pt x="433" y="518"/>
                  </a:lnTo>
                  <a:lnTo>
                    <a:pt x="436" y="520"/>
                  </a:lnTo>
                  <a:lnTo>
                    <a:pt x="436" y="521"/>
                  </a:lnTo>
                  <a:lnTo>
                    <a:pt x="436" y="523"/>
                  </a:lnTo>
                  <a:lnTo>
                    <a:pt x="438" y="525"/>
                  </a:lnTo>
                  <a:lnTo>
                    <a:pt x="438" y="527"/>
                  </a:lnTo>
                  <a:lnTo>
                    <a:pt x="436" y="530"/>
                  </a:lnTo>
                  <a:lnTo>
                    <a:pt x="435" y="531"/>
                  </a:lnTo>
                  <a:close/>
                  <a:moveTo>
                    <a:pt x="629" y="535"/>
                  </a:moveTo>
                  <a:lnTo>
                    <a:pt x="627" y="537"/>
                  </a:lnTo>
                  <a:lnTo>
                    <a:pt x="623" y="535"/>
                  </a:lnTo>
                  <a:lnTo>
                    <a:pt x="619" y="533"/>
                  </a:lnTo>
                  <a:lnTo>
                    <a:pt x="617" y="530"/>
                  </a:lnTo>
                  <a:lnTo>
                    <a:pt x="616" y="525"/>
                  </a:lnTo>
                  <a:lnTo>
                    <a:pt x="616" y="523"/>
                  </a:lnTo>
                  <a:lnTo>
                    <a:pt x="617" y="521"/>
                  </a:lnTo>
                  <a:lnTo>
                    <a:pt x="620" y="521"/>
                  </a:lnTo>
                  <a:lnTo>
                    <a:pt x="626" y="520"/>
                  </a:lnTo>
                  <a:lnTo>
                    <a:pt x="630" y="521"/>
                  </a:lnTo>
                  <a:lnTo>
                    <a:pt x="634" y="524"/>
                  </a:lnTo>
                  <a:lnTo>
                    <a:pt x="637" y="525"/>
                  </a:lnTo>
                  <a:lnTo>
                    <a:pt x="639" y="527"/>
                  </a:lnTo>
                  <a:lnTo>
                    <a:pt x="639" y="530"/>
                  </a:lnTo>
                  <a:lnTo>
                    <a:pt x="640" y="531"/>
                  </a:lnTo>
                  <a:lnTo>
                    <a:pt x="640" y="533"/>
                  </a:lnTo>
                  <a:lnTo>
                    <a:pt x="634" y="533"/>
                  </a:lnTo>
                  <a:lnTo>
                    <a:pt x="630" y="534"/>
                  </a:lnTo>
                  <a:lnTo>
                    <a:pt x="629" y="535"/>
                  </a:lnTo>
                  <a:close/>
                  <a:moveTo>
                    <a:pt x="729" y="528"/>
                  </a:moveTo>
                  <a:lnTo>
                    <a:pt x="733" y="531"/>
                  </a:lnTo>
                  <a:lnTo>
                    <a:pt x="737" y="530"/>
                  </a:lnTo>
                  <a:lnTo>
                    <a:pt x="741" y="530"/>
                  </a:lnTo>
                  <a:lnTo>
                    <a:pt x="751" y="531"/>
                  </a:lnTo>
                  <a:lnTo>
                    <a:pt x="758" y="530"/>
                  </a:lnTo>
                  <a:lnTo>
                    <a:pt x="761" y="530"/>
                  </a:lnTo>
                  <a:lnTo>
                    <a:pt x="763" y="533"/>
                  </a:lnTo>
                  <a:lnTo>
                    <a:pt x="764" y="534"/>
                  </a:lnTo>
                  <a:lnTo>
                    <a:pt x="766" y="538"/>
                  </a:lnTo>
                  <a:lnTo>
                    <a:pt x="763" y="541"/>
                  </a:lnTo>
                  <a:lnTo>
                    <a:pt x="760" y="552"/>
                  </a:lnTo>
                  <a:lnTo>
                    <a:pt x="760" y="552"/>
                  </a:lnTo>
                  <a:lnTo>
                    <a:pt x="756" y="552"/>
                  </a:lnTo>
                  <a:lnTo>
                    <a:pt x="754" y="554"/>
                  </a:lnTo>
                  <a:lnTo>
                    <a:pt x="746" y="552"/>
                  </a:lnTo>
                  <a:lnTo>
                    <a:pt x="720" y="551"/>
                  </a:lnTo>
                  <a:lnTo>
                    <a:pt x="719" y="550"/>
                  </a:lnTo>
                  <a:lnTo>
                    <a:pt x="716" y="543"/>
                  </a:lnTo>
                  <a:lnTo>
                    <a:pt x="716" y="541"/>
                  </a:lnTo>
                  <a:lnTo>
                    <a:pt x="716" y="537"/>
                  </a:lnTo>
                  <a:lnTo>
                    <a:pt x="717" y="535"/>
                  </a:lnTo>
                  <a:lnTo>
                    <a:pt x="719" y="534"/>
                  </a:lnTo>
                  <a:lnTo>
                    <a:pt x="726" y="530"/>
                  </a:lnTo>
                  <a:lnTo>
                    <a:pt x="729" y="528"/>
                  </a:lnTo>
                  <a:close/>
                  <a:moveTo>
                    <a:pt x="583" y="577"/>
                  </a:moveTo>
                  <a:lnTo>
                    <a:pt x="580" y="578"/>
                  </a:lnTo>
                  <a:lnTo>
                    <a:pt x="576" y="575"/>
                  </a:lnTo>
                  <a:lnTo>
                    <a:pt x="573" y="574"/>
                  </a:lnTo>
                  <a:lnTo>
                    <a:pt x="570" y="568"/>
                  </a:lnTo>
                  <a:lnTo>
                    <a:pt x="567" y="561"/>
                  </a:lnTo>
                  <a:lnTo>
                    <a:pt x="564" y="552"/>
                  </a:lnTo>
                  <a:lnTo>
                    <a:pt x="564" y="548"/>
                  </a:lnTo>
                  <a:lnTo>
                    <a:pt x="563" y="545"/>
                  </a:lnTo>
                  <a:lnTo>
                    <a:pt x="562" y="541"/>
                  </a:lnTo>
                  <a:lnTo>
                    <a:pt x="559" y="534"/>
                  </a:lnTo>
                  <a:lnTo>
                    <a:pt x="559" y="533"/>
                  </a:lnTo>
                  <a:lnTo>
                    <a:pt x="562" y="531"/>
                  </a:lnTo>
                  <a:lnTo>
                    <a:pt x="566" y="533"/>
                  </a:lnTo>
                  <a:lnTo>
                    <a:pt x="569" y="535"/>
                  </a:lnTo>
                  <a:lnTo>
                    <a:pt x="572" y="540"/>
                  </a:lnTo>
                  <a:lnTo>
                    <a:pt x="574" y="547"/>
                  </a:lnTo>
                  <a:lnTo>
                    <a:pt x="576" y="550"/>
                  </a:lnTo>
                  <a:lnTo>
                    <a:pt x="576" y="554"/>
                  </a:lnTo>
                  <a:lnTo>
                    <a:pt x="577" y="557"/>
                  </a:lnTo>
                  <a:lnTo>
                    <a:pt x="580" y="557"/>
                  </a:lnTo>
                  <a:lnTo>
                    <a:pt x="583" y="562"/>
                  </a:lnTo>
                  <a:lnTo>
                    <a:pt x="584" y="564"/>
                  </a:lnTo>
                  <a:lnTo>
                    <a:pt x="584" y="568"/>
                  </a:lnTo>
                  <a:lnTo>
                    <a:pt x="584" y="571"/>
                  </a:lnTo>
                  <a:lnTo>
                    <a:pt x="584" y="575"/>
                  </a:lnTo>
                  <a:lnTo>
                    <a:pt x="583" y="577"/>
                  </a:lnTo>
                  <a:close/>
                  <a:moveTo>
                    <a:pt x="818" y="567"/>
                  </a:moveTo>
                  <a:lnTo>
                    <a:pt x="814" y="571"/>
                  </a:lnTo>
                  <a:lnTo>
                    <a:pt x="813" y="571"/>
                  </a:lnTo>
                  <a:lnTo>
                    <a:pt x="800" y="562"/>
                  </a:lnTo>
                  <a:lnTo>
                    <a:pt x="798" y="558"/>
                  </a:lnTo>
                  <a:lnTo>
                    <a:pt x="797" y="555"/>
                  </a:lnTo>
                  <a:lnTo>
                    <a:pt x="797" y="551"/>
                  </a:lnTo>
                  <a:lnTo>
                    <a:pt x="797" y="545"/>
                  </a:lnTo>
                  <a:lnTo>
                    <a:pt x="798" y="543"/>
                  </a:lnTo>
                  <a:lnTo>
                    <a:pt x="798" y="541"/>
                  </a:lnTo>
                  <a:lnTo>
                    <a:pt x="800" y="540"/>
                  </a:lnTo>
                  <a:lnTo>
                    <a:pt x="803" y="538"/>
                  </a:lnTo>
                  <a:lnTo>
                    <a:pt x="806" y="540"/>
                  </a:lnTo>
                  <a:lnTo>
                    <a:pt x="810" y="541"/>
                  </a:lnTo>
                  <a:lnTo>
                    <a:pt x="814" y="543"/>
                  </a:lnTo>
                  <a:lnTo>
                    <a:pt x="818" y="551"/>
                  </a:lnTo>
                  <a:lnTo>
                    <a:pt x="821" y="554"/>
                  </a:lnTo>
                  <a:lnTo>
                    <a:pt x="821" y="560"/>
                  </a:lnTo>
                  <a:lnTo>
                    <a:pt x="821" y="562"/>
                  </a:lnTo>
                  <a:lnTo>
                    <a:pt x="821" y="564"/>
                  </a:lnTo>
                  <a:lnTo>
                    <a:pt x="820" y="565"/>
                  </a:lnTo>
                  <a:lnTo>
                    <a:pt x="818" y="567"/>
                  </a:lnTo>
                  <a:close/>
                  <a:moveTo>
                    <a:pt x="408" y="560"/>
                  </a:moveTo>
                  <a:lnTo>
                    <a:pt x="408" y="562"/>
                  </a:lnTo>
                  <a:lnTo>
                    <a:pt x="409" y="564"/>
                  </a:lnTo>
                  <a:lnTo>
                    <a:pt x="408" y="565"/>
                  </a:lnTo>
                  <a:lnTo>
                    <a:pt x="406" y="567"/>
                  </a:lnTo>
                  <a:lnTo>
                    <a:pt x="396" y="574"/>
                  </a:lnTo>
                  <a:lnTo>
                    <a:pt x="395" y="577"/>
                  </a:lnTo>
                  <a:lnTo>
                    <a:pt x="395" y="580"/>
                  </a:lnTo>
                  <a:lnTo>
                    <a:pt x="399" y="584"/>
                  </a:lnTo>
                  <a:lnTo>
                    <a:pt x="402" y="588"/>
                  </a:lnTo>
                  <a:lnTo>
                    <a:pt x="403" y="591"/>
                  </a:lnTo>
                  <a:lnTo>
                    <a:pt x="402" y="592"/>
                  </a:lnTo>
                  <a:lnTo>
                    <a:pt x="398" y="592"/>
                  </a:lnTo>
                  <a:lnTo>
                    <a:pt x="398" y="592"/>
                  </a:lnTo>
                  <a:lnTo>
                    <a:pt x="396" y="594"/>
                  </a:lnTo>
                  <a:lnTo>
                    <a:pt x="396" y="595"/>
                  </a:lnTo>
                  <a:lnTo>
                    <a:pt x="399" y="601"/>
                  </a:lnTo>
                  <a:lnTo>
                    <a:pt x="400" y="605"/>
                  </a:lnTo>
                  <a:lnTo>
                    <a:pt x="400" y="607"/>
                  </a:lnTo>
                  <a:lnTo>
                    <a:pt x="400" y="608"/>
                  </a:lnTo>
                  <a:lnTo>
                    <a:pt x="399" y="611"/>
                  </a:lnTo>
                  <a:lnTo>
                    <a:pt x="396" y="614"/>
                  </a:lnTo>
                  <a:lnTo>
                    <a:pt x="392" y="617"/>
                  </a:lnTo>
                  <a:lnTo>
                    <a:pt x="383" y="620"/>
                  </a:lnTo>
                  <a:lnTo>
                    <a:pt x="383" y="621"/>
                  </a:lnTo>
                  <a:lnTo>
                    <a:pt x="383" y="624"/>
                  </a:lnTo>
                  <a:lnTo>
                    <a:pt x="383" y="628"/>
                  </a:lnTo>
                  <a:lnTo>
                    <a:pt x="383" y="630"/>
                  </a:lnTo>
                  <a:lnTo>
                    <a:pt x="382" y="634"/>
                  </a:lnTo>
                  <a:lnTo>
                    <a:pt x="382" y="635"/>
                  </a:lnTo>
                  <a:lnTo>
                    <a:pt x="380" y="637"/>
                  </a:lnTo>
                  <a:lnTo>
                    <a:pt x="378" y="637"/>
                  </a:lnTo>
                  <a:lnTo>
                    <a:pt x="376" y="637"/>
                  </a:lnTo>
                  <a:lnTo>
                    <a:pt x="372" y="634"/>
                  </a:lnTo>
                  <a:lnTo>
                    <a:pt x="370" y="632"/>
                  </a:lnTo>
                  <a:lnTo>
                    <a:pt x="368" y="628"/>
                  </a:lnTo>
                  <a:lnTo>
                    <a:pt x="368" y="625"/>
                  </a:lnTo>
                  <a:lnTo>
                    <a:pt x="368" y="621"/>
                  </a:lnTo>
                  <a:lnTo>
                    <a:pt x="369" y="617"/>
                  </a:lnTo>
                  <a:lnTo>
                    <a:pt x="369" y="611"/>
                  </a:lnTo>
                  <a:lnTo>
                    <a:pt x="370" y="605"/>
                  </a:lnTo>
                  <a:lnTo>
                    <a:pt x="372" y="601"/>
                  </a:lnTo>
                  <a:lnTo>
                    <a:pt x="370" y="600"/>
                  </a:lnTo>
                  <a:lnTo>
                    <a:pt x="369" y="600"/>
                  </a:lnTo>
                  <a:lnTo>
                    <a:pt x="366" y="602"/>
                  </a:lnTo>
                  <a:lnTo>
                    <a:pt x="365" y="604"/>
                  </a:lnTo>
                  <a:lnTo>
                    <a:pt x="363" y="605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5"/>
                  </a:lnTo>
                  <a:lnTo>
                    <a:pt x="360" y="618"/>
                  </a:lnTo>
                  <a:lnTo>
                    <a:pt x="359" y="620"/>
                  </a:lnTo>
                  <a:lnTo>
                    <a:pt x="356" y="620"/>
                  </a:lnTo>
                  <a:lnTo>
                    <a:pt x="355" y="621"/>
                  </a:lnTo>
                  <a:lnTo>
                    <a:pt x="355" y="622"/>
                  </a:lnTo>
                  <a:lnTo>
                    <a:pt x="355" y="624"/>
                  </a:lnTo>
                  <a:lnTo>
                    <a:pt x="358" y="627"/>
                  </a:lnTo>
                  <a:lnTo>
                    <a:pt x="358" y="631"/>
                  </a:lnTo>
                  <a:lnTo>
                    <a:pt x="358" y="632"/>
                  </a:lnTo>
                  <a:lnTo>
                    <a:pt x="355" y="637"/>
                  </a:lnTo>
                  <a:lnTo>
                    <a:pt x="355" y="638"/>
                  </a:lnTo>
                  <a:lnTo>
                    <a:pt x="352" y="644"/>
                  </a:lnTo>
                  <a:lnTo>
                    <a:pt x="352" y="645"/>
                  </a:lnTo>
                  <a:lnTo>
                    <a:pt x="351" y="647"/>
                  </a:lnTo>
                  <a:lnTo>
                    <a:pt x="349" y="647"/>
                  </a:lnTo>
                  <a:lnTo>
                    <a:pt x="348" y="644"/>
                  </a:lnTo>
                  <a:lnTo>
                    <a:pt x="346" y="641"/>
                  </a:lnTo>
                  <a:lnTo>
                    <a:pt x="345" y="637"/>
                  </a:lnTo>
                  <a:lnTo>
                    <a:pt x="343" y="634"/>
                  </a:lnTo>
                  <a:lnTo>
                    <a:pt x="343" y="632"/>
                  </a:lnTo>
                  <a:lnTo>
                    <a:pt x="342" y="634"/>
                  </a:lnTo>
                  <a:lnTo>
                    <a:pt x="342" y="637"/>
                  </a:lnTo>
                  <a:lnTo>
                    <a:pt x="342" y="638"/>
                  </a:lnTo>
                  <a:lnTo>
                    <a:pt x="342" y="642"/>
                  </a:lnTo>
                  <a:lnTo>
                    <a:pt x="342" y="645"/>
                  </a:lnTo>
                  <a:lnTo>
                    <a:pt x="341" y="647"/>
                  </a:lnTo>
                  <a:lnTo>
                    <a:pt x="341" y="648"/>
                  </a:lnTo>
                  <a:lnTo>
                    <a:pt x="343" y="651"/>
                  </a:lnTo>
                  <a:lnTo>
                    <a:pt x="343" y="652"/>
                  </a:lnTo>
                  <a:lnTo>
                    <a:pt x="343" y="655"/>
                  </a:lnTo>
                  <a:lnTo>
                    <a:pt x="343" y="657"/>
                  </a:lnTo>
                  <a:lnTo>
                    <a:pt x="342" y="657"/>
                  </a:lnTo>
                  <a:lnTo>
                    <a:pt x="341" y="658"/>
                  </a:lnTo>
                  <a:lnTo>
                    <a:pt x="341" y="661"/>
                  </a:lnTo>
                  <a:lnTo>
                    <a:pt x="338" y="664"/>
                  </a:lnTo>
                  <a:lnTo>
                    <a:pt x="333" y="665"/>
                  </a:lnTo>
                  <a:lnTo>
                    <a:pt x="331" y="667"/>
                  </a:lnTo>
                  <a:lnTo>
                    <a:pt x="329" y="667"/>
                  </a:lnTo>
                  <a:lnTo>
                    <a:pt x="329" y="664"/>
                  </a:lnTo>
                  <a:lnTo>
                    <a:pt x="328" y="658"/>
                  </a:lnTo>
                  <a:lnTo>
                    <a:pt x="326" y="654"/>
                  </a:lnTo>
                  <a:lnTo>
                    <a:pt x="326" y="652"/>
                  </a:lnTo>
                  <a:lnTo>
                    <a:pt x="325" y="647"/>
                  </a:lnTo>
                  <a:lnTo>
                    <a:pt x="323" y="644"/>
                  </a:lnTo>
                  <a:lnTo>
                    <a:pt x="323" y="644"/>
                  </a:lnTo>
                  <a:lnTo>
                    <a:pt x="322" y="642"/>
                  </a:lnTo>
                  <a:lnTo>
                    <a:pt x="322" y="644"/>
                  </a:lnTo>
                  <a:lnTo>
                    <a:pt x="319" y="654"/>
                  </a:lnTo>
                  <a:lnTo>
                    <a:pt x="316" y="657"/>
                  </a:lnTo>
                  <a:lnTo>
                    <a:pt x="315" y="657"/>
                  </a:lnTo>
                  <a:lnTo>
                    <a:pt x="313" y="657"/>
                  </a:lnTo>
                  <a:lnTo>
                    <a:pt x="309" y="654"/>
                  </a:lnTo>
                  <a:lnTo>
                    <a:pt x="305" y="652"/>
                  </a:lnTo>
                  <a:lnTo>
                    <a:pt x="303" y="654"/>
                  </a:lnTo>
                  <a:lnTo>
                    <a:pt x="299" y="658"/>
                  </a:lnTo>
                  <a:lnTo>
                    <a:pt x="298" y="658"/>
                  </a:lnTo>
                  <a:lnTo>
                    <a:pt x="295" y="658"/>
                  </a:lnTo>
                  <a:lnTo>
                    <a:pt x="295" y="657"/>
                  </a:lnTo>
                  <a:lnTo>
                    <a:pt x="293" y="654"/>
                  </a:lnTo>
                  <a:lnTo>
                    <a:pt x="293" y="652"/>
                  </a:lnTo>
                  <a:lnTo>
                    <a:pt x="293" y="652"/>
                  </a:lnTo>
                  <a:lnTo>
                    <a:pt x="295" y="650"/>
                  </a:lnTo>
                  <a:lnTo>
                    <a:pt x="295" y="648"/>
                  </a:lnTo>
                  <a:lnTo>
                    <a:pt x="293" y="647"/>
                  </a:lnTo>
                  <a:lnTo>
                    <a:pt x="293" y="645"/>
                  </a:lnTo>
                  <a:lnTo>
                    <a:pt x="295" y="645"/>
                  </a:lnTo>
                  <a:lnTo>
                    <a:pt x="295" y="644"/>
                  </a:lnTo>
                  <a:lnTo>
                    <a:pt x="293" y="644"/>
                  </a:lnTo>
                  <a:lnTo>
                    <a:pt x="293" y="644"/>
                  </a:lnTo>
                  <a:lnTo>
                    <a:pt x="289" y="647"/>
                  </a:lnTo>
                  <a:lnTo>
                    <a:pt x="289" y="644"/>
                  </a:lnTo>
                  <a:lnTo>
                    <a:pt x="292" y="640"/>
                  </a:lnTo>
                  <a:lnTo>
                    <a:pt x="295" y="631"/>
                  </a:lnTo>
                  <a:lnTo>
                    <a:pt x="296" y="630"/>
                  </a:lnTo>
                  <a:lnTo>
                    <a:pt x="298" y="628"/>
                  </a:lnTo>
                  <a:lnTo>
                    <a:pt x="311" y="625"/>
                  </a:lnTo>
                  <a:lnTo>
                    <a:pt x="311" y="625"/>
                  </a:lnTo>
                  <a:lnTo>
                    <a:pt x="316" y="612"/>
                  </a:lnTo>
                  <a:lnTo>
                    <a:pt x="318" y="611"/>
                  </a:lnTo>
                  <a:lnTo>
                    <a:pt x="319" y="608"/>
                  </a:lnTo>
                  <a:lnTo>
                    <a:pt x="328" y="601"/>
                  </a:lnTo>
                  <a:lnTo>
                    <a:pt x="329" y="600"/>
                  </a:lnTo>
                  <a:lnTo>
                    <a:pt x="331" y="594"/>
                  </a:lnTo>
                  <a:lnTo>
                    <a:pt x="331" y="594"/>
                  </a:lnTo>
                  <a:lnTo>
                    <a:pt x="332" y="591"/>
                  </a:lnTo>
                  <a:lnTo>
                    <a:pt x="339" y="581"/>
                  </a:lnTo>
                  <a:lnTo>
                    <a:pt x="343" y="574"/>
                  </a:lnTo>
                  <a:lnTo>
                    <a:pt x="346" y="570"/>
                  </a:lnTo>
                  <a:lnTo>
                    <a:pt x="351" y="564"/>
                  </a:lnTo>
                  <a:lnTo>
                    <a:pt x="355" y="562"/>
                  </a:lnTo>
                  <a:lnTo>
                    <a:pt x="368" y="558"/>
                  </a:lnTo>
                  <a:lnTo>
                    <a:pt x="378" y="564"/>
                  </a:lnTo>
                  <a:lnTo>
                    <a:pt x="379" y="564"/>
                  </a:lnTo>
                  <a:lnTo>
                    <a:pt x="380" y="562"/>
                  </a:lnTo>
                  <a:lnTo>
                    <a:pt x="382" y="561"/>
                  </a:lnTo>
                  <a:lnTo>
                    <a:pt x="383" y="561"/>
                  </a:lnTo>
                  <a:lnTo>
                    <a:pt x="386" y="562"/>
                  </a:lnTo>
                  <a:lnTo>
                    <a:pt x="388" y="561"/>
                  </a:lnTo>
                  <a:lnTo>
                    <a:pt x="389" y="560"/>
                  </a:lnTo>
                  <a:lnTo>
                    <a:pt x="388" y="558"/>
                  </a:lnTo>
                  <a:lnTo>
                    <a:pt x="383" y="555"/>
                  </a:lnTo>
                  <a:lnTo>
                    <a:pt x="383" y="554"/>
                  </a:lnTo>
                  <a:lnTo>
                    <a:pt x="383" y="552"/>
                  </a:lnTo>
                  <a:lnTo>
                    <a:pt x="385" y="550"/>
                  </a:lnTo>
                  <a:lnTo>
                    <a:pt x="386" y="548"/>
                  </a:lnTo>
                  <a:lnTo>
                    <a:pt x="392" y="547"/>
                  </a:lnTo>
                  <a:lnTo>
                    <a:pt x="395" y="547"/>
                  </a:lnTo>
                  <a:lnTo>
                    <a:pt x="396" y="550"/>
                  </a:lnTo>
                  <a:lnTo>
                    <a:pt x="399" y="552"/>
                  </a:lnTo>
                  <a:lnTo>
                    <a:pt x="408" y="560"/>
                  </a:lnTo>
                  <a:close/>
                  <a:moveTo>
                    <a:pt x="747" y="592"/>
                  </a:moveTo>
                  <a:lnTo>
                    <a:pt x="750" y="594"/>
                  </a:lnTo>
                  <a:lnTo>
                    <a:pt x="753" y="592"/>
                  </a:lnTo>
                  <a:lnTo>
                    <a:pt x="756" y="592"/>
                  </a:lnTo>
                  <a:lnTo>
                    <a:pt x="758" y="595"/>
                  </a:lnTo>
                  <a:lnTo>
                    <a:pt x="761" y="600"/>
                  </a:lnTo>
                  <a:lnTo>
                    <a:pt x="764" y="601"/>
                  </a:lnTo>
                  <a:lnTo>
                    <a:pt x="764" y="602"/>
                  </a:lnTo>
                  <a:lnTo>
                    <a:pt x="764" y="604"/>
                  </a:lnTo>
                  <a:lnTo>
                    <a:pt x="766" y="607"/>
                  </a:lnTo>
                  <a:lnTo>
                    <a:pt x="766" y="608"/>
                  </a:lnTo>
                  <a:lnTo>
                    <a:pt x="766" y="610"/>
                  </a:lnTo>
                  <a:lnTo>
                    <a:pt x="764" y="612"/>
                  </a:lnTo>
                  <a:lnTo>
                    <a:pt x="763" y="617"/>
                  </a:lnTo>
                  <a:lnTo>
                    <a:pt x="761" y="620"/>
                  </a:lnTo>
                  <a:lnTo>
                    <a:pt x="760" y="622"/>
                  </a:lnTo>
                  <a:lnTo>
                    <a:pt x="760" y="625"/>
                  </a:lnTo>
                  <a:lnTo>
                    <a:pt x="761" y="622"/>
                  </a:lnTo>
                  <a:lnTo>
                    <a:pt x="768" y="612"/>
                  </a:lnTo>
                  <a:lnTo>
                    <a:pt x="773" y="614"/>
                  </a:lnTo>
                  <a:lnTo>
                    <a:pt x="780" y="614"/>
                  </a:lnTo>
                  <a:lnTo>
                    <a:pt x="787" y="610"/>
                  </a:lnTo>
                  <a:lnTo>
                    <a:pt x="791" y="608"/>
                  </a:lnTo>
                  <a:lnTo>
                    <a:pt x="796" y="610"/>
                  </a:lnTo>
                  <a:lnTo>
                    <a:pt x="798" y="610"/>
                  </a:lnTo>
                  <a:lnTo>
                    <a:pt x="804" y="615"/>
                  </a:lnTo>
                  <a:lnTo>
                    <a:pt x="807" y="618"/>
                  </a:lnTo>
                  <a:lnTo>
                    <a:pt x="807" y="620"/>
                  </a:lnTo>
                  <a:lnTo>
                    <a:pt x="807" y="621"/>
                  </a:lnTo>
                  <a:lnTo>
                    <a:pt x="806" y="624"/>
                  </a:lnTo>
                  <a:lnTo>
                    <a:pt x="803" y="622"/>
                  </a:lnTo>
                  <a:lnTo>
                    <a:pt x="796" y="621"/>
                  </a:lnTo>
                  <a:lnTo>
                    <a:pt x="794" y="621"/>
                  </a:lnTo>
                  <a:lnTo>
                    <a:pt x="794" y="621"/>
                  </a:lnTo>
                  <a:lnTo>
                    <a:pt x="793" y="621"/>
                  </a:lnTo>
                  <a:lnTo>
                    <a:pt x="794" y="624"/>
                  </a:lnTo>
                  <a:lnTo>
                    <a:pt x="794" y="625"/>
                  </a:lnTo>
                  <a:lnTo>
                    <a:pt x="803" y="625"/>
                  </a:lnTo>
                  <a:lnTo>
                    <a:pt x="827" y="635"/>
                  </a:lnTo>
                  <a:lnTo>
                    <a:pt x="828" y="638"/>
                  </a:lnTo>
                  <a:lnTo>
                    <a:pt x="828" y="640"/>
                  </a:lnTo>
                  <a:lnTo>
                    <a:pt x="827" y="641"/>
                  </a:lnTo>
                  <a:lnTo>
                    <a:pt x="826" y="642"/>
                  </a:lnTo>
                  <a:lnTo>
                    <a:pt x="811" y="644"/>
                  </a:lnTo>
                  <a:lnTo>
                    <a:pt x="803" y="642"/>
                  </a:lnTo>
                  <a:lnTo>
                    <a:pt x="796" y="640"/>
                  </a:lnTo>
                  <a:lnTo>
                    <a:pt x="794" y="641"/>
                  </a:lnTo>
                  <a:lnTo>
                    <a:pt x="796" y="644"/>
                  </a:lnTo>
                  <a:lnTo>
                    <a:pt x="800" y="645"/>
                  </a:lnTo>
                  <a:lnTo>
                    <a:pt x="803" y="648"/>
                  </a:lnTo>
                  <a:lnTo>
                    <a:pt x="804" y="650"/>
                  </a:lnTo>
                  <a:lnTo>
                    <a:pt x="813" y="651"/>
                  </a:lnTo>
                  <a:lnTo>
                    <a:pt x="813" y="652"/>
                  </a:lnTo>
                  <a:lnTo>
                    <a:pt x="816" y="657"/>
                  </a:lnTo>
                  <a:lnTo>
                    <a:pt x="817" y="657"/>
                  </a:lnTo>
                  <a:lnTo>
                    <a:pt x="820" y="660"/>
                  </a:lnTo>
                  <a:lnTo>
                    <a:pt x="821" y="665"/>
                  </a:lnTo>
                  <a:lnTo>
                    <a:pt x="821" y="665"/>
                  </a:lnTo>
                  <a:lnTo>
                    <a:pt x="824" y="664"/>
                  </a:lnTo>
                  <a:lnTo>
                    <a:pt x="828" y="668"/>
                  </a:lnTo>
                  <a:lnTo>
                    <a:pt x="828" y="671"/>
                  </a:lnTo>
                  <a:lnTo>
                    <a:pt x="828" y="672"/>
                  </a:lnTo>
                  <a:lnTo>
                    <a:pt x="828" y="675"/>
                  </a:lnTo>
                  <a:lnTo>
                    <a:pt x="827" y="678"/>
                  </a:lnTo>
                  <a:lnTo>
                    <a:pt x="823" y="682"/>
                  </a:lnTo>
                  <a:lnTo>
                    <a:pt x="821" y="684"/>
                  </a:lnTo>
                  <a:lnTo>
                    <a:pt x="827" y="682"/>
                  </a:lnTo>
                  <a:lnTo>
                    <a:pt x="828" y="684"/>
                  </a:lnTo>
                  <a:lnTo>
                    <a:pt x="834" y="691"/>
                  </a:lnTo>
                  <a:lnTo>
                    <a:pt x="834" y="691"/>
                  </a:lnTo>
                  <a:lnTo>
                    <a:pt x="834" y="690"/>
                  </a:lnTo>
                  <a:lnTo>
                    <a:pt x="835" y="688"/>
                  </a:lnTo>
                  <a:lnTo>
                    <a:pt x="835" y="685"/>
                  </a:lnTo>
                  <a:lnTo>
                    <a:pt x="834" y="682"/>
                  </a:lnTo>
                  <a:lnTo>
                    <a:pt x="834" y="680"/>
                  </a:lnTo>
                  <a:lnTo>
                    <a:pt x="835" y="678"/>
                  </a:lnTo>
                  <a:lnTo>
                    <a:pt x="837" y="678"/>
                  </a:lnTo>
                  <a:lnTo>
                    <a:pt x="838" y="678"/>
                  </a:lnTo>
                  <a:lnTo>
                    <a:pt x="840" y="678"/>
                  </a:lnTo>
                  <a:lnTo>
                    <a:pt x="845" y="687"/>
                  </a:lnTo>
                  <a:lnTo>
                    <a:pt x="853" y="682"/>
                  </a:lnTo>
                  <a:lnTo>
                    <a:pt x="854" y="685"/>
                  </a:lnTo>
                  <a:lnTo>
                    <a:pt x="855" y="688"/>
                  </a:lnTo>
                  <a:lnTo>
                    <a:pt x="855" y="688"/>
                  </a:lnTo>
                  <a:lnTo>
                    <a:pt x="858" y="682"/>
                  </a:lnTo>
                  <a:lnTo>
                    <a:pt x="860" y="680"/>
                  </a:lnTo>
                  <a:lnTo>
                    <a:pt x="867" y="688"/>
                  </a:lnTo>
                  <a:lnTo>
                    <a:pt x="871" y="690"/>
                  </a:lnTo>
                  <a:lnTo>
                    <a:pt x="873" y="692"/>
                  </a:lnTo>
                  <a:lnTo>
                    <a:pt x="877" y="694"/>
                  </a:lnTo>
                  <a:lnTo>
                    <a:pt x="881" y="694"/>
                  </a:lnTo>
                  <a:lnTo>
                    <a:pt x="881" y="691"/>
                  </a:lnTo>
                  <a:lnTo>
                    <a:pt x="880" y="688"/>
                  </a:lnTo>
                  <a:lnTo>
                    <a:pt x="881" y="685"/>
                  </a:lnTo>
                  <a:lnTo>
                    <a:pt x="887" y="682"/>
                  </a:lnTo>
                  <a:lnTo>
                    <a:pt x="890" y="682"/>
                  </a:lnTo>
                  <a:lnTo>
                    <a:pt x="897" y="678"/>
                  </a:lnTo>
                  <a:lnTo>
                    <a:pt x="900" y="678"/>
                  </a:lnTo>
                  <a:lnTo>
                    <a:pt x="903" y="678"/>
                  </a:lnTo>
                  <a:lnTo>
                    <a:pt x="910" y="671"/>
                  </a:lnTo>
                  <a:lnTo>
                    <a:pt x="913" y="670"/>
                  </a:lnTo>
                  <a:lnTo>
                    <a:pt x="914" y="667"/>
                  </a:lnTo>
                  <a:lnTo>
                    <a:pt x="917" y="668"/>
                  </a:lnTo>
                  <a:lnTo>
                    <a:pt x="924" y="671"/>
                  </a:lnTo>
                  <a:lnTo>
                    <a:pt x="927" y="671"/>
                  </a:lnTo>
                  <a:lnTo>
                    <a:pt x="935" y="667"/>
                  </a:lnTo>
                  <a:lnTo>
                    <a:pt x="938" y="667"/>
                  </a:lnTo>
                  <a:lnTo>
                    <a:pt x="942" y="667"/>
                  </a:lnTo>
                  <a:lnTo>
                    <a:pt x="950" y="668"/>
                  </a:lnTo>
                  <a:lnTo>
                    <a:pt x="955" y="671"/>
                  </a:lnTo>
                  <a:lnTo>
                    <a:pt x="958" y="672"/>
                  </a:lnTo>
                  <a:lnTo>
                    <a:pt x="957" y="675"/>
                  </a:lnTo>
                  <a:lnTo>
                    <a:pt x="958" y="677"/>
                  </a:lnTo>
                  <a:lnTo>
                    <a:pt x="958" y="678"/>
                  </a:lnTo>
                  <a:lnTo>
                    <a:pt x="960" y="678"/>
                  </a:lnTo>
                  <a:lnTo>
                    <a:pt x="968" y="678"/>
                  </a:lnTo>
                  <a:lnTo>
                    <a:pt x="971" y="680"/>
                  </a:lnTo>
                  <a:lnTo>
                    <a:pt x="974" y="682"/>
                  </a:lnTo>
                  <a:lnTo>
                    <a:pt x="974" y="684"/>
                  </a:lnTo>
                  <a:lnTo>
                    <a:pt x="974" y="685"/>
                  </a:lnTo>
                  <a:lnTo>
                    <a:pt x="972" y="688"/>
                  </a:lnTo>
                  <a:lnTo>
                    <a:pt x="972" y="690"/>
                  </a:lnTo>
                  <a:lnTo>
                    <a:pt x="975" y="690"/>
                  </a:lnTo>
                  <a:lnTo>
                    <a:pt x="981" y="690"/>
                  </a:lnTo>
                  <a:lnTo>
                    <a:pt x="982" y="691"/>
                  </a:lnTo>
                  <a:lnTo>
                    <a:pt x="982" y="695"/>
                  </a:lnTo>
                  <a:lnTo>
                    <a:pt x="984" y="701"/>
                  </a:lnTo>
                  <a:lnTo>
                    <a:pt x="984" y="702"/>
                  </a:lnTo>
                  <a:lnTo>
                    <a:pt x="982" y="707"/>
                  </a:lnTo>
                  <a:lnTo>
                    <a:pt x="977" y="712"/>
                  </a:lnTo>
                  <a:lnTo>
                    <a:pt x="971" y="715"/>
                  </a:lnTo>
                  <a:lnTo>
                    <a:pt x="970" y="717"/>
                  </a:lnTo>
                  <a:lnTo>
                    <a:pt x="972" y="720"/>
                  </a:lnTo>
                  <a:lnTo>
                    <a:pt x="974" y="720"/>
                  </a:lnTo>
                  <a:lnTo>
                    <a:pt x="975" y="720"/>
                  </a:lnTo>
                  <a:lnTo>
                    <a:pt x="981" y="718"/>
                  </a:lnTo>
                  <a:lnTo>
                    <a:pt x="981" y="718"/>
                  </a:lnTo>
                  <a:lnTo>
                    <a:pt x="984" y="720"/>
                  </a:lnTo>
                  <a:lnTo>
                    <a:pt x="985" y="721"/>
                  </a:lnTo>
                  <a:lnTo>
                    <a:pt x="985" y="724"/>
                  </a:lnTo>
                  <a:lnTo>
                    <a:pt x="984" y="727"/>
                  </a:lnTo>
                  <a:lnTo>
                    <a:pt x="977" y="730"/>
                  </a:lnTo>
                  <a:lnTo>
                    <a:pt x="972" y="725"/>
                  </a:lnTo>
                  <a:lnTo>
                    <a:pt x="971" y="725"/>
                  </a:lnTo>
                  <a:lnTo>
                    <a:pt x="971" y="725"/>
                  </a:lnTo>
                  <a:lnTo>
                    <a:pt x="971" y="727"/>
                  </a:lnTo>
                  <a:lnTo>
                    <a:pt x="974" y="730"/>
                  </a:lnTo>
                  <a:lnTo>
                    <a:pt x="974" y="732"/>
                  </a:lnTo>
                  <a:lnTo>
                    <a:pt x="974" y="732"/>
                  </a:lnTo>
                  <a:lnTo>
                    <a:pt x="972" y="734"/>
                  </a:lnTo>
                  <a:lnTo>
                    <a:pt x="972" y="737"/>
                  </a:lnTo>
                  <a:lnTo>
                    <a:pt x="972" y="740"/>
                  </a:lnTo>
                  <a:lnTo>
                    <a:pt x="972" y="744"/>
                  </a:lnTo>
                  <a:lnTo>
                    <a:pt x="972" y="745"/>
                  </a:lnTo>
                  <a:lnTo>
                    <a:pt x="957" y="745"/>
                  </a:lnTo>
                  <a:lnTo>
                    <a:pt x="955" y="747"/>
                  </a:lnTo>
                  <a:lnTo>
                    <a:pt x="951" y="750"/>
                  </a:lnTo>
                  <a:lnTo>
                    <a:pt x="947" y="751"/>
                  </a:lnTo>
                  <a:lnTo>
                    <a:pt x="945" y="751"/>
                  </a:lnTo>
                  <a:lnTo>
                    <a:pt x="942" y="751"/>
                  </a:lnTo>
                  <a:lnTo>
                    <a:pt x="938" y="748"/>
                  </a:lnTo>
                  <a:lnTo>
                    <a:pt x="934" y="748"/>
                  </a:lnTo>
                  <a:lnTo>
                    <a:pt x="932" y="748"/>
                  </a:lnTo>
                  <a:lnTo>
                    <a:pt x="930" y="745"/>
                  </a:lnTo>
                  <a:lnTo>
                    <a:pt x="928" y="745"/>
                  </a:lnTo>
                  <a:lnTo>
                    <a:pt x="927" y="742"/>
                  </a:lnTo>
                  <a:lnTo>
                    <a:pt x="927" y="738"/>
                  </a:lnTo>
                  <a:lnTo>
                    <a:pt x="927" y="735"/>
                  </a:lnTo>
                  <a:lnTo>
                    <a:pt x="927" y="732"/>
                  </a:lnTo>
                  <a:lnTo>
                    <a:pt x="927" y="731"/>
                  </a:lnTo>
                  <a:lnTo>
                    <a:pt x="925" y="731"/>
                  </a:lnTo>
                  <a:lnTo>
                    <a:pt x="925" y="730"/>
                  </a:lnTo>
                  <a:lnTo>
                    <a:pt x="921" y="727"/>
                  </a:lnTo>
                  <a:lnTo>
                    <a:pt x="920" y="725"/>
                  </a:lnTo>
                  <a:lnTo>
                    <a:pt x="920" y="725"/>
                  </a:lnTo>
                  <a:lnTo>
                    <a:pt x="920" y="728"/>
                  </a:lnTo>
                  <a:lnTo>
                    <a:pt x="921" y="730"/>
                  </a:lnTo>
                  <a:lnTo>
                    <a:pt x="923" y="731"/>
                  </a:lnTo>
                  <a:lnTo>
                    <a:pt x="923" y="734"/>
                  </a:lnTo>
                  <a:lnTo>
                    <a:pt x="923" y="740"/>
                  </a:lnTo>
                  <a:lnTo>
                    <a:pt x="921" y="741"/>
                  </a:lnTo>
                  <a:lnTo>
                    <a:pt x="920" y="744"/>
                  </a:lnTo>
                  <a:lnTo>
                    <a:pt x="918" y="745"/>
                  </a:lnTo>
                  <a:lnTo>
                    <a:pt x="914" y="745"/>
                  </a:lnTo>
                  <a:lnTo>
                    <a:pt x="908" y="748"/>
                  </a:lnTo>
                  <a:lnTo>
                    <a:pt x="905" y="750"/>
                  </a:lnTo>
                  <a:lnTo>
                    <a:pt x="901" y="748"/>
                  </a:lnTo>
                  <a:lnTo>
                    <a:pt x="900" y="747"/>
                  </a:lnTo>
                  <a:lnTo>
                    <a:pt x="898" y="745"/>
                  </a:lnTo>
                  <a:lnTo>
                    <a:pt x="895" y="744"/>
                  </a:lnTo>
                  <a:lnTo>
                    <a:pt x="895" y="744"/>
                  </a:lnTo>
                  <a:lnTo>
                    <a:pt x="895" y="748"/>
                  </a:lnTo>
                  <a:lnTo>
                    <a:pt x="894" y="748"/>
                  </a:lnTo>
                  <a:lnTo>
                    <a:pt x="893" y="748"/>
                  </a:lnTo>
                  <a:lnTo>
                    <a:pt x="891" y="747"/>
                  </a:lnTo>
                  <a:lnTo>
                    <a:pt x="890" y="744"/>
                  </a:lnTo>
                  <a:lnTo>
                    <a:pt x="888" y="744"/>
                  </a:lnTo>
                  <a:lnTo>
                    <a:pt x="888" y="745"/>
                  </a:lnTo>
                  <a:lnTo>
                    <a:pt x="888" y="747"/>
                  </a:lnTo>
                  <a:lnTo>
                    <a:pt x="887" y="748"/>
                  </a:lnTo>
                  <a:lnTo>
                    <a:pt x="884" y="750"/>
                  </a:lnTo>
                  <a:lnTo>
                    <a:pt x="881" y="750"/>
                  </a:lnTo>
                  <a:lnTo>
                    <a:pt x="878" y="747"/>
                  </a:lnTo>
                  <a:lnTo>
                    <a:pt x="877" y="748"/>
                  </a:lnTo>
                  <a:lnTo>
                    <a:pt x="875" y="748"/>
                  </a:lnTo>
                  <a:lnTo>
                    <a:pt x="870" y="747"/>
                  </a:lnTo>
                  <a:lnTo>
                    <a:pt x="868" y="747"/>
                  </a:lnTo>
                  <a:lnTo>
                    <a:pt x="870" y="750"/>
                  </a:lnTo>
                  <a:lnTo>
                    <a:pt x="868" y="751"/>
                  </a:lnTo>
                  <a:lnTo>
                    <a:pt x="864" y="751"/>
                  </a:lnTo>
                  <a:lnTo>
                    <a:pt x="858" y="750"/>
                  </a:lnTo>
                  <a:lnTo>
                    <a:pt x="854" y="751"/>
                  </a:lnTo>
                  <a:lnTo>
                    <a:pt x="848" y="750"/>
                  </a:lnTo>
                  <a:lnTo>
                    <a:pt x="841" y="750"/>
                  </a:lnTo>
                  <a:lnTo>
                    <a:pt x="840" y="750"/>
                  </a:lnTo>
                  <a:lnTo>
                    <a:pt x="840" y="747"/>
                  </a:lnTo>
                  <a:lnTo>
                    <a:pt x="840" y="745"/>
                  </a:lnTo>
                  <a:lnTo>
                    <a:pt x="840" y="742"/>
                  </a:lnTo>
                  <a:lnTo>
                    <a:pt x="841" y="740"/>
                  </a:lnTo>
                  <a:lnTo>
                    <a:pt x="843" y="735"/>
                  </a:lnTo>
                  <a:lnTo>
                    <a:pt x="843" y="732"/>
                  </a:lnTo>
                  <a:lnTo>
                    <a:pt x="841" y="731"/>
                  </a:lnTo>
                  <a:lnTo>
                    <a:pt x="840" y="730"/>
                  </a:lnTo>
                  <a:lnTo>
                    <a:pt x="840" y="730"/>
                  </a:lnTo>
                  <a:lnTo>
                    <a:pt x="837" y="731"/>
                  </a:lnTo>
                  <a:lnTo>
                    <a:pt x="835" y="737"/>
                  </a:lnTo>
                  <a:lnTo>
                    <a:pt x="834" y="738"/>
                  </a:lnTo>
                  <a:lnTo>
                    <a:pt x="834" y="737"/>
                  </a:lnTo>
                  <a:lnTo>
                    <a:pt x="834" y="734"/>
                  </a:lnTo>
                  <a:lnTo>
                    <a:pt x="833" y="732"/>
                  </a:lnTo>
                  <a:lnTo>
                    <a:pt x="833" y="732"/>
                  </a:lnTo>
                  <a:lnTo>
                    <a:pt x="831" y="732"/>
                  </a:lnTo>
                  <a:lnTo>
                    <a:pt x="831" y="735"/>
                  </a:lnTo>
                  <a:lnTo>
                    <a:pt x="830" y="735"/>
                  </a:lnTo>
                  <a:lnTo>
                    <a:pt x="830" y="735"/>
                  </a:lnTo>
                  <a:lnTo>
                    <a:pt x="828" y="735"/>
                  </a:lnTo>
                  <a:lnTo>
                    <a:pt x="828" y="738"/>
                  </a:lnTo>
                  <a:lnTo>
                    <a:pt x="830" y="740"/>
                  </a:lnTo>
                  <a:lnTo>
                    <a:pt x="828" y="741"/>
                  </a:lnTo>
                  <a:lnTo>
                    <a:pt x="828" y="742"/>
                  </a:lnTo>
                  <a:lnTo>
                    <a:pt x="826" y="745"/>
                  </a:lnTo>
                  <a:lnTo>
                    <a:pt x="823" y="747"/>
                  </a:lnTo>
                  <a:lnTo>
                    <a:pt x="818" y="747"/>
                  </a:lnTo>
                  <a:lnTo>
                    <a:pt x="816" y="745"/>
                  </a:lnTo>
                  <a:lnTo>
                    <a:pt x="810" y="742"/>
                  </a:lnTo>
                  <a:lnTo>
                    <a:pt x="807" y="742"/>
                  </a:lnTo>
                  <a:lnTo>
                    <a:pt x="804" y="738"/>
                  </a:lnTo>
                  <a:lnTo>
                    <a:pt x="801" y="737"/>
                  </a:lnTo>
                  <a:lnTo>
                    <a:pt x="801" y="735"/>
                  </a:lnTo>
                  <a:lnTo>
                    <a:pt x="803" y="731"/>
                  </a:lnTo>
                  <a:lnTo>
                    <a:pt x="803" y="731"/>
                  </a:lnTo>
                  <a:lnTo>
                    <a:pt x="798" y="735"/>
                  </a:lnTo>
                  <a:lnTo>
                    <a:pt x="797" y="737"/>
                  </a:lnTo>
                  <a:lnTo>
                    <a:pt x="798" y="741"/>
                  </a:lnTo>
                  <a:lnTo>
                    <a:pt x="797" y="741"/>
                  </a:lnTo>
                  <a:lnTo>
                    <a:pt x="794" y="740"/>
                  </a:lnTo>
                  <a:lnTo>
                    <a:pt x="793" y="741"/>
                  </a:lnTo>
                  <a:lnTo>
                    <a:pt x="791" y="740"/>
                  </a:lnTo>
                  <a:lnTo>
                    <a:pt x="790" y="738"/>
                  </a:lnTo>
                  <a:lnTo>
                    <a:pt x="786" y="735"/>
                  </a:lnTo>
                  <a:lnTo>
                    <a:pt x="784" y="732"/>
                  </a:lnTo>
                  <a:lnTo>
                    <a:pt x="783" y="722"/>
                  </a:lnTo>
                  <a:lnTo>
                    <a:pt x="781" y="715"/>
                  </a:lnTo>
                  <a:lnTo>
                    <a:pt x="781" y="715"/>
                  </a:lnTo>
                  <a:lnTo>
                    <a:pt x="783" y="712"/>
                  </a:lnTo>
                  <a:lnTo>
                    <a:pt x="783" y="711"/>
                  </a:lnTo>
                  <a:lnTo>
                    <a:pt x="781" y="708"/>
                  </a:lnTo>
                  <a:lnTo>
                    <a:pt x="778" y="705"/>
                  </a:lnTo>
                  <a:lnTo>
                    <a:pt x="778" y="702"/>
                  </a:lnTo>
                  <a:lnTo>
                    <a:pt x="777" y="701"/>
                  </a:lnTo>
                  <a:lnTo>
                    <a:pt x="777" y="698"/>
                  </a:lnTo>
                  <a:lnTo>
                    <a:pt x="777" y="695"/>
                  </a:lnTo>
                  <a:lnTo>
                    <a:pt x="777" y="694"/>
                  </a:lnTo>
                  <a:lnTo>
                    <a:pt x="778" y="690"/>
                  </a:lnTo>
                  <a:lnTo>
                    <a:pt x="783" y="681"/>
                  </a:lnTo>
                  <a:lnTo>
                    <a:pt x="783" y="680"/>
                  </a:lnTo>
                  <a:lnTo>
                    <a:pt x="783" y="678"/>
                  </a:lnTo>
                  <a:lnTo>
                    <a:pt x="783" y="672"/>
                  </a:lnTo>
                  <a:lnTo>
                    <a:pt x="781" y="668"/>
                  </a:lnTo>
                  <a:lnTo>
                    <a:pt x="781" y="665"/>
                  </a:lnTo>
                  <a:lnTo>
                    <a:pt x="780" y="661"/>
                  </a:lnTo>
                  <a:lnTo>
                    <a:pt x="777" y="655"/>
                  </a:lnTo>
                  <a:lnTo>
                    <a:pt x="773" y="648"/>
                  </a:lnTo>
                  <a:lnTo>
                    <a:pt x="770" y="641"/>
                  </a:lnTo>
                  <a:lnTo>
                    <a:pt x="767" y="631"/>
                  </a:lnTo>
                  <a:lnTo>
                    <a:pt x="766" y="631"/>
                  </a:lnTo>
                  <a:lnTo>
                    <a:pt x="763" y="631"/>
                  </a:lnTo>
                  <a:lnTo>
                    <a:pt x="760" y="634"/>
                  </a:lnTo>
                  <a:lnTo>
                    <a:pt x="758" y="635"/>
                  </a:lnTo>
                  <a:lnTo>
                    <a:pt x="757" y="637"/>
                  </a:lnTo>
                  <a:lnTo>
                    <a:pt x="754" y="637"/>
                  </a:lnTo>
                  <a:lnTo>
                    <a:pt x="746" y="637"/>
                  </a:lnTo>
                  <a:lnTo>
                    <a:pt x="743" y="635"/>
                  </a:lnTo>
                  <a:lnTo>
                    <a:pt x="740" y="635"/>
                  </a:lnTo>
                  <a:lnTo>
                    <a:pt x="736" y="638"/>
                  </a:lnTo>
                  <a:lnTo>
                    <a:pt x="731" y="637"/>
                  </a:lnTo>
                  <a:lnTo>
                    <a:pt x="729" y="631"/>
                  </a:lnTo>
                  <a:lnTo>
                    <a:pt x="723" y="627"/>
                  </a:lnTo>
                  <a:lnTo>
                    <a:pt x="721" y="625"/>
                  </a:lnTo>
                  <a:lnTo>
                    <a:pt x="720" y="622"/>
                  </a:lnTo>
                  <a:lnTo>
                    <a:pt x="720" y="621"/>
                  </a:lnTo>
                  <a:lnTo>
                    <a:pt x="723" y="618"/>
                  </a:lnTo>
                  <a:lnTo>
                    <a:pt x="726" y="617"/>
                  </a:lnTo>
                  <a:lnTo>
                    <a:pt x="726" y="615"/>
                  </a:lnTo>
                  <a:lnTo>
                    <a:pt x="723" y="617"/>
                  </a:lnTo>
                  <a:lnTo>
                    <a:pt x="720" y="617"/>
                  </a:lnTo>
                  <a:lnTo>
                    <a:pt x="710" y="607"/>
                  </a:lnTo>
                  <a:lnTo>
                    <a:pt x="707" y="605"/>
                  </a:lnTo>
                  <a:lnTo>
                    <a:pt x="706" y="605"/>
                  </a:lnTo>
                  <a:lnTo>
                    <a:pt x="706" y="604"/>
                  </a:lnTo>
                  <a:lnTo>
                    <a:pt x="706" y="602"/>
                  </a:lnTo>
                  <a:lnTo>
                    <a:pt x="706" y="601"/>
                  </a:lnTo>
                  <a:lnTo>
                    <a:pt x="709" y="602"/>
                  </a:lnTo>
                  <a:lnTo>
                    <a:pt x="710" y="602"/>
                  </a:lnTo>
                  <a:lnTo>
                    <a:pt x="713" y="602"/>
                  </a:lnTo>
                  <a:lnTo>
                    <a:pt x="714" y="601"/>
                  </a:lnTo>
                  <a:lnTo>
                    <a:pt x="713" y="600"/>
                  </a:lnTo>
                  <a:lnTo>
                    <a:pt x="710" y="597"/>
                  </a:lnTo>
                  <a:lnTo>
                    <a:pt x="707" y="594"/>
                  </a:lnTo>
                  <a:lnTo>
                    <a:pt x="707" y="592"/>
                  </a:lnTo>
                  <a:lnTo>
                    <a:pt x="707" y="590"/>
                  </a:lnTo>
                  <a:lnTo>
                    <a:pt x="709" y="588"/>
                  </a:lnTo>
                  <a:lnTo>
                    <a:pt x="709" y="588"/>
                  </a:lnTo>
                  <a:lnTo>
                    <a:pt x="711" y="587"/>
                  </a:lnTo>
                  <a:lnTo>
                    <a:pt x="714" y="587"/>
                  </a:lnTo>
                  <a:lnTo>
                    <a:pt x="719" y="582"/>
                  </a:lnTo>
                  <a:lnTo>
                    <a:pt x="723" y="581"/>
                  </a:lnTo>
                  <a:lnTo>
                    <a:pt x="726" y="582"/>
                  </a:lnTo>
                  <a:lnTo>
                    <a:pt x="734" y="585"/>
                  </a:lnTo>
                  <a:lnTo>
                    <a:pt x="743" y="590"/>
                  </a:lnTo>
                  <a:lnTo>
                    <a:pt x="747" y="592"/>
                  </a:lnTo>
                  <a:close/>
                  <a:moveTo>
                    <a:pt x="439" y="604"/>
                  </a:moveTo>
                  <a:lnTo>
                    <a:pt x="436" y="607"/>
                  </a:lnTo>
                  <a:lnTo>
                    <a:pt x="420" y="604"/>
                  </a:lnTo>
                  <a:lnTo>
                    <a:pt x="419" y="602"/>
                  </a:lnTo>
                  <a:lnTo>
                    <a:pt x="419" y="601"/>
                  </a:lnTo>
                  <a:lnTo>
                    <a:pt x="422" y="597"/>
                  </a:lnTo>
                  <a:lnTo>
                    <a:pt x="425" y="595"/>
                  </a:lnTo>
                  <a:lnTo>
                    <a:pt x="433" y="594"/>
                  </a:lnTo>
                  <a:lnTo>
                    <a:pt x="436" y="595"/>
                  </a:lnTo>
                  <a:lnTo>
                    <a:pt x="439" y="597"/>
                  </a:lnTo>
                  <a:lnTo>
                    <a:pt x="439" y="598"/>
                  </a:lnTo>
                  <a:lnTo>
                    <a:pt x="440" y="602"/>
                  </a:lnTo>
                  <a:lnTo>
                    <a:pt x="439" y="604"/>
                  </a:lnTo>
                  <a:close/>
                  <a:moveTo>
                    <a:pt x="821" y="621"/>
                  </a:moveTo>
                  <a:lnTo>
                    <a:pt x="820" y="622"/>
                  </a:lnTo>
                  <a:lnTo>
                    <a:pt x="817" y="621"/>
                  </a:lnTo>
                  <a:lnTo>
                    <a:pt x="817" y="622"/>
                  </a:lnTo>
                  <a:lnTo>
                    <a:pt x="816" y="621"/>
                  </a:lnTo>
                  <a:lnTo>
                    <a:pt x="814" y="620"/>
                  </a:lnTo>
                  <a:lnTo>
                    <a:pt x="811" y="615"/>
                  </a:lnTo>
                  <a:lnTo>
                    <a:pt x="810" y="610"/>
                  </a:lnTo>
                  <a:lnTo>
                    <a:pt x="807" y="605"/>
                  </a:lnTo>
                  <a:lnTo>
                    <a:pt x="807" y="604"/>
                  </a:lnTo>
                  <a:lnTo>
                    <a:pt x="808" y="601"/>
                  </a:lnTo>
                  <a:lnTo>
                    <a:pt x="810" y="600"/>
                  </a:lnTo>
                  <a:lnTo>
                    <a:pt x="814" y="598"/>
                  </a:lnTo>
                  <a:lnTo>
                    <a:pt x="817" y="598"/>
                  </a:lnTo>
                  <a:lnTo>
                    <a:pt x="820" y="602"/>
                  </a:lnTo>
                  <a:lnTo>
                    <a:pt x="821" y="602"/>
                  </a:lnTo>
                  <a:lnTo>
                    <a:pt x="821" y="605"/>
                  </a:lnTo>
                  <a:lnTo>
                    <a:pt x="821" y="607"/>
                  </a:lnTo>
                  <a:lnTo>
                    <a:pt x="821" y="608"/>
                  </a:lnTo>
                  <a:lnTo>
                    <a:pt x="820" y="611"/>
                  </a:lnTo>
                  <a:lnTo>
                    <a:pt x="818" y="612"/>
                  </a:lnTo>
                  <a:lnTo>
                    <a:pt x="818" y="614"/>
                  </a:lnTo>
                  <a:lnTo>
                    <a:pt x="820" y="617"/>
                  </a:lnTo>
                  <a:lnTo>
                    <a:pt x="820" y="620"/>
                  </a:lnTo>
                  <a:lnTo>
                    <a:pt x="821" y="620"/>
                  </a:lnTo>
                  <a:lnTo>
                    <a:pt x="821" y="621"/>
                  </a:lnTo>
                  <a:close/>
                  <a:moveTo>
                    <a:pt x="523" y="651"/>
                  </a:moveTo>
                  <a:lnTo>
                    <a:pt x="526" y="651"/>
                  </a:lnTo>
                  <a:lnTo>
                    <a:pt x="527" y="651"/>
                  </a:lnTo>
                  <a:lnTo>
                    <a:pt x="530" y="651"/>
                  </a:lnTo>
                  <a:lnTo>
                    <a:pt x="532" y="652"/>
                  </a:lnTo>
                  <a:lnTo>
                    <a:pt x="532" y="655"/>
                  </a:lnTo>
                  <a:lnTo>
                    <a:pt x="533" y="657"/>
                  </a:lnTo>
                  <a:lnTo>
                    <a:pt x="532" y="658"/>
                  </a:lnTo>
                  <a:lnTo>
                    <a:pt x="532" y="660"/>
                  </a:lnTo>
                  <a:lnTo>
                    <a:pt x="529" y="665"/>
                  </a:lnTo>
                  <a:lnTo>
                    <a:pt x="527" y="668"/>
                  </a:lnTo>
                  <a:lnTo>
                    <a:pt x="529" y="668"/>
                  </a:lnTo>
                  <a:lnTo>
                    <a:pt x="529" y="668"/>
                  </a:lnTo>
                  <a:lnTo>
                    <a:pt x="533" y="664"/>
                  </a:lnTo>
                  <a:lnTo>
                    <a:pt x="536" y="661"/>
                  </a:lnTo>
                  <a:lnTo>
                    <a:pt x="537" y="661"/>
                  </a:lnTo>
                  <a:lnTo>
                    <a:pt x="540" y="662"/>
                  </a:lnTo>
                  <a:lnTo>
                    <a:pt x="542" y="662"/>
                  </a:lnTo>
                  <a:lnTo>
                    <a:pt x="543" y="664"/>
                  </a:lnTo>
                  <a:lnTo>
                    <a:pt x="543" y="665"/>
                  </a:lnTo>
                  <a:lnTo>
                    <a:pt x="545" y="670"/>
                  </a:lnTo>
                  <a:lnTo>
                    <a:pt x="546" y="677"/>
                  </a:lnTo>
                  <a:lnTo>
                    <a:pt x="546" y="675"/>
                  </a:lnTo>
                  <a:lnTo>
                    <a:pt x="546" y="672"/>
                  </a:lnTo>
                  <a:lnTo>
                    <a:pt x="546" y="670"/>
                  </a:lnTo>
                  <a:lnTo>
                    <a:pt x="549" y="668"/>
                  </a:lnTo>
                  <a:lnTo>
                    <a:pt x="549" y="667"/>
                  </a:lnTo>
                  <a:lnTo>
                    <a:pt x="547" y="665"/>
                  </a:lnTo>
                  <a:lnTo>
                    <a:pt x="547" y="664"/>
                  </a:lnTo>
                  <a:lnTo>
                    <a:pt x="546" y="660"/>
                  </a:lnTo>
                  <a:lnTo>
                    <a:pt x="546" y="658"/>
                  </a:lnTo>
                  <a:lnTo>
                    <a:pt x="547" y="657"/>
                  </a:lnTo>
                  <a:lnTo>
                    <a:pt x="549" y="654"/>
                  </a:lnTo>
                  <a:lnTo>
                    <a:pt x="552" y="651"/>
                  </a:lnTo>
                  <a:lnTo>
                    <a:pt x="553" y="651"/>
                  </a:lnTo>
                  <a:lnTo>
                    <a:pt x="562" y="654"/>
                  </a:lnTo>
                  <a:lnTo>
                    <a:pt x="564" y="657"/>
                  </a:lnTo>
                  <a:lnTo>
                    <a:pt x="566" y="658"/>
                  </a:lnTo>
                  <a:lnTo>
                    <a:pt x="566" y="660"/>
                  </a:lnTo>
                  <a:lnTo>
                    <a:pt x="567" y="662"/>
                  </a:lnTo>
                  <a:lnTo>
                    <a:pt x="569" y="672"/>
                  </a:lnTo>
                  <a:lnTo>
                    <a:pt x="569" y="675"/>
                  </a:lnTo>
                  <a:lnTo>
                    <a:pt x="567" y="680"/>
                  </a:lnTo>
                  <a:lnTo>
                    <a:pt x="564" y="688"/>
                  </a:lnTo>
                  <a:lnTo>
                    <a:pt x="564" y="694"/>
                  </a:lnTo>
                  <a:lnTo>
                    <a:pt x="562" y="707"/>
                  </a:lnTo>
                  <a:lnTo>
                    <a:pt x="560" y="711"/>
                  </a:lnTo>
                  <a:lnTo>
                    <a:pt x="559" y="714"/>
                  </a:lnTo>
                  <a:lnTo>
                    <a:pt x="550" y="718"/>
                  </a:lnTo>
                  <a:lnTo>
                    <a:pt x="545" y="722"/>
                  </a:lnTo>
                  <a:lnTo>
                    <a:pt x="543" y="724"/>
                  </a:lnTo>
                  <a:lnTo>
                    <a:pt x="542" y="724"/>
                  </a:lnTo>
                  <a:lnTo>
                    <a:pt x="536" y="722"/>
                  </a:lnTo>
                  <a:lnTo>
                    <a:pt x="530" y="720"/>
                  </a:lnTo>
                  <a:lnTo>
                    <a:pt x="527" y="720"/>
                  </a:lnTo>
                  <a:lnTo>
                    <a:pt x="525" y="722"/>
                  </a:lnTo>
                  <a:lnTo>
                    <a:pt x="522" y="722"/>
                  </a:lnTo>
                  <a:lnTo>
                    <a:pt x="520" y="722"/>
                  </a:lnTo>
                  <a:lnTo>
                    <a:pt x="519" y="721"/>
                  </a:lnTo>
                  <a:lnTo>
                    <a:pt x="516" y="720"/>
                  </a:lnTo>
                  <a:lnTo>
                    <a:pt x="517" y="718"/>
                  </a:lnTo>
                  <a:lnTo>
                    <a:pt x="517" y="718"/>
                  </a:lnTo>
                  <a:lnTo>
                    <a:pt x="517" y="717"/>
                  </a:lnTo>
                  <a:lnTo>
                    <a:pt x="515" y="715"/>
                  </a:lnTo>
                  <a:lnTo>
                    <a:pt x="512" y="718"/>
                  </a:lnTo>
                  <a:lnTo>
                    <a:pt x="505" y="727"/>
                  </a:lnTo>
                  <a:lnTo>
                    <a:pt x="493" y="730"/>
                  </a:lnTo>
                  <a:lnTo>
                    <a:pt x="490" y="731"/>
                  </a:lnTo>
                  <a:lnTo>
                    <a:pt x="487" y="732"/>
                  </a:lnTo>
                  <a:lnTo>
                    <a:pt x="486" y="734"/>
                  </a:lnTo>
                  <a:lnTo>
                    <a:pt x="485" y="738"/>
                  </a:lnTo>
                  <a:lnTo>
                    <a:pt x="480" y="741"/>
                  </a:lnTo>
                  <a:lnTo>
                    <a:pt x="475" y="744"/>
                  </a:lnTo>
                  <a:lnTo>
                    <a:pt x="469" y="750"/>
                  </a:lnTo>
                  <a:lnTo>
                    <a:pt x="456" y="754"/>
                  </a:lnTo>
                  <a:lnTo>
                    <a:pt x="448" y="755"/>
                  </a:lnTo>
                  <a:lnTo>
                    <a:pt x="439" y="754"/>
                  </a:lnTo>
                  <a:lnTo>
                    <a:pt x="438" y="752"/>
                  </a:lnTo>
                  <a:lnTo>
                    <a:pt x="435" y="750"/>
                  </a:lnTo>
                  <a:lnTo>
                    <a:pt x="429" y="745"/>
                  </a:lnTo>
                  <a:lnTo>
                    <a:pt x="428" y="744"/>
                  </a:lnTo>
                  <a:lnTo>
                    <a:pt x="426" y="740"/>
                  </a:lnTo>
                  <a:lnTo>
                    <a:pt x="428" y="737"/>
                  </a:lnTo>
                  <a:lnTo>
                    <a:pt x="430" y="734"/>
                  </a:lnTo>
                  <a:lnTo>
                    <a:pt x="435" y="731"/>
                  </a:lnTo>
                  <a:lnTo>
                    <a:pt x="443" y="727"/>
                  </a:lnTo>
                  <a:lnTo>
                    <a:pt x="450" y="721"/>
                  </a:lnTo>
                  <a:lnTo>
                    <a:pt x="453" y="720"/>
                  </a:lnTo>
                  <a:lnTo>
                    <a:pt x="460" y="718"/>
                  </a:lnTo>
                  <a:lnTo>
                    <a:pt x="465" y="720"/>
                  </a:lnTo>
                  <a:lnTo>
                    <a:pt x="467" y="718"/>
                  </a:lnTo>
                  <a:lnTo>
                    <a:pt x="469" y="718"/>
                  </a:lnTo>
                  <a:lnTo>
                    <a:pt x="472" y="715"/>
                  </a:lnTo>
                  <a:lnTo>
                    <a:pt x="476" y="711"/>
                  </a:lnTo>
                  <a:lnTo>
                    <a:pt x="479" y="707"/>
                  </a:lnTo>
                  <a:lnTo>
                    <a:pt x="479" y="705"/>
                  </a:lnTo>
                  <a:lnTo>
                    <a:pt x="479" y="702"/>
                  </a:lnTo>
                  <a:lnTo>
                    <a:pt x="477" y="702"/>
                  </a:lnTo>
                  <a:lnTo>
                    <a:pt x="472" y="707"/>
                  </a:lnTo>
                  <a:lnTo>
                    <a:pt x="470" y="708"/>
                  </a:lnTo>
                  <a:lnTo>
                    <a:pt x="467" y="708"/>
                  </a:lnTo>
                  <a:lnTo>
                    <a:pt x="463" y="710"/>
                  </a:lnTo>
                  <a:lnTo>
                    <a:pt x="460" y="711"/>
                  </a:lnTo>
                  <a:lnTo>
                    <a:pt x="460" y="711"/>
                  </a:lnTo>
                  <a:lnTo>
                    <a:pt x="456" y="707"/>
                  </a:lnTo>
                  <a:lnTo>
                    <a:pt x="455" y="705"/>
                  </a:lnTo>
                  <a:lnTo>
                    <a:pt x="453" y="707"/>
                  </a:lnTo>
                  <a:lnTo>
                    <a:pt x="453" y="708"/>
                  </a:lnTo>
                  <a:lnTo>
                    <a:pt x="452" y="711"/>
                  </a:lnTo>
                  <a:lnTo>
                    <a:pt x="450" y="711"/>
                  </a:lnTo>
                  <a:lnTo>
                    <a:pt x="449" y="712"/>
                  </a:lnTo>
                  <a:lnTo>
                    <a:pt x="442" y="714"/>
                  </a:lnTo>
                  <a:lnTo>
                    <a:pt x="436" y="715"/>
                  </a:lnTo>
                  <a:lnTo>
                    <a:pt x="435" y="714"/>
                  </a:lnTo>
                  <a:lnTo>
                    <a:pt x="435" y="712"/>
                  </a:lnTo>
                  <a:lnTo>
                    <a:pt x="435" y="711"/>
                  </a:lnTo>
                  <a:lnTo>
                    <a:pt x="435" y="707"/>
                  </a:lnTo>
                  <a:lnTo>
                    <a:pt x="433" y="705"/>
                  </a:lnTo>
                  <a:lnTo>
                    <a:pt x="435" y="702"/>
                  </a:lnTo>
                  <a:lnTo>
                    <a:pt x="435" y="701"/>
                  </a:lnTo>
                  <a:lnTo>
                    <a:pt x="436" y="700"/>
                  </a:lnTo>
                  <a:lnTo>
                    <a:pt x="440" y="694"/>
                  </a:lnTo>
                  <a:lnTo>
                    <a:pt x="440" y="692"/>
                  </a:lnTo>
                  <a:lnTo>
                    <a:pt x="439" y="694"/>
                  </a:lnTo>
                  <a:lnTo>
                    <a:pt x="433" y="695"/>
                  </a:lnTo>
                  <a:lnTo>
                    <a:pt x="433" y="695"/>
                  </a:lnTo>
                  <a:lnTo>
                    <a:pt x="432" y="692"/>
                  </a:lnTo>
                  <a:lnTo>
                    <a:pt x="432" y="692"/>
                  </a:lnTo>
                  <a:lnTo>
                    <a:pt x="430" y="692"/>
                  </a:lnTo>
                  <a:lnTo>
                    <a:pt x="430" y="694"/>
                  </a:lnTo>
                  <a:lnTo>
                    <a:pt x="430" y="701"/>
                  </a:lnTo>
                  <a:lnTo>
                    <a:pt x="429" y="704"/>
                  </a:lnTo>
                  <a:lnTo>
                    <a:pt x="428" y="704"/>
                  </a:lnTo>
                  <a:lnTo>
                    <a:pt x="425" y="701"/>
                  </a:lnTo>
                  <a:lnTo>
                    <a:pt x="425" y="701"/>
                  </a:lnTo>
                  <a:lnTo>
                    <a:pt x="423" y="702"/>
                  </a:lnTo>
                  <a:lnTo>
                    <a:pt x="423" y="702"/>
                  </a:lnTo>
                  <a:lnTo>
                    <a:pt x="426" y="708"/>
                  </a:lnTo>
                  <a:lnTo>
                    <a:pt x="426" y="711"/>
                  </a:lnTo>
                  <a:lnTo>
                    <a:pt x="425" y="714"/>
                  </a:lnTo>
                  <a:lnTo>
                    <a:pt x="418" y="720"/>
                  </a:lnTo>
                  <a:lnTo>
                    <a:pt x="416" y="721"/>
                  </a:lnTo>
                  <a:lnTo>
                    <a:pt x="415" y="720"/>
                  </a:lnTo>
                  <a:lnTo>
                    <a:pt x="413" y="718"/>
                  </a:lnTo>
                  <a:lnTo>
                    <a:pt x="413" y="717"/>
                  </a:lnTo>
                  <a:lnTo>
                    <a:pt x="412" y="712"/>
                  </a:lnTo>
                  <a:lnTo>
                    <a:pt x="410" y="712"/>
                  </a:lnTo>
                  <a:lnTo>
                    <a:pt x="409" y="712"/>
                  </a:lnTo>
                  <a:lnTo>
                    <a:pt x="408" y="712"/>
                  </a:lnTo>
                  <a:lnTo>
                    <a:pt x="408" y="714"/>
                  </a:lnTo>
                  <a:lnTo>
                    <a:pt x="406" y="715"/>
                  </a:lnTo>
                  <a:lnTo>
                    <a:pt x="406" y="718"/>
                  </a:lnTo>
                  <a:lnTo>
                    <a:pt x="405" y="721"/>
                  </a:lnTo>
                  <a:lnTo>
                    <a:pt x="405" y="721"/>
                  </a:lnTo>
                  <a:lnTo>
                    <a:pt x="398" y="717"/>
                  </a:lnTo>
                  <a:lnTo>
                    <a:pt x="392" y="708"/>
                  </a:lnTo>
                  <a:lnTo>
                    <a:pt x="386" y="710"/>
                  </a:lnTo>
                  <a:lnTo>
                    <a:pt x="383" y="710"/>
                  </a:lnTo>
                  <a:lnTo>
                    <a:pt x="376" y="707"/>
                  </a:lnTo>
                  <a:lnTo>
                    <a:pt x="375" y="705"/>
                  </a:lnTo>
                  <a:lnTo>
                    <a:pt x="375" y="702"/>
                  </a:lnTo>
                  <a:lnTo>
                    <a:pt x="375" y="701"/>
                  </a:lnTo>
                  <a:lnTo>
                    <a:pt x="375" y="700"/>
                  </a:lnTo>
                  <a:lnTo>
                    <a:pt x="376" y="697"/>
                  </a:lnTo>
                  <a:lnTo>
                    <a:pt x="378" y="692"/>
                  </a:lnTo>
                  <a:lnTo>
                    <a:pt x="379" y="691"/>
                  </a:lnTo>
                  <a:lnTo>
                    <a:pt x="379" y="690"/>
                  </a:lnTo>
                  <a:lnTo>
                    <a:pt x="382" y="690"/>
                  </a:lnTo>
                  <a:lnTo>
                    <a:pt x="386" y="690"/>
                  </a:lnTo>
                  <a:lnTo>
                    <a:pt x="396" y="688"/>
                  </a:lnTo>
                  <a:lnTo>
                    <a:pt x="399" y="688"/>
                  </a:lnTo>
                  <a:lnTo>
                    <a:pt x="410" y="680"/>
                  </a:lnTo>
                  <a:lnTo>
                    <a:pt x="412" y="678"/>
                  </a:lnTo>
                  <a:lnTo>
                    <a:pt x="413" y="677"/>
                  </a:lnTo>
                  <a:lnTo>
                    <a:pt x="413" y="675"/>
                  </a:lnTo>
                  <a:lnTo>
                    <a:pt x="413" y="674"/>
                  </a:lnTo>
                  <a:lnTo>
                    <a:pt x="399" y="681"/>
                  </a:lnTo>
                  <a:lnTo>
                    <a:pt x="393" y="682"/>
                  </a:lnTo>
                  <a:lnTo>
                    <a:pt x="383" y="681"/>
                  </a:lnTo>
                  <a:lnTo>
                    <a:pt x="382" y="680"/>
                  </a:lnTo>
                  <a:lnTo>
                    <a:pt x="382" y="678"/>
                  </a:lnTo>
                  <a:lnTo>
                    <a:pt x="383" y="674"/>
                  </a:lnTo>
                  <a:lnTo>
                    <a:pt x="385" y="672"/>
                  </a:lnTo>
                  <a:lnTo>
                    <a:pt x="388" y="670"/>
                  </a:lnTo>
                  <a:lnTo>
                    <a:pt x="393" y="668"/>
                  </a:lnTo>
                  <a:lnTo>
                    <a:pt x="402" y="665"/>
                  </a:lnTo>
                  <a:lnTo>
                    <a:pt x="408" y="665"/>
                  </a:lnTo>
                  <a:lnTo>
                    <a:pt x="413" y="664"/>
                  </a:lnTo>
                  <a:lnTo>
                    <a:pt x="416" y="662"/>
                  </a:lnTo>
                  <a:lnTo>
                    <a:pt x="406" y="662"/>
                  </a:lnTo>
                  <a:lnTo>
                    <a:pt x="395" y="662"/>
                  </a:lnTo>
                  <a:lnTo>
                    <a:pt x="393" y="662"/>
                  </a:lnTo>
                  <a:lnTo>
                    <a:pt x="389" y="660"/>
                  </a:lnTo>
                  <a:lnTo>
                    <a:pt x="389" y="658"/>
                  </a:lnTo>
                  <a:lnTo>
                    <a:pt x="390" y="655"/>
                  </a:lnTo>
                  <a:lnTo>
                    <a:pt x="390" y="654"/>
                  </a:lnTo>
                  <a:lnTo>
                    <a:pt x="390" y="650"/>
                  </a:lnTo>
                  <a:lnTo>
                    <a:pt x="390" y="648"/>
                  </a:lnTo>
                  <a:lnTo>
                    <a:pt x="392" y="645"/>
                  </a:lnTo>
                  <a:lnTo>
                    <a:pt x="396" y="642"/>
                  </a:lnTo>
                  <a:lnTo>
                    <a:pt x="399" y="641"/>
                  </a:lnTo>
                  <a:lnTo>
                    <a:pt x="403" y="642"/>
                  </a:lnTo>
                  <a:lnTo>
                    <a:pt x="416" y="644"/>
                  </a:lnTo>
                  <a:lnTo>
                    <a:pt x="419" y="644"/>
                  </a:lnTo>
                  <a:lnTo>
                    <a:pt x="418" y="642"/>
                  </a:lnTo>
                  <a:lnTo>
                    <a:pt x="416" y="641"/>
                  </a:lnTo>
                  <a:lnTo>
                    <a:pt x="405" y="640"/>
                  </a:lnTo>
                  <a:lnTo>
                    <a:pt x="403" y="638"/>
                  </a:lnTo>
                  <a:lnTo>
                    <a:pt x="403" y="637"/>
                  </a:lnTo>
                  <a:lnTo>
                    <a:pt x="402" y="635"/>
                  </a:lnTo>
                  <a:lnTo>
                    <a:pt x="403" y="632"/>
                  </a:lnTo>
                  <a:lnTo>
                    <a:pt x="403" y="631"/>
                  </a:lnTo>
                  <a:lnTo>
                    <a:pt x="406" y="625"/>
                  </a:lnTo>
                  <a:lnTo>
                    <a:pt x="416" y="621"/>
                  </a:lnTo>
                  <a:lnTo>
                    <a:pt x="419" y="621"/>
                  </a:lnTo>
                  <a:lnTo>
                    <a:pt x="423" y="621"/>
                  </a:lnTo>
                  <a:lnTo>
                    <a:pt x="428" y="622"/>
                  </a:lnTo>
                  <a:lnTo>
                    <a:pt x="429" y="625"/>
                  </a:lnTo>
                  <a:lnTo>
                    <a:pt x="429" y="627"/>
                  </a:lnTo>
                  <a:lnTo>
                    <a:pt x="430" y="628"/>
                  </a:lnTo>
                  <a:lnTo>
                    <a:pt x="430" y="631"/>
                  </a:lnTo>
                  <a:lnTo>
                    <a:pt x="430" y="632"/>
                  </a:lnTo>
                  <a:lnTo>
                    <a:pt x="430" y="635"/>
                  </a:lnTo>
                  <a:lnTo>
                    <a:pt x="433" y="640"/>
                  </a:lnTo>
                  <a:lnTo>
                    <a:pt x="435" y="641"/>
                  </a:lnTo>
                  <a:lnTo>
                    <a:pt x="442" y="638"/>
                  </a:lnTo>
                  <a:lnTo>
                    <a:pt x="445" y="638"/>
                  </a:lnTo>
                  <a:lnTo>
                    <a:pt x="449" y="638"/>
                  </a:lnTo>
                  <a:lnTo>
                    <a:pt x="453" y="641"/>
                  </a:lnTo>
                  <a:lnTo>
                    <a:pt x="459" y="651"/>
                  </a:lnTo>
                  <a:lnTo>
                    <a:pt x="466" y="660"/>
                  </a:lnTo>
                  <a:lnTo>
                    <a:pt x="466" y="661"/>
                  </a:lnTo>
                  <a:lnTo>
                    <a:pt x="463" y="664"/>
                  </a:lnTo>
                  <a:lnTo>
                    <a:pt x="463" y="665"/>
                  </a:lnTo>
                  <a:lnTo>
                    <a:pt x="463" y="665"/>
                  </a:lnTo>
                  <a:lnTo>
                    <a:pt x="466" y="667"/>
                  </a:lnTo>
                  <a:lnTo>
                    <a:pt x="469" y="667"/>
                  </a:lnTo>
                  <a:lnTo>
                    <a:pt x="472" y="667"/>
                  </a:lnTo>
                  <a:lnTo>
                    <a:pt x="472" y="668"/>
                  </a:lnTo>
                  <a:lnTo>
                    <a:pt x="473" y="671"/>
                  </a:lnTo>
                  <a:lnTo>
                    <a:pt x="475" y="677"/>
                  </a:lnTo>
                  <a:lnTo>
                    <a:pt x="476" y="681"/>
                  </a:lnTo>
                  <a:lnTo>
                    <a:pt x="477" y="682"/>
                  </a:lnTo>
                  <a:lnTo>
                    <a:pt x="479" y="684"/>
                  </a:lnTo>
                  <a:lnTo>
                    <a:pt x="482" y="685"/>
                  </a:lnTo>
                  <a:lnTo>
                    <a:pt x="485" y="684"/>
                  </a:lnTo>
                  <a:lnTo>
                    <a:pt x="489" y="684"/>
                  </a:lnTo>
                  <a:lnTo>
                    <a:pt x="510" y="687"/>
                  </a:lnTo>
                  <a:lnTo>
                    <a:pt x="512" y="687"/>
                  </a:lnTo>
                  <a:lnTo>
                    <a:pt x="513" y="685"/>
                  </a:lnTo>
                  <a:lnTo>
                    <a:pt x="513" y="682"/>
                  </a:lnTo>
                  <a:lnTo>
                    <a:pt x="513" y="680"/>
                  </a:lnTo>
                  <a:lnTo>
                    <a:pt x="513" y="677"/>
                  </a:lnTo>
                  <a:lnTo>
                    <a:pt x="513" y="675"/>
                  </a:lnTo>
                  <a:lnTo>
                    <a:pt x="499" y="664"/>
                  </a:lnTo>
                  <a:lnTo>
                    <a:pt x="497" y="660"/>
                  </a:lnTo>
                  <a:lnTo>
                    <a:pt x="505" y="654"/>
                  </a:lnTo>
                  <a:lnTo>
                    <a:pt x="505" y="652"/>
                  </a:lnTo>
                  <a:lnTo>
                    <a:pt x="505" y="651"/>
                  </a:lnTo>
                  <a:lnTo>
                    <a:pt x="505" y="648"/>
                  </a:lnTo>
                  <a:lnTo>
                    <a:pt x="505" y="645"/>
                  </a:lnTo>
                  <a:lnTo>
                    <a:pt x="500" y="641"/>
                  </a:lnTo>
                  <a:lnTo>
                    <a:pt x="497" y="640"/>
                  </a:lnTo>
                  <a:lnTo>
                    <a:pt x="493" y="635"/>
                  </a:lnTo>
                  <a:lnTo>
                    <a:pt x="492" y="634"/>
                  </a:lnTo>
                  <a:lnTo>
                    <a:pt x="492" y="632"/>
                  </a:lnTo>
                  <a:lnTo>
                    <a:pt x="490" y="630"/>
                  </a:lnTo>
                  <a:lnTo>
                    <a:pt x="490" y="628"/>
                  </a:lnTo>
                  <a:lnTo>
                    <a:pt x="492" y="627"/>
                  </a:lnTo>
                  <a:lnTo>
                    <a:pt x="496" y="622"/>
                  </a:lnTo>
                  <a:lnTo>
                    <a:pt x="497" y="620"/>
                  </a:lnTo>
                  <a:lnTo>
                    <a:pt x="505" y="608"/>
                  </a:lnTo>
                  <a:lnTo>
                    <a:pt x="506" y="604"/>
                  </a:lnTo>
                  <a:lnTo>
                    <a:pt x="509" y="601"/>
                  </a:lnTo>
                  <a:lnTo>
                    <a:pt x="510" y="600"/>
                  </a:lnTo>
                  <a:lnTo>
                    <a:pt x="515" y="600"/>
                  </a:lnTo>
                  <a:lnTo>
                    <a:pt x="519" y="604"/>
                  </a:lnTo>
                  <a:lnTo>
                    <a:pt x="520" y="604"/>
                  </a:lnTo>
                  <a:lnTo>
                    <a:pt x="520" y="605"/>
                  </a:lnTo>
                  <a:lnTo>
                    <a:pt x="520" y="607"/>
                  </a:lnTo>
                  <a:lnTo>
                    <a:pt x="520" y="610"/>
                  </a:lnTo>
                  <a:lnTo>
                    <a:pt x="519" y="612"/>
                  </a:lnTo>
                  <a:lnTo>
                    <a:pt x="517" y="614"/>
                  </a:lnTo>
                  <a:lnTo>
                    <a:pt x="517" y="615"/>
                  </a:lnTo>
                  <a:lnTo>
                    <a:pt x="519" y="620"/>
                  </a:lnTo>
                  <a:lnTo>
                    <a:pt x="519" y="621"/>
                  </a:lnTo>
                  <a:lnTo>
                    <a:pt x="520" y="625"/>
                  </a:lnTo>
                  <a:lnTo>
                    <a:pt x="520" y="625"/>
                  </a:lnTo>
                  <a:lnTo>
                    <a:pt x="523" y="628"/>
                  </a:lnTo>
                  <a:lnTo>
                    <a:pt x="525" y="632"/>
                  </a:lnTo>
                  <a:lnTo>
                    <a:pt x="526" y="640"/>
                  </a:lnTo>
                  <a:lnTo>
                    <a:pt x="525" y="642"/>
                  </a:lnTo>
                  <a:lnTo>
                    <a:pt x="523" y="645"/>
                  </a:lnTo>
                  <a:lnTo>
                    <a:pt x="522" y="647"/>
                  </a:lnTo>
                  <a:lnTo>
                    <a:pt x="522" y="650"/>
                  </a:lnTo>
                  <a:lnTo>
                    <a:pt x="522" y="651"/>
                  </a:lnTo>
                  <a:lnTo>
                    <a:pt x="523" y="651"/>
                  </a:lnTo>
                  <a:close/>
                  <a:moveTo>
                    <a:pt x="636" y="615"/>
                  </a:moveTo>
                  <a:lnTo>
                    <a:pt x="633" y="617"/>
                  </a:lnTo>
                  <a:lnTo>
                    <a:pt x="630" y="615"/>
                  </a:lnTo>
                  <a:lnTo>
                    <a:pt x="630" y="614"/>
                  </a:lnTo>
                  <a:lnTo>
                    <a:pt x="632" y="612"/>
                  </a:lnTo>
                  <a:lnTo>
                    <a:pt x="637" y="610"/>
                  </a:lnTo>
                  <a:lnTo>
                    <a:pt x="640" y="605"/>
                  </a:lnTo>
                  <a:lnTo>
                    <a:pt x="641" y="604"/>
                  </a:lnTo>
                  <a:lnTo>
                    <a:pt x="646" y="604"/>
                  </a:lnTo>
                  <a:lnTo>
                    <a:pt x="649" y="604"/>
                  </a:lnTo>
                  <a:lnTo>
                    <a:pt x="651" y="605"/>
                  </a:lnTo>
                  <a:lnTo>
                    <a:pt x="644" y="611"/>
                  </a:lnTo>
                  <a:lnTo>
                    <a:pt x="636" y="615"/>
                  </a:lnTo>
                  <a:close/>
                  <a:moveTo>
                    <a:pt x="693" y="624"/>
                  </a:moveTo>
                  <a:lnTo>
                    <a:pt x="693" y="627"/>
                  </a:lnTo>
                  <a:lnTo>
                    <a:pt x="693" y="630"/>
                  </a:lnTo>
                  <a:lnTo>
                    <a:pt x="693" y="631"/>
                  </a:lnTo>
                  <a:lnTo>
                    <a:pt x="693" y="632"/>
                  </a:lnTo>
                  <a:lnTo>
                    <a:pt x="693" y="635"/>
                  </a:lnTo>
                  <a:lnTo>
                    <a:pt x="694" y="640"/>
                  </a:lnTo>
                  <a:lnTo>
                    <a:pt x="696" y="642"/>
                  </a:lnTo>
                  <a:lnTo>
                    <a:pt x="696" y="645"/>
                  </a:lnTo>
                  <a:lnTo>
                    <a:pt x="696" y="648"/>
                  </a:lnTo>
                  <a:lnTo>
                    <a:pt x="694" y="651"/>
                  </a:lnTo>
                  <a:lnTo>
                    <a:pt x="694" y="657"/>
                  </a:lnTo>
                  <a:lnTo>
                    <a:pt x="694" y="660"/>
                  </a:lnTo>
                  <a:lnTo>
                    <a:pt x="694" y="662"/>
                  </a:lnTo>
                  <a:lnTo>
                    <a:pt x="694" y="665"/>
                  </a:lnTo>
                  <a:lnTo>
                    <a:pt x="693" y="668"/>
                  </a:lnTo>
                  <a:lnTo>
                    <a:pt x="690" y="671"/>
                  </a:lnTo>
                  <a:lnTo>
                    <a:pt x="690" y="672"/>
                  </a:lnTo>
                  <a:lnTo>
                    <a:pt x="697" y="675"/>
                  </a:lnTo>
                  <a:lnTo>
                    <a:pt x="697" y="677"/>
                  </a:lnTo>
                  <a:lnTo>
                    <a:pt x="697" y="684"/>
                  </a:lnTo>
                  <a:lnTo>
                    <a:pt x="699" y="692"/>
                  </a:lnTo>
                  <a:lnTo>
                    <a:pt x="699" y="692"/>
                  </a:lnTo>
                  <a:lnTo>
                    <a:pt x="697" y="691"/>
                  </a:lnTo>
                  <a:lnTo>
                    <a:pt x="694" y="687"/>
                  </a:lnTo>
                  <a:lnTo>
                    <a:pt x="690" y="692"/>
                  </a:lnTo>
                  <a:lnTo>
                    <a:pt x="690" y="702"/>
                  </a:lnTo>
                  <a:lnTo>
                    <a:pt x="693" y="707"/>
                  </a:lnTo>
                  <a:lnTo>
                    <a:pt x="693" y="710"/>
                  </a:lnTo>
                  <a:lnTo>
                    <a:pt x="693" y="711"/>
                  </a:lnTo>
                  <a:lnTo>
                    <a:pt x="691" y="712"/>
                  </a:lnTo>
                  <a:lnTo>
                    <a:pt x="690" y="711"/>
                  </a:lnTo>
                  <a:lnTo>
                    <a:pt x="689" y="710"/>
                  </a:lnTo>
                  <a:lnTo>
                    <a:pt x="687" y="707"/>
                  </a:lnTo>
                  <a:lnTo>
                    <a:pt x="687" y="707"/>
                  </a:lnTo>
                  <a:lnTo>
                    <a:pt x="687" y="708"/>
                  </a:lnTo>
                  <a:lnTo>
                    <a:pt x="687" y="710"/>
                  </a:lnTo>
                  <a:lnTo>
                    <a:pt x="689" y="712"/>
                  </a:lnTo>
                  <a:lnTo>
                    <a:pt x="689" y="715"/>
                  </a:lnTo>
                  <a:lnTo>
                    <a:pt x="689" y="717"/>
                  </a:lnTo>
                  <a:lnTo>
                    <a:pt x="686" y="717"/>
                  </a:lnTo>
                  <a:lnTo>
                    <a:pt x="683" y="717"/>
                  </a:lnTo>
                  <a:lnTo>
                    <a:pt x="679" y="718"/>
                  </a:lnTo>
                  <a:lnTo>
                    <a:pt x="677" y="718"/>
                  </a:lnTo>
                  <a:lnTo>
                    <a:pt x="674" y="718"/>
                  </a:lnTo>
                  <a:lnTo>
                    <a:pt x="671" y="718"/>
                  </a:lnTo>
                  <a:lnTo>
                    <a:pt x="670" y="718"/>
                  </a:lnTo>
                  <a:lnTo>
                    <a:pt x="669" y="718"/>
                  </a:lnTo>
                  <a:lnTo>
                    <a:pt x="667" y="717"/>
                  </a:lnTo>
                  <a:lnTo>
                    <a:pt x="666" y="717"/>
                  </a:lnTo>
                  <a:lnTo>
                    <a:pt x="661" y="720"/>
                  </a:lnTo>
                  <a:lnTo>
                    <a:pt x="657" y="720"/>
                  </a:lnTo>
                  <a:lnTo>
                    <a:pt x="653" y="718"/>
                  </a:lnTo>
                  <a:lnTo>
                    <a:pt x="651" y="718"/>
                  </a:lnTo>
                  <a:lnTo>
                    <a:pt x="650" y="715"/>
                  </a:lnTo>
                  <a:lnTo>
                    <a:pt x="649" y="707"/>
                  </a:lnTo>
                  <a:lnTo>
                    <a:pt x="649" y="705"/>
                  </a:lnTo>
                  <a:lnTo>
                    <a:pt x="653" y="704"/>
                  </a:lnTo>
                  <a:lnTo>
                    <a:pt x="654" y="704"/>
                  </a:lnTo>
                  <a:lnTo>
                    <a:pt x="650" y="701"/>
                  </a:lnTo>
                  <a:lnTo>
                    <a:pt x="646" y="700"/>
                  </a:lnTo>
                  <a:lnTo>
                    <a:pt x="644" y="698"/>
                  </a:lnTo>
                  <a:lnTo>
                    <a:pt x="644" y="694"/>
                  </a:lnTo>
                  <a:lnTo>
                    <a:pt x="644" y="694"/>
                  </a:lnTo>
                  <a:lnTo>
                    <a:pt x="651" y="690"/>
                  </a:lnTo>
                  <a:lnTo>
                    <a:pt x="657" y="684"/>
                  </a:lnTo>
                  <a:lnTo>
                    <a:pt x="660" y="681"/>
                  </a:lnTo>
                  <a:lnTo>
                    <a:pt x="660" y="680"/>
                  </a:lnTo>
                  <a:lnTo>
                    <a:pt x="663" y="678"/>
                  </a:lnTo>
                  <a:lnTo>
                    <a:pt x="669" y="677"/>
                  </a:lnTo>
                  <a:lnTo>
                    <a:pt x="669" y="675"/>
                  </a:lnTo>
                  <a:lnTo>
                    <a:pt x="657" y="675"/>
                  </a:lnTo>
                  <a:lnTo>
                    <a:pt x="641" y="680"/>
                  </a:lnTo>
                  <a:lnTo>
                    <a:pt x="637" y="682"/>
                  </a:lnTo>
                  <a:lnTo>
                    <a:pt x="633" y="681"/>
                  </a:lnTo>
                  <a:lnTo>
                    <a:pt x="616" y="687"/>
                  </a:lnTo>
                  <a:lnTo>
                    <a:pt x="614" y="687"/>
                  </a:lnTo>
                  <a:lnTo>
                    <a:pt x="613" y="685"/>
                  </a:lnTo>
                  <a:lnTo>
                    <a:pt x="612" y="681"/>
                  </a:lnTo>
                  <a:lnTo>
                    <a:pt x="613" y="678"/>
                  </a:lnTo>
                  <a:lnTo>
                    <a:pt x="617" y="674"/>
                  </a:lnTo>
                  <a:lnTo>
                    <a:pt x="620" y="670"/>
                  </a:lnTo>
                  <a:lnTo>
                    <a:pt x="620" y="668"/>
                  </a:lnTo>
                  <a:lnTo>
                    <a:pt x="622" y="664"/>
                  </a:lnTo>
                  <a:lnTo>
                    <a:pt x="624" y="662"/>
                  </a:lnTo>
                  <a:lnTo>
                    <a:pt x="630" y="667"/>
                  </a:lnTo>
                  <a:lnTo>
                    <a:pt x="633" y="670"/>
                  </a:lnTo>
                  <a:lnTo>
                    <a:pt x="636" y="671"/>
                  </a:lnTo>
                  <a:lnTo>
                    <a:pt x="639" y="671"/>
                  </a:lnTo>
                  <a:lnTo>
                    <a:pt x="640" y="668"/>
                  </a:lnTo>
                  <a:lnTo>
                    <a:pt x="640" y="668"/>
                  </a:lnTo>
                  <a:lnTo>
                    <a:pt x="636" y="670"/>
                  </a:lnTo>
                  <a:lnTo>
                    <a:pt x="636" y="670"/>
                  </a:lnTo>
                  <a:lnTo>
                    <a:pt x="633" y="665"/>
                  </a:lnTo>
                  <a:lnTo>
                    <a:pt x="633" y="662"/>
                  </a:lnTo>
                  <a:lnTo>
                    <a:pt x="632" y="661"/>
                  </a:lnTo>
                  <a:lnTo>
                    <a:pt x="632" y="658"/>
                  </a:lnTo>
                  <a:lnTo>
                    <a:pt x="633" y="655"/>
                  </a:lnTo>
                  <a:lnTo>
                    <a:pt x="629" y="655"/>
                  </a:lnTo>
                  <a:lnTo>
                    <a:pt x="627" y="652"/>
                  </a:lnTo>
                  <a:lnTo>
                    <a:pt x="626" y="650"/>
                  </a:lnTo>
                  <a:lnTo>
                    <a:pt x="626" y="648"/>
                  </a:lnTo>
                  <a:lnTo>
                    <a:pt x="627" y="645"/>
                  </a:lnTo>
                  <a:lnTo>
                    <a:pt x="632" y="641"/>
                  </a:lnTo>
                  <a:lnTo>
                    <a:pt x="632" y="640"/>
                  </a:lnTo>
                  <a:lnTo>
                    <a:pt x="626" y="640"/>
                  </a:lnTo>
                  <a:lnTo>
                    <a:pt x="624" y="640"/>
                  </a:lnTo>
                  <a:lnTo>
                    <a:pt x="622" y="637"/>
                  </a:lnTo>
                  <a:lnTo>
                    <a:pt x="623" y="632"/>
                  </a:lnTo>
                  <a:lnTo>
                    <a:pt x="624" y="628"/>
                  </a:lnTo>
                  <a:lnTo>
                    <a:pt x="626" y="625"/>
                  </a:lnTo>
                  <a:lnTo>
                    <a:pt x="627" y="625"/>
                  </a:lnTo>
                  <a:lnTo>
                    <a:pt x="629" y="625"/>
                  </a:lnTo>
                  <a:lnTo>
                    <a:pt x="633" y="627"/>
                  </a:lnTo>
                  <a:lnTo>
                    <a:pt x="634" y="628"/>
                  </a:lnTo>
                  <a:lnTo>
                    <a:pt x="637" y="632"/>
                  </a:lnTo>
                  <a:lnTo>
                    <a:pt x="639" y="634"/>
                  </a:lnTo>
                  <a:lnTo>
                    <a:pt x="639" y="637"/>
                  </a:lnTo>
                  <a:lnTo>
                    <a:pt x="639" y="638"/>
                  </a:lnTo>
                  <a:lnTo>
                    <a:pt x="641" y="641"/>
                  </a:lnTo>
                  <a:lnTo>
                    <a:pt x="653" y="655"/>
                  </a:lnTo>
                  <a:lnTo>
                    <a:pt x="654" y="658"/>
                  </a:lnTo>
                  <a:lnTo>
                    <a:pt x="656" y="660"/>
                  </a:lnTo>
                  <a:lnTo>
                    <a:pt x="659" y="660"/>
                  </a:lnTo>
                  <a:lnTo>
                    <a:pt x="660" y="660"/>
                  </a:lnTo>
                  <a:lnTo>
                    <a:pt x="661" y="660"/>
                  </a:lnTo>
                  <a:lnTo>
                    <a:pt x="661" y="658"/>
                  </a:lnTo>
                  <a:lnTo>
                    <a:pt x="656" y="654"/>
                  </a:lnTo>
                  <a:lnTo>
                    <a:pt x="656" y="651"/>
                  </a:lnTo>
                  <a:lnTo>
                    <a:pt x="654" y="647"/>
                  </a:lnTo>
                  <a:lnTo>
                    <a:pt x="654" y="647"/>
                  </a:lnTo>
                  <a:lnTo>
                    <a:pt x="656" y="645"/>
                  </a:lnTo>
                  <a:lnTo>
                    <a:pt x="660" y="647"/>
                  </a:lnTo>
                  <a:lnTo>
                    <a:pt x="663" y="645"/>
                  </a:lnTo>
                  <a:lnTo>
                    <a:pt x="659" y="644"/>
                  </a:lnTo>
                  <a:lnTo>
                    <a:pt x="656" y="642"/>
                  </a:lnTo>
                  <a:lnTo>
                    <a:pt x="653" y="642"/>
                  </a:lnTo>
                  <a:lnTo>
                    <a:pt x="650" y="640"/>
                  </a:lnTo>
                  <a:lnTo>
                    <a:pt x="650" y="638"/>
                  </a:lnTo>
                  <a:lnTo>
                    <a:pt x="650" y="637"/>
                  </a:lnTo>
                  <a:lnTo>
                    <a:pt x="656" y="635"/>
                  </a:lnTo>
                  <a:lnTo>
                    <a:pt x="656" y="635"/>
                  </a:lnTo>
                  <a:lnTo>
                    <a:pt x="656" y="634"/>
                  </a:lnTo>
                  <a:lnTo>
                    <a:pt x="654" y="632"/>
                  </a:lnTo>
                  <a:lnTo>
                    <a:pt x="653" y="631"/>
                  </a:lnTo>
                  <a:lnTo>
                    <a:pt x="646" y="628"/>
                  </a:lnTo>
                  <a:lnTo>
                    <a:pt x="643" y="625"/>
                  </a:lnTo>
                  <a:lnTo>
                    <a:pt x="641" y="624"/>
                  </a:lnTo>
                  <a:lnTo>
                    <a:pt x="641" y="622"/>
                  </a:lnTo>
                  <a:lnTo>
                    <a:pt x="643" y="620"/>
                  </a:lnTo>
                  <a:lnTo>
                    <a:pt x="647" y="615"/>
                  </a:lnTo>
                  <a:lnTo>
                    <a:pt x="650" y="614"/>
                  </a:lnTo>
                  <a:lnTo>
                    <a:pt x="654" y="612"/>
                  </a:lnTo>
                  <a:lnTo>
                    <a:pt x="659" y="612"/>
                  </a:lnTo>
                  <a:lnTo>
                    <a:pt x="661" y="612"/>
                  </a:lnTo>
                  <a:lnTo>
                    <a:pt x="667" y="620"/>
                  </a:lnTo>
                  <a:lnTo>
                    <a:pt x="670" y="624"/>
                  </a:lnTo>
                  <a:lnTo>
                    <a:pt x="674" y="624"/>
                  </a:lnTo>
                  <a:lnTo>
                    <a:pt x="673" y="620"/>
                  </a:lnTo>
                  <a:lnTo>
                    <a:pt x="671" y="614"/>
                  </a:lnTo>
                  <a:lnTo>
                    <a:pt x="673" y="611"/>
                  </a:lnTo>
                  <a:lnTo>
                    <a:pt x="677" y="608"/>
                  </a:lnTo>
                  <a:lnTo>
                    <a:pt x="680" y="610"/>
                  </a:lnTo>
                  <a:lnTo>
                    <a:pt x="683" y="615"/>
                  </a:lnTo>
                  <a:lnTo>
                    <a:pt x="684" y="617"/>
                  </a:lnTo>
                  <a:lnTo>
                    <a:pt x="689" y="620"/>
                  </a:lnTo>
                  <a:lnTo>
                    <a:pt x="691" y="620"/>
                  </a:lnTo>
                  <a:lnTo>
                    <a:pt x="693" y="621"/>
                  </a:lnTo>
                  <a:lnTo>
                    <a:pt x="693" y="624"/>
                  </a:lnTo>
                  <a:close/>
                  <a:moveTo>
                    <a:pt x="592" y="615"/>
                  </a:moveTo>
                  <a:lnTo>
                    <a:pt x="593" y="617"/>
                  </a:lnTo>
                  <a:lnTo>
                    <a:pt x="594" y="615"/>
                  </a:lnTo>
                  <a:lnTo>
                    <a:pt x="596" y="614"/>
                  </a:lnTo>
                  <a:lnTo>
                    <a:pt x="599" y="617"/>
                  </a:lnTo>
                  <a:lnTo>
                    <a:pt x="599" y="618"/>
                  </a:lnTo>
                  <a:lnTo>
                    <a:pt x="604" y="622"/>
                  </a:lnTo>
                  <a:lnTo>
                    <a:pt x="607" y="625"/>
                  </a:lnTo>
                  <a:lnTo>
                    <a:pt x="607" y="627"/>
                  </a:lnTo>
                  <a:lnTo>
                    <a:pt x="607" y="628"/>
                  </a:lnTo>
                  <a:lnTo>
                    <a:pt x="604" y="630"/>
                  </a:lnTo>
                  <a:lnTo>
                    <a:pt x="603" y="632"/>
                  </a:lnTo>
                  <a:lnTo>
                    <a:pt x="600" y="632"/>
                  </a:lnTo>
                  <a:lnTo>
                    <a:pt x="587" y="634"/>
                  </a:lnTo>
                  <a:lnTo>
                    <a:pt x="586" y="632"/>
                  </a:lnTo>
                  <a:lnTo>
                    <a:pt x="586" y="631"/>
                  </a:lnTo>
                  <a:lnTo>
                    <a:pt x="584" y="622"/>
                  </a:lnTo>
                  <a:lnTo>
                    <a:pt x="583" y="618"/>
                  </a:lnTo>
                  <a:lnTo>
                    <a:pt x="583" y="615"/>
                  </a:lnTo>
                  <a:lnTo>
                    <a:pt x="583" y="614"/>
                  </a:lnTo>
                  <a:lnTo>
                    <a:pt x="584" y="612"/>
                  </a:lnTo>
                  <a:lnTo>
                    <a:pt x="589" y="610"/>
                  </a:lnTo>
                  <a:lnTo>
                    <a:pt x="590" y="610"/>
                  </a:lnTo>
                  <a:lnTo>
                    <a:pt x="592" y="611"/>
                  </a:lnTo>
                  <a:lnTo>
                    <a:pt x="593" y="612"/>
                  </a:lnTo>
                  <a:lnTo>
                    <a:pt x="593" y="614"/>
                  </a:lnTo>
                  <a:lnTo>
                    <a:pt x="592" y="615"/>
                  </a:lnTo>
                  <a:close/>
                  <a:moveTo>
                    <a:pt x="620" y="654"/>
                  </a:moveTo>
                  <a:lnTo>
                    <a:pt x="624" y="658"/>
                  </a:lnTo>
                  <a:lnTo>
                    <a:pt x="624" y="660"/>
                  </a:lnTo>
                  <a:lnTo>
                    <a:pt x="623" y="660"/>
                  </a:lnTo>
                  <a:lnTo>
                    <a:pt x="619" y="662"/>
                  </a:lnTo>
                  <a:lnTo>
                    <a:pt x="617" y="664"/>
                  </a:lnTo>
                  <a:lnTo>
                    <a:pt x="616" y="668"/>
                  </a:lnTo>
                  <a:lnTo>
                    <a:pt x="614" y="670"/>
                  </a:lnTo>
                  <a:lnTo>
                    <a:pt x="609" y="671"/>
                  </a:lnTo>
                  <a:lnTo>
                    <a:pt x="603" y="671"/>
                  </a:lnTo>
                  <a:lnTo>
                    <a:pt x="604" y="667"/>
                  </a:lnTo>
                  <a:lnTo>
                    <a:pt x="607" y="661"/>
                  </a:lnTo>
                  <a:lnTo>
                    <a:pt x="604" y="658"/>
                  </a:lnTo>
                  <a:lnTo>
                    <a:pt x="596" y="662"/>
                  </a:lnTo>
                  <a:lnTo>
                    <a:pt x="592" y="660"/>
                  </a:lnTo>
                  <a:lnTo>
                    <a:pt x="596" y="652"/>
                  </a:lnTo>
                  <a:lnTo>
                    <a:pt x="592" y="652"/>
                  </a:lnTo>
                  <a:lnTo>
                    <a:pt x="589" y="652"/>
                  </a:lnTo>
                  <a:lnTo>
                    <a:pt x="586" y="648"/>
                  </a:lnTo>
                  <a:lnTo>
                    <a:pt x="586" y="642"/>
                  </a:lnTo>
                  <a:lnTo>
                    <a:pt x="592" y="640"/>
                  </a:lnTo>
                  <a:lnTo>
                    <a:pt x="599" y="638"/>
                  </a:lnTo>
                  <a:lnTo>
                    <a:pt x="606" y="634"/>
                  </a:lnTo>
                  <a:lnTo>
                    <a:pt x="613" y="634"/>
                  </a:lnTo>
                  <a:lnTo>
                    <a:pt x="614" y="637"/>
                  </a:lnTo>
                  <a:lnTo>
                    <a:pt x="616" y="642"/>
                  </a:lnTo>
                  <a:lnTo>
                    <a:pt x="616" y="648"/>
                  </a:lnTo>
                  <a:lnTo>
                    <a:pt x="617" y="650"/>
                  </a:lnTo>
                  <a:lnTo>
                    <a:pt x="620" y="654"/>
                  </a:lnTo>
                  <a:close/>
                  <a:moveTo>
                    <a:pt x="991" y="660"/>
                  </a:moveTo>
                  <a:lnTo>
                    <a:pt x="991" y="664"/>
                  </a:lnTo>
                  <a:lnTo>
                    <a:pt x="991" y="664"/>
                  </a:lnTo>
                  <a:lnTo>
                    <a:pt x="987" y="667"/>
                  </a:lnTo>
                  <a:lnTo>
                    <a:pt x="984" y="667"/>
                  </a:lnTo>
                  <a:lnTo>
                    <a:pt x="982" y="665"/>
                  </a:lnTo>
                  <a:lnTo>
                    <a:pt x="981" y="662"/>
                  </a:lnTo>
                  <a:lnTo>
                    <a:pt x="984" y="658"/>
                  </a:lnTo>
                  <a:lnTo>
                    <a:pt x="987" y="654"/>
                  </a:lnTo>
                  <a:lnTo>
                    <a:pt x="990" y="650"/>
                  </a:lnTo>
                  <a:lnTo>
                    <a:pt x="992" y="645"/>
                  </a:lnTo>
                  <a:lnTo>
                    <a:pt x="994" y="647"/>
                  </a:lnTo>
                  <a:lnTo>
                    <a:pt x="995" y="648"/>
                  </a:lnTo>
                  <a:lnTo>
                    <a:pt x="994" y="654"/>
                  </a:lnTo>
                  <a:lnTo>
                    <a:pt x="991" y="657"/>
                  </a:lnTo>
                  <a:lnTo>
                    <a:pt x="991" y="660"/>
                  </a:lnTo>
                  <a:close/>
                  <a:moveTo>
                    <a:pt x="362" y="682"/>
                  </a:moveTo>
                  <a:lnTo>
                    <a:pt x="358" y="687"/>
                  </a:lnTo>
                  <a:lnTo>
                    <a:pt x="355" y="687"/>
                  </a:lnTo>
                  <a:lnTo>
                    <a:pt x="351" y="684"/>
                  </a:lnTo>
                  <a:lnTo>
                    <a:pt x="346" y="682"/>
                  </a:lnTo>
                  <a:lnTo>
                    <a:pt x="346" y="681"/>
                  </a:lnTo>
                  <a:lnTo>
                    <a:pt x="345" y="680"/>
                  </a:lnTo>
                  <a:lnTo>
                    <a:pt x="346" y="677"/>
                  </a:lnTo>
                  <a:lnTo>
                    <a:pt x="348" y="675"/>
                  </a:lnTo>
                  <a:lnTo>
                    <a:pt x="352" y="670"/>
                  </a:lnTo>
                  <a:lnTo>
                    <a:pt x="358" y="661"/>
                  </a:lnTo>
                  <a:lnTo>
                    <a:pt x="362" y="658"/>
                  </a:lnTo>
                  <a:lnTo>
                    <a:pt x="366" y="655"/>
                  </a:lnTo>
                  <a:lnTo>
                    <a:pt x="369" y="650"/>
                  </a:lnTo>
                  <a:lnTo>
                    <a:pt x="372" y="648"/>
                  </a:lnTo>
                  <a:lnTo>
                    <a:pt x="373" y="648"/>
                  </a:lnTo>
                  <a:lnTo>
                    <a:pt x="376" y="648"/>
                  </a:lnTo>
                  <a:lnTo>
                    <a:pt x="376" y="650"/>
                  </a:lnTo>
                  <a:lnTo>
                    <a:pt x="373" y="657"/>
                  </a:lnTo>
                  <a:lnTo>
                    <a:pt x="372" y="661"/>
                  </a:lnTo>
                  <a:lnTo>
                    <a:pt x="369" y="668"/>
                  </a:lnTo>
                  <a:lnTo>
                    <a:pt x="365" y="681"/>
                  </a:lnTo>
                  <a:lnTo>
                    <a:pt x="362" y="682"/>
                  </a:lnTo>
                  <a:close/>
                  <a:moveTo>
                    <a:pt x="744" y="671"/>
                  </a:moveTo>
                  <a:lnTo>
                    <a:pt x="743" y="671"/>
                  </a:lnTo>
                  <a:lnTo>
                    <a:pt x="740" y="670"/>
                  </a:lnTo>
                  <a:lnTo>
                    <a:pt x="740" y="668"/>
                  </a:lnTo>
                  <a:lnTo>
                    <a:pt x="738" y="667"/>
                  </a:lnTo>
                  <a:lnTo>
                    <a:pt x="738" y="664"/>
                  </a:lnTo>
                  <a:lnTo>
                    <a:pt x="738" y="662"/>
                  </a:lnTo>
                  <a:lnTo>
                    <a:pt x="738" y="661"/>
                  </a:lnTo>
                  <a:lnTo>
                    <a:pt x="737" y="660"/>
                  </a:lnTo>
                  <a:lnTo>
                    <a:pt x="738" y="658"/>
                  </a:lnTo>
                  <a:lnTo>
                    <a:pt x="738" y="658"/>
                  </a:lnTo>
                  <a:lnTo>
                    <a:pt x="740" y="658"/>
                  </a:lnTo>
                  <a:lnTo>
                    <a:pt x="744" y="655"/>
                  </a:lnTo>
                  <a:lnTo>
                    <a:pt x="744" y="655"/>
                  </a:lnTo>
                  <a:lnTo>
                    <a:pt x="744" y="657"/>
                  </a:lnTo>
                  <a:lnTo>
                    <a:pt x="746" y="661"/>
                  </a:lnTo>
                  <a:lnTo>
                    <a:pt x="746" y="662"/>
                  </a:lnTo>
                  <a:lnTo>
                    <a:pt x="747" y="667"/>
                  </a:lnTo>
                  <a:lnTo>
                    <a:pt x="747" y="670"/>
                  </a:lnTo>
                  <a:lnTo>
                    <a:pt x="747" y="670"/>
                  </a:lnTo>
                  <a:lnTo>
                    <a:pt x="747" y="671"/>
                  </a:lnTo>
                  <a:lnTo>
                    <a:pt x="744" y="671"/>
                  </a:lnTo>
                  <a:close/>
                  <a:moveTo>
                    <a:pt x="319" y="672"/>
                  </a:moveTo>
                  <a:lnTo>
                    <a:pt x="318" y="672"/>
                  </a:lnTo>
                  <a:lnTo>
                    <a:pt x="316" y="671"/>
                  </a:lnTo>
                  <a:lnTo>
                    <a:pt x="316" y="670"/>
                  </a:lnTo>
                  <a:lnTo>
                    <a:pt x="319" y="665"/>
                  </a:lnTo>
                  <a:lnTo>
                    <a:pt x="319" y="664"/>
                  </a:lnTo>
                  <a:lnTo>
                    <a:pt x="319" y="662"/>
                  </a:lnTo>
                  <a:lnTo>
                    <a:pt x="319" y="661"/>
                  </a:lnTo>
                  <a:lnTo>
                    <a:pt x="321" y="660"/>
                  </a:lnTo>
                  <a:lnTo>
                    <a:pt x="321" y="660"/>
                  </a:lnTo>
                  <a:lnTo>
                    <a:pt x="322" y="660"/>
                  </a:lnTo>
                  <a:lnTo>
                    <a:pt x="322" y="661"/>
                  </a:lnTo>
                  <a:lnTo>
                    <a:pt x="322" y="665"/>
                  </a:lnTo>
                  <a:lnTo>
                    <a:pt x="321" y="667"/>
                  </a:lnTo>
                  <a:lnTo>
                    <a:pt x="321" y="670"/>
                  </a:lnTo>
                  <a:lnTo>
                    <a:pt x="319" y="671"/>
                  </a:lnTo>
                  <a:lnTo>
                    <a:pt x="319" y="672"/>
                  </a:lnTo>
                  <a:close/>
                  <a:moveTo>
                    <a:pt x="719" y="687"/>
                  </a:moveTo>
                  <a:lnTo>
                    <a:pt x="717" y="690"/>
                  </a:lnTo>
                  <a:lnTo>
                    <a:pt x="716" y="690"/>
                  </a:lnTo>
                  <a:lnTo>
                    <a:pt x="714" y="687"/>
                  </a:lnTo>
                  <a:lnTo>
                    <a:pt x="713" y="688"/>
                  </a:lnTo>
                  <a:lnTo>
                    <a:pt x="710" y="692"/>
                  </a:lnTo>
                  <a:lnTo>
                    <a:pt x="709" y="694"/>
                  </a:lnTo>
                  <a:lnTo>
                    <a:pt x="709" y="695"/>
                  </a:lnTo>
                  <a:lnTo>
                    <a:pt x="706" y="697"/>
                  </a:lnTo>
                  <a:lnTo>
                    <a:pt x="706" y="695"/>
                  </a:lnTo>
                  <a:lnTo>
                    <a:pt x="704" y="694"/>
                  </a:lnTo>
                  <a:lnTo>
                    <a:pt x="704" y="690"/>
                  </a:lnTo>
                  <a:lnTo>
                    <a:pt x="704" y="687"/>
                  </a:lnTo>
                  <a:lnTo>
                    <a:pt x="706" y="685"/>
                  </a:lnTo>
                  <a:lnTo>
                    <a:pt x="711" y="682"/>
                  </a:lnTo>
                  <a:lnTo>
                    <a:pt x="713" y="681"/>
                  </a:lnTo>
                  <a:lnTo>
                    <a:pt x="713" y="680"/>
                  </a:lnTo>
                  <a:lnTo>
                    <a:pt x="714" y="678"/>
                  </a:lnTo>
                  <a:lnTo>
                    <a:pt x="714" y="678"/>
                  </a:lnTo>
                  <a:lnTo>
                    <a:pt x="717" y="681"/>
                  </a:lnTo>
                  <a:lnTo>
                    <a:pt x="720" y="682"/>
                  </a:lnTo>
                  <a:lnTo>
                    <a:pt x="721" y="684"/>
                  </a:lnTo>
                  <a:lnTo>
                    <a:pt x="720" y="685"/>
                  </a:lnTo>
                  <a:lnTo>
                    <a:pt x="719" y="687"/>
                  </a:lnTo>
                  <a:close/>
                  <a:moveTo>
                    <a:pt x="760" y="717"/>
                  </a:moveTo>
                  <a:lnTo>
                    <a:pt x="760" y="722"/>
                  </a:lnTo>
                  <a:lnTo>
                    <a:pt x="761" y="724"/>
                  </a:lnTo>
                  <a:lnTo>
                    <a:pt x="761" y="728"/>
                  </a:lnTo>
                  <a:lnTo>
                    <a:pt x="760" y="734"/>
                  </a:lnTo>
                  <a:lnTo>
                    <a:pt x="760" y="734"/>
                  </a:lnTo>
                  <a:lnTo>
                    <a:pt x="760" y="734"/>
                  </a:lnTo>
                  <a:lnTo>
                    <a:pt x="760" y="735"/>
                  </a:lnTo>
                  <a:lnTo>
                    <a:pt x="760" y="738"/>
                  </a:lnTo>
                  <a:lnTo>
                    <a:pt x="758" y="740"/>
                  </a:lnTo>
                  <a:lnTo>
                    <a:pt x="758" y="740"/>
                  </a:lnTo>
                  <a:lnTo>
                    <a:pt x="753" y="741"/>
                  </a:lnTo>
                  <a:lnTo>
                    <a:pt x="748" y="741"/>
                  </a:lnTo>
                  <a:lnTo>
                    <a:pt x="744" y="741"/>
                  </a:lnTo>
                  <a:lnTo>
                    <a:pt x="741" y="741"/>
                  </a:lnTo>
                  <a:lnTo>
                    <a:pt x="740" y="740"/>
                  </a:lnTo>
                  <a:lnTo>
                    <a:pt x="737" y="738"/>
                  </a:lnTo>
                  <a:lnTo>
                    <a:pt x="731" y="732"/>
                  </a:lnTo>
                  <a:lnTo>
                    <a:pt x="729" y="731"/>
                  </a:lnTo>
                  <a:lnTo>
                    <a:pt x="723" y="730"/>
                  </a:lnTo>
                  <a:lnTo>
                    <a:pt x="719" y="724"/>
                  </a:lnTo>
                  <a:lnTo>
                    <a:pt x="717" y="722"/>
                  </a:lnTo>
                  <a:lnTo>
                    <a:pt x="716" y="724"/>
                  </a:lnTo>
                  <a:lnTo>
                    <a:pt x="716" y="724"/>
                  </a:lnTo>
                  <a:lnTo>
                    <a:pt x="716" y="722"/>
                  </a:lnTo>
                  <a:lnTo>
                    <a:pt x="714" y="720"/>
                  </a:lnTo>
                  <a:lnTo>
                    <a:pt x="714" y="720"/>
                  </a:lnTo>
                  <a:lnTo>
                    <a:pt x="711" y="720"/>
                  </a:lnTo>
                  <a:lnTo>
                    <a:pt x="710" y="720"/>
                  </a:lnTo>
                  <a:lnTo>
                    <a:pt x="710" y="717"/>
                  </a:lnTo>
                  <a:lnTo>
                    <a:pt x="710" y="715"/>
                  </a:lnTo>
                  <a:lnTo>
                    <a:pt x="711" y="712"/>
                  </a:lnTo>
                  <a:lnTo>
                    <a:pt x="714" y="705"/>
                  </a:lnTo>
                  <a:lnTo>
                    <a:pt x="716" y="705"/>
                  </a:lnTo>
                  <a:lnTo>
                    <a:pt x="717" y="704"/>
                  </a:lnTo>
                  <a:lnTo>
                    <a:pt x="719" y="701"/>
                  </a:lnTo>
                  <a:lnTo>
                    <a:pt x="719" y="697"/>
                  </a:lnTo>
                  <a:lnTo>
                    <a:pt x="721" y="691"/>
                  </a:lnTo>
                  <a:lnTo>
                    <a:pt x="723" y="690"/>
                  </a:lnTo>
                  <a:lnTo>
                    <a:pt x="726" y="685"/>
                  </a:lnTo>
                  <a:lnTo>
                    <a:pt x="736" y="680"/>
                  </a:lnTo>
                  <a:lnTo>
                    <a:pt x="738" y="680"/>
                  </a:lnTo>
                  <a:lnTo>
                    <a:pt x="741" y="680"/>
                  </a:lnTo>
                  <a:lnTo>
                    <a:pt x="746" y="681"/>
                  </a:lnTo>
                  <a:lnTo>
                    <a:pt x="748" y="685"/>
                  </a:lnTo>
                  <a:lnTo>
                    <a:pt x="754" y="692"/>
                  </a:lnTo>
                  <a:lnTo>
                    <a:pt x="756" y="697"/>
                  </a:lnTo>
                  <a:lnTo>
                    <a:pt x="757" y="702"/>
                  </a:lnTo>
                  <a:lnTo>
                    <a:pt x="758" y="705"/>
                  </a:lnTo>
                  <a:lnTo>
                    <a:pt x="760" y="711"/>
                  </a:lnTo>
                  <a:lnTo>
                    <a:pt x="760" y="712"/>
                  </a:lnTo>
                  <a:lnTo>
                    <a:pt x="760" y="715"/>
                  </a:lnTo>
                  <a:lnTo>
                    <a:pt x="760" y="717"/>
                  </a:lnTo>
                  <a:close/>
                  <a:moveTo>
                    <a:pt x="590" y="717"/>
                  </a:moveTo>
                  <a:lnTo>
                    <a:pt x="587" y="717"/>
                  </a:lnTo>
                  <a:lnTo>
                    <a:pt x="582" y="715"/>
                  </a:lnTo>
                  <a:lnTo>
                    <a:pt x="579" y="711"/>
                  </a:lnTo>
                  <a:lnTo>
                    <a:pt x="577" y="710"/>
                  </a:lnTo>
                  <a:lnTo>
                    <a:pt x="577" y="710"/>
                  </a:lnTo>
                  <a:lnTo>
                    <a:pt x="579" y="708"/>
                  </a:lnTo>
                  <a:lnTo>
                    <a:pt x="579" y="705"/>
                  </a:lnTo>
                  <a:lnTo>
                    <a:pt x="582" y="700"/>
                  </a:lnTo>
                  <a:lnTo>
                    <a:pt x="582" y="697"/>
                  </a:lnTo>
                  <a:lnTo>
                    <a:pt x="584" y="694"/>
                  </a:lnTo>
                  <a:lnTo>
                    <a:pt x="586" y="692"/>
                  </a:lnTo>
                  <a:lnTo>
                    <a:pt x="590" y="692"/>
                  </a:lnTo>
                  <a:lnTo>
                    <a:pt x="593" y="694"/>
                  </a:lnTo>
                  <a:lnTo>
                    <a:pt x="594" y="695"/>
                  </a:lnTo>
                  <a:lnTo>
                    <a:pt x="594" y="698"/>
                  </a:lnTo>
                  <a:lnTo>
                    <a:pt x="596" y="701"/>
                  </a:lnTo>
                  <a:lnTo>
                    <a:pt x="596" y="704"/>
                  </a:lnTo>
                  <a:lnTo>
                    <a:pt x="597" y="707"/>
                  </a:lnTo>
                  <a:lnTo>
                    <a:pt x="597" y="708"/>
                  </a:lnTo>
                  <a:lnTo>
                    <a:pt x="597" y="710"/>
                  </a:lnTo>
                  <a:lnTo>
                    <a:pt x="597" y="711"/>
                  </a:lnTo>
                  <a:lnTo>
                    <a:pt x="597" y="712"/>
                  </a:lnTo>
                  <a:lnTo>
                    <a:pt x="594" y="714"/>
                  </a:lnTo>
                  <a:lnTo>
                    <a:pt x="590" y="717"/>
                  </a:lnTo>
                  <a:close/>
                  <a:moveTo>
                    <a:pt x="731" y="750"/>
                  </a:moveTo>
                  <a:lnTo>
                    <a:pt x="730" y="750"/>
                  </a:lnTo>
                  <a:lnTo>
                    <a:pt x="729" y="750"/>
                  </a:lnTo>
                  <a:lnTo>
                    <a:pt x="724" y="747"/>
                  </a:lnTo>
                  <a:lnTo>
                    <a:pt x="723" y="745"/>
                  </a:lnTo>
                  <a:lnTo>
                    <a:pt x="723" y="745"/>
                  </a:lnTo>
                  <a:lnTo>
                    <a:pt x="724" y="744"/>
                  </a:lnTo>
                  <a:lnTo>
                    <a:pt x="724" y="742"/>
                  </a:lnTo>
                  <a:lnTo>
                    <a:pt x="726" y="741"/>
                  </a:lnTo>
                  <a:lnTo>
                    <a:pt x="729" y="741"/>
                  </a:lnTo>
                  <a:lnTo>
                    <a:pt x="730" y="744"/>
                  </a:lnTo>
                  <a:lnTo>
                    <a:pt x="731" y="747"/>
                  </a:lnTo>
                  <a:lnTo>
                    <a:pt x="731" y="748"/>
                  </a:lnTo>
                  <a:lnTo>
                    <a:pt x="731" y="750"/>
                  </a:lnTo>
                  <a:close/>
                  <a:moveTo>
                    <a:pt x="699" y="748"/>
                  </a:moveTo>
                  <a:lnTo>
                    <a:pt x="694" y="751"/>
                  </a:lnTo>
                  <a:lnTo>
                    <a:pt x="693" y="750"/>
                  </a:lnTo>
                  <a:lnTo>
                    <a:pt x="691" y="750"/>
                  </a:lnTo>
                  <a:lnTo>
                    <a:pt x="696" y="744"/>
                  </a:lnTo>
                  <a:lnTo>
                    <a:pt x="697" y="742"/>
                  </a:lnTo>
                  <a:lnTo>
                    <a:pt x="699" y="744"/>
                  </a:lnTo>
                  <a:lnTo>
                    <a:pt x="700" y="745"/>
                  </a:lnTo>
                  <a:lnTo>
                    <a:pt x="699" y="747"/>
                  </a:lnTo>
                  <a:lnTo>
                    <a:pt x="699" y="748"/>
                  </a:lnTo>
                  <a:close/>
                  <a:moveTo>
                    <a:pt x="341" y="772"/>
                  </a:moveTo>
                  <a:lnTo>
                    <a:pt x="341" y="772"/>
                  </a:lnTo>
                  <a:lnTo>
                    <a:pt x="345" y="767"/>
                  </a:lnTo>
                  <a:lnTo>
                    <a:pt x="346" y="767"/>
                  </a:lnTo>
                  <a:lnTo>
                    <a:pt x="349" y="768"/>
                  </a:lnTo>
                  <a:lnTo>
                    <a:pt x="349" y="768"/>
                  </a:lnTo>
                  <a:lnTo>
                    <a:pt x="349" y="769"/>
                  </a:lnTo>
                  <a:lnTo>
                    <a:pt x="349" y="771"/>
                  </a:lnTo>
                  <a:lnTo>
                    <a:pt x="349" y="778"/>
                  </a:lnTo>
                  <a:lnTo>
                    <a:pt x="351" y="778"/>
                  </a:lnTo>
                  <a:lnTo>
                    <a:pt x="351" y="778"/>
                  </a:lnTo>
                  <a:lnTo>
                    <a:pt x="352" y="777"/>
                  </a:lnTo>
                  <a:lnTo>
                    <a:pt x="356" y="768"/>
                  </a:lnTo>
                  <a:lnTo>
                    <a:pt x="358" y="765"/>
                  </a:lnTo>
                  <a:lnTo>
                    <a:pt x="359" y="765"/>
                  </a:lnTo>
                  <a:lnTo>
                    <a:pt x="365" y="764"/>
                  </a:lnTo>
                  <a:lnTo>
                    <a:pt x="369" y="764"/>
                  </a:lnTo>
                  <a:lnTo>
                    <a:pt x="372" y="764"/>
                  </a:lnTo>
                  <a:lnTo>
                    <a:pt x="376" y="765"/>
                  </a:lnTo>
                  <a:lnTo>
                    <a:pt x="380" y="769"/>
                  </a:lnTo>
                  <a:lnTo>
                    <a:pt x="385" y="774"/>
                  </a:lnTo>
                  <a:lnTo>
                    <a:pt x="388" y="778"/>
                  </a:lnTo>
                  <a:lnTo>
                    <a:pt x="400" y="794"/>
                  </a:lnTo>
                  <a:lnTo>
                    <a:pt x="406" y="798"/>
                  </a:lnTo>
                  <a:lnTo>
                    <a:pt x="408" y="801"/>
                  </a:lnTo>
                  <a:lnTo>
                    <a:pt x="409" y="802"/>
                  </a:lnTo>
                  <a:lnTo>
                    <a:pt x="409" y="805"/>
                  </a:lnTo>
                  <a:lnTo>
                    <a:pt x="409" y="808"/>
                  </a:lnTo>
                  <a:lnTo>
                    <a:pt x="409" y="809"/>
                  </a:lnTo>
                  <a:lnTo>
                    <a:pt x="409" y="811"/>
                  </a:lnTo>
                  <a:lnTo>
                    <a:pt x="408" y="812"/>
                  </a:lnTo>
                  <a:lnTo>
                    <a:pt x="400" y="818"/>
                  </a:lnTo>
                  <a:lnTo>
                    <a:pt x="396" y="819"/>
                  </a:lnTo>
                  <a:lnTo>
                    <a:pt x="392" y="821"/>
                  </a:lnTo>
                  <a:lnTo>
                    <a:pt x="383" y="829"/>
                  </a:lnTo>
                  <a:lnTo>
                    <a:pt x="376" y="834"/>
                  </a:lnTo>
                  <a:lnTo>
                    <a:pt x="368" y="841"/>
                  </a:lnTo>
                  <a:lnTo>
                    <a:pt x="352" y="852"/>
                  </a:lnTo>
                  <a:lnTo>
                    <a:pt x="351" y="855"/>
                  </a:lnTo>
                  <a:lnTo>
                    <a:pt x="349" y="857"/>
                  </a:lnTo>
                  <a:lnTo>
                    <a:pt x="345" y="869"/>
                  </a:lnTo>
                  <a:lnTo>
                    <a:pt x="343" y="872"/>
                  </a:lnTo>
                  <a:lnTo>
                    <a:pt x="339" y="877"/>
                  </a:lnTo>
                  <a:lnTo>
                    <a:pt x="335" y="877"/>
                  </a:lnTo>
                  <a:lnTo>
                    <a:pt x="333" y="878"/>
                  </a:lnTo>
                  <a:lnTo>
                    <a:pt x="333" y="882"/>
                  </a:lnTo>
                  <a:lnTo>
                    <a:pt x="331" y="889"/>
                  </a:lnTo>
                  <a:lnTo>
                    <a:pt x="331" y="895"/>
                  </a:lnTo>
                  <a:lnTo>
                    <a:pt x="329" y="908"/>
                  </a:lnTo>
                  <a:lnTo>
                    <a:pt x="329" y="909"/>
                  </a:lnTo>
                  <a:lnTo>
                    <a:pt x="328" y="911"/>
                  </a:lnTo>
                  <a:lnTo>
                    <a:pt x="326" y="914"/>
                  </a:lnTo>
                  <a:lnTo>
                    <a:pt x="321" y="917"/>
                  </a:lnTo>
                  <a:lnTo>
                    <a:pt x="318" y="918"/>
                  </a:lnTo>
                  <a:lnTo>
                    <a:pt x="312" y="919"/>
                  </a:lnTo>
                  <a:lnTo>
                    <a:pt x="311" y="919"/>
                  </a:lnTo>
                  <a:lnTo>
                    <a:pt x="309" y="917"/>
                  </a:lnTo>
                  <a:lnTo>
                    <a:pt x="309" y="917"/>
                  </a:lnTo>
                  <a:lnTo>
                    <a:pt x="308" y="917"/>
                  </a:lnTo>
                  <a:lnTo>
                    <a:pt x="301" y="927"/>
                  </a:lnTo>
                  <a:lnTo>
                    <a:pt x="295" y="929"/>
                  </a:lnTo>
                  <a:lnTo>
                    <a:pt x="292" y="932"/>
                  </a:lnTo>
                  <a:lnTo>
                    <a:pt x="291" y="935"/>
                  </a:lnTo>
                  <a:lnTo>
                    <a:pt x="289" y="935"/>
                  </a:lnTo>
                  <a:lnTo>
                    <a:pt x="286" y="935"/>
                  </a:lnTo>
                  <a:lnTo>
                    <a:pt x="285" y="934"/>
                  </a:lnTo>
                  <a:lnTo>
                    <a:pt x="282" y="931"/>
                  </a:lnTo>
                  <a:lnTo>
                    <a:pt x="282" y="928"/>
                  </a:lnTo>
                  <a:lnTo>
                    <a:pt x="278" y="918"/>
                  </a:lnTo>
                  <a:lnTo>
                    <a:pt x="276" y="915"/>
                  </a:lnTo>
                  <a:lnTo>
                    <a:pt x="276" y="912"/>
                  </a:lnTo>
                  <a:lnTo>
                    <a:pt x="272" y="907"/>
                  </a:lnTo>
                  <a:lnTo>
                    <a:pt x="272" y="905"/>
                  </a:lnTo>
                  <a:lnTo>
                    <a:pt x="259" y="898"/>
                  </a:lnTo>
                  <a:lnTo>
                    <a:pt x="254" y="892"/>
                  </a:lnTo>
                  <a:lnTo>
                    <a:pt x="252" y="891"/>
                  </a:lnTo>
                  <a:lnTo>
                    <a:pt x="251" y="891"/>
                  </a:lnTo>
                  <a:lnTo>
                    <a:pt x="244" y="891"/>
                  </a:lnTo>
                  <a:lnTo>
                    <a:pt x="242" y="891"/>
                  </a:lnTo>
                  <a:lnTo>
                    <a:pt x="242" y="889"/>
                  </a:lnTo>
                  <a:lnTo>
                    <a:pt x="244" y="888"/>
                  </a:lnTo>
                  <a:lnTo>
                    <a:pt x="244" y="887"/>
                  </a:lnTo>
                  <a:lnTo>
                    <a:pt x="244" y="885"/>
                  </a:lnTo>
                  <a:lnTo>
                    <a:pt x="244" y="882"/>
                  </a:lnTo>
                  <a:lnTo>
                    <a:pt x="244" y="882"/>
                  </a:lnTo>
                  <a:lnTo>
                    <a:pt x="246" y="879"/>
                  </a:lnTo>
                  <a:lnTo>
                    <a:pt x="246" y="879"/>
                  </a:lnTo>
                  <a:lnTo>
                    <a:pt x="245" y="878"/>
                  </a:lnTo>
                  <a:lnTo>
                    <a:pt x="245" y="877"/>
                  </a:lnTo>
                  <a:lnTo>
                    <a:pt x="246" y="875"/>
                  </a:lnTo>
                  <a:lnTo>
                    <a:pt x="246" y="875"/>
                  </a:lnTo>
                  <a:lnTo>
                    <a:pt x="248" y="872"/>
                  </a:lnTo>
                  <a:lnTo>
                    <a:pt x="249" y="869"/>
                  </a:lnTo>
                  <a:lnTo>
                    <a:pt x="249" y="867"/>
                  </a:lnTo>
                  <a:lnTo>
                    <a:pt x="251" y="865"/>
                  </a:lnTo>
                  <a:lnTo>
                    <a:pt x="254" y="861"/>
                  </a:lnTo>
                  <a:lnTo>
                    <a:pt x="255" y="859"/>
                  </a:lnTo>
                  <a:lnTo>
                    <a:pt x="256" y="858"/>
                  </a:lnTo>
                  <a:lnTo>
                    <a:pt x="256" y="857"/>
                  </a:lnTo>
                  <a:lnTo>
                    <a:pt x="255" y="857"/>
                  </a:lnTo>
                  <a:lnTo>
                    <a:pt x="255" y="855"/>
                  </a:lnTo>
                  <a:lnTo>
                    <a:pt x="255" y="849"/>
                  </a:lnTo>
                  <a:lnTo>
                    <a:pt x="255" y="848"/>
                  </a:lnTo>
                  <a:lnTo>
                    <a:pt x="256" y="845"/>
                  </a:lnTo>
                  <a:lnTo>
                    <a:pt x="256" y="844"/>
                  </a:lnTo>
                  <a:lnTo>
                    <a:pt x="256" y="842"/>
                  </a:lnTo>
                  <a:lnTo>
                    <a:pt x="262" y="839"/>
                  </a:lnTo>
                  <a:lnTo>
                    <a:pt x="262" y="838"/>
                  </a:lnTo>
                  <a:lnTo>
                    <a:pt x="262" y="838"/>
                  </a:lnTo>
                  <a:lnTo>
                    <a:pt x="262" y="837"/>
                  </a:lnTo>
                  <a:lnTo>
                    <a:pt x="262" y="835"/>
                  </a:lnTo>
                  <a:lnTo>
                    <a:pt x="262" y="834"/>
                  </a:lnTo>
                  <a:lnTo>
                    <a:pt x="261" y="834"/>
                  </a:lnTo>
                  <a:lnTo>
                    <a:pt x="259" y="832"/>
                  </a:lnTo>
                  <a:lnTo>
                    <a:pt x="258" y="831"/>
                  </a:lnTo>
                  <a:lnTo>
                    <a:pt x="259" y="828"/>
                  </a:lnTo>
                  <a:lnTo>
                    <a:pt x="262" y="824"/>
                  </a:lnTo>
                  <a:lnTo>
                    <a:pt x="262" y="822"/>
                  </a:lnTo>
                  <a:lnTo>
                    <a:pt x="265" y="812"/>
                  </a:lnTo>
                  <a:lnTo>
                    <a:pt x="269" y="807"/>
                  </a:lnTo>
                  <a:lnTo>
                    <a:pt x="271" y="799"/>
                  </a:lnTo>
                  <a:lnTo>
                    <a:pt x="275" y="792"/>
                  </a:lnTo>
                  <a:lnTo>
                    <a:pt x="275" y="791"/>
                  </a:lnTo>
                  <a:lnTo>
                    <a:pt x="273" y="789"/>
                  </a:lnTo>
                  <a:lnTo>
                    <a:pt x="271" y="788"/>
                  </a:lnTo>
                  <a:lnTo>
                    <a:pt x="269" y="785"/>
                  </a:lnTo>
                  <a:lnTo>
                    <a:pt x="268" y="782"/>
                  </a:lnTo>
                  <a:lnTo>
                    <a:pt x="262" y="765"/>
                  </a:lnTo>
                  <a:lnTo>
                    <a:pt x="262" y="764"/>
                  </a:lnTo>
                  <a:lnTo>
                    <a:pt x="262" y="761"/>
                  </a:lnTo>
                  <a:lnTo>
                    <a:pt x="261" y="759"/>
                  </a:lnTo>
                  <a:lnTo>
                    <a:pt x="261" y="758"/>
                  </a:lnTo>
                  <a:lnTo>
                    <a:pt x="281" y="754"/>
                  </a:lnTo>
                  <a:lnTo>
                    <a:pt x="293" y="752"/>
                  </a:lnTo>
                  <a:lnTo>
                    <a:pt x="308" y="747"/>
                  </a:lnTo>
                  <a:lnTo>
                    <a:pt x="312" y="747"/>
                  </a:lnTo>
                  <a:lnTo>
                    <a:pt x="315" y="748"/>
                  </a:lnTo>
                  <a:lnTo>
                    <a:pt x="318" y="750"/>
                  </a:lnTo>
                  <a:lnTo>
                    <a:pt x="322" y="754"/>
                  </a:lnTo>
                  <a:lnTo>
                    <a:pt x="326" y="758"/>
                  </a:lnTo>
                  <a:lnTo>
                    <a:pt x="336" y="764"/>
                  </a:lnTo>
                  <a:lnTo>
                    <a:pt x="343" y="765"/>
                  </a:lnTo>
                  <a:lnTo>
                    <a:pt x="341" y="769"/>
                  </a:lnTo>
                  <a:lnTo>
                    <a:pt x="341" y="771"/>
                  </a:lnTo>
                  <a:lnTo>
                    <a:pt x="341" y="772"/>
                  </a:lnTo>
                  <a:close/>
                  <a:moveTo>
                    <a:pt x="766" y="769"/>
                  </a:moveTo>
                  <a:lnTo>
                    <a:pt x="771" y="772"/>
                  </a:lnTo>
                  <a:lnTo>
                    <a:pt x="774" y="774"/>
                  </a:lnTo>
                  <a:lnTo>
                    <a:pt x="776" y="775"/>
                  </a:lnTo>
                  <a:lnTo>
                    <a:pt x="778" y="779"/>
                  </a:lnTo>
                  <a:lnTo>
                    <a:pt x="781" y="781"/>
                  </a:lnTo>
                  <a:lnTo>
                    <a:pt x="786" y="778"/>
                  </a:lnTo>
                  <a:lnTo>
                    <a:pt x="790" y="778"/>
                  </a:lnTo>
                  <a:lnTo>
                    <a:pt x="798" y="778"/>
                  </a:lnTo>
                  <a:lnTo>
                    <a:pt x="806" y="782"/>
                  </a:lnTo>
                  <a:lnTo>
                    <a:pt x="808" y="784"/>
                  </a:lnTo>
                  <a:lnTo>
                    <a:pt x="810" y="787"/>
                  </a:lnTo>
                  <a:lnTo>
                    <a:pt x="810" y="789"/>
                  </a:lnTo>
                  <a:lnTo>
                    <a:pt x="808" y="794"/>
                  </a:lnTo>
                  <a:lnTo>
                    <a:pt x="807" y="797"/>
                  </a:lnTo>
                  <a:lnTo>
                    <a:pt x="804" y="804"/>
                  </a:lnTo>
                  <a:lnTo>
                    <a:pt x="801" y="807"/>
                  </a:lnTo>
                  <a:lnTo>
                    <a:pt x="801" y="808"/>
                  </a:lnTo>
                  <a:lnTo>
                    <a:pt x="800" y="809"/>
                  </a:lnTo>
                  <a:lnTo>
                    <a:pt x="798" y="812"/>
                  </a:lnTo>
                  <a:lnTo>
                    <a:pt x="796" y="818"/>
                  </a:lnTo>
                  <a:lnTo>
                    <a:pt x="796" y="819"/>
                  </a:lnTo>
                  <a:lnTo>
                    <a:pt x="791" y="822"/>
                  </a:lnTo>
                  <a:lnTo>
                    <a:pt x="793" y="824"/>
                  </a:lnTo>
                  <a:lnTo>
                    <a:pt x="793" y="825"/>
                  </a:lnTo>
                  <a:lnTo>
                    <a:pt x="793" y="828"/>
                  </a:lnTo>
                  <a:lnTo>
                    <a:pt x="790" y="834"/>
                  </a:lnTo>
                  <a:lnTo>
                    <a:pt x="787" y="839"/>
                  </a:lnTo>
                  <a:lnTo>
                    <a:pt x="786" y="844"/>
                  </a:lnTo>
                  <a:lnTo>
                    <a:pt x="783" y="849"/>
                  </a:lnTo>
                  <a:lnTo>
                    <a:pt x="780" y="851"/>
                  </a:lnTo>
                  <a:lnTo>
                    <a:pt x="778" y="851"/>
                  </a:lnTo>
                  <a:lnTo>
                    <a:pt x="763" y="847"/>
                  </a:lnTo>
                  <a:lnTo>
                    <a:pt x="758" y="847"/>
                  </a:lnTo>
                  <a:lnTo>
                    <a:pt x="748" y="848"/>
                  </a:lnTo>
                  <a:lnTo>
                    <a:pt x="750" y="849"/>
                  </a:lnTo>
                  <a:lnTo>
                    <a:pt x="753" y="852"/>
                  </a:lnTo>
                  <a:lnTo>
                    <a:pt x="756" y="854"/>
                  </a:lnTo>
                  <a:lnTo>
                    <a:pt x="758" y="859"/>
                  </a:lnTo>
                  <a:lnTo>
                    <a:pt x="760" y="861"/>
                  </a:lnTo>
                  <a:lnTo>
                    <a:pt x="760" y="862"/>
                  </a:lnTo>
                  <a:lnTo>
                    <a:pt x="760" y="865"/>
                  </a:lnTo>
                  <a:lnTo>
                    <a:pt x="760" y="867"/>
                  </a:lnTo>
                  <a:lnTo>
                    <a:pt x="754" y="875"/>
                  </a:lnTo>
                  <a:lnTo>
                    <a:pt x="753" y="882"/>
                  </a:lnTo>
                  <a:lnTo>
                    <a:pt x="751" y="887"/>
                  </a:lnTo>
                  <a:lnTo>
                    <a:pt x="750" y="889"/>
                  </a:lnTo>
                  <a:lnTo>
                    <a:pt x="744" y="887"/>
                  </a:lnTo>
                  <a:lnTo>
                    <a:pt x="743" y="887"/>
                  </a:lnTo>
                  <a:lnTo>
                    <a:pt x="736" y="888"/>
                  </a:lnTo>
                  <a:lnTo>
                    <a:pt x="733" y="888"/>
                  </a:lnTo>
                  <a:lnTo>
                    <a:pt x="733" y="879"/>
                  </a:lnTo>
                  <a:lnTo>
                    <a:pt x="733" y="871"/>
                  </a:lnTo>
                  <a:lnTo>
                    <a:pt x="733" y="862"/>
                  </a:lnTo>
                  <a:lnTo>
                    <a:pt x="727" y="848"/>
                  </a:lnTo>
                  <a:lnTo>
                    <a:pt x="727" y="845"/>
                  </a:lnTo>
                  <a:lnTo>
                    <a:pt x="727" y="842"/>
                  </a:lnTo>
                  <a:lnTo>
                    <a:pt x="726" y="838"/>
                  </a:lnTo>
                  <a:lnTo>
                    <a:pt x="726" y="835"/>
                  </a:lnTo>
                  <a:lnTo>
                    <a:pt x="727" y="829"/>
                  </a:lnTo>
                  <a:lnTo>
                    <a:pt x="727" y="827"/>
                  </a:lnTo>
                  <a:lnTo>
                    <a:pt x="727" y="818"/>
                  </a:lnTo>
                  <a:lnTo>
                    <a:pt x="726" y="804"/>
                  </a:lnTo>
                  <a:lnTo>
                    <a:pt x="726" y="799"/>
                  </a:lnTo>
                  <a:lnTo>
                    <a:pt x="726" y="798"/>
                  </a:lnTo>
                  <a:lnTo>
                    <a:pt x="726" y="797"/>
                  </a:lnTo>
                  <a:lnTo>
                    <a:pt x="727" y="795"/>
                  </a:lnTo>
                  <a:lnTo>
                    <a:pt x="729" y="794"/>
                  </a:lnTo>
                  <a:lnTo>
                    <a:pt x="730" y="794"/>
                  </a:lnTo>
                  <a:lnTo>
                    <a:pt x="736" y="797"/>
                  </a:lnTo>
                  <a:lnTo>
                    <a:pt x="738" y="798"/>
                  </a:lnTo>
                  <a:lnTo>
                    <a:pt x="741" y="798"/>
                  </a:lnTo>
                  <a:lnTo>
                    <a:pt x="741" y="798"/>
                  </a:lnTo>
                  <a:lnTo>
                    <a:pt x="740" y="797"/>
                  </a:lnTo>
                  <a:lnTo>
                    <a:pt x="737" y="795"/>
                  </a:lnTo>
                  <a:lnTo>
                    <a:pt x="736" y="791"/>
                  </a:lnTo>
                  <a:lnTo>
                    <a:pt x="734" y="787"/>
                  </a:lnTo>
                  <a:lnTo>
                    <a:pt x="734" y="785"/>
                  </a:lnTo>
                  <a:lnTo>
                    <a:pt x="734" y="782"/>
                  </a:lnTo>
                  <a:lnTo>
                    <a:pt x="734" y="781"/>
                  </a:lnTo>
                  <a:lnTo>
                    <a:pt x="734" y="779"/>
                  </a:lnTo>
                  <a:lnTo>
                    <a:pt x="736" y="778"/>
                  </a:lnTo>
                  <a:lnTo>
                    <a:pt x="737" y="777"/>
                  </a:lnTo>
                  <a:lnTo>
                    <a:pt x="740" y="774"/>
                  </a:lnTo>
                  <a:lnTo>
                    <a:pt x="744" y="772"/>
                  </a:lnTo>
                  <a:lnTo>
                    <a:pt x="753" y="771"/>
                  </a:lnTo>
                  <a:lnTo>
                    <a:pt x="756" y="772"/>
                  </a:lnTo>
                  <a:lnTo>
                    <a:pt x="760" y="769"/>
                  </a:lnTo>
                  <a:lnTo>
                    <a:pt x="761" y="768"/>
                  </a:lnTo>
                  <a:lnTo>
                    <a:pt x="766" y="769"/>
                  </a:lnTo>
                  <a:close/>
                  <a:moveTo>
                    <a:pt x="684" y="787"/>
                  </a:moveTo>
                  <a:lnTo>
                    <a:pt x="679" y="788"/>
                  </a:lnTo>
                  <a:lnTo>
                    <a:pt x="677" y="788"/>
                  </a:lnTo>
                  <a:lnTo>
                    <a:pt x="676" y="789"/>
                  </a:lnTo>
                  <a:lnTo>
                    <a:pt x="674" y="789"/>
                  </a:lnTo>
                  <a:lnTo>
                    <a:pt x="673" y="789"/>
                  </a:lnTo>
                  <a:lnTo>
                    <a:pt x="667" y="787"/>
                  </a:lnTo>
                  <a:lnTo>
                    <a:pt x="666" y="787"/>
                  </a:lnTo>
                  <a:lnTo>
                    <a:pt x="666" y="785"/>
                  </a:lnTo>
                  <a:lnTo>
                    <a:pt x="666" y="784"/>
                  </a:lnTo>
                  <a:lnTo>
                    <a:pt x="667" y="784"/>
                  </a:lnTo>
                  <a:lnTo>
                    <a:pt x="670" y="782"/>
                  </a:lnTo>
                  <a:lnTo>
                    <a:pt x="671" y="781"/>
                  </a:lnTo>
                  <a:lnTo>
                    <a:pt x="673" y="779"/>
                  </a:lnTo>
                  <a:lnTo>
                    <a:pt x="674" y="778"/>
                  </a:lnTo>
                  <a:lnTo>
                    <a:pt x="674" y="778"/>
                  </a:lnTo>
                  <a:lnTo>
                    <a:pt x="679" y="777"/>
                  </a:lnTo>
                  <a:lnTo>
                    <a:pt x="687" y="772"/>
                  </a:lnTo>
                  <a:lnTo>
                    <a:pt x="691" y="772"/>
                  </a:lnTo>
                  <a:lnTo>
                    <a:pt x="693" y="772"/>
                  </a:lnTo>
                  <a:lnTo>
                    <a:pt x="693" y="774"/>
                  </a:lnTo>
                  <a:lnTo>
                    <a:pt x="693" y="775"/>
                  </a:lnTo>
                  <a:lnTo>
                    <a:pt x="693" y="777"/>
                  </a:lnTo>
                  <a:lnTo>
                    <a:pt x="691" y="778"/>
                  </a:lnTo>
                  <a:lnTo>
                    <a:pt x="690" y="781"/>
                  </a:lnTo>
                  <a:lnTo>
                    <a:pt x="686" y="785"/>
                  </a:lnTo>
                  <a:lnTo>
                    <a:pt x="684" y="787"/>
                  </a:lnTo>
                  <a:close/>
                  <a:moveTo>
                    <a:pt x="656" y="782"/>
                  </a:moveTo>
                  <a:lnTo>
                    <a:pt x="670" y="795"/>
                  </a:lnTo>
                  <a:lnTo>
                    <a:pt x="671" y="794"/>
                  </a:lnTo>
                  <a:lnTo>
                    <a:pt x="676" y="792"/>
                  </a:lnTo>
                  <a:lnTo>
                    <a:pt x="680" y="791"/>
                  </a:lnTo>
                  <a:lnTo>
                    <a:pt x="686" y="789"/>
                  </a:lnTo>
                  <a:lnTo>
                    <a:pt x="689" y="787"/>
                  </a:lnTo>
                  <a:lnTo>
                    <a:pt x="691" y="787"/>
                  </a:lnTo>
                  <a:lnTo>
                    <a:pt x="693" y="785"/>
                  </a:lnTo>
                  <a:lnTo>
                    <a:pt x="694" y="785"/>
                  </a:lnTo>
                  <a:lnTo>
                    <a:pt x="699" y="787"/>
                  </a:lnTo>
                  <a:lnTo>
                    <a:pt x="700" y="788"/>
                  </a:lnTo>
                  <a:lnTo>
                    <a:pt x="701" y="789"/>
                  </a:lnTo>
                  <a:lnTo>
                    <a:pt x="703" y="791"/>
                  </a:lnTo>
                  <a:lnTo>
                    <a:pt x="704" y="797"/>
                  </a:lnTo>
                  <a:lnTo>
                    <a:pt x="704" y="798"/>
                  </a:lnTo>
                  <a:lnTo>
                    <a:pt x="704" y="798"/>
                  </a:lnTo>
                  <a:lnTo>
                    <a:pt x="703" y="801"/>
                  </a:lnTo>
                  <a:lnTo>
                    <a:pt x="701" y="802"/>
                  </a:lnTo>
                  <a:lnTo>
                    <a:pt x="700" y="804"/>
                  </a:lnTo>
                  <a:lnTo>
                    <a:pt x="697" y="804"/>
                  </a:lnTo>
                  <a:lnTo>
                    <a:pt x="696" y="807"/>
                  </a:lnTo>
                  <a:lnTo>
                    <a:pt x="694" y="805"/>
                  </a:lnTo>
                  <a:lnTo>
                    <a:pt x="694" y="808"/>
                  </a:lnTo>
                  <a:lnTo>
                    <a:pt x="694" y="808"/>
                  </a:lnTo>
                  <a:lnTo>
                    <a:pt x="694" y="809"/>
                  </a:lnTo>
                  <a:lnTo>
                    <a:pt x="696" y="809"/>
                  </a:lnTo>
                  <a:lnTo>
                    <a:pt x="697" y="808"/>
                  </a:lnTo>
                  <a:lnTo>
                    <a:pt x="699" y="809"/>
                  </a:lnTo>
                  <a:lnTo>
                    <a:pt x="700" y="809"/>
                  </a:lnTo>
                  <a:lnTo>
                    <a:pt x="700" y="812"/>
                  </a:lnTo>
                  <a:lnTo>
                    <a:pt x="700" y="814"/>
                  </a:lnTo>
                  <a:lnTo>
                    <a:pt x="696" y="817"/>
                  </a:lnTo>
                  <a:lnTo>
                    <a:pt x="691" y="819"/>
                  </a:lnTo>
                  <a:lnTo>
                    <a:pt x="686" y="829"/>
                  </a:lnTo>
                  <a:lnTo>
                    <a:pt x="681" y="834"/>
                  </a:lnTo>
                  <a:lnTo>
                    <a:pt x="681" y="834"/>
                  </a:lnTo>
                  <a:lnTo>
                    <a:pt x="681" y="835"/>
                  </a:lnTo>
                  <a:lnTo>
                    <a:pt x="681" y="838"/>
                  </a:lnTo>
                  <a:lnTo>
                    <a:pt x="681" y="838"/>
                  </a:lnTo>
                  <a:lnTo>
                    <a:pt x="683" y="839"/>
                  </a:lnTo>
                  <a:lnTo>
                    <a:pt x="686" y="835"/>
                  </a:lnTo>
                  <a:lnTo>
                    <a:pt x="687" y="834"/>
                  </a:lnTo>
                  <a:lnTo>
                    <a:pt x="689" y="834"/>
                  </a:lnTo>
                  <a:lnTo>
                    <a:pt x="693" y="834"/>
                  </a:lnTo>
                  <a:lnTo>
                    <a:pt x="694" y="834"/>
                  </a:lnTo>
                  <a:lnTo>
                    <a:pt x="697" y="837"/>
                  </a:lnTo>
                  <a:lnTo>
                    <a:pt x="699" y="839"/>
                  </a:lnTo>
                  <a:lnTo>
                    <a:pt x="700" y="839"/>
                  </a:lnTo>
                  <a:lnTo>
                    <a:pt x="699" y="841"/>
                  </a:lnTo>
                  <a:lnTo>
                    <a:pt x="699" y="842"/>
                  </a:lnTo>
                  <a:lnTo>
                    <a:pt x="699" y="842"/>
                  </a:lnTo>
                  <a:lnTo>
                    <a:pt x="700" y="844"/>
                  </a:lnTo>
                  <a:lnTo>
                    <a:pt x="703" y="848"/>
                  </a:lnTo>
                  <a:lnTo>
                    <a:pt x="703" y="851"/>
                  </a:lnTo>
                  <a:lnTo>
                    <a:pt x="701" y="854"/>
                  </a:lnTo>
                  <a:lnTo>
                    <a:pt x="701" y="855"/>
                  </a:lnTo>
                  <a:lnTo>
                    <a:pt x="701" y="855"/>
                  </a:lnTo>
                  <a:lnTo>
                    <a:pt x="703" y="855"/>
                  </a:lnTo>
                  <a:lnTo>
                    <a:pt x="706" y="852"/>
                  </a:lnTo>
                  <a:lnTo>
                    <a:pt x="710" y="851"/>
                  </a:lnTo>
                  <a:lnTo>
                    <a:pt x="710" y="851"/>
                  </a:lnTo>
                  <a:lnTo>
                    <a:pt x="711" y="852"/>
                  </a:lnTo>
                  <a:lnTo>
                    <a:pt x="713" y="855"/>
                  </a:lnTo>
                  <a:lnTo>
                    <a:pt x="713" y="859"/>
                  </a:lnTo>
                  <a:lnTo>
                    <a:pt x="713" y="864"/>
                  </a:lnTo>
                  <a:lnTo>
                    <a:pt x="713" y="867"/>
                  </a:lnTo>
                  <a:lnTo>
                    <a:pt x="711" y="868"/>
                  </a:lnTo>
                  <a:lnTo>
                    <a:pt x="710" y="871"/>
                  </a:lnTo>
                  <a:lnTo>
                    <a:pt x="709" y="872"/>
                  </a:lnTo>
                  <a:lnTo>
                    <a:pt x="707" y="872"/>
                  </a:lnTo>
                  <a:lnTo>
                    <a:pt x="707" y="872"/>
                  </a:lnTo>
                  <a:lnTo>
                    <a:pt x="710" y="875"/>
                  </a:lnTo>
                  <a:lnTo>
                    <a:pt x="710" y="877"/>
                  </a:lnTo>
                  <a:lnTo>
                    <a:pt x="710" y="878"/>
                  </a:lnTo>
                  <a:lnTo>
                    <a:pt x="710" y="879"/>
                  </a:lnTo>
                  <a:lnTo>
                    <a:pt x="710" y="881"/>
                  </a:lnTo>
                  <a:lnTo>
                    <a:pt x="707" y="887"/>
                  </a:lnTo>
                  <a:lnTo>
                    <a:pt x="709" y="887"/>
                  </a:lnTo>
                  <a:lnTo>
                    <a:pt x="709" y="888"/>
                  </a:lnTo>
                  <a:lnTo>
                    <a:pt x="710" y="891"/>
                  </a:lnTo>
                  <a:lnTo>
                    <a:pt x="710" y="898"/>
                  </a:lnTo>
                  <a:lnTo>
                    <a:pt x="704" y="899"/>
                  </a:lnTo>
                  <a:lnTo>
                    <a:pt x="704" y="901"/>
                  </a:lnTo>
                  <a:lnTo>
                    <a:pt x="703" y="904"/>
                  </a:lnTo>
                  <a:lnTo>
                    <a:pt x="700" y="905"/>
                  </a:lnTo>
                  <a:lnTo>
                    <a:pt x="697" y="908"/>
                  </a:lnTo>
                  <a:lnTo>
                    <a:pt x="694" y="908"/>
                  </a:lnTo>
                  <a:lnTo>
                    <a:pt x="686" y="907"/>
                  </a:lnTo>
                  <a:lnTo>
                    <a:pt x="684" y="905"/>
                  </a:lnTo>
                  <a:lnTo>
                    <a:pt x="683" y="904"/>
                  </a:lnTo>
                  <a:lnTo>
                    <a:pt x="683" y="901"/>
                  </a:lnTo>
                  <a:lnTo>
                    <a:pt x="683" y="899"/>
                  </a:lnTo>
                  <a:lnTo>
                    <a:pt x="683" y="898"/>
                  </a:lnTo>
                  <a:lnTo>
                    <a:pt x="683" y="897"/>
                  </a:lnTo>
                  <a:lnTo>
                    <a:pt x="683" y="897"/>
                  </a:lnTo>
                  <a:lnTo>
                    <a:pt x="681" y="898"/>
                  </a:lnTo>
                  <a:lnTo>
                    <a:pt x="680" y="901"/>
                  </a:lnTo>
                  <a:lnTo>
                    <a:pt x="681" y="904"/>
                  </a:lnTo>
                  <a:lnTo>
                    <a:pt x="684" y="911"/>
                  </a:lnTo>
                  <a:lnTo>
                    <a:pt x="684" y="915"/>
                  </a:lnTo>
                  <a:lnTo>
                    <a:pt x="686" y="917"/>
                  </a:lnTo>
                  <a:lnTo>
                    <a:pt x="684" y="918"/>
                  </a:lnTo>
                  <a:lnTo>
                    <a:pt x="681" y="922"/>
                  </a:lnTo>
                  <a:lnTo>
                    <a:pt x="680" y="924"/>
                  </a:lnTo>
                  <a:lnTo>
                    <a:pt x="677" y="924"/>
                  </a:lnTo>
                  <a:lnTo>
                    <a:pt x="676" y="924"/>
                  </a:lnTo>
                  <a:lnTo>
                    <a:pt x="674" y="922"/>
                  </a:lnTo>
                  <a:lnTo>
                    <a:pt x="673" y="921"/>
                  </a:lnTo>
                  <a:lnTo>
                    <a:pt x="670" y="921"/>
                  </a:lnTo>
                  <a:lnTo>
                    <a:pt x="669" y="919"/>
                  </a:lnTo>
                  <a:lnTo>
                    <a:pt x="667" y="918"/>
                  </a:lnTo>
                  <a:lnTo>
                    <a:pt x="666" y="911"/>
                  </a:lnTo>
                  <a:lnTo>
                    <a:pt x="663" y="907"/>
                  </a:lnTo>
                  <a:lnTo>
                    <a:pt x="660" y="901"/>
                  </a:lnTo>
                  <a:lnTo>
                    <a:pt x="654" y="894"/>
                  </a:lnTo>
                  <a:lnTo>
                    <a:pt x="651" y="888"/>
                  </a:lnTo>
                  <a:lnTo>
                    <a:pt x="647" y="881"/>
                  </a:lnTo>
                  <a:lnTo>
                    <a:pt x="644" y="879"/>
                  </a:lnTo>
                  <a:lnTo>
                    <a:pt x="643" y="878"/>
                  </a:lnTo>
                  <a:lnTo>
                    <a:pt x="640" y="878"/>
                  </a:lnTo>
                  <a:lnTo>
                    <a:pt x="640" y="877"/>
                  </a:lnTo>
                  <a:lnTo>
                    <a:pt x="639" y="874"/>
                  </a:lnTo>
                  <a:lnTo>
                    <a:pt x="637" y="872"/>
                  </a:lnTo>
                  <a:lnTo>
                    <a:pt x="636" y="872"/>
                  </a:lnTo>
                  <a:lnTo>
                    <a:pt x="634" y="872"/>
                  </a:lnTo>
                  <a:lnTo>
                    <a:pt x="632" y="874"/>
                  </a:lnTo>
                  <a:lnTo>
                    <a:pt x="629" y="872"/>
                  </a:lnTo>
                  <a:lnTo>
                    <a:pt x="627" y="871"/>
                  </a:lnTo>
                  <a:lnTo>
                    <a:pt x="627" y="868"/>
                  </a:lnTo>
                  <a:lnTo>
                    <a:pt x="627" y="868"/>
                  </a:lnTo>
                  <a:lnTo>
                    <a:pt x="626" y="867"/>
                  </a:lnTo>
                  <a:lnTo>
                    <a:pt x="624" y="864"/>
                  </a:lnTo>
                  <a:lnTo>
                    <a:pt x="617" y="858"/>
                  </a:lnTo>
                  <a:lnTo>
                    <a:pt x="613" y="851"/>
                  </a:lnTo>
                  <a:lnTo>
                    <a:pt x="613" y="848"/>
                  </a:lnTo>
                  <a:lnTo>
                    <a:pt x="613" y="848"/>
                  </a:lnTo>
                  <a:lnTo>
                    <a:pt x="613" y="844"/>
                  </a:lnTo>
                  <a:lnTo>
                    <a:pt x="614" y="841"/>
                  </a:lnTo>
                  <a:lnTo>
                    <a:pt x="616" y="837"/>
                  </a:lnTo>
                  <a:lnTo>
                    <a:pt x="616" y="835"/>
                  </a:lnTo>
                  <a:lnTo>
                    <a:pt x="619" y="832"/>
                  </a:lnTo>
                  <a:lnTo>
                    <a:pt x="620" y="831"/>
                  </a:lnTo>
                  <a:lnTo>
                    <a:pt x="624" y="832"/>
                  </a:lnTo>
                  <a:lnTo>
                    <a:pt x="626" y="832"/>
                  </a:lnTo>
                  <a:lnTo>
                    <a:pt x="627" y="835"/>
                  </a:lnTo>
                  <a:lnTo>
                    <a:pt x="627" y="837"/>
                  </a:lnTo>
                  <a:lnTo>
                    <a:pt x="629" y="838"/>
                  </a:lnTo>
                  <a:lnTo>
                    <a:pt x="630" y="841"/>
                  </a:lnTo>
                  <a:lnTo>
                    <a:pt x="632" y="842"/>
                  </a:lnTo>
                  <a:lnTo>
                    <a:pt x="633" y="845"/>
                  </a:lnTo>
                  <a:lnTo>
                    <a:pt x="634" y="849"/>
                  </a:lnTo>
                  <a:lnTo>
                    <a:pt x="636" y="851"/>
                  </a:lnTo>
                  <a:lnTo>
                    <a:pt x="639" y="851"/>
                  </a:lnTo>
                  <a:lnTo>
                    <a:pt x="641" y="851"/>
                  </a:lnTo>
                  <a:lnTo>
                    <a:pt x="649" y="848"/>
                  </a:lnTo>
                  <a:lnTo>
                    <a:pt x="649" y="848"/>
                  </a:lnTo>
                  <a:lnTo>
                    <a:pt x="649" y="847"/>
                  </a:lnTo>
                  <a:lnTo>
                    <a:pt x="650" y="837"/>
                  </a:lnTo>
                  <a:lnTo>
                    <a:pt x="650" y="837"/>
                  </a:lnTo>
                  <a:lnTo>
                    <a:pt x="653" y="841"/>
                  </a:lnTo>
                  <a:lnTo>
                    <a:pt x="653" y="841"/>
                  </a:lnTo>
                  <a:lnTo>
                    <a:pt x="654" y="841"/>
                  </a:lnTo>
                  <a:lnTo>
                    <a:pt x="654" y="838"/>
                  </a:lnTo>
                  <a:lnTo>
                    <a:pt x="654" y="838"/>
                  </a:lnTo>
                  <a:lnTo>
                    <a:pt x="653" y="832"/>
                  </a:lnTo>
                  <a:lnTo>
                    <a:pt x="653" y="831"/>
                  </a:lnTo>
                  <a:lnTo>
                    <a:pt x="651" y="829"/>
                  </a:lnTo>
                  <a:lnTo>
                    <a:pt x="650" y="828"/>
                  </a:lnTo>
                  <a:lnTo>
                    <a:pt x="649" y="829"/>
                  </a:lnTo>
                  <a:lnTo>
                    <a:pt x="647" y="828"/>
                  </a:lnTo>
                  <a:lnTo>
                    <a:pt x="647" y="827"/>
                  </a:lnTo>
                  <a:lnTo>
                    <a:pt x="647" y="825"/>
                  </a:lnTo>
                  <a:lnTo>
                    <a:pt x="649" y="822"/>
                  </a:lnTo>
                  <a:lnTo>
                    <a:pt x="649" y="821"/>
                  </a:lnTo>
                  <a:lnTo>
                    <a:pt x="650" y="821"/>
                  </a:lnTo>
                  <a:lnTo>
                    <a:pt x="653" y="821"/>
                  </a:lnTo>
                  <a:lnTo>
                    <a:pt x="654" y="824"/>
                  </a:lnTo>
                  <a:lnTo>
                    <a:pt x="657" y="824"/>
                  </a:lnTo>
                  <a:lnTo>
                    <a:pt x="659" y="824"/>
                  </a:lnTo>
                  <a:lnTo>
                    <a:pt x="656" y="822"/>
                  </a:lnTo>
                  <a:lnTo>
                    <a:pt x="651" y="817"/>
                  </a:lnTo>
                  <a:lnTo>
                    <a:pt x="650" y="815"/>
                  </a:lnTo>
                  <a:lnTo>
                    <a:pt x="649" y="818"/>
                  </a:lnTo>
                  <a:lnTo>
                    <a:pt x="647" y="819"/>
                  </a:lnTo>
                  <a:lnTo>
                    <a:pt x="644" y="819"/>
                  </a:lnTo>
                  <a:lnTo>
                    <a:pt x="641" y="821"/>
                  </a:lnTo>
                  <a:lnTo>
                    <a:pt x="633" y="811"/>
                  </a:lnTo>
                  <a:lnTo>
                    <a:pt x="633" y="811"/>
                  </a:lnTo>
                  <a:lnTo>
                    <a:pt x="632" y="808"/>
                  </a:lnTo>
                  <a:lnTo>
                    <a:pt x="632" y="808"/>
                  </a:lnTo>
                  <a:lnTo>
                    <a:pt x="633" y="805"/>
                  </a:lnTo>
                  <a:lnTo>
                    <a:pt x="634" y="804"/>
                  </a:lnTo>
                  <a:lnTo>
                    <a:pt x="639" y="802"/>
                  </a:lnTo>
                  <a:lnTo>
                    <a:pt x="640" y="802"/>
                  </a:lnTo>
                  <a:lnTo>
                    <a:pt x="643" y="804"/>
                  </a:lnTo>
                  <a:lnTo>
                    <a:pt x="646" y="808"/>
                  </a:lnTo>
                  <a:lnTo>
                    <a:pt x="647" y="811"/>
                  </a:lnTo>
                  <a:lnTo>
                    <a:pt x="647" y="809"/>
                  </a:lnTo>
                  <a:lnTo>
                    <a:pt x="647" y="807"/>
                  </a:lnTo>
                  <a:lnTo>
                    <a:pt x="646" y="804"/>
                  </a:lnTo>
                  <a:lnTo>
                    <a:pt x="646" y="802"/>
                  </a:lnTo>
                  <a:lnTo>
                    <a:pt x="643" y="801"/>
                  </a:lnTo>
                  <a:lnTo>
                    <a:pt x="641" y="798"/>
                  </a:lnTo>
                  <a:lnTo>
                    <a:pt x="641" y="797"/>
                  </a:lnTo>
                  <a:lnTo>
                    <a:pt x="640" y="795"/>
                  </a:lnTo>
                  <a:lnTo>
                    <a:pt x="640" y="792"/>
                  </a:lnTo>
                  <a:lnTo>
                    <a:pt x="640" y="791"/>
                  </a:lnTo>
                  <a:lnTo>
                    <a:pt x="641" y="791"/>
                  </a:lnTo>
                  <a:lnTo>
                    <a:pt x="649" y="788"/>
                  </a:lnTo>
                  <a:lnTo>
                    <a:pt x="653" y="791"/>
                  </a:lnTo>
                  <a:lnTo>
                    <a:pt x="656" y="791"/>
                  </a:lnTo>
                  <a:lnTo>
                    <a:pt x="657" y="788"/>
                  </a:lnTo>
                  <a:lnTo>
                    <a:pt x="657" y="787"/>
                  </a:lnTo>
                  <a:lnTo>
                    <a:pt x="656" y="788"/>
                  </a:lnTo>
                  <a:lnTo>
                    <a:pt x="653" y="788"/>
                  </a:lnTo>
                  <a:lnTo>
                    <a:pt x="653" y="787"/>
                  </a:lnTo>
                  <a:lnTo>
                    <a:pt x="653" y="785"/>
                  </a:lnTo>
                  <a:lnTo>
                    <a:pt x="654" y="784"/>
                  </a:lnTo>
                  <a:lnTo>
                    <a:pt x="656" y="782"/>
                  </a:lnTo>
                  <a:close/>
                  <a:moveTo>
                    <a:pt x="871" y="939"/>
                  </a:moveTo>
                  <a:lnTo>
                    <a:pt x="871" y="939"/>
                  </a:lnTo>
                  <a:lnTo>
                    <a:pt x="875" y="938"/>
                  </a:lnTo>
                  <a:lnTo>
                    <a:pt x="878" y="937"/>
                  </a:lnTo>
                  <a:lnTo>
                    <a:pt x="883" y="934"/>
                  </a:lnTo>
                  <a:lnTo>
                    <a:pt x="885" y="932"/>
                  </a:lnTo>
                  <a:lnTo>
                    <a:pt x="895" y="932"/>
                  </a:lnTo>
                  <a:lnTo>
                    <a:pt x="897" y="932"/>
                  </a:lnTo>
                  <a:lnTo>
                    <a:pt x="895" y="935"/>
                  </a:lnTo>
                  <a:lnTo>
                    <a:pt x="895" y="935"/>
                  </a:lnTo>
                  <a:lnTo>
                    <a:pt x="895" y="937"/>
                  </a:lnTo>
                  <a:lnTo>
                    <a:pt x="897" y="938"/>
                  </a:lnTo>
                  <a:lnTo>
                    <a:pt x="898" y="939"/>
                  </a:lnTo>
                  <a:lnTo>
                    <a:pt x="900" y="938"/>
                  </a:lnTo>
                  <a:lnTo>
                    <a:pt x="900" y="935"/>
                  </a:lnTo>
                  <a:lnTo>
                    <a:pt x="901" y="921"/>
                  </a:lnTo>
                  <a:lnTo>
                    <a:pt x="901" y="918"/>
                  </a:lnTo>
                  <a:lnTo>
                    <a:pt x="901" y="914"/>
                  </a:lnTo>
                  <a:lnTo>
                    <a:pt x="901" y="909"/>
                  </a:lnTo>
                  <a:lnTo>
                    <a:pt x="901" y="908"/>
                  </a:lnTo>
                  <a:lnTo>
                    <a:pt x="898" y="907"/>
                  </a:lnTo>
                  <a:lnTo>
                    <a:pt x="895" y="907"/>
                  </a:lnTo>
                  <a:lnTo>
                    <a:pt x="894" y="907"/>
                  </a:lnTo>
                  <a:lnTo>
                    <a:pt x="893" y="905"/>
                  </a:lnTo>
                  <a:lnTo>
                    <a:pt x="891" y="904"/>
                  </a:lnTo>
                  <a:lnTo>
                    <a:pt x="890" y="902"/>
                  </a:lnTo>
                  <a:lnTo>
                    <a:pt x="888" y="898"/>
                  </a:lnTo>
                  <a:lnTo>
                    <a:pt x="887" y="895"/>
                  </a:lnTo>
                  <a:lnTo>
                    <a:pt x="883" y="891"/>
                  </a:lnTo>
                  <a:lnTo>
                    <a:pt x="881" y="889"/>
                  </a:lnTo>
                  <a:lnTo>
                    <a:pt x="883" y="888"/>
                  </a:lnTo>
                  <a:lnTo>
                    <a:pt x="885" y="885"/>
                  </a:lnTo>
                  <a:lnTo>
                    <a:pt x="887" y="884"/>
                  </a:lnTo>
                  <a:lnTo>
                    <a:pt x="890" y="878"/>
                  </a:lnTo>
                  <a:lnTo>
                    <a:pt x="891" y="877"/>
                  </a:lnTo>
                  <a:lnTo>
                    <a:pt x="895" y="878"/>
                  </a:lnTo>
                  <a:lnTo>
                    <a:pt x="903" y="882"/>
                  </a:lnTo>
                  <a:lnTo>
                    <a:pt x="907" y="887"/>
                  </a:lnTo>
                  <a:lnTo>
                    <a:pt x="908" y="887"/>
                  </a:lnTo>
                  <a:lnTo>
                    <a:pt x="908" y="885"/>
                  </a:lnTo>
                  <a:lnTo>
                    <a:pt x="907" y="884"/>
                  </a:lnTo>
                  <a:lnTo>
                    <a:pt x="903" y="879"/>
                  </a:lnTo>
                  <a:lnTo>
                    <a:pt x="900" y="875"/>
                  </a:lnTo>
                  <a:lnTo>
                    <a:pt x="898" y="872"/>
                  </a:lnTo>
                  <a:lnTo>
                    <a:pt x="900" y="871"/>
                  </a:lnTo>
                  <a:lnTo>
                    <a:pt x="903" y="871"/>
                  </a:lnTo>
                  <a:lnTo>
                    <a:pt x="903" y="869"/>
                  </a:lnTo>
                  <a:lnTo>
                    <a:pt x="898" y="868"/>
                  </a:lnTo>
                  <a:lnTo>
                    <a:pt x="897" y="868"/>
                  </a:lnTo>
                  <a:lnTo>
                    <a:pt x="895" y="868"/>
                  </a:lnTo>
                  <a:lnTo>
                    <a:pt x="894" y="868"/>
                  </a:lnTo>
                  <a:lnTo>
                    <a:pt x="891" y="867"/>
                  </a:lnTo>
                  <a:lnTo>
                    <a:pt x="890" y="865"/>
                  </a:lnTo>
                  <a:lnTo>
                    <a:pt x="888" y="862"/>
                  </a:lnTo>
                  <a:lnTo>
                    <a:pt x="887" y="859"/>
                  </a:lnTo>
                  <a:lnTo>
                    <a:pt x="887" y="857"/>
                  </a:lnTo>
                  <a:lnTo>
                    <a:pt x="885" y="855"/>
                  </a:lnTo>
                  <a:lnTo>
                    <a:pt x="885" y="851"/>
                  </a:lnTo>
                  <a:lnTo>
                    <a:pt x="885" y="848"/>
                  </a:lnTo>
                  <a:lnTo>
                    <a:pt x="887" y="845"/>
                  </a:lnTo>
                  <a:lnTo>
                    <a:pt x="887" y="844"/>
                  </a:lnTo>
                  <a:lnTo>
                    <a:pt x="888" y="839"/>
                  </a:lnTo>
                  <a:lnTo>
                    <a:pt x="890" y="838"/>
                  </a:lnTo>
                  <a:lnTo>
                    <a:pt x="893" y="838"/>
                  </a:lnTo>
                  <a:lnTo>
                    <a:pt x="897" y="839"/>
                  </a:lnTo>
                  <a:lnTo>
                    <a:pt x="908" y="847"/>
                  </a:lnTo>
                  <a:lnTo>
                    <a:pt x="908" y="844"/>
                  </a:lnTo>
                  <a:lnTo>
                    <a:pt x="895" y="835"/>
                  </a:lnTo>
                  <a:lnTo>
                    <a:pt x="890" y="832"/>
                  </a:lnTo>
                  <a:lnTo>
                    <a:pt x="888" y="829"/>
                  </a:lnTo>
                  <a:lnTo>
                    <a:pt x="895" y="817"/>
                  </a:lnTo>
                  <a:lnTo>
                    <a:pt x="903" y="814"/>
                  </a:lnTo>
                  <a:lnTo>
                    <a:pt x="905" y="809"/>
                  </a:lnTo>
                  <a:lnTo>
                    <a:pt x="911" y="809"/>
                  </a:lnTo>
                  <a:lnTo>
                    <a:pt x="915" y="812"/>
                  </a:lnTo>
                  <a:lnTo>
                    <a:pt x="915" y="812"/>
                  </a:lnTo>
                  <a:lnTo>
                    <a:pt x="914" y="807"/>
                  </a:lnTo>
                  <a:lnTo>
                    <a:pt x="914" y="807"/>
                  </a:lnTo>
                  <a:lnTo>
                    <a:pt x="917" y="804"/>
                  </a:lnTo>
                  <a:lnTo>
                    <a:pt x="921" y="801"/>
                  </a:lnTo>
                  <a:lnTo>
                    <a:pt x="928" y="798"/>
                  </a:lnTo>
                  <a:lnTo>
                    <a:pt x="930" y="797"/>
                  </a:lnTo>
                  <a:lnTo>
                    <a:pt x="931" y="795"/>
                  </a:lnTo>
                  <a:lnTo>
                    <a:pt x="934" y="795"/>
                  </a:lnTo>
                  <a:lnTo>
                    <a:pt x="941" y="794"/>
                  </a:lnTo>
                  <a:lnTo>
                    <a:pt x="945" y="795"/>
                  </a:lnTo>
                  <a:lnTo>
                    <a:pt x="951" y="797"/>
                  </a:lnTo>
                  <a:lnTo>
                    <a:pt x="954" y="799"/>
                  </a:lnTo>
                  <a:lnTo>
                    <a:pt x="955" y="802"/>
                  </a:lnTo>
                  <a:lnTo>
                    <a:pt x="957" y="809"/>
                  </a:lnTo>
                  <a:lnTo>
                    <a:pt x="958" y="818"/>
                  </a:lnTo>
                  <a:lnTo>
                    <a:pt x="960" y="822"/>
                  </a:lnTo>
                  <a:lnTo>
                    <a:pt x="964" y="824"/>
                  </a:lnTo>
                  <a:lnTo>
                    <a:pt x="965" y="827"/>
                  </a:lnTo>
                  <a:lnTo>
                    <a:pt x="967" y="829"/>
                  </a:lnTo>
                  <a:lnTo>
                    <a:pt x="967" y="832"/>
                  </a:lnTo>
                  <a:lnTo>
                    <a:pt x="967" y="835"/>
                  </a:lnTo>
                  <a:lnTo>
                    <a:pt x="967" y="839"/>
                  </a:lnTo>
                  <a:lnTo>
                    <a:pt x="968" y="844"/>
                  </a:lnTo>
                  <a:lnTo>
                    <a:pt x="970" y="845"/>
                  </a:lnTo>
                  <a:lnTo>
                    <a:pt x="972" y="848"/>
                  </a:lnTo>
                  <a:lnTo>
                    <a:pt x="972" y="849"/>
                  </a:lnTo>
                  <a:lnTo>
                    <a:pt x="971" y="851"/>
                  </a:lnTo>
                  <a:lnTo>
                    <a:pt x="970" y="852"/>
                  </a:lnTo>
                  <a:lnTo>
                    <a:pt x="965" y="859"/>
                  </a:lnTo>
                  <a:lnTo>
                    <a:pt x="961" y="867"/>
                  </a:lnTo>
                  <a:lnTo>
                    <a:pt x="957" y="872"/>
                  </a:lnTo>
                  <a:lnTo>
                    <a:pt x="957" y="874"/>
                  </a:lnTo>
                  <a:lnTo>
                    <a:pt x="964" y="865"/>
                  </a:lnTo>
                  <a:lnTo>
                    <a:pt x="967" y="865"/>
                  </a:lnTo>
                  <a:lnTo>
                    <a:pt x="967" y="867"/>
                  </a:lnTo>
                  <a:lnTo>
                    <a:pt x="965" y="871"/>
                  </a:lnTo>
                  <a:lnTo>
                    <a:pt x="964" y="875"/>
                  </a:lnTo>
                  <a:lnTo>
                    <a:pt x="961" y="878"/>
                  </a:lnTo>
                  <a:lnTo>
                    <a:pt x="961" y="879"/>
                  </a:lnTo>
                  <a:lnTo>
                    <a:pt x="965" y="884"/>
                  </a:lnTo>
                  <a:lnTo>
                    <a:pt x="965" y="884"/>
                  </a:lnTo>
                  <a:lnTo>
                    <a:pt x="962" y="884"/>
                  </a:lnTo>
                  <a:lnTo>
                    <a:pt x="962" y="884"/>
                  </a:lnTo>
                  <a:lnTo>
                    <a:pt x="961" y="885"/>
                  </a:lnTo>
                  <a:lnTo>
                    <a:pt x="961" y="887"/>
                  </a:lnTo>
                  <a:lnTo>
                    <a:pt x="961" y="888"/>
                  </a:lnTo>
                  <a:lnTo>
                    <a:pt x="961" y="891"/>
                  </a:lnTo>
                  <a:lnTo>
                    <a:pt x="961" y="892"/>
                  </a:lnTo>
                  <a:lnTo>
                    <a:pt x="961" y="894"/>
                  </a:lnTo>
                  <a:lnTo>
                    <a:pt x="961" y="894"/>
                  </a:lnTo>
                  <a:lnTo>
                    <a:pt x="962" y="894"/>
                  </a:lnTo>
                  <a:lnTo>
                    <a:pt x="964" y="892"/>
                  </a:lnTo>
                  <a:lnTo>
                    <a:pt x="965" y="889"/>
                  </a:lnTo>
                  <a:lnTo>
                    <a:pt x="970" y="881"/>
                  </a:lnTo>
                  <a:lnTo>
                    <a:pt x="974" y="878"/>
                  </a:lnTo>
                  <a:lnTo>
                    <a:pt x="974" y="878"/>
                  </a:lnTo>
                  <a:lnTo>
                    <a:pt x="978" y="879"/>
                  </a:lnTo>
                  <a:lnTo>
                    <a:pt x="978" y="879"/>
                  </a:lnTo>
                  <a:lnTo>
                    <a:pt x="975" y="874"/>
                  </a:lnTo>
                  <a:lnTo>
                    <a:pt x="975" y="871"/>
                  </a:lnTo>
                  <a:lnTo>
                    <a:pt x="975" y="869"/>
                  </a:lnTo>
                  <a:lnTo>
                    <a:pt x="975" y="868"/>
                  </a:lnTo>
                  <a:lnTo>
                    <a:pt x="978" y="867"/>
                  </a:lnTo>
                  <a:lnTo>
                    <a:pt x="980" y="865"/>
                  </a:lnTo>
                  <a:lnTo>
                    <a:pt x="980" y="865"/>
                  </a:lnTo>
                  <a:lnTo>
                    <a:pt x="981" y="869"/>
                  </a:lnTo>
                  <a:lnTo>
                    <a:pt x="982" y="871"/>
                  </a:lnTo>
                  <a:lnTo>
                    <a:pt x="982" y="872"/>
                  </a:lnTo>
                  <a:lnTo>
                    <a:pt x="985" y="871"/>
                  </a:lnTo>
                  <a:lnTo>
                    <a:pt x="987" y="868"/>
                  </a:lnTo>
                  <a:lnTo>
                    <a:pt x="990" y="869"/>
                  </a:lnTo>
                  <a:lnTo>
                    <a:pt x="992" y="875"/>
                  </a:lnTo>
                  <a:lnTo>
                    <a:pt x="992" y="879"/>
                  </a:lnTo>
                  <a:lnTo>
                    <a:pt x="992" y="884"/>
                  </a:lnTo>
                  <a:lnTo>
                    <a:pt x="992" y="887"/>
                  </a:lnTo>
                  <a:lnTo>
                    <a:pt x="995" y="892"/>
                  </a:lnTo>
                  <a:lnTo>
                    <a:pt x="998" y="895"/>
                  </a:lnTo>
                  <a:lnTo>
                    <a:pt x="1000" y="895"/>
                  </a:lnTo>
                  <a:lnTo>
                    <a:pt x="1000" y="894"/>
                  </a:lnTo>
                  <a:lnTo>
                    <a:pt x="998" y="892"/>
                  </a:lnTo>
                  <a:lnTo>
                    <a:pt x="997" y="891"/>
                  </a:lnTo>
                  <a:lnTo>
                    <a:pt x="995" y="887"/>
                  </a:lnTo>
                  <a:lnTo>
                    <a:pt x="994" y="884"/>
                  </a:lnTo>
                  <a:lnTo>
                    <a:pt x="995" y="875"/>
                  </a:lnTo>
                  <a:lnTo>
                    <a:pt x="997" y="871"/>
                  </a:lnTo>
                  <a:lnTo>
                    <a:pt x="1000" y="871"/>
                  </a:lnTo>
                  <a:lnTo>
                    <a:pt x="1001" y="874"/>
                  </a:lnTo>
                  <a:lnTo>
                    <a:pt x="1004" y="874"/>
                  </a:lnTo>
                  <a:lnTo>
                    <a:pt x="1007" y="874"/>
                  </a:lnTo>
                  <a:lnTo>
                    <a:pt x="1012" y="879"/>
                  </a:lnTo>
                  <a:lnTo>
                    <a:pt x="1017" y="879"/>
                  </a:lnTo>
                  <a:lnTo>
                    <a:pt x="1015" y="878"/>
                  </a:lnTo>
                  <a:lnTo>
                    <a:pt x="1014" y="877"/>
                  </a:lnTo>
                  <a:lnTo>
                    <a:pt x="1010" y="874"/>
                  </a:lnTo>
                  <a:lnTo>
                    <a:pt x="1004" y="869"/>
                  </a:lnTo>
                  <a:lnTo>
                    <a:pt x="1001" y="867"/>
                  </a:lnTo>
                  <a:lnTo>
                    <a:pt x="1001" y="864"/>
                  </a:lnTo>
                  <a:lnTo>
                    <a:pt x="1001" y="862"/>
                  </a:lnTo>
                  <a:lnTo>
                    <a:pt x="1001" y="861"/>
                  </a:lnTo>
                  <a:lnTo>
                    <a:pt x="1001" y="858"/>
                  </a:lnTo>
                  <a:lnTo>
                    <a:pt x="1002" y="857"/>
                  </a:lnTo>
                  <a:lnTo>
                    <a:pt x="1008" y="852"/>
                  </a:lnTo>
                  <a:lnTo>
                    <a:pt x="1012" y="851"/>
                  </a:lnTo>
                  <a:lnTo>
                    <a:pt x="1015" y="849"/>
                  </a:lnTo>
                  <a:lnTo>
                    <a:pt x="1021" y="849"/>
                  </a:lnTo>
                  <a:lnTo>
                    <a:pt x="1027" y="851"/>
                  </a:lnTo>
                  <a:lnTo>
                    <a:pt x="1029" y="852"/>
                  </a:lnTo>
                  <a:lnTo>
                    <a:pt x="1032" y="855"/>
                  </a:lnTo>
                  <a:lnTo>
                    <a:pt x="1038" y="858"/>
                  </a:lnTo>
                  <a:lnTo>
                    <a:pt x="1039" y="859"/>
                  </a:lnTo>
                  <a:lnTo>
                    <a:pt x="1041" y="859"/>
                  </a:lnTo>
                  <a:lnTo>
                    <a:pt x="1044" y="858"/>
                  </a:lnTo>
                  <a:lnTo>
                    <a:pt x="1045" y="858"/>
                  </a:lnTo>
                  <a:lnTo>
                    <a:pt x="1052" y="864"/>
                  </a:lnTo>
                  <a:lnTo>
                    <a:pt x="1054" y="867"/>
                  </a:lnTo>
                  <a:lnTo>
                    <a:pt x="1055" y="869"/>
                  </a:lnTo>
                  <a:lnTo>
                    <a:pt x="1055" y="872"/>
                  </a:lnTo>
                  <a:lnTo>
                    <a:pt x="1055" y="875"/>
                  </a:lnTo>
                  <a:lnTo>
                    <a:pt x="1055" y="877"/>
                  </a:lnTo>
                  <a:lnTo>
                    <a:pt x="1049" y="887"/>
                  </a:lnTo>
                  <a:lnTo>
                    <a:pt x="1048" y="888"/>
                  </a:lnTo>
                  <a:lnTo>
                    <a:pt x="1047" y="892"/>
                  </a:lnTo>
                  <a:lnTo>
                    <a:pt x="1044" y="899"/>
                  </a:lnTo>
                  <a:lnTo>
                    <a:pt x="1042" y="902"/>
                  </a:lnTo>
                  <a:lnTo>
                    <a:pt x="1042" y="904"/>
                  </a:lnTo>
                  <a:lnTo>
                    <a:pt x="1042" y="904"/>
                  </a:lnTo>
                  <a:lnTo>
                    <a:pt x="1044" y="902"/>
                  </a:lnTo>
                  <a:lnTo>
                    <a:pt x="1045" y="897"/>
                  </a:lnTo>
                  <a:lnTo>
                    <a:pt x="1047" y="892"/>
                  </a:lnTo>
                  <a:lnTo>
                    <a:pt x="1049" y="889"/>
                  </a:lnTo>
                  <a:lnTo>
                    <a:pt x="1054" y="885"/>
                  </a:lnTo>
                  <a:lnTo>
                    <a:pt x="1058" y="884"/>
                  </a:lnTo>
                  <a:lnTo>
                    <a:pt x="1061" y="884"/>
                  </a:lnTo>
                  <a:lnTo>
                    <a:pt x="1064" y="884"/>
                  </a:lnTo>
                  <a:lnTo>
                    <a:pt x="1067" y="885"/>
                  </a:lnTo>
                  <a:lnTo>
                    <a:pt x="1068" y="887"/>
                  </a:lnTo>
                  <a:lnTo>
                    <a:pt x="1068" y="887"/>
                  </a:lnTo>
                  <a:lnTo>
                    <a:pt x="1069" y="889"/>
                  </a:lnTo>
                  <a:lnTo>
                    <a:pt x="1069" y="892"/>
                  </a:lnTo>
                  <a:lnTo>
                    <a:pt x="1068" y="894"/>
                  </a:lnTo>
                  <a:lnTo>
                    <a:pt x="1068" y="897"/>
                  </a:lnTo>
                  <a:lnTo>
                    <a:pt x="1062" y="899"/>
                  </a:lnTo>
                  <a:lnTo>
                    <a:pt x="1059" y="902"/>
                  </a:lnTo>
                  <a:lnTo>
                    <a:pt x="1058" y="902"/>
                  </a:lnTo>
                  <a:lnTo>
                    <a:pt x="1054" y="904"/>
                  </a:lnTo>
                  <a:lnTo>
                    <a:pt x="1054" y="905"/>
                  </a:lnTo>
                  <a:lnTo>
                    <a:pt x="1057" y="907"/>
                  </a:lnTo>
                  <a:lnTo>
                    <a:pt x="1061" y="905"/>
                  </a:lnTo>
                  <a:lnTo>
                    <a:pt x="1061" y="907"/>
                  </a:lnTo>
                  <a:lnTo>
                    <a:pt x="1059" y="911"/>
                  </a:lnTo>
                  <a:lnTo>
                    <a:pt x="1058" y="914"/>
                  </a:lnTo>
                  <a:lnTo>
                    <a:pt x="1059" y="917"/>
                  </a:lnTo>
                  <a:lnTo>
                    <a:pt x="1059" y="919"/>
                  </a:lnTo>
                  <a:lnTo>
                    <a:pt x="1058" y="924"/>
                  </a:lnTo>
                  <a:lnTo>
                    <a:pt x="1055" y="928"/>
                  </a:lnTo>
                  <a:lnTo>
                    <a:pt x="1057" y="928"/>
                  </a:lnTo>
                  <a:lnTo>
                    <a:pt x="1061" y="922"/>
                  </a:lnTo>
                  <a:lnTo>
                    <a:pt x="1061" y="917"/>
                  </a:lnTo>
                  <a:lnTo>
                    <a:pt x="1062" y="909"/>
                  </a:lnTo>
                  <a:lnTo>
                    <a:pt x="1065" y="907"/>
                  </a:lnTo>
                  <a:lnTo>
                    <a:pt x="1067" y="905"/>
                  </a:lnTo>
                  <a:lnTo>
                    <a:pt x="1071" y="905"/>
                  </a:lnTo>
                  <a:lnTo>
                    <a:pt x="1072" y="902"/>
                  </a:lnTo>
                  <a:lnTo>
                    <a:pt x="1075" y="901"/>
                  </a:lnTo>
                  <a:lnTo>
                    <a:pt x="1075" y="901"/>
                  </a:lnTo>
                  <a:lnTo>
                    <a:pt x="1077" y="902"/>
                  </a:lnTo>
                  <a:lnTo>
                    <a:pt x="1077" y="904"/>
                  </a:lnTo>
                  <a:lnTo>
                    <a:pt x="1075" y="909"/>
                  </a:lnTo>
                  <a:lnTo>
                    <a:pt x="1069" y="919"/>
                  </a:lnTo>
                  <a:lnTo>
                    <a:pt x="1071" y="918"/>
                  </a:lnTo>
                  <a:lnTo>
                    <a:pt x="1072" y="915"/>
                  </a:lnTo>
                  <a:lnTo>
                    <a:pt x="1075" y="914"/>
                  </a:lnTo>
                  <a:lnTo>
                    <a:pt x="1077" y="909"/>
                  </a:lnTo>
                  <a:lnTo>
                    <a:pt x="1078" y="914"/>
                  </a:lnTo>
                  <a:lnTo>
                    <a:pt x="1081" y="915"/>
                  </a:lnTo>
                  <a:lnTo>
                    <a:pt x="1082" y="921"/>
                  </a:lnTo>
                  <a:lnTo>
                    <a:pt x="1084" y="924"/>
                  </a:lnTo>
                  <a:lnTo>
                    <a:pt x="1085" y="925"/>
                  </a:lnTo>
                  <a:lnTo>
                    <a:pt x="1085" y="922"/>
                  </a:lnTo>
                  <a:lnTo>
                    <a:pt x="1084" y="915"/>
                  </a:lnTo>
                  <a:lnTo>
                    <a:pt x="1084" y="912"/>
                  </a:lnTo>
                  <a:lnTo>
                    <a:pt x="1085" y="911"/>
                  </a:lnTo>
                  <a:lnTo>
                    <a:pt x="1089" y="905"/>
                  </a:lnTo>
                  <a:lnTo>
                    <a:pt x="1094" y="907"/>
                  </a:lnTo>
                  <a:lnTo>
                    <a:pt x="1095" y="909"/>
                  </a:lnTo>
                  <a:lnTo>
                    <a:pt x="1097" y="908"/>
                  </a:lnTo>
                  <a:lnTo>
                    <a:pt x="1098" y="909"/>
                  </a:lnTo>
                  <a:lnTo>
                    <a:pt x="1102" y="909"/>
                  </a:lnTo>
                  <a:lnTo>
                    <a:pt x="1107" y="911"/>
                  </a:lnTo>
                  <a:lnTo>
                    <a:pt x="1111" y="914"/>
                  </a:lnTo>
                  <a:lnTo>
                    <a:pt x="1114" y="917"/>
                  </a:lnTo>
                  <a:lnTo>
                    <a:pt x="1115" y="919"/>
                  </a:lnTo>
                  <a:lnTo>
                    <a:pt x="1117" y="921"/>
                  </a:lnTo>
                  <a:lnTo>
                    <a:pt x="1117" y="922"/>
                  </a:lnTo>
                  <a:lnTo>
                    <a:pt x="1118" y="925"/>
                  </a:lnTo>
                  <a:lnTo>
                    <a:pt x="1117" y="928"/>
                  </a:lnTo>
                  <a:lnTo>
                    <a:pt x="1114" y="932"/>
                  </a:lnTo>
                  <a:lnTo>
                    <a:pt x="1112" y="934"/>
                  </a:lnTo>
                  <a:lnTo>
                    <a:pt x="1111" y="935"/>
                  </a:lnTo>
                  <a:lnTo>
                    <a:pt x="1107" y="934"/>
                  </a:lnTo>
                  <a:lnTo>
                    <a:pt x="1105" y="935"/>
                  </a:lnTo>
                  <a:lnTo>
                    <a:pt x="1104" y="937"/>
                  </a:lnTo>
                  <a:lnTo>
                    <a:pt x="1099" y="942"/>
                  </a:lnTo>
                  <a:lnTo>
                    <a:pt x="1098" y="945"/>
                  </a:lnTo>
                  <a:lnTo>
                    <a:pt x="1095" y="947"/>
                  </a:lnTo>
                  <a:lnTo>
                    <a:pt x="1094" y="948"/>
                  </a:lnTo>
                  <a:lnTo>
                    <a:pt x="1099" y="948"/>
                  </a:lnTo>
                  <a:lnTo>
                    <a:pt x="1101" y="945"/>
                  </a:lnTo>
                  <a:lnTo>
                    <a:pt x="1102" y="942"/>
                  </a:lnTo>
                  <a:lnTo>
                    <a:pt x="1104" y="938"/>
                  </a:lnTo>
                  <a:lnTo>
                    <a:pt x="1108" y="937"/>
                  </a:lnTo>
                  <a:lnTo>
                    <a:pt x="1115" y="941"/>
                  </a:lnTo>
                  <a:lnTo>
                    <a:pt x="1118" y="941"/>
                  </a:lnTo>
                  <a:lnTo>
                    <a:pt x="1119" y="937"/>
                  </a:lnTo>
                  <a:lnTo>
                    <a:pt x="1122" y="934"/>
                  </a:lnTo>
                  <a:lnTo>
                    <a:pt x="1124" y="934"/>
                  </a:lnTo>
                  <a:lnTo>
                    <a:pt x="1124" y="934"/>
                  </a:lnTo>
                  <a:lnTo>
                    <a:pt x="1125" y="937"/>
                  </a:lnTo>
                  <a:lnTo>
                    <a:pt x="1126" y="939"/>
                  </a:lnTo>
                  <a:lnTo>
                    <a:pt x="1126" y="944"/>
                  </a:lnTo>
                  <a:lnTo>
                    <a:pt x="1126" y="945"/>
                  </a:lnTo>
                  <a:lnTo>
                    <a:pt x="1124" y="949"/>
                  </a:lnTo>
                  <a:lnTo>
                    <a:pt x="1121" y="955"/>
                  </a:lnTo>
                  <a:lnTo>
                    <a:pt x="1118" y="958"/>
                  </a:lnTo>
                  <a:lnTo>
                    <a:pt x="1115" y="958"/>
                  </a:lnTo>
                  <a:lnTo>
                    <a:pt x="1111" y="961"/>
                  </a:lnTo>
                  <a:lnTo>
                    <a:pt x="1109" y="962"/>
                  </a:lnTo>
                  <a:lnTo>
                    <a:pt x="1109" y="964"/>
                  </a:lnTo>
                  <a:lnTo>
                    <a:pt x="1108" y="965"/>
                  </a:lnTo>
                  <a:lnTo>
                    <a:pt x="1107" y="967"/>
                  </a:lnTo>
                  <a:lnTo>
                    <a:pt x="1108" y="968"/>
                  </a:lnTo>
                  <a:lnTo>
                    <a:pt x="1109" y="968"/>
                  </a:lnTo>
                  <a:lnTo>
                    <a:pt x="1109" y="968"/>
                  </a:lnTo>
                  <a:lnTo>
                    <a:pt x="1111" y="964"/>
                  </a:lnTo>
                  <a:lnTo>
                    <a:pt x="1112" y="961"/>
                  </a:lnTo>
                  <a:lnTo>
                    <a:pt x="1114" y="961"/>
                  </a:lnTo>
                  <a:lnTo>
                    <a:pt x="1115" y="961"/>
                  </a:lnTo>
                  <a:lnTo>
                    <a:pt x="1115" y="962"/>
                  </a:lnTo>
                  <a:lnTo>
                    <a:pt x="1117" y="964"/>
                  </a:lnTo>
                  <a:lnTo>
                    <a:pt x="1117" y="967"/>
                  </a:lnTo>
                  <a:lnTo>
                    <a:pt x="1114" y="981"/>
                  </a:lnTo>
                  <a:lnTo>
                    <a:pt x="1114" y="981"/>
                  </a:lnTo>
                  <a:lnTo>
                    <a:pt x="1115" y="978"/>
                  </a:lnTo>
                  <a:lnTo>
                    <a:pt x="1119" y="962"/>
                  </a:lnTo>
                  <a:lnTo>
                    <a:pt x="1121" y="959"/>
                  </a:lnTo>
                  <a:lnTo>
                    <a:pt x="1122" y="957"/>
                  </a:lnTo>
                  <a:lnTo>
                    <a:pt x="1128" y="952"/>
                  </a:lnTo>
                  <a:lnTo>
                    <a:pt x="1131" y="949"/>
                  </a:lnTo>
                  <a:lnTo>
                    <a:pt x="1135" y="948"/>
                  </a:lnTo>
                  <a:lnTo>
                    <a:pt x="1138" y="947"/>
                  </a:lnTo>
                  <a:lnTo>
                    <a:pt x="1139" y="948"/>
                  </a:lnTo>
                  <a:lnTo>
                    <a:pt x="1141" y="949"/>
                  </a:lnTo>
                  <a:lnTo>
                    <a:pt x="1144" y="951"/>
                  </a:lnTo>
                  <a:lnTo>
                    <a:pt x="1146" y="949"/>
                  </a:lnTo>
                  <a:lnTo>
                    <a:pt x="1148" y="949"/>
                  </a:lnTo>
                  <a:lnTo>
                    <a:pt x="1149" y="951"/>
                  </a:lnTo>
                  <a:lnTo>
                    <a:pt x="1151" y="952"/>
                  </a:lnTo>
                  <a:lnTo>
                    <a:pt x="1154" y="955"/>
                  </a:lnTo>
                  <a:lnTo>
                    <a:pt x="1161" y="958"/>
                  </a:lnTo>
                  <a:lnTo>
                    <a:pt x="1161" y="959"/>
                  </a:lnTo>
                  <a:lnTo>
                    <a:pt x="1162" y="961"/>
                  </a:lnTo>
                  <a:lnTo>
                    <a:pt x="1162" y="962"/>
                  </a:lnTo>
                  <a:lnTo>
                    <a:pt x="1162" y="965"/>
                  </a:lnTo>
                  <a:lnTo>
                    <a:pt x="1162" y="967"/>
                  </a:lnTo>
                  <a:lnTo>
                    <a:pt x="1161" y="968"/>
                  </a:lnTo>
                  <a:lnTo>
                    <a:pt x="1159" y="968"/>
                  </a:lnTo>
                  <a:lnTo>
                    <a:pt x="1158" y="969"/>
                  </a:lnTo>
                  <a:lnTo>
                    <a:pt x="1156" y="972"/>
                  </a:lnTo>
                  <a:lnTo>
                    <a:pt x="1155" y="972"/>
                  </a:lnTo>
                  <a:lnTo>
                    <a:pt x="1151" y="974"/>
                  </a:lnTo>
                  <a:lnTo>
                    <a:pt x="1148" y="974"/>
                  </a:lnTo>
                  <a:lnTo>
                    <a:pt x="1145" y="975"/>
                  </a:lnTo>
                  <a:lnTo>
                    <a:pt x="1141" y="978"/>
                  </a:lnTo>
                  <a:lnTo>
                    <a:pt x="1135" y="984"/>
                  </a:lnTo>
                  <a:lnTo>
                    <a:pt x="1135" y="985"/>
                  </a:lnTo>
                  <a:lnTo>
                    <a:pt x="1138" y="986"/>
                  </a:lnTo>
                  <a:lnTo>
                    <a:pt x="1139" y="985"/>
                  </a:lnTo>
                  <a:lnTo>
                    <a:pt x="1142" y="981"/>
                  </a:lnTo>
                  <a:lnTo>
                    <a:pt x="1145" y="979"/>
                  </a:lnTo>
                  <a:lnTo>
                    <a:pt x="1148" y="978"/>
                  </a:lnTo>
                  <a:lnTo>
                    <a:pt x="1154" y="978"/>
                  </a:lnTo>
                  <a:lnTo>
                    <a:pt x="1156" y="978"/>
                  </a:lnTo>
                  <a:lnTo>
                    <a:pt x="1156" y="978"/>
                  </a:lnTo>
                  <a:lnTo>
                    <a:pt x="1156" y="979"/>
                  </a:lnTo>
                  <a:lnTo>
                    <a:pt x="1156" y="981"/>
                  </a:lnTo>
                  <a:lnTo>
                    <a:pt x="1156" y="982"/>
                  </a:lnTo>
                  <a:lnTo>
                    <a:pt x="1155" y="984"/>
                  </a:lnTo>
                  <a:lnTo>
                    <a:pt x="1152" y="988"/>
                  </a:lnTo>
                  <a:lnTo>
                    <a:pt x="1154" y="989"/>
                  </a:lnTo>
                  <a:lnTo>
                    <a:pt x="1156" y="989"/>
                  </a:lnTo>
                  <a:lnTo>
                    <a:pt x="1158" y="989"/>
                  </a:lnTo>
                  <a:lnTo>
                    <a:pt x="1159" y="986"/>
                  </a:lnTo>
                  <a:lnTo>
                    <a:pt x="1161" y="984"/>
                  </a:lnTo>
                  <a:lnTo>
                    <a:pt x="1162" y="984"/>
                  </a:lnTo>
                  <a:lnTo>
                    <a:pt x="1164" y="984"/>
                  </a:lnTo>
                  <a:lnTo>
                    <a:pt x="1165" y="982"/>
                  </a:lnTo>
                  <a:lnTo>
                    <a:pt x="1165" y="981"/>
                  </a:lnTo>
                  <a:lnTo>
                    <a:pt x="1164" y="979"/>
                  </a:lnTo>
                  <a:lnTo>
                    <a:pt x="1164" y="979"/>
                  </a:lnTo>
                  <a:lnTo>
                    <a:pt x="1164" y="976"/>
                  </a:lnTo>
                  <a:lnTo>
                    <a:pt x="1165" y="974"/>
                  </a:lnTo>
                  <a:lnTo>
                    <a:pt x="1166" y="972"/>
                  </a:lnTo>
                  <a:lnTo>
                    <a:pt x="1168" y="972"/>
                  </a:lnTo>
                  <a:lnTo>
                    <a:pt x="1171" y="974"/>
                  </a:lnTo>
                  <a:lnTo>
                    <a:pt x="1174" y="976"/>
                  </a:lnTo>
                  <a:lnTo>
                    <a:pt x="1179" y="985"/>
                  </a:lnTo>
                  <a:lnTo>
                    <a:pt x="1179" y="988"/>
                  </a:lnTo>
                  <a:lnTo>
                    <a:pt x="1181" y="994"/>
                  </a:lnTo>
                  <a:lnTo>
                    <a:pt x="1182" y="996"/>
                  </a:lnTo>
                  <a:lnTo>
                    <a:pt x="1182" y="998"/>
                  </a:lnTo>
                  <a:lnTo>
                    <a:pt x="1181" y="999"/>
                  </a:lnTo>
                  <a:lnTo>
                    <a:pt x="1181" y="1001"/>
                  </a:lnTo>
                  <a:lnTo>
                    <a:pt x="1179" y="1001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66" y="999"/>
                  </a:lnTo>
                  <a:lnTo>
                    <a:pt x="1165" y="999"/>
                  </a:lnTo>
                  <a:lnTo>
                    <a:pt x="1165" y="1001"/>
                  </a:lnTo>
                  <a:lnTo>
                    <a:pt x="1164" y="1002"/>
                  </a:lnTo>
                  <a:lnTo>
                    <a:pt x="1162" y="1004"/>
                  </a:lnTo>
                  <a:lnTo>
                    <a:pt x="1158" y="1004"/>
                  </a:lnTo>
                  <a:lnTo>
                    <a:pt x="1155" y="1005"/>
                  </a:lnTo>
                  <a:lnTo>
                    <a:pt x="1151" y="1006"/>
                  </a:lnTo>
                  <a:lnTo>
                    <a:pt x="1149" y="1008"/>
                  </a:lnTo>
                  <a:lnTo>
                    <a:pt x="1148" y="1009"/>
                  </a:lnTo>
                  <a:lnTo>
                    <a:pt x="1151" y="1009"/>
                  </a:lnTo>
                  <a:lnTo>
                    <a:pt x="1156" y="1008"/>
                  </a:lnTo>
                  <a:lnTo>
                    <a:pt x="1161" y="1006"/>
                  </a:lnTo>
                  <a:lnTo>
                    <a:pt x="1168" y="1011"/>
                  </a:lnTo>
                  <a:lnTo>
                    <a:pt x="1169" y="1012"/>
                  </a:lnTo>
                  <a:lnTo>
                    <a:pt x="1171" y="1012"/>
                  </a:lnTo>
                  <a:lnTo>
                    <a:pt x="1174" y="1011"/>
                  </a:lnTo>
                  <a:lnTo>
                    <a:pt x="1179" y="1012"/>
                  </a:lnTo>
                  <a:lnTo>
                    <a:pt x="1181" y="1012"/>
                  </a:lnTo>
                  <a:lnTo>
                    <a:pt x="1184" y="1014"/>
                  </a:lnTo>
                  <a:lnTo>
                    <a:pt x="1188" y="1018"/>
                  </a:lnTo>
                  <a:lnTo>
                    <a:pt x="1189" y="1019"/>
                  </a:lnTo>
                  <a:lnTo>
                    <a:pt x="1189" y="1021"/>
                  </a:lnTo>
                  <a:lnTo>
                    <a:pt x="1189" y="1021"/>
                  </a:lnTo>
                  <a:lnTo>
                    <a:pt x="1189" y="1025"/>
                  </a:lnTo>
                  <a:lnTo>
                    <a:pt x="1189" y="1025"/>
                  </a:lnTo>
                  <a:lnTo>
                    <a:pt x="1188" y="1026"/>
                  </a:lnTo>
                  <a:lnTo>
                    <a:pt x="1181" y="1025"/>
                  </a:lnTo>
                  <a:lnTo>
                    <a:pt x="1179" y="1025"/>
                  </a:lnTo>
                  <a:lnTo>
                    <a:pt x="1176" y="1025"/>
                  </a:lnTo>
                  <a:lnTo>
                    <a:pt x="1175" y="1025"/>
                  </a:lnTo>
                  <a:lnTo>
                    <a:pt x="1172" y="1024"/>
                  </a:lnTo>
                  <a:lnTo>
                    <a:pt x="1169" y="1022"/>
                  </a:lnTo>
                  <a:lnTo>
                    <a:pt x="1165" y="1024"/>
                  </a:lnTo>
                  <a:lnTo>
                    <a:pt x="1162" y="1022"/>
                  </a:lnTo>
                  <a:lnTo>
                    <a:pt x="1158" y="1024"/>
                  </a:lnTo>
                  <a:lnTo>
                    <a:pt x="1152" y="1028"/>
                  </a:lnTo>
                  <a:lnTo>
                    <a:pt x="1152" y="1029"/>
                  </a:lnTo>
                  <a:lnTo>
                    <a:pt x="1162" y="1025"/>
                  </a:lnTo>
                  <a:lnTo>
                    <a:pt x="1164" y="1025"/>
                  </a:lnTo>
                  <a:lnTo>
                    <a:pt x="1166" y="1026"/>
                  </a:lnTo>
                  <a:lnTo>
                    <a:pt x="1171" y="1029"/>
                  </a:lnTo>
                  <a:lnTo>
                    <a:pt x="1172" y="1031"/>
                  </a:lnTo>
                  <a:lnTo>
                    <a:pt x="1172" y="1036"/>
                  </a:lnTo>
                  <a:lnTo>
                    <a:pt x="1172" y="1039"/>
                  </a:lnTo>
                  <a:lnTo>
                    <a:pt x="1171" y="1042"/>
                  </a:lnTo>
                  <a:lnTo>
                    <a:pt x="1168" y="1042"/>
                  </a:lnTo>
                  <a:lnTo>
                    <a:pt x="1164" y="1039"/>
                  </a:lnTo>
                  <a:lnTo>
                    <a:pt x="1161" y="1039"/>
                  </a:lnTo>
                  <a:lnTo>
                    <a:pt x="1159" y="1039"/>
                  </a:lnTo>
                  <a:lnTo>
                    <a:pt x="1158" y="1041"/>
                  </a:lnTo>
                  <a:lnTo>
                    <a:pt x="1156" y="1041"/>
                  </a:lnTo>
                  <a:lnTo>
                    <a:pt x="1149" y="1039"/>
                  </a:lnTo>
                  <a:lnTo>
                    <a:pt x="1148" y="1038"/>
                  </a:lnTo>
                  <a:lnTo>
                    <a:pt x="1146" y="1039"/>
                  </a:lnTo>
                  <a:lnTo>
                    <a:pt x="1148" y="1039"/>
                  </a:lnTo>
                  <a:lnTo>
                    <a:pt x="1155" y="1044"/>
                  </a:lnTo>
                  <a:lnTo>
                    <a:pt x="1159" y="1044"/>
                  </a:lnTo>
                  <a:lnTo>
                    <a:pt x="1164" y="1045"/>
                  </a:lnTo>
                  <a:lnTo>
                    <a:pt x="1165" y="1046"/>
                  </a:lnTo>
                  <a:lnTo>
                    <a:pt x="1166" y="1046"/>
                  </a:lnTo>
                  <a:lnTo>
                    <a:pt x="1166" y="1049"/>
                  </a:lnTo>
                  <a:lnTo>
                    <a:pt x="1168" y="1052"/>
                  </a:lnTo>
                  <a:lnTo>
                    <a:pt x="1169" y="1054"/>
                  </a:lnTo>
                  <a:lnTo>
                    <a:pt x="1171" y="1054"/>
                  </a:lnTo>
                  <a:lnTo>
                    <a:pt x="1172" y="1054"/>
                  </a:lnTo>
                  <a:lnTo>
                    <a:pt x="1174" y="1052"/>
                  </a:lnTo>
                  <a:lnTo>
                    <a:pt x="1175" y="1054"/>
                  </a:lnTo>
                  <a:lnTo>
                    <a:pt x="1178" y="1055"/>
                  </a:lnTo>
                  <a:lnTo>
                    <a:pt x="1179" y="1055"/>
                  </a:lnTo>
                  <a:lnTo>
                    <a:pt x="1181" y="1056"/>
                  </a:lnTo>
                  <a:lnTo>
                    <a:pt x="1182" y="1056"/>
                  </a:lnTo>
                  <a:lnTo>
                    <a:pt x="1186" y="1056"/>
                  </a:lnTo>
                  <a:lnTo>
                    <a:pt x="1189" y="1056"/>
                  </a:lnTo>
                  <a:lnTo>
                    <a:pt x="1189" y="1058"/>
                  </a:lnTo>
                  <a:lnTo>
                    <a:pt x="1188" y="1058"/>
                  </a:lnTo>
                  <a:lnTo>
                    <a:pt x="1185" y="1061"/>
                  </a:lnTo>
                  <a:lnTo>
                    <a:pt x="1184" y="1062"/>
                  </a:lnTo>
                  <a:lnTo>
                    <a:pt x="1186" y="1065"/>
                  </a:lnTo>
                  <a:lnTo>
                    <a:pt x="1188" y="1068"/>
                  </a:lnTo>
                  <a:lnTo>
                    <a:pt x="1188" y="1069"/>
                  </a:lnTo>
                  <a:lnTo>
                    <a:pt x="1186" y="1072"/>
                  </a:lnTo>
                  <a:lnTo>
                    <a:pt x="1186" y="1074"/>
                  </a:lnTo>
                  <a:lnTo>
                    <a:pt x="1186" y="1074"/>
                  </a:lnTo>
                  <a:lnTo>
                    <a:pt x="1189" y="1071"/>
                  </a:lnTo>
                  <a:lnTo>
                    <a:pt x="1189" y="1072"/>
                  </a:lnTo>
                  <a:lnTo>
                    <a:pt x="1189" y="1075"/>
                  </a:lnTo>
                  <a:lnTo>
                    <a:pt x="1189" y="1075"/>
                  </a:lnTo>
                  <a:lnTo>
                    <a:pt x="1191" y="1072"/>
                  </a:lnTo>
                  <a:lnTo>
                    <a:pt x="1191" y="1068"/>
                  </a:lnTo>
                  <a:lnTo>
                    <a:pt x="1192" y="1066"/>
                  </a:lnTo>
                  <a:lnTo>
                    <a:pt x="1198" y="1065"/>
                  </a:lnTo>
                  <a:lnTo>
                    <a:pt x="1196" y="1071"/>
                  </a:lnTo>
                  <a:lnTo>
                    <a:pt x="1196" y="1075"/>
                  </a:lnTo>
                  <a:lnTo>
                    <a:pt x="1194" y="1081"/>
                  </a:lnTo>
                  <a:lnTo>
                    <a:pt x="1192" y="1082"/>
                  </a:lnTo>
                  <a:lnTo>
                    <a:pt x="1192" y="1084"/>
                  </a:lnTo>
                  <a:lnTo>
                    <a:pt x="1194" y="1084"/>
                  </a:lnTo>
                  <a:lnTo>
                    <a:pt x="1194" y="1084"/>
                  </a:lnTo>
                  <a:lnTo>
                    <a:pt x="1195" y="1084"/>
                  </a:lnTo>
                  <a:lnTo>
                    <a:pt x="1196" y="1078"/>
                  </a:lnTo>
                  <a:lnTo>
                    <a:pt x="1201" y="1074"/>
                  </a:lnTo>
                  <a:lnTo>
                    <a:pt x="1202" y="1074"/>
                  </a:lnTo>
                  <a:lnTo>
                    <a:pt x="1202" y="1075"/>
                  </a:lnTo>
                  <a:lnTo>
                    <a:pt x="1201" y="1078"/>
                  </a:lnTo>
                  <a:lnTo>
                    <a:pt x="1202" y="1079"/>
                  </a:lnTo>
                  <a:lnTo>
                    <a:pt x="1205" y="1078"/>
                  </a:lnTo>
                  <a:lnTo>
                    <a:pt x="1205" y="1078"/>
                  </a:lnTo>
                  <a:lnTo>
                    <a:pt x="1208" y="1078"/>
                  </a:lnTo>
                  <a:lnTo>
                    <a:pt x="1208" y="1078"/>
                  </a:lnTo>
                  <a:lnTo>
                    <a:pt x="1209" y="1079"/>
                  </a:lnTo>
                  <a:lnTo>
                    <a:pt x="1208" y="1085"/>
                  </a:lnTo>
                  <a:lnTo>
                    <a:pt x="1208" y="1086"/>
                  </a:lnTo>
                  <a:lnTo>
                    <a:pt x="1211" y="1091"/>
                  </a:lnTo>
                  <a:lnTo>
                    <a:pt x="1211" y="1091"/>
                  </a:lnTo>
                  <a:lnTo>
                    <a:pt x="1209" y="1088"/>
                  </a:lnTo>
                  <a:lnTo>
                    <a:pt x="1209" y="1084"/>
                  </a:lnTo>
                  <a:lnTo>
                    <a:pt x="1209" y="1082"/>
                  </a:lnTo>
                  <a:lnTo>
                    <a:pt x="1212" y="1079"/>
                  </a:lnTo>
                  <a:lnTo>
                    <a:pt x="1215" y="1075"/>
                  </a:lnTo>
                  <a:lnTo>
                    <a:pt x="1216" y="1075"/>
                  </a:lnTo>
                  <a:lnTo>
                    <a:pt x="1218" y="1075"/>
                  </a:lnTo>
                  <a:lnTo>
                    <a:pt x="1219" y="1076"/>
                  </a:lnTo>
                  <a:lnTo>
                    <a:pt x="1219" y="1078"/>
                  </a:lnTo>
                  <a:lnTo>
                    <a:pt x="1218" y="1079"/>
                  </a:lnTo>
                  <a:lnTo>
                    <a:pt x="1216" y="1081"/>
                  </a:lnTo>
                  <a:lnTo>
                    <a:pt x="1215" y="1084"/>
                  </a:lnTo>
                  <a:lnTo>
                    <a:pt x="1216" y="1085"/>
                  </a:lnTo>
                  <a:lnTo>
                    <a:pt x="1219" y="1086"/>
                  </a:lnTo>
                  <a:lnTo>
                    <a:pt x="1222" y="1084"/>
                  </a:lnTo>
                  <a:lnTo>
                    <a:pt x="1223" y="1085"/>
                  </a:lnTo>
                  <a:lnTo>
                    <a:pt x="1226" y="1088"/>
                  </a:lnTo>
                  <a:lnTo>
                    <a:pt x="1231" y="1092"/>
                  </a:lnTo>
                  <a:lnTo>
                    <a:pt x="1232" y="1091"/>
                  </a:lnTo>
                  <a:lnTo>
                    <a:pt x="1235" y="1095"/>
                  </a:lnTo>
                  <a:lnTo>
                    <a:pt x="1231" y="1098"/>
                  </a:lnTo>
                  <a:lnTo>
                    <a:pt x="1232" y="1104"/>
                  </a:lnTo>
                  <a:lnTo>
                    <a:pt x="1228" y="1104"/>
                  </a:lnTo>
                  <a:lnTo>
                    <a:pt x="1225" y="1105"/>
                  </a:lnTo>
                  <a:lnTo>
                    <a:pt x="1223" y="1104"/>
                  </a:lnTo>
                  <a:lnTo>
                    <a:pt x="1222" y="1104"/>
                  </a:lnTo>
                  <a:lnTo>
                    <a:pt x="1223" y="1105"/>
                  </a:lnTo>
                  <a:lnTo>
                    <a:pt x="1226" y="1106"/>
                  </a:lnTo>
                  <a:lnTo>
                    <a:pt x="1226" y="1108"/>
                  </a:lnTo>
                  <a:lnTo>
                    <a:pt x="1229" y="1108"/>
                  </a:lnTo>
                  <a:lnTo>
                    <a:pt x="1232" y="1108"/>
                  </a:lnTo>
                  <a:lnTo>
                    <a:pt x="1235" y="1108"/>
                  </a:lnTo>
                  <a:lnTo>
                    <a:pt x="1235" y="1105"/>
                  </a:lnTo>
                  <a:lnTo>
                    <a:pt x="1238" y="1104"/>
                  </a:lnTo>
                  <a:lnTo>
                    <a:pt x="1239" y="1104"/>
                  </a:lnTo>
                  <a:lnTo>
                    <a:pt x="1241" y="1104"/>
                  </a:lnTo>
                  <a:lnTo>
                    <a:pt x="1243" y="1105"/>
                  </a:lnTo>
                  <a:lnTo>
                    <a:pt x="1248" y="1109"/>
                  </a:lnTo>
                  <a:lnTo>
                    <a:pt x="1246" y="1111"/>
                  </a:lnTo>
                  <a:lnTo>
                    <a:pt x="1245" y="1114"/>
                  </a:lnTo>
                  <a:lnTo>
                    <a:pt x="1245" y="1116"/>
                  </a:lnTo>
                  <a:lnTo>
                    <a:pt x="1245" y="1118"/>
                  </a:lnTo>
                  <a:lnTo>
                    <a:pt x="1243" y="1119"/>
                  </a:lnTo>
                  <a:lnTo>
                    <a:pt x="1238" y="1126"/>
                  </a:lnTo>
                  <a:lnTo>
                    <a:pt x="1238" y="1126"/>
                  </a:lnTo>
                  <a:lnTo>
                    <a:pt x="1241" y="1124"/>
                  </a:lnTo>
                  <a:lnTo>
                    <a:pt x="1246" y="1122"/>
                  </a:lnTo>
                  <a:lnTo>
                    <a:pt x="1249" y="1121"/>
                  </a:lnTo>
                  <a:lnTo>
                    <a:pt x="1251" y="1121"/>
                  </a:lnTo>
                  <a:lnTo>
                    <a:pt x="1252" y="1121"/>
                  </a:lnTo>
                  <a:lnTo>
                    <a:pt x="1253" y="1121"/>
                  </a:lnTo>
                  <a:lnTo>
                    <a:pt x="1255" y="1122"/>
                  </a:lnTo>
                  <a:lnTo>
                    <a:pt x="1259" y="1122"/>
                  </a:lnTo>
                  <a:lnTo>
                    <a:pt x="1262" y="1116"/>
                  </a:lnTo>
                  <a:lnTo>
                    <a:pt x="1265" y="1118"/>
                  </a:lnTo>
                  <a:lnTo>
                    <a:pt x="1268" y="1121"/>
                  </a:lnTo>
                  <a:lnTo>
                    <a:pt x="1272" y="1128"/>
                  </a:lnTo>
                  <a:lnTo>
                    <a:pt x="1275" y="1131"/>
                  </a:lnTo>
                  <a:lnTo>
                    <a:pt x="1276" y="1132"/>
                  </a:lnTo>
                  <a:lnTo>
                    <a:pt x="1276" y="1135"/>
                  </a:lnTo>
                  <a:lnTo>
                    <a:pt x="1273" y="1136"/>
                  </a:lnTo>
                  <a:lnTo>
                    <a:pt x="1272" y="1136"/>
                  </a:lnTo>
                  <a:lnTo>
                    <a:pt x="1269" y="1134"/>
                  </a:lnTo>
                  <a:lnTo>
                    <a:pt x="1266" y="1132"/>
                  </a:lnTo>
                  <a:lnTo>
                    <a:pt x="1265" y="1132"/>
                  </a:lnTo>
                  <a:lnTo>
                    <a:pt x="1262" y="1134"/>
                  </a:lnTo>
                  <a:lnTo>
                    <a:pt x="1263" y="1134"/>
                  </a:lnTo>
                  <a:lnTo>
                    <a:pt x="1271" y="1139"/>
                  </a:lnTo>
                  <a:lnTo>
                    <a:pt x="1272" y="1142"/>
                  </a:lnTo>
                  <a:lnTo>
                    <a:pt x="1272" y="1144"/>
                  </a:lnTo>
                  <a:lnTo>
                    <a:pt x="1266" y="1146"/>
                  </a:lnTo>
                  <a:lnTo>
                    <a:pt x="1265" y="1146"/>
                  </a:lnTo>
                  <a:lnTo>
                    <a:pt x="1262" y="1145"/>
                  </a:lnTo>
                  <a:lnTo>
                    <a:pt x="1261" y="1144"/>
                  </a:lnTo>
                  <a:lnTo>
                    <a:pt x="1259" y="1142"/>
                  </a:lnTo>
                  <a:lnTo>
                    <a:pt x="1256" y="1142"/>
                  </a:lnTo>
                  <a:lnTo>
                    <a:pt x="1256" y="1142"/>
                  </a:lnTo>
                  <a:lnTo>
                    <a:pt x="1258" y="1146"/>
                  </a:lnTo>
                  <a:lnTo>
                    <a:pt x="1258" y="1148"/>
                  </a:lnTo>
                  <a:lnTo>
                    <a:pt x="1256" y="1148"/>
                  </a:lnTo>
                  <a:lnTo>
                    <a:pt x="1256" y="1149"/>
                  </a:lnTo>
                  <a:lnTo>
                    <a:pt x="1261" y="1154"/>
                  </a:lnTo>
                  <a:lnTo>
                    <a:pt x="1265" y="1156"/>
                  </a:lnTo>
                  <a:lnTo>
                    <a:pt x="1265" y="1158"/>
                  </a:lnTo>
                  <a:lnTo>
                    <a:pt x="1262" y="1158"/>
                  </a:lnTo>
                  <a:lnTo>
                    <a:pt x="1261" y="1158"/>
                  </a:lnTo>
                  <a:lnTo>
                    <a:pt x="1258" y="1158"/>
                  </a:lnTo>
                  <a:lnTo>
                    <a:pt x="1255" y="1158"/>
                  </a:lnTo>
                  <a:lnTo>
                    <a:pt x="1255" y="1158"/>
                  </a:lnTo>
                  <a:lnTo>
                    <a:pt x="1256" y="1159"/>
                  </a:lnTo>
                  <a:lnTo>
                    <a:pt x="1258" y="1161"/>
                  </a:lnTo>
                  <a:lnTo>
                    <a:pt x="1258" y="1162"/>
                  </a:lnTo>
                  <a:lnTo>
                    <a:pt x="1258" y="1164"/>
                  </a:lnTo>
                  <a:lnTo>
                    <a:pt x="1259" y="1165"/>
                  </a:lnTo>
                  <a:lnTo>
                    <a:pt x="1256" y="1166"/>
                  </a:lnTo>
                  <a:lnTo>
                    <a:pt x="1255" y="1169"/>
                  </a:lnTo>
                  <a:lnTo>
                    <a:pt x="1253" y="1172"/>
                  </a:lnTo>
                  <a:lnTo>
                    <a:pt x="1252" y="1174"/>
                  </a:lnTo>
                  <a:lnTo>
                    <a:pt x="1252" y="1172"/>
                  </a:lnTo>
                  <a:lnTo>
                    <a:pt x="1249" y="1174"/>
                  </a:lnTo>
                  <a:lnTo>
                    <a:pt x="1246" y="1172"/>
                  </a:lnTo>
                  <a:lnTo>
                    <a:pt x="1245" y="1171"/>
                  </a:lnTo>
                  <a:lnTo>
                    <a:pt x="1241" y="1165"/>
                  </a:lnTo>
                  <a:lnTo>
                    <a:pt x="1241" y="1165"/>
                  </a:lnTo>
                  <a:lnTo>
                    <a:pt x="1242" y="1168"/>
                  </a:lnTo>
                  <a:lnTo>
                    <a:pt x="1242" y="1171"/>
                  </a:lnTo>
                  <a:lnTo>
                    <a:pt x="1238" y="1172"/>
                  </a:lnTo>
                  <a:lnTo>
                    <a:pt x="1238" y="1172"/>
                  </a:lnTo>
                  <a:lnTo>
                    <a:pt x="1241" y="1174"/>
                  </a:lnTo>
                  <a:lnTo>
                    <a:pt x="1243" y="1174"/>
                  </a:lnTo>
                  <a:lnTo>
                    <a:pt x="1243" y="1176"/>
                  </a:lnTo>
                  <a:lnTo>
                    <a:pt x="1243" y="1189"/>
                  </a:lnTo>
                  <a:lnTo>
                    <a:pt x="1242" y="1192"/>
                  </a:lnTo>
                  <a:lnTo>
                    <a:pt x="1241" y="1196"/>
                  </a:lnTo>
                  <a:lnTo>
                    <a:pt x="1239" y="1201"/>
                  </a:lnTo>
                  <a:lnTo>
                    <a:pt x="1236" y="1198"/>
                  </a:lnTo>
                  <a:lnTo>
                    <a:pt x="1236" y="1195"/>
                  </a:lnTo>
                  <a:lnTo>
                    <a:pt x="1235" y="1193"/>
                  </a:lnTo>
                  <a:lnTo>
                    <a:pt x="1235" y="1193"/>
                  </a:lnTo>
                  <a:lnTo>
                    <a:pt x="1233" y="1192"/>
                  </a:lnTo>
                  <a:lnTo>
                    <a:pt x="1232" y="1192"/>
                  </a:lnTo>
                  <a:lnTo>
                    <a:pt x="1231" y="1195"/>
                  </a:lnTo>
                  <a:lnTo>
                    <a:pt x="1229" y="1193"/>
                  </a:lnTo>
                  <a:lnTo>
                    <a:pt x="1226" y="1191"/>
                  </a:lnTo>
                  <a:lnTo>
                    <a:pt x="1228" y="1185"/>
                  </a:lnTo>
                  <a:lnTo>
                    <a:pt x="1228" y="1182"/>
                  </a:lnTo>
                  <a:lnTo>
                    <a:pt x="1228" y="1182"/>
                  </a:lnTo>
                  <a:lnTo>
                    <a:pt x="1228" y="1183"/>
                  </a:lnTo>
                  <a:lnTo>
                    <a:pt x="1225" y="1188"/>
                  </a:lnTo>
                  <a:lnTo>
                    <a:pt x="1223" y="1193"/>
                  </a:lnTo>
                  <a:lnTo>
                    <a:pt x="1222" y="1191"/>
                  </a:lnTo>
                  <a:lnTo>
                    <a:pt x="1221" y="1188"/>
                  </a:lnTo>
                  <a:lnTo>
                    <a:pt x="1219" y="1186"/>
                  </a:lnTo>
                  <a:lnTo>
                    <a:pt x="1216" y="1183"/>
                  </a:lnTo>
                  <a:lnTo>
                    <a:pt x="1215" y="1179"/>
                  </a:lnTo>
                  <a:lnTo>
                    <a:pt x="1213" y="1175"/>
                  </a:lnTo>
                  <a:lnTo>
                    <a:pt x="1213" y="1175"/>
                  </a:lnTo>
                  <a:lnTo>
                    <a:pt x="1212" y="1171"/>
                  </a:lnTo>
                  <a:lnTo>
                    <a:pt x="1212" y="1171"/>
                  </a:lnTo>
                  <a:lnTo>
                    <a:pt x="1211" y="1171"/>
                  </a:lnTo>
                  <a:lnTo>
                    <a:pt x="1211" y="1168"/>
                  </a:lnTo>
                  <a:lnTo>
                    <a:pt x="1211" y="1165"/>
                  </a:lnTo>
                  <a:lnTo>
                    <a:pt x="1212" y="1164"/>
                  </a:lnTo>
                  <a:lnTo>
                    <a:pt x="1213" y="1161"/>
                  </a:lnTo>
                  <a:lnTo>
                    <a:pt x="1216" y="1159"/>
                  </a:lnTo>
                  <a:lnTo>
                    <a:pt x="1219" y="1158"/>
                  </a:lnTo>
                  <a:lnTo>
                    <a:pt x="1221" y="1155"/>
                  </a:lnTo>
                  <a:lnTo>
                    <a:pt x="1222" y="1151"/>
                  </a:lnTo>
                  <a:lnTo>
                    <a:pt x="1223" y="1148"/>
                  </a:lnTo>
                  <a:lnTo>
                    <a:pt x="1225" y="1146"/>
                  </a:lnTo>
                  <a:lnTo>
                    <a:pt x="1225" y="1146"/>
                  </a:lnTo>
                  <a:lnTo>
                    <a:pt x="1222" y="1148"/>
                  </a:lnTo>
                  <a:lnTo>
                    <a:pt x="1221" y="1149"/>
                  </a:lnTo>
                  <a:lnTo>
                    <a:pt x="1218" y="1154"/>
                  </a:lnTo>
                  <a:lnTo>
                    <a:pt x="1216" y="1155"/>
                  </a:lnTo>
                  <a:lnTo>
                    <a:pt x="1212" y="1158"/>
                  </a:lnTo>
                  <a:lnTo>
                    <a:pt x="1209" y="1159"/>
                  </a:lnTo>
                  <a:lnTo>
                    <a:pt x="1208" y="1159"/>
                  </a:lnTo>
                  <a:lnTo>
                    <a:pt x="1204" y="1159"/>
                  </a:lnTo>
                  <a:lnTo>
                    <a:pt x="1202" y="1158"/>
                  </a:lnTo>
                  <a:lnTo>
                    <a:pt x="1204" y="1155"/>
                  </a:lnTo>
                  <a:lnTo>
                    <a:pt x="1206" y="1151"/>
                  </a:lnTo>
                  <a:lnTo>
                    <a:pt x="1205" y="1151"/>
                  </a:lnTo>
                  <a:lnTo>
                    <a:pt x="1205" y="1152"/>
                  </a:lnTo>
                  <a:lnTo>
                    <a:pt x="1204" y="1154"/>
                  </a:lnTo>
                  <a:lnTo>
                    <a:pt x="1202" y="1154"/>
                  </a:lnTo>
                  <a:lnTo>
                    <a:pt x="1199" y="1154"/>
                  </a:lnTo>
                  <a:lnTo>
                    <a:pt x="1198" y="1151"/>
                  </a:lnTo>
                  <a:lnTo>
                    <a:pt x="1196" y="1149"/>
                  </a:lnTo>
                  <a:lnTo>
                    <a:pt x="1194" y="1149"/>
                  </a:lnTo>
                  <a:lnTo>
                    <a:pt x="1194" y="1148"/>
                  </a:lnTo>
                  <a:lnTo>
                    <a:pt x="1189" y="1141"/>
                  </a:lnTo>
                  <a:lnTo>
                    <a:pt x="1188" y="1138"/>
                  </a:lnTo>
                  <a:lnTo>
                    <a:pt x="1188" y="1136"/>
                  </a:lnTo>
                  <a:lnTo>
                    <a:pt x="1186" y="1135"/>
                  </a:lnTo>
                  <a:lnTo>
                    <a:pt x="1185" y="1134"/>
                  </a:lnTo>
                  <a:lnTo>
                    <a:pt x="1185" y="1134"/>
                  </a:lnTo>
                  <a:lnTo>
                    <a:pt x="1185" y="1135"/>
                  </a:lnTo>
                  <a:lnTo>
                    <a:pt x="1185" y="1136"/>
                  </a:lnTo>
                  <a:lnTo>
                    <a:pt x="1184" y="1138"/>
                  </a:lnTo>
                  <a:lnTo>
                    <a:pt x="1182" y="1138"/>
                  </a:lnTo>
                  <a:lnTo>
                    <a:pt x="1179" y="1136"/>
                  </a:lnTo>
                  <a:lnTo>
                    <a:pt x="1179" y="1138"/>
                  </a:lnTo>
                  <a:lnTo>
                    <a:pt x="1182" y="1142"/>
                  </a:lnTo>
                  <a:lnTo>
                    <a:pt x="1182" y="1146"/>
                  </a:lnTo>
                  <a:lnTo>
                    <a:pt x="1181" y="1146"/>
                  </a:lnTo>
                  <a:lnTo>
                    <a:pt x="1179" y="1146"/>
                  </a:lnTo>
                  <a:lnTo>
                    <a:pt x="1179" y="1146"/>
                  </a:lnTo>
                  <a:lnTo>
                    <a:pt x="1175" y="1142"/>
                  </a:lnTo>
                  <a:lnTo>
                    <a:pt x="1172" y="1141"/>
                  </a:lnTo>
                  <a:lnTo>
                    <a:pt x="1171" y="1139"/>
                  </a:lnTo>
                  <a:lnTo>
                    <a:pt x="1171" y="1141"/>
                  </a:lnTo>
                  <a:lnTo>
                    <a:pt x="1172" y="1144"/>
                  </a:lnTo>
                  <a:lnTo>
                    <a:pt x="1174" y="1148"/>
                  </a:lnTo>
                  <a:lnTo>
                    <a:pt x="1176" y="1151"/>
                  </a:lnTo>
                  <a:lnTo>
                    <a:pt x="1179" y="1155"/>
                  </a:lnTo>
                  <a:lnTo>
                    <a:pt x="1182" y="1158"/>
                  </a:lnTo>
                  <a:lnTo>
                    <a:pt x="1181" y="1161"/>
                  </a:lnTo>
                  <a:lnTo>
                    <a:pt x="1179" y="1162"/>
                  </a:lnTo>
                  <a:lnTo>
                    <a:pt x="1178" y="1162"/>
                  </a:lnTo>
                  <a:lnTo>
                    <a:pt x="1175" y="1162"/>
                  </a:lnTo>
                  <a:lnTo>
                    <a:pt x="1171" y="1161"/>
                  </a:lnTo>
                  <a:lnTo>
                    <a:pt x="1169" y="1158"/>
                  </a:lnTo>
                  <a:lnTo>
                    <a:pt x="1166" y="1154"/>
                  </a:lnTo>
                  <a:lnTo>
                    <a:pt x="1161" y="1149"/>
                  </a:lnTo>
                  <a:lnTo>
                    <a:pt x="1161" y="1149"/>
                  </a:lnTo>
                  <a:lnTo>
                    <a:pt x="1156" y="1151"/>
                  </a:lnTo>
                  <a:lnTo>
                    <a:pt x="1156" y="1151"/>
                  </a:lnTo>
                  <a:lnTo>
                    <a:pt x="1159" y="1151"/>
                  </a:lnTo>
                  <a:lnTo>
                    <a:pt x="1161" y="1152"/>
                  </a:lnTo>
                  <a:lnTo>
                    <a:pt x="1165" y="1155"/>
                  </a:lnTo>
                  <a:lnTo>
                    <a:pt x="1165" y="1158"/>
                  </a:lnTo>
                  <a:lnTo>
                    <a:pt x="1165" y="1159"/>
                  </a:lnTo>
                  <a:lnTo>
                    <a:pt x="1165" y="1161"/>
                  </a:lnTo>
                  <a:lnTo>
                    <a:pt x="1165" y="1164"/>
                  </a:lnTo>
                  <a:lnTo>
                    <a:pt x="1166" y="1165"/>
                  </a:lnTo>
                  <a:lnTo>
                    <a:pt x="1169" y="1166"/>
                  </a:lnTo>
                  <a:lnTo>
                    <a:pt x="1171" y="1166"/>
                  </a:lnTo>
                  <a:lnTo>
                    <a:pt x="1171" y="1168"/>
                  </a:lnTo>
                  <a:lnTo>
                    <a:pt x="1169" y="1174"/>
                  </a:lnTo>
                  <a:lnTo>
                    <a:pt x="1169" y="1175"/>
                  </a:lnTo>
                  <a:lnTo>
                    <a:pt x="1169" y="1175"/>
                  </a:lnTo>
                  <a:lnTo>
                    <a:pt x="1171" y="1176"/>
                  </a:lnTo>
                  <a:lnTo>
                    <a:pt x="1174" y="1174"/>
                  </a:lnTo>
                  <a:lnTo>
                    <a:pt x="1175" y="1172"/>
                  </a:lnTo>
                  <a:lnTo>
                    <a:pt x="1175" y="1172"/>
                  </a:lnTo>
                  <a:lnTo>
                    <a:pt x="1176" y="1174"/>
                  </a:lnTo>
                  <a:lnTo>
                    <a:pt x="1178" y="1175"/>
                  </a:lnTo>
                  <a:lnTo>
                    <a:pt x="1179" y="1176"/>
                  </a:lnTo>
                  <a:lnTo>
                    <a:pt x="1179" y="1178"/>
                  </a:lnTo>
                  <a:lnTo>
                    <a:pt x="1179" y="1179"/>
                  </a:lnTo>
                  <a:lnTo>
                    <a:pt x="1182" y="1181"/>
                  </a:lnTo>
                  <a:lnTo>
                    <a:pt x="1182" y="1181"/>
                  </a:lnTo>
                  <a:lnTo>
                    <a:pt x="1179" y="1183"/>
                  </a:lnTo>
                  <a:lnTo>
                    <a:pt x="1179" y="1183"/>
                  </a:lnTo>
                  <a:lnTo>
                    <a:pt x="1179" y="1183"/>
                  </a:lnTo>
                  <a:lnTo>
                    <a:pt x="1182" y="1186"/>
                  </a:lnTo>
                  <a:lnTo>
                    <a:pt x="1184" y="1188"/>
                  </a:lnTo>
                  <a:lnTo>
                    <a:pt x="1185" y="1191"/>
                  </a:lnTo>
                  <a:lnTo>
                    <a:pt x="1185" y="1192"/>
                  </a:lnTo>
                  <a:lnTo>
                    <a:pt x="1185" y="1193"/>
                  </a:lnTo>
                  <a:lnTo>
                    <a:pt x="1185" y="1193"/>
                  </a:lnTo>
                  <a:lnTo>
                    <a:pt x="1186" y="1193"/>
                  </a:lnTo>
                  <a:lnTo>
                    <a:pt x="1186" y="1193"/>
                  </a:lnTo>
                  <a:lnTo>
                    <a:pt x="1186" y="1193"/>
                  </a:lnTo>
                  <a:lnTo>
                    <a:pt x="1188" y="1195"/>
                  </a:lnTo>
                  <a:lnTo>
                    <a:pt x="1188" y="1196"/>
                  </a:lnTo>
                  <a:lnTo>
                    <a:pt x="1189" y="1202"/>
                  </a:lnTo>
                  <a:lnTo>
                    <a:pt x="1189" y="1205"/>
                  </a:lnTo>
                  <a:lnTo>
                    <a:pt x="1189" y="1205"/>
                  </a:lnTo>
                  <a:lnTo>
                    <a:pt x="1189" y="1198"/>
                  </a:lnTo>
                  <a:lnTo>
                    <a:pt x="1191" y="1198"/>
                  </a:lnTo>
                  <a:lnTo>
                    <a:pt x="1192" y="1198"/>
                  </a:lnTo>
                  <a:lnTo>
                    <a:pt x="1195" y="1201"/>
                  </a:lnTo>
                  <a:lnTo>
                    <a:pt x="1196" y="1202"/>
                  </a:lnTo>
                  <a:lnTo>
                    <a:pt x="1198" y="1203"/>
                  </a:lnTo>
                  <a:lnTo>
                    <a:pt x="1196" y="1205"/>
                  </a:lnTo>
                  <a:lnTo>
                    <a:pt x="1196" y="1206"/>
                  </a:lnTo>
                  <a:lnTo>
                    <a:pt x="1198" y="1208"/>
                  </a:lnTo>
                  <a:lnTo>
                    <a:pt x="1198" y="1208"/>
                  </a:lnTo>
                  <a:lnTo>
                    <a:pt x="1199" y="1205"/>
                  </a:lnTo>
                  <a:lnTo>
                    <a:pt x="1201" y="1203"/>
                  </a:lnTo>
                  <a:lnTo>
                    <a:pt x="1202" y="1202"/>
                  </a:lnTo>
                  <a:lnTo>
                    <a:pt x="1205" y="1202"/>
                  </a:lnTo>
                  <a:lnTo>
                    <a:pt x="1206" y="1206"/>
                  </a:lnTo>
                  <a:lnTo>
                    <a:pt x="1206" y="1206"/>
                  </a:lnTo>
                  <a:lnTo>
                    <a:pt x="1208" y="1208"/>
                  </a:lnTo>
                  <a:lnTo>
                    <a:pt x="1209" y="1208"/>
                  </a:lnTo>
                  <a:lnTo>
                    <a:pt x="1212" y="1211"/>
                  </a:lnTo>
                  <a:lnTo>
                    <a:pt x="1211" y="1212"/>
                  </a:lnTo>
                  <a:lnTo>
                    <a:pt x="1208" y="1215"/>
                  </a:lnTo>
                  <a:lnTo>
                    <a:pt x="1208" y="1216"/>
                  </a:lnTo>
                  <a:lnTo>
                    <a:pt x="1209" y="1216"/>
                  </a:lnTo>
                  <a:lnTo>
                    <a:pt x="1213" y="1216"/>
                  </a:lnTo>
                  <a:lnTo>
                    <a:pt x="1215" y="1216"/>
                  </a:lnTo>
                  <a:lnTo>
                    <a:pt x="1215" y="1218"/>
                  </a:lnTo>
                  <a:lnTo>
                    <a:pt x="1213" y="1223"/>
                  </a:lnTo>
                  <a:lnTo>
                    <a:pt x="1211" y="1223"/>
                  </a:lnTo>
                  <a:lnTo>
                    <a:pt x="1208" y="1222"/>
                  </a:lnTo>
                  <a:lnTo>
                    <a:pt x="1206" y="1223"/>
                  </a:lnTo>
                  <a:lnTo>
                    <a:pt x="1208" y="1223"/>
                  </a:lnTo>
                  <a:lnTo>
                    <a:pt x="1211" y="1226"/>
                  </a:lnTo>
                  <a:lnTo>
                    <a:pt x="1212" y="1228"/>
                  </a:lnTo>
                  <a:lnTo>
                    <a:pt x="1213" y="1229"/>
                  </a:lnTo>
                  <a:lnTo>
                    <a:pt x="1213" y="1231"/>
                  </a:lnTo>
                  <a:lnTo>
                    <a:pt x="1213" y="1232"/>
                  </a:lnTo>
                  <a:lnTo>
                    <a:pt x="1213" y="1233"/>
                  </a:lnTo>
                  <a:lnTo>
                    <a:pt x="1213" y="1233"/>
                  </a:lnTo>
                  <a:lnTo>
                    <a:pt x="1216" y="1233"/>
                  </a:lnTo>
                  <a:lnTo>
                    <a:pt x="1218" y="1233"/>
                  </a:lnTo>
                  <a:lnTo>
                    <a:pt x="1221" y="1233"/>
                  </a:lnTo>
                  <a:lnTo>
                    <a:pt x="1222" y="1233"/>
                  </a:lnTo>
                  <a:lnTo>
                    <a:pt x="1222" y="1233"/>
                  </a:lnTo>
                  <a:lnTo>
                    <a:pt x="1222" y="1236"/>
                  </a:lnTo>
                  <a:lnTo>
                    <a:pt x="1219" y="1238"/>
                  </a:lnTo>
                  <a:lnTo>
                    <a:pt x="1221" y="1238"/>
                  </a:lnTo>
                  <a:lnTo>
                    <a:pt x="1222" y="1238"/>
                  </a:lnTo>
                  <a:lnTo>
                    <a:pt x="1223" y="1238"/>
                  </a:lnTo>
                  <a:lnTo>
                    <a:pt x="1225" y="1242"/>
                  </a:lnTo>
                  <a:lnTo>
                    <a:pt x="1226" y="1245"/>
                  </a:lnTo>
                  <a:lnTo>
                    <a:pt x="1225" y="1246"/>
                  </a:lnTo>
                  <a:lnTo>
                    <a:pt x="1223" y="1246"/>
                  </a:lnTo>
                  <a:lnTo>
                    <a:pt x="1223" y="1251"/>
                  </a:lnTo>
                  <a:lnTo>
                    <a:pt x="1225" y="1253"/>
                  </a:lnTo>
                  <a:lnTo>
                    <a:pt x="1225" y="1258"/>
                  </a:lnTo>
                  <a:lnTo>
                    <a:pt x="1225" y="1261"/>
                  </a:lnTo>
                  <a:lnTo>
                    <a:pt x="1223" y="1262"/>
                  </a:lnTo>
                  <a:lnTo>
                    <a:pt x="1222" y="1262"/>
                  </a:lnTo>
                  <a:lnTo>
                    <a:pt x="1222" y="1261"/>
                  </a:lnTo>
                  <a:lnTo>
                    <a:pt x="1218" y="1251"/>
                  </a:lnTo>
                  <a:lnTo>
                    <a:pt x="1218" y="1249"/>
                  </a:lnTo>
                  <a:lnTo>
                    <a:pt x="1216" y="1248"/>
                  </a:lnTo>
                  <a:lnTo>
                    <a:pt x="1213" y="1243"/>
                  </a:lnTo>
                  <a:lnTo>
                    <a:pt x="1213" y="1243"/>
                  </a:lnTo>
                  <a:lnTo>
                    <a:pt x="1215" y="1246"/>
                  </a:lnTo>
                  <a:lnTo>
                    <a:pt x="1215" y="1249"/>
                  </a:lnTo>
                  <a:lnTo>
                    <a:pt x="1216" y="1255"/>
                  </a:lnTo>
                  <a:lnTo>
                    <a:pt x="1216" y="1259"/>
                  </a:lnTo>
                  <a:lnTo>
                    <a:pt x="1216" y="1261"/>
                  </a:lnTo>
                  <a:lnTo>
                    <a:pt x="1215" y="1261"/>
                  </a:lnTo>
                  <a:lnTo>
                    <a:pt x="1215" y="1261"/>
                  </a:lnTo>
                  <a:lnTo>
                    <a:pt x="1216" y="1262"/>
                  </a:lnTo>
                  <a:lnTo>
                    <a:pt x="1218" y="1266"/>
                  </a:lnTo>
                  <a:lnTo>
                    <a:pt x="1219" y="1268"/>
                  </a:lnTo>
                  <a:lnTo>
                    <a:pt x="1221" y="1271"/>
                  </a:lnTo>
                  <a:lnTo>
                    <a:pt x="1221" y="1272"/>
                  </a:lnTo>
                  <a:lnTo>
                    <a:pt x="1222" y="1273"/>
                  </a:lnTo>
                  <a:lnTo>
                    <a:pt x="1222" y="1273"/>
                  </a:lnTo>
                  <a:lnTo>
                    <a:pt x="1221" y="1275"/>
                  </a:lnTo>
                  <a:lnTo>
                    <a:pt x="1219" y="1275"/>
                  </a:lnTo>
                  <a:lnTo>
                    <a:pt x="1218" y="1275"/>
                  </a:lnTo>
                  <a:lnTo>
                    <a:pt x="1215" y="1272"/>
                  </a:lnTo>
                  <a:lnTo>
                    <a:pt x="1213" y="1272"/>
                  </a:lnTo>
                  <a:lnTo>
                    <a:pt x="1216" y="1281"/>
                  </a:lnTo>
                  <a:lnTo>
                    <a:pt x="1216" y="1282"/>
                  </a:lnTo>
                  <a:lnTo>
                    <a:pt x="1215" y="1283"/>
                  </a:lnTo>
                  <a:lnTo>
                    <a:pt x="1213" y="1282"/>
                  </a:lnTo>
                  <a:lnTo>
                    <a:pt x="1212" y="1281"/>
                  </a:lnTo>
                  <a:lnTo>
                    <a:pt x="1211" y="1278"/>
                  </a:lnTo>
                  <a:lnTo>
                    <a:pt x="1208" y="1275"/>
                  </a:lnTo>
                  <a:lnTo>
                    <a:pt x="1205" y="1272"/>
                  </a:lnTo>
                  <a:lnTo>
                    <a:pt x="1204" y="1273"/>
                  </a:lnTo>
                  <a:lnTo>
                    <a:pt x="1204" y="1273"/>
                  </a:lnTo>
                  <a:lnTo>
                    <a:pt x="1204" y="1273"/>
                  </a:lnTo>
                  <a:lnTo>
                    <a:pt x="1202" y="1273"/>
                  </a:lnTo>
                  <a:lnTo>
                    <a:pt x="1202" y="1272"/>
                  </a:lnTo>
                  <a:lnTo>
                    <a:pt x="1201" y="1271"/>
                  </a:lnTo>
                  <a:lnTo>
                    <a:pt x="1196" y="1266"/>
                  </a:lnTo>
                  <a:lnTo>
                    <a:pt x="1196" y="1266"/>
                  </a:lnTo>
                  <a:lnTo>
                    <a:pt x="1196" y="1268"/>
                  </a:lnTo>
                  <a:lnTo>
                    <a:pt x="1198" y="1271"/>
                  </a:lnTo>
                  <a:lnTo>
                    <a:pt x="1196" y="1271"/>
                  </a:lnTo>
                  <a:lnTo>
                    <a:pt x="1196" y="1271"/>
                  </a:lnTo>
                  <a:lnTo>
                    <a:pt x="1194" y="1269"/>
                  </a:lnTo>
                  <a:lnTo>
                    <a:pt x="1192" y="1266"/>
                  </a:lnTo>
                  <a:lnTo>
                    <a:pt x="1191" y="1262"/>
                  </a:lnTo>
                  <a:lnTo>
                    <a:pt x="1191" y="1261"/>
                  </a:lnTo>
                  <a:lnTo>
                    <a:pt x="1189" y="1262"/>
                  </a:lnTo>
                  <a:lnTo>
                    <a:pt x="1191" y="1266"/>
                  </a:lnTo>
                  <a:lnTo>
                    <a:pt x="1191" y="1268"/>
                  </a:lnTo>
                  <a:lnTo>
                    <a:pt x="1189" y="1268"/>
                  </a:lnTo>
                  <a:lnTo>
                    <a:pt x="1189" y="1268"/>
                  </a:lnTo>
                  <a:lnTo>
                    <a:pt x="1188" y="1266"/>
                  </a:lnTo>
                  <a:lnTo>
                    <a:pt x="1188" y="1265"/>
                  </a:lnTo>
                  <a:lnTo>
                    <a:pt x="1188" y="1263"/>
                  </a:lnTo>
                  <a:lnTo>
                    <a:pt x="1186" y="1262"/>
                  </a:lnTo>
                  <a:lnTo>
                    <a:pt x="1185" y="1261"/>
                  </a:lnTo>
                  <a:lnTo>
                    <a:pt x="1185" y="1259"/>
                  </a:lnTo>
                  <a:lnTo>
                    <a:pt x="1184" y="1259"/>
                  </a:lnTo>
                  <a:lnTo>
                    <a:pt x="1182" y="1259"/>
                  </a:lnTo>
                  <a:lnTo>
                    <a:pt x="1181" y="1258"/>
                  </a:lnTo>
                  <a:lnTo>
                    <a:pt x="1176" y="1253"/>
                  </a:lnTo>
                  <a:lnTo>
                    <a:pt x="1174" y="1248"/>
                  </a:lnTo>
                  <a:lnTo>
                    <a:pt x="1171" y="1245"/>
                  </a:lnTo>
                  <a:lnTo>
                    <a:pt x="1171" y="1243"/>
                  </a:lnTo>
                  <a:lnTo>
                    <a:pt x="1171" y="1248"/>
                  </a:lnTo>
                  <a:lnTo>
                    <a:pt x="1172" y="1253"/>
                  </a:lnTo>
                  <a:lnTo>
                    <a:pt x="1174" y="1255"/>
                  </a:lnTo>
                  <a:lnTo>
                    <a:pt x="1172" y="1255"/>
                  </a:lnTo>
                  <a:lnTo>
                    <a:pt x="1171" y="1255"/>
                  </a:lnTo>
                  <a:lnTo>
                    <a:pt x="1165" y="1248"/>
                  </a:lnTo>
                  <a:lnTo>
                    <a:pt x="1161" y="1245"/>
                  </a:lnTo>
                  <a:lnTo>
                    <a:pt x="1158" y="1243"/>
                  </a:lnTo>
                  <a:lnTo>
                    <a:pt x="1155" y="1243"/>
                  </a:lnTo>
                  <a:lnTo>
                    <a:pt x="1154" y="1245"/>
                  </a:lnTo>
                  <a:lnTo>
                    <a:pt x="1156" y="1249"/>
                  </a:lnTo>
                  <a:lnTo>
                    <a:pt x="1158" y="1252"/>
                  </a:lnTo>
                  <a:lnTo>
                    <a:pt x="1159" y="1253"/>
                  </a:lnTo>
                  <a:lnTo>
                    <a:pt x="1162" y="1258"/>
                  </a:lnTo>
                  <a:lnTo>
                    <a:pt x="1165" y="1262"/>
                  </a:lnTo>
                  <a:lnTo>
                    <a:pt x="1166" y="1265"/>
                  </a:lnTo>
                  <a:lnTo>
                    <a:pt x="1169" y="1266"/>
                  </a:lnTo>
                  <a:lnTo>
                    <a:pt x="1172" y="1266"/>
                  </a:lnTo>
                  <a:lnTo>
                    <a:pt x="1174" y="1266"/>
                  </a:lnTo>
                  <a:lnTo>
                    <a:pt x="1174" y="1268"/>
                  </a:lnTo>
                  <a:lnTo>
                    <a:pt x="1174" y="1269"/>
                  </a:lnTo>
                  <a:lnTo>
                    <a:pt x="1172" y="1271"/>
                  </a:lnTo>
                  <a:lnTo>
                    <a:pt x="1176" y="1272"/>
                  </a:lnTo>
                  <a:lnTo>
                    <a:pt x="1179" y="1273"/>
                  </a:lnTo>
                  <a:lnTo>
                    <a:pt x="1181" y="1275"/>
                  </a:lnTo>
                  <a:lnTo>
                    <a:pt x="1181" y="1276"/>
                  </a:lnTo>
                  <a:lnTo>
                    <a:pt x="1185" y="1281"/>
                  </a:lnTo>
                  <a:lnTo>
                    <a:pt x="1186" y="1282"/>
                  </a:lnTo>
                  <a:lnTo>
                    <a:pt x="1189" y="1283"/>
                  </a:lnTo>
                  <a:lnTo>
                    <a:pt x="1191" y="1285"/>
                  </a:lnTo>
                  <a:lnTo>
                    <a:pt x="1192" y="1288"/>
                  </a:lnTo>
                  <a:lnTo>
                    <a:pt x="1194" y="1289"/>
                  </a:lnTo>
                  <a:lnTo>
                    <a:pt x="1195" y="1293"/>
                  </a:lnTo>
                  <a:lnTo>
                    <a:pt x="1196" y="1295"/>
                  </a:lnTo>
                  <a:lnTo>
                    <a:pt x="1199" y="1296"/>
                  </a:lnTo>
                  <a:lnTo>
                    <a:pt x="1201" y="1298"/>
                  </a:lnTo>
                  <a:lnTo>
                    <a:pt x="1201" y="1298"/>
                  </a:lnTo>
                  <a:lnTo>
                    <a:pt x="1201" y="1299"/>
                  </a:lnTo>
                  <a:lnTo>
                    <a:pt x="1201" y="1301"/>
                  </a:lnTo>
                  <a:lnTo>
                    <a:pt x="1198" y="1302"/>
                  </a:lnTo>
                  <a:lnTo>
                    <a:pt x="1199" y="1303"/>
                  </a:lnTo>
                  <a:lnTo>
                    <a:pt x="1199" y="1306"/>
                  </a:lnTo>
                  <a:lnTo>
                    <a:pt x="1199" y="1308"/>
                  </a:lnTo>
                  <a:lnTo>
                    <a:pt x="1199" y="1309"/>
                  </a:lnTo>
                  <a:lnTo>
                    <a:pt x="1196" y="1309"/>
                  </a:lnTo>
                  <a:lnTo>
                    <a:pt x="1195" y="1309"/>
                  </a:lnTo>
                  <a:lnTo>
                    <a:pt x="1194" y="1309"/>
                  </a:lnTo>
                  <a:lnTo>
                    <a:pt x="1192" y="1308"/>
                  </a:lnTo>
                  <a:lnTo>
                    <a:pt x="1188" y="1305"/>
                  </a:lnTo>
                  <a:lnTo>
                    <a:pt x="1182" y="1302"/>
                  </a:lnTo>
                  <a:lnTo>
                    <a:pt x="1179" y="1302"/>
                  </a:lnTo>
                  <a:lnTo>
                    <a:pt x="1179" y="1301"/>
                  </a:lnTo>
                  <a:lnTo>
                    <a:pt x="1178" y="1299"/>
                  </a:lnTo>
                  <a:lnTo>
                    <a:pt x="1162" y="1296"/>
                  </a:lnTo>
                  <a:lnTo>
                    <a:pt x="1159" y="1296"/>
                  </a:lnTo>
                  <a:lnTo>
                    <a:pt x="1158" y="1295"/>
                  </a:lnTo>
                  <a:lnTo>
                    <a:pt x="1156" y="1293"/>
                  </a:lnTo>
                  <a:lnTo>
                    <a:pt x="1151" y="1291"/>
                  </a:lnTo>
                  <a:lnTo>
                    <a:pt x="1151" y="1291"/>
                  </a:lnTo>
                  <a:lnTo>
                    <a:pt x="1146" y="1285"/>
                  </a:lnTo>
                  <a:lnTo>
                    <a:pt x="1144" y="1279"/>
                  </a:lnTo>
                  <a:lnTo>
                    <a:pt x="1142" y="1278"/>
                  </a:lnTo>
                  <a:lnTo>
                    <a:pt x="1139" y="1278"/>
                  </a:lnTo>
                  <a:lnTo>
                    <a:pt x="1136" y="1278"/>
                  </a:lnTo>
                  <a:lnTo>
                    <a:pt x="1135" y="1279"/>
                  </a:lnTo>
                  <a:lnTo>
                    <a:pt x="1132" y="1279"/>
                  </a:lnTo>
                  <a:lnTo>
                    <a:pt x="1131" y="1278"/>
                  </a:lnTo>
                  <a:lnTo>
                    <a:pt x="1128" y="1275"/>
                  </a:lnTo>
                  <a:lnTo>
                    <a:pt x="1124" y="1273"/>
                  </a:lnTo>
                  <a:lnTo>
                    <a:pt x="1121" y="1271"/>
                  </a:lnTo>
                  <a:lnTo>
                    <a:pt x="1119" y="1271"/>
                  </a:lnTo>
                  <a:lnTo>
                    <a:pt x="1119" y="1269"/>
                  </a:lnTo>
                  <a:lnTo>
                    <a:pt x="1121" y="1266"/>
                  </a:lnTo>
                  <a:lnTo>
                    <a:pt x="1121" y="1266"/>
                  </a:lnTo>
                  <a:lnTo>
                    <a:pt x="1117" y="1269"/>
                  </a:lnTo>
                  <a:lnTo>
                    <a:pt x="1115" y="1268"/>
                  </a:lnTo>
                  <a:lnTo>
                    <a:pt x="1112" y="1266"/>
                  </a:lnTo>
                  <a:lnTo>
                    <a:pt x="1111" y="1263"/>
                  </a:lnTo>
                  <a:lnTo>
                    <a:pt x="1107" y="1258"/>
                  </a:lnTo>
                  <a:lnTo>
                    <a:pt x="1105" y="1255"/>
                  </a:lnTo>
                  <a:lnTo>
                    <a:pt x="1105" y="1255"/>
                  </a:lnTo>
                  <a:lnTo>
                    <a:pt x="1108" y="1255"/>
                  </a:lnTo>
                  <a:lnTo>
                    <a:pt x="1109" y="1255"/>
                  </a:lnTo>
                  <a:lnTo>
                    <a:pt x="1111" y="1255"/>
                  </a:lnTo>
                  <a:lnTo>
                    <a:pt x="1114" y="1252"/>
                  </a:lnTo>
                  <a:lnTo>
                    <a:pt x="1114" y="1251"/>
                  </a:lnTo>
                  <a:lnTo>
                    <a:pt x="1114" y="1249"/>
                  </a:lnTo>
                  <a:lnTo>
                    <a:pt x="1112" y="1249"/>
                  </a:lnTo>
                  <a:lnTo>
                    <a:pt x="1112" y="1249"/>
                  </a:lnTo>
                  <a:lnTo>
                    <a:pt x="1111" y="1248"/>
                  </a:lnTo>
                  <a:lnTo>
                    <a:pt x="1111" y="1246"/>
                  </a:lnTo>
                  <a:lnTo>
                    <a:pt x="1109" y="1245"/>
                  </a:lnTo>
                  <a:lnTo>
                    <a:pt x="1107" y="1245"/>
                  </a:lnTo>
                  <a:lnTo>
                    <a:pt x="1101" y="1245"/>
                  </a:lnTo>
                  <a:lnTo>
                    <a:pt x="1099" y="1245"/>
                  </a:lnTo>
                  <a:lnTo>
                    <a:pt x="1099" y="1243"/>
                  </a:lnTo>
                  <a:lnTo>
                    <a:pt x="1101" y="1241"/>
                  </a:lnTo>
                  <a:lnTo>
                    <a:pt x="1102" y="1239"/>
                  </a:lnTo>
                  <a:lnTo>
                    <a:pt x="1102" y="1238"/>
                  </a:lnTo>
                  <a:lnTo>
                    <a:pt x="1102" y="1238"/>
                  </a:lnTo>
                  <a:lnTo>
                    <a:pt x="1101" y="1238"/>
                  </a:lnTo>
                  <a:lnTo>
                    <a:pt x="1097" y="1241"/>
                  </a:lnTo>
                  <a:lnTo>
                    <a:pt x="1097" y="1241"/>
                  </a:lnTo>
                  <a:lnTo>
                    <a:pt x="1095" y="1238"/>
                  </a:lnTo>
                  <a:lnTo>
                    <a:pt x="1094" y="1235"/>
                  </a:lnTo>
                  <a:lnTo>
                    <a:pt x="1094" y="1233"/>
                  </a:lnTo>
                  <a:lnTo>
                    <a:pt x="1092" y="1233"/>
                  </a:lnTo>
                  <a:lnTo>
                    <a:pt x="1089" y="1231"/>
                  </a:lnTo>
                  <a:lnTo>
                    <a:pt x="1085" y="1223"/>
                  </a:lnTo>
                  <a:lnTo>
                    <a:pt x="1084" y="1222"/>
                  </a:lnTo>
                  <a:lnTo>
                    <a:pt x="1082" y="1221"/>
                  </a:lnTo>
                  <a:lnTo>
                    <a:pt x="1081" y="1219"/>
                  </a:lnTo>
                  <a:lnTo>
                    <a:pt x="1081" y="1219"/>
                  </a:lnTo>
                  <a:lnTo>
                    <a:pt x="1084" y="1213"/>
                  </a:lnTo>
                  <a:lnTo>
                    <a:pt x="1084" y="1213"/>
                  </a:lnTo>
                  <a:lnTo>
                    <a:pt x="1082" y="1213"/>
                  </a:lnTo>
                  <a:lnTo>
                    <a:pt x="1078" y="1212"/>
                  </a:lnTo>
                  <a:lnTo>
                    <a:pt x="1077" y="1213"/>
                  </a:lnTo>
                  <a:lnTo>
                    <a:pt x="1075" y="1213"/>
                  </a:lnTo>
                  <a:lnTo>
                    <a:pt x="1075" y="1213"/>
                  </a:lnTo>
                  <a:lnTo>
                    <a:pt x="1074" y="1213"/>
                  </a:lnTo>
                  <a:lnTo>
                    <a:pt x="1074" y="1218"/>
                  </a:lnTo>
                  <a:lnTo>
                    <a:pt x="1072" y="1218"/>
                  </a:lnTo>
                  <a:lnTo>
                    <a:pt x="1072" y="1219"/>
                  </a:lnTo>
                  <a:lnTo>
                    <a:pt x="1071" y="1219"/>
                  </a:lnTo>
                  <a:lnTo>
                    <a:pt x="1071" y="1218"/>
                  </a:lnTo>
                  <a:lnTo>
                    <a:pt x="1071" y="1218"/>
                  </a:lnTo>
                  <a:lnTo>
                    <a:pt x="1071" y="1212"/>
                  </a:lnTo>
                  <a:lnTo>
                    <a:pt x="1069" y="1211"/>
                  </a:lnTo>
                  <a:lnTo>
                    <a:pt x="1065" y="1211"/>
                  </a:lnTo>
                  <a:lnTo>
                    <a:pt x="1065" y="1211"/>
                  </a:lnTo>
                  <a:lnTo>
                    <a:pt x="1064" y="1209"/>
                  </a:lnTo>
                  <a:lnTo>
                    <a:pt x="1064" y="1208"/>
                  </a:lnTo>
                  <a:lnTo>
                    <a:pt x="1062" y="1205"/>
                  </a:lnTo>
                  <a:lnTo>
                    <a:pt x="1062" y="1203"/>
                  </a:lnTo>
                  <a:lnTo>
                    <a:pt x="1061" y="1203"/>
                  </a:lnTo>
                  <a:lnTo>
                    <a:pt x="1061" y="1203"/>
                  </a:lnTo>
                  <a:lnTo>
                    <a:pt x="1061" y="1205"/>
                  </a:lnTo>
                  <a:lnTo>
                    <a:pt x="1059" y="1205"/>
                  </a:lnTo>
                  <a:lnTo>
                    <a:pt x="1058" y="1205"/>
                  </a:lnTo>
                  <a:lnTo>
                    <a:pt x="1058" y="1206"/>
                  </a:lnTo>
                  <a:lnTo>
                    <a:pt x="1059" y="1208"/>
                  </a:lnTo>
                  <a:lnTo>
                    <a:pt x="1061" y="1211"/>
                  </a:lnTo>
                  <a:lnTo>
                    <a:pt x="1062" y="1213"/>
                  </a:lnTo>
                  <a:lnTo>
                    <a:pt x="1061" y="1216"/>
                  </a:lnTo>
                  <a:lnTo>
                    <a:pt x="1058" y="1218"/>
                  </a:lnTo>
                  <a:lnTo>
                    <a:pt x="1055" y="1218"/>
                  </a:lnTo>
                  <a:lnTo>
                    <a:pt x="1052" y="1218"/>
                  </a:lnTo>
                  <a:lnTo>
                    <a:pt x="1051" y="1216"/>
                  </a:lnTo>
                  <a:lnTo>
                    <a:pt x="1048" y="1215"/>
                  </a:lnTo>
                  <a:lnTo>
                    <a:pt x="1045" y="1215"/>
                  </a:lnTo>
                  <a:lnTo>
                    <a:pt x="1044" y="1221"/>
                  </a:lnTo>
                  <a:lnTo>
                    <a:pt x="1044" y="1221"/>
                  </a:lnTo>
                  <a:lnTo>
                    <a:pt x="1039" y="1221"/>
                  </a:lnTo>
                  <a:lnTo>
                    <a:pt x="1038" y="1221"/>
                  </a:lnTo>
                  <a:lnTo>
                    <a:pt x="1034" y="1223"/>
                  </a:lnTo>
                  <a:lnTo>
                    <a:pt x="1032" y="1223"/>
                  </a:lnTo>
                  <a:lnTo>
                    <a:pt x="1031" y="1223"/>
                  </a:lnTo>
                  <a:lnTo>
                    <a:pt x="1031" y="1223"/>
                  </a:lnTo>
                  <a:lnTo>
                    <a:pt x="1029" y="1225"/>
                  </a:lnTo>
                  <a:lnTo>
                    <a:pt x="1027" y="1226"/>
                  </a:lnTo>
                  <a:lnTo>
                    <a:pt x="1024" y="1225"/>
                  </a:lnTo>
                  <a:lnTo>
                    <a:pt x="1022" y="1223"/>
                  </a:lnTo>
                  <a:lnTo>
                    <a:pt x="1020" y="1223"/>
                  </a:lnTo>
                  <a:lnTo>
                    <a:pt x="1018" y="1223"/>
                  </a:lnTo>
                  <a:lnTo>
                    <a:pt x="1017" y="1222"/>
                  </a:lnTo>
                  <a:lnTo>
                    <a:pt x="1014" y="1221"/>
                  </a:lnTo>
                  <a:lnTo>
                    <a:pt x="1012" y="1221"/>
                  </a:lnTo>
                  <a:lnTo>
                    <a:pt x="1012" y="1221"/>
                  </a:lnTo>
                  <a:lnTo>
                    <a:pt x="1008" y="1218"/>
                  </a:lnTo>
                  <a:lnTo>
                    <a:pt x="1008" y="1216"/>
                  </a:lnTo>
                  <a:lnTo>
                    <a:pt x="1005" y="1212"/>
                  </a:lnTo>
                  <a:lnTo>
                    <a:pt x="1005" y="1209"/>
                  </a:lnTo>
                  <a:lnTo>
                    <a:pt x="1005" y="1208"/>
                  </a:lnTo>
                  <a:lnTo>
                    <a:pt x="1005" y="1206"/>
                  </a:lnTo>
                  <a:lnTo>
                    <a:pt x="1007" y="1205"/>
                  </a:lnTo>
                  <a:lnTo>
                    <a:pt x="1007" y="1199"/>
                  </a:lnTo>
                  <a:lnTo>
                    <a:pt x="1008" y="1198"/>
                  </a:lnTo>
                  <a:lnTo>
                    <a:pt x="1008" y="1196"/>
                  </a:lnTo>
                  <a:lnTo>
                    <a:pt x="1011" y="1195"/>
                  </a:lnTo>
                  <a:lnTo>
                    <a:pt x="1017" y="1191"/>
                  </a:lnTo>
                  <a:lnTo>
                    <a:pt x="1018" y="1189"/>
                  </a:lnTo>
                  <a:lnTo>
                    <a:pt x="1018" y="1189"/>
                  </a:lnTo>
                  <a:lnTo>
                    <a:pt x="1017" y="1185"/>
                  </a:lnTo>
                  <a:lnTo>
                    <a:pt x="1017" y="1183"/>
                  </a:lnTo>
                  <a:lnTo>
                    <a:pt x="1018" y="1183"/>
                  </a:lnTo>
                  <a:lnTo>
                    <a:pt x="1018" y="1181"/>
                  </a:lnTo>
                  <a:lnTo>
                    <a:pt x="1020" y="1179"/>
                  </a:lnTo>
                  <a:lnTo>
                    <a:pt x="1021" y="1179"/>
                  </a:lnTo>
                  <a:lnTo>
                    <a:pt x="1022" y="1181"/>
                  </a:lnTo>
                  <a:lnTo>
                    <a:pt x="1025" y="1181"/>
                  </a:lnTo>
                  <a:lnTo>
                    <a:pt x="1028" y="1182"/>
                  </a:lnTo>
                  <a:lnTo>
                    <a:pt x="1032" y="1183"/>
                  </a:lnTo>
                  <a:lnTo>
                    <a:pt x="1039" y="1186"/>
                  </a:lnTo>
                  <a:lnTo>
                    <a:pt x="1044" y="1189"/>
                  </a:lnTo>
                  <a:lnTo>
                    <a:pt x="1047" y="1192"/>
                  </a:lnTo>
                  <a:lnTo>
                    <a:pt x="1048" y="1195"/>
                  </a:lnTo>
                  <a:lnTo>
                    <a:pt x="1048" y="1196"/>
                  </a:lnTo>
                  <a:lnTo>
                    <a:pt x="1048" y="1199"/>
                  </a:lnTo>
                  <a:lnTo>
                    <a:pt x="1047" y="1201"/>
                  </a:lnTo>
                  <a:lnTo>
                    <a:pt x="1047" y="1201"/>
                  </a:lnTo>
                  <a:lnTo>
                    <a:pt x="1048" y="1202"/>
                  </a:lnTo>
                  <a:lnTo>
                    <a:pt x="1049" y="1203"/>
                  </a:lnTo>
                  <a:lnTo>
                    <a:pt x="1049" y="1202"/>
                  </a:lnTo>
                  <a:lnTo>
                    <a:pt x="1049" y="1201"/>
                  </a:lnTo>
                  <a:lnTo>
                    <a:pt x="1049" y="1199"/>
                  </a:lnTo>
                  <a:lnTo>
                    <a:pt x="1051" y="1198"/>
                  </a:lnTo>
                  <a:lnTo>
                    <a:pt x="1051" y="1196"/>
                  </a:lnTo>
                  <a:lnTo>
                    <a:pt x="1049" y="1195"/>
                  </a:lnTo>
                  <a:lnTo>
                    <a:pt x="1049" y="1193"/>
                  </a:lnTo>
                  <a:lnTo>
                    <a:pt x="1048" y="1192"/>
                  </a:lnTo>
                  <a:lnTo>
                    <a:pt x="1044" y="1188"/>
                  </a:lnTo>
                  <a:lnTo>
                    <a:pt x="1044" y="1186"/>
                  </a:lnTo>
                  <a:lnTo>
                    <a:pt x="1045" y="1185"/>
                  </a:lnTo>
                  <a:lnTo>
                    <a:pt x="1051" y="1186"/>
                  </a:lnTo>
                  <a:lnTo>
                    <a:pt x="1054" y="1186"/>
                  </a:lnTo>
                  <a:lnTo>
                    <a:pt x="1055" y="1185"/>
                  </a:lnTo>
                  <a:lnTo>
                    <a:pt x="1055" y="1183"/>
                  </a:lnTo>
                  <a:lnTo>
                    <a:pt x="1057" y="1182"/>
                  </a:lnTo>
                  <a:lnTo>
                    <a:pt x="1059" y="1182"/>
                  </a:lnTo>
                  <a:lnTo>
                    <a:pt x="1062" y="1183"/>
                  </a:lnTo>
                  <a:lnTo>
                    <a:pt x="1064" y="1183"/>
                  </a:lnTo>
                  <a:lnTo>
                    <a:pt x="1065" y="1183"/>
                  </a:lnTo>
                  <a:lnTo>
                    <a:pt x="1067" y="1182"/>
                  </a:lnTo>
                  <a:lnTo>
                    <a:pt x="1068" y="1179"/>
                  </a:lnTo>
                  <a:lnTo>
                    <a:pt x="1071" y="1178"/>
                  </a:lnTo>
                  <a:lnTo>
                    <a:pt x="1072" y="1178"/>
                  </a:lnTo>
                  <a:lnTo>
                    <a:pt x="1074" y="1178"/>
                  </a:lnTo>
                  <a:lnTo>
                    <a:pt x="1078" y="1179"/>
                  </a:lnTo>
                  <a:lnTo>
                    <a:pt x="1079" y="1179"/>
                  </a:lnTo>
                  <a:lnTo>
                    <a:pt x="1079" y="1176"/>
                  </a:lnTo>
                  <a:lnTo>
                    <a:pt x="1078" y="1172"/>
                  </a:lnTo>
                  <a:lnTo>
                    <a:pt x="1077" y="1168"/>
                  </a:lnTo>
                  <a:lnTo>
                    <a:pt x="1075" y="1166"/>
                  </a:lnTo>
                  <a:lnTo>
                    <a:pt x="1072" y="1164"/>
                  </a:lnTo>
                  <a:lnTo>
                    <a:pt x="1068" y="1158"/>
                  </a:lnTo>
                  <a:lnTo>
                    <a:pt x="1067" y="1155"/>
                  </a:lnTo>
                  <a:lnTo>
                    <a:pt x="1065" y="1154"/>
                  </a:lnTo>
                  <a:lnTo>
                    <a:pt x="1065" y="1152"/>
                  </a:lnTo>
                  <a:lnTo>
                    <a:pt x="1067" y="1151"/>
                  </a:lnTo>
                  <a:lnTo>
                    <a:pt x="1074" y="1145"/>
                  </a:lnTo>
                  <a:lnTo>
                    <a:pt x="1079" y="1138"/>
                  </a:lnTo>
                  <a:lnTo>
                    <a:pt x="1081" y="1135"/>
                  </a:lnTo>
                  <a:lnTo>
                    <a:pt x="1082" y="1134"/>
                  </a:lnTo>
                  <a:lnTo>
                    <a:pt x="1084" y="1132"/>
                  </a:lnTo>
                  <a:lnTo>
                    <a:pt x="1085" y="1131"/>
                  </a:lnTo>
                  <a:lnTo>
                    <a:pt x="1088" y="1129"/>
                  </a:lnTo>
                  <a:lnTo>
                    <a:pt x="1088" y="1128"/>
                  </a:lnTo>
                  <a:lnTo>
                    <a:pt x="1089" y="1125"/>
                  </a:lnTo>
                  <a:lnTo>
                    <a:pt x="1089" y="1124"/>
                  </a:lnTo>
                  <a:lnTo>
                    <a:pt x="1092" y="1118"/>
                  </a:lnTo>
                  <a:lnTo>
                    <a:pt x="1094" y="1115"/>
                  </a:lnTo>
                  <a:lnTo>
                    <a:pt x="1097" y="1115"/>
                  </a:lnTo>
                  <a:lnTo>
                    <a:pt x="1098" y="1114"/>
                  </a:lnTo>
                  <a:lnTo>
                    <a:pt x="1101" y="1108"/>
                  </a:lnTo>
                  <a:lnTo>
                    <a:pt x="1101" y="1106"/>
                  </a:lnTo>
                  <a:lnTo>
                    <a:pt x="1099" y="1106"/>
                  </a:lnTo>
                  <a:lnTo>
                    <a:pt x="1099" y="1105"/>
                  </a:lnTo>
                  <a:lnTo>
                    <a:pt x="1095" y="1091"/>
                  </a:lnTo>
                  <a:lnTo>
                    <a:pt x="1092" y="1085"/>
                  </a:lnTo>
                  <a:lnTo>
                    <a:pt x="1089" y="1079"/>
                  </a:lnTo>
                  <a:lnTo>
                    <a:pt x="1088" y="1072"/>
                  </a:lnTo>
                  <a:lnTo>
                    <a:pt x="1084" y="1065"/>
                  </a:lnTo>
                  <a:lnTo>
                    <a:pt x="1084" y="1064"/>
                  </a:lnTo>
                  <a:lnTo>
                    <a:pt x="1084" y="1061"/>
                  </a:lnTo>
                  <a:lnTo>
                    <a:pt x="1084" y="1061"/>
                  </a:lnTo>
                  <a:lnTo>
                    <a:pt x="1079" y="1064"/>
                  </a:lnTo>
                  <a:lnTo>
                    <a:pt x="1078" y="1064"/>
                  </a:lnTo>
                  <a:lnTo>
                    <a:pt x="1077" y="1062"/>
                  </a:lnTo>
                  <a:lnTo>
                    <a:pt x="1075" y="1061"/>
                  </a:lnTo>
                  <a:lnTo>
                    <a:pt x="1074" y="1058"/>
                  </a:lnTo>
                  <a:lnTo>
                    <a:pt x="1075" y="1056"/>
                  </a:lnTo>
                  <a:lnTo>
                    <a:pt x="1075" y="1055"/>
                  </a:lnTo>
                  <a:lnTo>
                    <a:pt x="1077" y="1052"/>
                  </a:lnTo>
                  <a:lnTo>
                    <a:pt x="1077" y="1049"/>
                  </a:lnTo>
                  <a:lnTo>
                    <a:pt x="1075" y="1048"/>
                  </a:lnTo>
                  <a:lnTo>
                    <a:pt x="1075" y="1046"/>
                  </a:lnTo>
                  <a:lnTo>
                    <a:pt x="1075" y="1046"/>
                  </a:lnTo>
                  <a:lnTo>
                    <a:pt x="1074" y="1045"/>
                  </a:lnTo>
                  <a:lnTo>
                    <a:pt x="1071" y="1045"/>
                  </a:lnTo>
                  <a:lnTo>
                    <a:pt x="1071" y="1046"/>
                  </a:lnTo>
                  <a:lnTo>
                    <a:pt x="1072" y="1052"/>
                  </a:lnTo>
                  <a:lnTo>
                    <a:pt x="1072" y="1052"/>
                  </a:lnTo>
                  <a:lnTo>
                    <a:pt x="1069" y="1054"/>
                  </a:lnTo>
                  <a:lnTo>
                    <a:pt x="1068" y="1054"/>
                  </a:lnTo>
                  <a:lnTo>
                    <a:pt x="1067" y="1052"/>
                  </a:lnTo>
                  <a:lnTo>
                    <a:pt x="1065" y="1052"/>
                  </a:lnTo>
                  <a:lnTo>
                    <a:pt x="1062" y="1046"/>
                  </a:lnTo>
                  <a:lnTo>
                    <a:pt x="1061" y="1044"/>
                  </a:lnTo>
                  <a:lnTo>
                    <a:pt x="1061" y="1042"/>
                  </a:lnTo>
                  <a:lnTo>
                    <a:pt x="1061" y="1041"/>
                  </a:lnTo>
                  <a:lnTo>
                    <a:pt x="1061" y="1042"/>
                  </a:lnTo>
                  <a:lnTo>
                    <a:pt x="1059" y="1042"/>
                  </a:lnTo>
                  <a:lnTo>
                    <a:pt x="1058" y="1041"/>
                  </a:lnTo>
                  <a:lnTo>
                    <a:pt x="1058" y="1041"/>
                  </a:lnTo>
                  <a:lnTo>
                    <a:pt x="1061" y="1038"/>
                  </a:lnTo>
                  <a:lnTo>
                    <a:pt x="1061" y="1036"/>
                  </a:lnTo>
                  <a:lnTo>
                    <a:pt x="1059" y="1036"/>
                  </a:lnTo>
                  <a:lnTo>
                    <a:pt x="1058" y="1035"/>
                  </a:lnTo>
                  <a:lnTo>
                    <a:pt x="1057" y="1035"/>
                  </a:lnTo>
                  <a:lnTo>
                    <a:pt x="1058" y="1034"/>
                  </a:lnTo>
                  <a:lnTo>
                    <a:pt x="1059" y="1032"/>
                  </a:lnTo>
                  <a:lnTo>
                    <a:pt x="1061" y="1031"/>
                  </a:lnTo>
                  <a:lnTo>
                    <a:pt x="1059" y="1029"/>
                  </a:lnTo>
                  <a:lnTo>
                    <a:pt x="1058" y="1029"/>
                  </a:lnTo>
                  <a:lnTo>
                    <a:pt x="1057" y="1032"/>
                  </a:lnTo>
                  <a:lnTo>
                    <a:pt x="1055" y="1035"/>
                  </a:lnTo>
                  <a:lnTo>
                    <a:pt x="1052" y="1036"/>
                  </a:lnTo>
                  <a:lnTo>
                    <a:pt x="1051" y="1035"/>
                  </a:lnTo>
                  <a:lnTo>
                    <a:pt x="1049" y="1035"/>
                  </a:lnTo>
                  <a:lnTo>
                    <a:pt x="1048" y="1035"/>
                  </a:lnTo>
                  <a:lnTo>
                    <a:pt x="1047" y="1038"/>
                  </a:lnTo>
                  <a:lnTo>
                    <a:pt x="1042" y="1039"/>
                  </a:lnTo>
                  <a:lnTo>
                    <a:pt x="1037" y="1045"/>
                  </a:lnTo>
                  <a:lnTo>
                    <a:pt x="1034" y="1046"/>
                  </a:lnTo>
                  <a:lnTo>
                    <a:pt x="1031" y="1046"/>
                  </a:lnTo>
                  <a:lnTo>
                    <a:pt x="1031" y="1045"/>
                  </a:lnTo>
                  <a:lnTo>
                    <a:pt x="1031" y="1044"/>
                  </a:lnTo>
                  <a:lnTo>
                    <a:pt x="1031" y="1042"/>
                  </a:lnTo>
                  <a:lnTo>
                    <a:pt x="1031" y="1041"/>
                  </a:lnTo>
                  <a:lnTo>
                    <a:pt x="1031" y="1039"/>
                  </a:lnTo>
                  <a:lnTo>
                    <a:pt x="1031" y="1034"/>
                  </a:lnTo>
                  <a:lnTo>
                    <a:pt x="1031" y="1032"/>
                  </a:lnTo>
                  <a:lnTo>
                    <a:pt x="1032" y="1032"/>
                  </a:lnTo>
                  <a:lnTo>
                    <a:pt x="1034" y="1031"/>
                  </a:lnTo>
                  <a:lnTo>
                    <a:pt x="1039" y="1032"/>
                  </a:lnTo>
                  <a:lnTo>
                    <a:pt x="1041" y="1032"/>
                  </a:lnTo>
                  <a:lnTo>
                    <a:pt x="1042" y="1031"/>
                  </a:lnTo>
                  <a:lnTo>
                    <a:pt x="1044" y="1028"/>
                  </a:lnTo>
                  <a:lnTo>
                    <a:pt x="1045" y="1026"/>
                  </a:lnTo>
                  <a:lnTo>
                    <a:pt x="1047" y="1024"/>
                  </a:lnTo>
                  <a:lnTo>
                    <a:pt x="1044" y="1019"/>
                  </a:lnTo>
                  <a:lnTo>
                    <a:pt x="1044" y="1018"/>
                  </a:lnTo>
                  <a:lnTo>
                    <a:pt x="1039" y="1015"/>
                  </a:lnTo>
                  <a:lnTo>
                    <a:pt x="1038" y="1015"/>
                  </a:lnTo>
                  <a:lnTo>
                    <a:pt x="1035" y="1014"/>
                  </a:lnTo>
                  <a:lnTo>
                    <a:pt x="1034" y="1014"/>
                  </a:lnTo>
                  <a:lnTo>
                    <a:pt x="1032" y="1012"/>
                  </a:lnTo>
                  <a:lnTo>
                    <a:pt x="1032" y="1009"/>
                  </a:lnTo>
                  <a:lnTo>
                    <a:pt x="1032" y="1008"/>
                  </a:lnTo>
                  <a:lnTo>
                    <a:pt x="1032" y="1006"/>
                  </a:lnTo>
                  <a:lnTo>
                    <a:pt x="1032" y="1005"/>
                  </a:lnTo>
                  <a:lnTo>
                    <a:pt x="1037" y="1004"/>
                  </a:lnTo>
                  <a:lnTo>
                    <a:pt x="1037" y="1002"/>
                  </a:lnTo>
                  <a:lnTo>
                    <a:pt x="1034" y="1002"/>
                  </a:lnTo>
                  <a:lnTo>
                    <a:pt x="1032" y="1002"/>
                  </a:lnTo>
                  <a:lnTo>
                    <a:pt x="1031" y="1004"/>
                  </a:lnTo>
                  <a:lnTo>
                    <a:pt x="1029" y="1006"/>
                  </a:lnTo>
                  <a:lnTo>
                    <a:pt x="1028" y="1006"/>
                  </a:lnTo>
                  <a:lnTo>
                    <a:pt x="1025" y="1005"/>
                  </a:lnTo>
                  <a:lnTo>
                    <a:pt x="1024" y="1005"/>
                  </a:lnTo>
                  <a:lnTo>
                    <a:pt x="1022" y="1004"/>
                  </a:lnTo>
                  <a:lnTo>
                    <a:pt x="1022" y="1004"/>
                  </a:lnTo>
                  <a:lnTo>
                    <a:pt x="1022" y="1002"/>
                  </a:lnTo>
                  <a:lnTo>
                    <a:pt x="1024" y="1002"/>
                  </a:lnTo>
                  <a:lnTo>
                    <a:pt x="1027" y="999"/>
                  </a:lnTo>
                  <a:lnTo>
                    <a:pt x="1027" y="998"/>
                  </a:lnTo>
                  <a:lnTo>
                    <a:pt x="1025" y="995"/>
                  </a:lnTo>
                  <a:lnTo>
                    <a:pt x="1024" y="995"/>
                  </a:lnTo>
                  <a:lnTo>
                    <a:pt x="1021" y="994"/>
                  </a:lnTo>
                  <a:lnTo>
                    <a:pt x="1017" y="995"/>
                  </a:lnTo>
                  <a:lnTo>
                    <a:pt x="1015" y="994"/>
                  </a:lnTo>
                  <a:lnTo>
                    <a:pt x="1014" y="992"/>
                  </a:lnTo>
                  <a:lnTo>
                    <a:pt x="1014" y="989"/>
                  </a:lnTo>
                  <a:lnTo>
                    <a:pt x="1014" y="985"/>
                  </a:lnTo>
                  <a:lnTo>
                    <a:pt x="1012" y="979"/>
                  </a:lnTo>
                  <a:lnTo>
                    <a:pt x="1012" y="976"/>
                  </a:lnTo>
                  <a:lnTo>
                    <a:pt x="1011" y="975"/>
                  </a:lnTo>
                  <a:lnTo>
                    <a:pt x="1005" y="976"/>
                  </a:lnTo>
                  <a:lnTo>
                    <a:pt x="1005" y="976"/>
                  </a:lnTo>
                  <a:lnTo>
                    <a:pt x="1004" y="976"/>
                  </a:lnTo>
                  <a:lnTo>
                    <a:pt x="1001" y="972"/>
                  </a:lnTo>
                  <a:lnTo>
                    <a:pt x="1000" y="971"/>
                  </a:lnTo>
                  <a:lnTo>
                    <a:pt x="998" y="971"/>
                  </a:lnTo>
                  <a:lnTo>
                    <a:pt x="997" y="967"/>
                  </a:lnTo>
                  <a:lnTo>
                    <a:pt x="995" y="965"/>
                  </a:lnTo>
                  <a:lnTo>
                    <a:pt x="994" y="964"/>
                  </a:lnTo>
                  <a:lnTo>
                    <a:pt x="992" y="959"/>
                  </a:lnTo>
                  <a:lnTo>
                    <a:pt x="991" y="958"/>
                  </a:lnTo>
                  <a:lnTo>
                    <a:pt x="990" y="959"/>
                  </a:lnTo>
                  <a:lnTo>
                    <a:pt x="988" y="962"/>
                  </a:lnTo>
                  <a:lnTo>
                    <a:pt x="987" y="965"/>
                  </a:lnTo>
                  <a:lnTo>
                    <a:pt x="985" y="967"/>
                  </a:lnTo>
                  <a:lnTo>
                    <a:pt x="985" y="968"/>
                  </a:lnTo>
                  <a:lnTo>
                    <a:pt x="987" y="969"/>
                  </a:lnTo>
                  <a:lnTo>
                    <a:pt x="992" y="972"/>
                  </a:lnTo>
                  <a:lnTo>
                    <a:pt x="994" y="974"/>
                  </a:lnTo>
                  <a:lnTo>
                    <a:pt x="995" y="976"/>
                  </a:lnTo>
                  <a:lnTo>
                    <a:pt x="995" y="979"/>
                  </a:lnTo>
                  <a:lnTo>
                    <a:pt x="995" y="982"/>
                  </a:lnTo>
                  <a:lnTo>
                    <a:pt x="995" y="985"/>
                  </a:lnTo>
                  <a:lnTo>
                    <a:pt x="995" y="986"/>
                  </a:lnTo>
                  <a:lnTo>
                    <a:pt x="994" y="988"/>
                  </a:lnTo>
                  <a:lnTo>
                    <a:pt x="991" y="991"/>
                  </a:lnTo>
                  <a:lnTo>
                    <a:pt x="988" y="992"/>
                  </a:lnTo>
                  <a:lnTo>
                    <a:pt x="984" y="992"/>
                  </a:lnTo>
                  <a:lnTo>
                    <a:pt x="982" y="992"/>
                  </a:lnTo>
                  <a:lnTo>
                    <a:pt x="974" y="988"/>
                  </a:lnTo>
                  <a:lnTo>
                    <a:pt x="972" y="988"/>
                  </a:lnTo>
                  <a:lnTo>
                    <a:pt x="970" y="986"/>
                  </a:lnTo>
                  <a:lnTo>
                    <a:pt x="965" y="985"/>
                  </a:lnTo>
                  <a:lnTo>
                    <a:pt x="962" y="985"/>
                  </a:lnTo>
                  <a:lnTo>
                    <a:pt x="958" y="984"/>
                  </a:lnTo>
                  <a:lnTo>
                    <a:pt x="951" y="982"/>
                  </a:lnTo>
                  <a:lnTo>
                    <a:pt x="950" y="982"/>
                  </a:lnTo>
                  <a:lnTo>
                    <a:pt x="952" y="985"/>
                  </a:lnTo>
                  <a:lnTo>
                    <a:pt x="954" y="986"/>
                  </a:lnTo>
                  <a:lnTo>
                    <a:pt x="955" y="986"/>
                  </a:lnTo>
                  <a:lnTo>
                    <a:pt x="957" y="988"/>
                  </a:lnTo>
                  <a:lnTo>
                    <a:pt x="960" y="992"/>
                  </a:lnTo>
                  <a:lnTo>
                    <a:pt x="961" y="994"/>
                  </a:lnTo>
                  <a:lnTo>
                    <a:pt x="962" y="996"/>
                  </a:lnTo>
                  <a:lnTo>
                    <a:pt x="962" y="998"/>
                  </a:lnTo>
                  <a:lnTo>
                    <a:pt x="961" y="999"/>
                  </a:lnTo>
                  <a:lnTo>
                    <a:pt x="951" y="989"/>
                  </a:lnTo>
                  <a:lnTo>
                    <a:pt x="945" y="994"/>
                  </a:lnTo>
                  <a:lnTo>
                    <a:pt x="942" y="995"/>
                  </a:lnTo>
                  <a:lnTo>
                    <a:pt x="940" y="995"/>
                  </a:lnTo>
                  <a:lnTo>
                    <a:pt x="937" y="994"/>
                  </a:lnTo>
                  <a:lnTo>
                    <a:pt x="930" y="989"/>
                  </a:lnTo>
                  <a:lnTo>
                    <a:pt x="927" y="986"/>
                  </a:lnTo>
                  <a:lnTo>
                    <a:pt x="925" y="986"/>
                  </a:lnTo>
                  <a:lnTo>
                    <a:pt x="920" y="989"/>
                  </a:lnTo>
                  <a:lnTo>
                    <a:pt x="914" y="989"/>
                  </a:lnTo>
                  <a:lnTo>
                    <a:pt x="904" y="986"/>
                  </a:lnTo>
                  <a:lnTo>
                    <a:pt x="900" y="985"/>
                  </a:lnTo>
                  <a:lnTo>
                    <a:pt x="900" y="984"/>
                  </a:lnTo>
                  <a:lnTo>
                    <a:pt x="898" y="984"/>
                  </a:lnTo>
                  <a:lnTo>
                    <a:pt x="895" y="984"/>
                  </a:lnTo>
                  <a:lnTo>
                    <a:pt x="890" y="982"/>
                  </a:lnTo>
                  <a:lnTo>
                    <a:pt x="884" y="985"/>
                  </a:lnTo>
                  <a:lnTo>
                    <a:pt x="877" y="982"/>
                  </a:lnTo>
                  <a:lnTo>
                    <a:pt x="875" y="981"/>
                  </a:lnTo>
                  <a:lnTo>
                    <a:pt x="874" y="979"/>
                  </a:lnTo>
                  <a:lnTo>
                    <a:pt x="873" y="974"/>
                  </a:lnTo>
                  <a:lnTo>
                    <a:pt x="873" y="971"/>
                  </a:lnTo>
                  <a:lnTo>
                    <a:pt x="873" y="968"/>
                  </a:lnTo>
                  <a:lnTo>
                    <a:pt x="874" y="967"/>
                  </a:lnTo>
                  <a:lnTo>
                    <a:pt x="874" y="965"/>
                  </a:lnTo>
                  <a:lnTo>
                    <a:pt x="870" y="968"/>
                  </a:lnTo>
                  <a:lnTo>
                    <a:pt x="868" y="969"/>
                  </a:lnTo>
                  <a:lnTo>
                    <a:pt x="867" y="969"/>
                  </a:lnTo>
                  <a:lnTo>
                    <a:pt x="863" y="968"/>
                  </a:lnTo>
                  <a:lnTo>
                    <a:pt x="861" y="968"/>
                  </a:lnTo>
                  <a:lnTo>
                    <a:pt x="861" y="969"/>
                  </a:lnTo>
                  <a:lnTo>
                    <a:pt x="863" y="971"/>
                  </a:lnTo>
                  <a:lnTo>
                    <a:pt x="863" y="972"/>
                  </a:lnTo>
                  <a:lnTo>
                    <a:pt x="860" y="972"/>
                  </a:lnTo>
                  <a:lnTo>
                    <a:pt x="855" y="972"/>
                  </a:lnTo>
                  <a:lnTo>
                    <a:pt x="854" y="972"/>
                  </a:lnTo>
                  <a:lnTo>
                    <a:pt x="854" y="972"/>
                  </a:lnTo>
                  <a:lnTo>
                    <a:pt x="851" y="975"/>
                  </a:lnTo>
                  <a:lnTo>
                    <a:pt x="851" y="975"/>
                  </a:lnTo>
                  <a:lnTo>
                    <a:pt x="850" y="975"/>
                  </a:lnTo>
                  <a:lnTo>
                    <a:pt x="845" y="969"/>
                  </a:lnTo>
                  <a:lnTo>
                    <a:pt x="841" y="967"/>
                  </a:lnTo>
                  <a:lnTo>
                    <a:pt x="837" y="965"/>
                  </a:lnTo>
                  <a:lnTo>
                    <a:pt x="835" y="964"/>
                  </a:lnTo>
                  <a:lnTo>
                    <a:pt x="834" y="962"/>
                  </a:lnTo>
                  <a:lnTo>
                    <a:pt x="828" y="951"/>
                  </a:lnTo>
                  <a:lnTo>
                    <a:pt x="828" y="948"/>
                  </a:lnTo>
                  <a:lnTo>
                    <a:pt x="827" y="939"/>
                  </a:lnTo>
                  <a:lnTo>
                    <a:pt x="826" y="938"/>
                  </a:lnTo>
                  <a:lnTo>
                    <a:pt x="826" y="937"/>
                  </a:lnTo>
                  <a:lnTo>
                    <a:pt x="827" y="937"/>
                  </a:lnTo>
                  <a:lnTo>
                    <a:pt x="831" y="937"/>
                  </a:lnTo>
                  <a:lnTo>
                    <a:pt x="837" y="937"/>
                  </a:lnTo>
                  <a:lnTo>
                    <a:pt x="840" y="938"/>
                  </a:lnTo>
                  <a:lnTo>
                    <a:pt x="843" y="939"/>
                  </a:lnTo>
                  <a:lnTo>
                    <a:pt x="847" y="942"/>
                  </a:lnTo>
                  <a:lnTo>
                    <a:pt x="851" y="942"/>
                  </a:lnTo>
                  <a:lnTo>
                    <a:pt x="855" y="941"/>
                  </a:lnTo>
                  <a:lnTo>
                    <a:pt x="861" y="939"/>
                  </a:lnTo>
                  <a:lnTo>
                    <a:pt x="863" y="939"/>
                  </a:lnTo>
                  <a:lnTo>
                    <a:pt x="858" y="937"/>
                  </a:lnTo>
                  <a:lnTo>
                    <a:pt x="855" y="934"/>
                  </a:lnTo>
                  <a:lnTo>
                    <a:pt x="853" y="931"/>
                  </a:lnTo>
                  <a:lnTo>
                    <a:pt x="850" y="929"/>
                  </a:lnTo>
                  <a:lnTo>
                    <a:pt x="847" y="928"/>
                  </a:lnTo>
                  <a:lnTo>
                    <a:pt x="838" y="928"/>
                  </a:lnTo>
                  <a:lnTo>
                    <a:pt x="831" y="925"/>
                  </a:lnTo>
                  <a:lnTo>
                    <a:pt x="826" y="922"/>
                  </a:lnTo>
                  <a:lnTo>
                    <a:pt x="821" y="918"/>
                  </a:lnTo>
                  <a:lnTo>
                    <a:pt x="820" y="917"/>
                  </a:lnTo>
                  <a:lnTo>
                    <a:pt x="818" y="915"/>
                  </a:lnTo>
                  <a:lnTo>
                    <a:pt x="818" y="909"/>
                  </a:lnTo>
                  <a:lnTo>
                    <a:pt x="817" y="902"/>
                  </a:lnTo>
                  <a:lnTo>
                    <a:pt x="817" y="897"/>
                  </a:lnTo>
                  <a:lnTo>
                    <a:pt x="816" y="894"/>
                  </a:lnTo>
                  <a:lnTo>
                    <a:pt x="816" y="891"/>
                  </a:lnTo>
                  <a:lnTo>
                    <a:pt x="817" y="887"/>
                  </a:lnTo>
                  <a:lnTo>
                    <a:pt x="821" y="881"/>
                  </a:lnTo>
                  <a:lnTo>
                    <a:pt x="821" y="879"/>
                  </a:lnTo>
                  <a:lnTo>
                    <a:pt x="821" y="879"/>
                  </a:lnTo>
                  <a:lnTo>
                    <a:pt x="818" y="878"/>
                  </a:lnTo>
                  <a:lnTo>
                    <a:pt x="818" y="875"/>
                  </a:lnTo>
                  <a:lnTo>
                    <a:pt x="818" y="872"/>
                  </a:lnTo>
                  <a:lnTo>
                    <a:pt x="818" y="869"/>
                  </a:lnTo>
                  <a:lnTo>
                    <a:pt x="818" y="867"/>
                  </a:lnTo>
                  <a:lnTo>
                    <a:pt x="820" y="864"/>
                  </a:lnTo>
                  <a:lnTo>
                    <a:pt x="821" y="859"/>
                  </a:lnTo>
                  <a:lnTo>
                    <a:pt x="824" y="852"/>
                  </a:lnTo>
                  <a:lnTo>
                    <a:pt x="827" y="847"/>
                  </a:lnTo>
                  <a:lnTo>
                    <a:pt x="827" y="844"/>
                  </a:lnTo>
                  <a:lnTo>
                    <a:pt x="827" y="838"/>
                  </a:lnTo>
                  <a:lnTo>
                    <a:pt x="827" y="835"/>
                  </a:lnTo>
                  <a:lnTo>
                    <a:pt x="828" y="832"/>
                  </a:lnTo>
                  <a:lnTo>
                    <a:pt x="828" y="829"/>
                  </a:lnTo>
                  <a:lnTo>
                    <a:pt x="830" y="825"/>
                  </a:lnTo>
                  <a:lnTo>
                    <a:pt x="833" y="821"/>
                  </a:lnTo>
                  <a:lnTo>
                    <a:pt x="835" y="818"/>
                  </a:lnTo>
                  <a:lnTo>
                    <a:pt x="837" y="817"/>
                  </a:lnTo>
                  <a:lnTo>
                    <a:pt x="837" y="815"/>
                  </a:lnTo>
                  <a:lnTo>
                    <a:pt x="837" y="814"/>
                  </a:lnTo>
                  <a:lnTo>
                    <a:pt x="837" y="814"/>
                  </a:lnTo>
                  <a:lnTo>
                    <a:pt x="845" y="802"/>
                  </a:lnTo>
                  <a:lnTo>
                    <a:pt x="850" y="798"/>
                  </a:lnTo>
                  <a:lnTo>
                    <a:pt x="853" y="795"/>
                  </a:lnTo>
                  <a:lnTo>
                    <a:pt x="857" y="792"/>
                  </a:lnTo>
                  <a:lnTo>
                    <a:pt x="868" y="788"/>
                  </a:lnTo>
                  <a:lnTo>
                    <a:pt x="874" y="788"/>
                  </a:lnTo>
                  <a:lnTo>
                    <a:pt x="881" y="788"/>
                  </a:lnTo>
                  <a:lnTo>
                    <a:pt x="894" y="791"/>
                  </a:lnTo>
                  <a:lnTo>
                    <a:pt x="895" y="792"/>
                  </a:lnTo>
                  <a:lnTo>
                    <a:pt x="897" y="792"/>
                  </a:lnTo>
                  <a:lnTo>
                    <a:pt x="897" y="795"/>
                  </a:lnTo>
                  <a:lnTo>
                    <a:pt x="897" y="797"/>
                  </a:lnTo>
                  <a:lnTo>
                    <a:pt x="893" y="802"/>
                  </a:lnTo>
                  <a:lnTo>
                    <a:pt x="888" y="807"/>
                  </a:lnTo>
                  <a:lnTo>
                    <a:pt x="885" y="809"/>
                  </a:lnTo>
                  <a:lnTo>
                    <a:pt x="880" y="818"/>
                  </a:lnTo>
                  <a:lnTo>
                    <a:pt x="878" y="821"/>
                  </a:lnTo>
                  <a:lnTo>
                    <a:pt x="873" y="838"/>
                  </a:lnTo>
                  <a:lnTo>
                    <a:pt x="871" y="841"/>
                  </a:lnTo>
                  <a:lnTo>
                    <a:pt x="870" y="842"/>
                  </a:lnTo>
                  <a:lnTo>
                    <a:pt x="870" y="848"/>
                  </a:lnTo>
                  <a:lnTo>
                    <a:pt x="870" y="851"/>
                  </a:lnTo>
                  <a:lnTo>
                    <a:pt x="871" y="854"/>
                  </a:lnTo>
                  <a:lnTo>
                    <a:pt x="874" y="861"/>
                  </a:lnTo>
                  <a:lnTo>
                    <a:pt x="875" y="865"/>
                  </a:lnTo>
                  <a:lnTo>
                    <a:pt x="875" y="868"/>
                  </a:lnTo>
                  <a:lnTo>
                    <a:pt x="874" y="875"/>
                  </a:lnTo>
                  <a:lnTo>
                    <a:pt x="874" y="879"/>
                  </a:lnTo>
                  <a:lnTo>
                    <a:pt x="875" y="882"/>
                  </a:lnTo>
                  <a:lnTo>
                    <a:pt x="875" y="888"/>
                  </a:lnTo>
                  <a:lnTo>
                    <a:pt x="877" y="894"/>
                  </a:lnTo>
                  <a:lnTo>
                    <a:pt x="880" y="901"/>
                  </a:lnTo>
                  <a:lnTo>
                    <a:pt x="884" y="907"/>
                  </a:lnTo>
                  <a:lnTo>
                    <a:pt x="888" y="912"/>
                  </a:lnTo>
                  <a:lnTo>
                    <a:pt x="891" y="915"/>
                  </a:lnTo>
                  <a:lnTo>
                    <a:pt x="895" y="919"/>
                  </a:lnTo>
                  <a:lnTo>
                    <a:pt x="895" y="922"/>
                  </a:lnTo>
                  <a:lnTo>
                    <a:pt x="894" y="924"/>
                  </a:lnTo>
                  <a:lnTo>
                    <a:pt x="890" y="928"/>
                  </a:lnTo>
                  <a:lnTo>
                    <a:pt x="884" y="929"/>
                  </a:lnTo>
                  <a:lnTo>
                    <a:pt x="881" y="931"/>
                  </a:lnTo>
                  <a:lnTo>
                    <a:pt x="877" y="935"/>
                  </a:lnTo>
                  <a:lnTo>
                    <a:pt x="873" y="937"/>
                  </a:lnTo>
                  <a:lnTo>
                    <a:pt x="871" y="939"/>
                  </a:lnTo>
                  <a:close/>
                  <a:moveTo>
                    <a:pt x="984" y="799"/>
                  </a:moveTo>
                  <a:lnTo>
                    <a:pt x="987" y="799"/>
                  </a:lnTo>
                  <a:lnTo>
                    <a:pt x="1004" y="798"/>
                  </a:lnTo>
                  <a:lnTo>
                    <a:pt x="1007" y="799"/>
                  </a:lnTo>
                  <a:lnTo>
                    <a:pt x="1018" y="805"/>
                  </a:lnTo>
                  <a:lnTo>
                    <a:pt x="1021" y="808"/>
                  </a:lnTo>
                  <a:lnTo>
                    <a:pt x="1022" y="811"/>
                  </a:lnTo>
                  <a:lnTo>
                    <a:pt x="1024" y="815"/>
                  </a:lnTo>
                  <a:lnTo>
                    <a:pt x="1024" y="815"/>
                  </a:lnTo>
                  <a:lnTo>
                    <a:pt x="1028" y="818"/>
                  </a:lnTo>
                  <a:lnTo>
                    <a:pt x="1029" y="821"/>
                  </a:lnTo>
                  <a:lnTo>
                    <a:pt x="1031" y="824"/>
                  </a:lnTo>
                  <a:lnTo>
                    <a:pt x="1031" y="827"/>
                  </a:lnTo>
                  <a:lnTo>
                    <a:pt x="1032" y="829"/>
                  </a:lnTo>
                  <a:lnTo>
                    <a:pt x="1035" y="829"/>
                  </a:lnTo>
                  <a:lnTo>
                    <a:pt x="1035" y="831"/>
                  </a:lnTo>
                  <a:lnTo>
                    <a:pt x="1035" y="835"/>
                  </a:lnTo>
                  <a:lnTo>
                    <a:pt x="1037" y="838"/>
                  </a:lnTo>
                  <a:lnTo>
                    <a:pt x="1038" y="841"/>
                  </a:lnTo>
                  <a:lnTo>
                    <a:pt x="1039" y="842"/>
                  </a:lnTo>
                  <a:lnTo>
                    <a:pt x="1038" y="844"/>
                  </a:lnTo>
                  <a:lnTo>
                    <a:pt x="1034" y="845"/>
                  </a:lnTo>
                  <a:lnTo>
                    <a:pt x="1024" y="844"/>
                  </a:lnTo>
                  <a:lnTo>
                    <a:pt x="1011" y="841"/>
                  </a:lnTo>
                  <a:lnTo>
                    <a:pt x="1004" y="842"/>
                  </a:lnTo>
                  <a:lnTo>
                    <a:pt x="1000" y="844"/>
                  </a:lnTo>
                  <a:lnTo>
                    <a:pt x="990" y="848"/>
                  </a:lnTo>
                  <a:lnTo>
                    <a:pt x="987" y="848"/>
                  </a:lnTo>
                  <a:lnTo>
                    <a:pt x="984" y="849"/>
                  </a:lnTo>
                  <a:lnTo>
                    <a:pt x="980" y="845"/>
                  </a:lnTo>
                  <a:lnTo>
                    <a:pt x="977" y="842"/>
                  </a:lnTo>
                  <a:lnTo>
                    <a:pt x="977" y="841"/>
                  </a:lnTo>
                  <a:lnTo>
                    <a:pt x="975" y="837"/>
                  </a:lnTo>
                  <a:lnTo>
                    <a:pt x="974" y="831"/>
                  </a:lnTo>
                  <a:lnTo>
                    <a:pt x="974" y="827"/>
                  </a:lnTo>
                  <a:lnTo>
                    <a:pt x="974" y="824"/>
                  </a:lnTo>
                  <a:lnTo>
                    <a:pt x="971" y="822"/>
                  </a:lnTo>
                  <a:lnTo>
                    <a:pt x="967" y="821"/>
                  </a:lnTo>
                  <a:lnTo>
                    <a:pt x="965" y="818"/>
                  </a:lnTo>
                  <a:lnTo>
                    <a:pt x="964" y="817"/>
                  </a:lnTo>
                  <a:lnTo>
                    <a:pt x="962" y="814"/>
                  </a:lnTo>
                  <a:lnTo>
                    <a:pt x="962" y="812"/>
                  </a:lnTo>
                  <a:lnTo>
                    <a:pt x="964" y="809"/>
                  </a:lnTo>
                  <a:lnTo>
                    <a:pt x="964" y="808"/>
                  </a:lnTo>
                  <a:lnTo>
                    <a:pt x="964" y="808"/>
                  </a:lnTo>
                  <a:lnTo>
                    <a:pt x="962" y="805"/>
                  </a:lnTo>
                  <a:lnTo>
                    <a:pt x="962" y="802"/>
                  </a:lnTo>
                  <a:lnTo>
                    <a:pt x="962" y="798"/>
                  </a:lnTo>
                  <a:lnTo>
                    <a:pt x="962" y="795"/>
                  </a:lnTo>
                  <a:lnTo>
                    <a:pt x="962" y="794"/>
                  </a:lnTo>
                  <a:lnTo>
                    <a:pt x="964" y="792"/>
                  </a:lnTo>
                  <a:lnTo>
                    <a:pt x="967" y="792"/>
                  </a:lnTo>
                  <a:lnTo>
                    <a:pt x="970" y="792"/>
                  </a:lnTo>
                  <a:lnTo>
                    <a:pt x="974" y="797"/>
                  </a:lnTo>
                  <a:lnTo>
                    <a:pt x="978" y="797"/>
                  </a:lnTo>
                  <a:lnTo>
                    <a:pt x="984" y="799"/>
                  </a:lnTo>
                  <a:close/>
                  <a:moveTo>
                    <a:pt x="572" y="839"/>
                  </a:moveTo>
                  <a:lnTo>
                    <a:pt x="570" y="839"/>
                  </a:lnTo>
                  <a:lnTo>
                    <a:pt x="569" y="839"/>
                  </a:lnTo>
                  <a:lnTo>
                    <a:pt x="567" y="837"/>
                  </a:lnTo>
                  <a:lnTo>
                    <a:pt x="563" y="831"/>
                  </a:lnTo>
                  <a:lnTo>
                    <a:pt x="559" y="825"/>
                  </a:lnTo>
                  <a:lnTo>
                    <a:pt x="559" y="821"/>
                  </a:lnTo>
                  <a:lnTo>
                    <a:pt x="557" y="818"/>
                  </a:lnTo>
                  <a:lnTo>
                    <a:pt x="552" y="812"/>
                  </a:lnTo>
                  <a:lnTo>
                    <a:pt x="547" y="809"/>
                  </a:lnTo>
                  <a:lnTo>
                    <a:pt x="546" y="809"/>
                  </a:lnTo>
                  <a:lnTo>
                    <a:pt x="545" y="807"/>
                  </a:lnTo>
                  <a:lnTo>
                    <a:pt x="547" y="802"/>
                  </a:lnTo>
                  <a:lnTo>
                    <a:pt x="549" y="798"/>
                  </a:lnTo>
                  <a:lnTo>
                    <a:pt x="550" y="797"/>
                  </a:lnTo>
                  <a:lnTo>
                    <a:pt x="554" y="795"/>
                  </a:lnTo>
                  <a:lnTo>
                    <a:pt x="567" y="792"/>
                  </a:lnTo>
                  <a:lnTo>
                    <a:pt x="572" y="792"/>
                  </a:lnTo>
                  <a:lnTo>
                    <a:pt x="574" y="794"/>
                  </a:lnTo>
                  <a:lnTo>
                    <a:pt x="579" y="799"/>
                  </a:lnTo>
                  <a:lnTo>
                    <a:pt x="580" y="799"/>
                  </a:lnTo>
                  <a:lnTo>
                    <a:pt x="582" y="801"/>
                  </a:lnTo>
                  <a:lnTo>
                    <a:pt x="583" y="804"/>
                  </a:lnTo>
                  <a:lnTo>
                    <a:pt x="583" y="805"/>
                  </a:lnTo>
                  <a:lnTo>
                    <a:pt x="583" y="809"/>
                  </a:lnTo>
                  <a:lnTo>
                    <a:pt x="583" y="815"/>
                  </a:lnTo>
                  <a:lnTo>
                    <a:pt x="582" y="818"/>
                  </a:lnTo>
                  <a:lnTo>
                    <a:pt x="579" y="827"/>
                  </a:lnTo>
                  <a:lnTo>
                    <a:pt x="576" y="831"/>
                  </a:lnTo>
                  <a:lnTo>
                    <a:pt x="576" y="834"/>
                  </a:lnTo>
                  <a:lnTo>
                    <a:pt x="574" y="835"/>
                  </a:lnTo>
                  <a:lnTo>
                    <a:pt x="573" y="838"/>
                  </a:lnTo>
                  <a:lnTo>
                    <a:pt x="572" y="839"/>
                  </a:lnTo>
                  <a:close/>
                  <a:moveTo>
                    <a:pt x="423" y="858"/>
                  </a:moveTo>
                  <a:lnTo>
                    <a:pt x="425" y="858"/>
                  </a:lnTo>
                  <a:lnTo>
                    <a:pt x="426" y="858"/>
                  </a:lnTo>
                  <a:lnTo>
                    <a:pt x="429" y="855"/>
                  </a:lnTo>
                  <a:lnTo>
                    <a:pt x="433" y="854"/>
                  </a:lnTo>
                  <a:lnTo>
                    <a:pt x="436" y="854"/>
                  </a:lnTo>
                  <a:lnTo>
                    <a:pt x="438" y="855"/>
                  </a:lnTo>
                  <a:lnTo>
                    <a:pt x="439" y="854"/>
                  </a:lnTo>
                  <a:lnTo>
                    <a:pt x="440" y="852"/>
                  </a:lnTo>
                  <a:lnTo>
                    <a:pt x="440" y="851"/>
                  </a:lnTo>
                  <a:lnTo>
                    <a:pt x="440" y="849"/>
                  </a:lnTo>
                  <a:lnTo>
                    <a:pt x="440" y="845"/>
                  </a:lnTo>
                  <a:lnTo>
                    <a:pt x="440" y="842"/>
                  </a:lnTo>
                  <a:lnTo>
                    <a:pt x="443" y="838"/>
                  </a:lnTo>
                  <a:lnTo>
                    <a:pt x="445" y="837"/>
                  </a:lnTo>
                  <a:lnTo>
                    <a:pt x="446" y="835"/>
                  </a:lnTo>
                  <a:lnTo>
                    <a:pt x="452" y="837"/>
                  </a:lnTo>
                  <a:lnTo>
                    <a:pt x="456" y="839"/>
                  </a:lnTo>
                  <a:lnTo>
                    <a:pt x="463" y="841"/>
                  </a:lnTo>
                  <a:lnTo>
                    <a:pt x="473" y="848"/>
                  </a:lnTo>
                  <a:lnTo>
                    <a:pt x="476" y="851"/>
                  </a:lnTo>
                  <a:lnTo>
                    <a:pt x="476" y="854"/>
                  </a:lnTo>
                  <a:lnTo>
                    <a:pt x="475" y="858"/>
                  </a:lnTo>
                  <a:lnTo>
                    <a:pt x="470" y="867"/>
                  </a:lnTo>
                  <a:lnTo>
                    <a:pt x="467" y="868"/>
                  </a:lnTo>
                  <a:lnTo>
                    <a:pt x="466" y="869"/>
                  </a:lnTo>
                  <a:lnTo>
                    <a:pt x="467" y="871"/>
                  </a:lnTo>
                  <a:lnTo>
                    <a:pt x="469" y="874"/>
                  </a:lnTo>
                  <a:lnTo>
                    <a:pt x="472" y="871"/>
                  </a:lnTo>
                  <a:lnTo>
                    <a:pt x="473" y="868"/>
                  </a:lnTo>
                  <a:lnTo>
                    <a:pt x="475" y="865"/>
                  </a:lnTo>
                  <a:lnTo>
                    <a:pt x="476" y="865"/>
                  </a:lnTo>
                  <a:lnTo>
                    <a:pt x="476" y="865"/>
                  </a:lnTo>
                  <a:lnTo>
                    <a:pt x="476" y="867"/>
                  </a:lnTo>
                  <a:lnTo>
                    <a:pt x="476" y="868"/>
                  </a:lnTo>
                  <a:lnTo>
                    <a:pt x="476" y="869"/>
                  </a:lnTo>
                  <a:lnTo>
                    <a:pt x="476" y="869"/>
                  </a:lnTo>
                  <a:lnTo>
                    <a:pt x="477" y="869"/>
                  </a:lnTo>
                  <a:lnTo>
                    <a:pt x="477" y="869"/>
                  </a:lnTo>
                  <a:lnTo>
                    <a:pt x="480" y="867"/>
                  </a:lnTo>
                  <a:lnTo>
                    <a:pt x="483" y="861"/>
                  </a:lnTo>
                  <a:lnTo>
                    <a:pt x="487" y="857"/>
                  </a:lnTo>
                  <a:lnTo>
                    <a:pt x="489" y="855"/>
                  </a:lnTo>
                  <a:lnTo>
                    <a:pt x="493" y="854"/>
                  </a:lnTo>
                  <a:lnTo>
                    <a:pt x="493" y="852"/>
                  </a:lnTo>
                  <a:lnTo>
                    <a:pt x="493" y="848"/>
                  </a:lnTo>
                  <a:lnTo>
                    <a:pt x="492" y="847"/>
                  </a:lnTo>
                  <a:lnTo>
                    <a:pt x="487" y="844"/>
                  </a:lnTo>
                  <a:lnTo>
                    <a:pt x="485" y="838"/>
                  </a:lnTo>
                  <a:lnTo>
                    <a:pt x="486" y="835"/>
                  </a:lnTo>
                  <a:lnTo>
                    <a:pt x="487" y="835"/>
                  </a:lnTo>
                  <a:lnTo>
                    <a:pt x="495" y="837"/>
                  </a:lnTo>
                  <a:lnTo>
                    <a:pt x="496" y="837"/>
                  </a:lnTo>
                  <a:lnTo>
                    <a:pt x="502" y="842"/>
                  </a:lnTo>
                  <a:lnTo>
                    <a:pt x="505" y="847"/>
                  </a:lnTo>
                  <a:lnTo>
                    <a:pt x="506" y="848"/>
                  </a:lnTo>
                  <a:lnTo>
                    <a:pt x="510" y="851"/>
                  </a:lnTo>
                  <a:lnTo>
                    <a:pt x="512" y="852"/>
                  </a:lnTo>
                  <a:lnTo>
                    <a:pt x="512" y="854"/>
                  </a:lnTo>
                  <a:lnTo>
                    <a:pt x="513" y="854"/>
                  </a:lnTo>
                  <a:lnTo>
                    <a:pt x="512" y="855"/>
                  </a:lnTo>
                  <a:lnTo>
                    <a:pt x="512" y="858"/>
                  </a:lnTo>
                  <a:lnTo>
                    <a:pt x="513" y="858"/>
                  </a:lnTo>
                  <a:lnTo>
                    <a:pt x="515" y="859"/>
                  </a:lnTo>
                  <a:lnTo>
                    <a:pt x="516" y="859"/>
                  </a:lnTo>
                  <a:lnTo>
                    <a:pt x="517" y="862"/>
                  </a:lnTo>
                  <a:lnTo>
                    <a:pt x="517" y="867"/>
                  </a:lnTo>
                  <a:lnTo>
                    <a:pt x="519" y="872"/>
                  </a:lnTo>
                  <a:lnTo>
                    <a:pt x="520" y="881"/>
                  </a:lnTo>
                  <a:lnTo>
                    <a:pt x="523" y="894"/>
                  </a:lnTo>
                  <a:lnTo>
                    <a:pt x="525" y="902"/>
                  </a:lnTo>
                  <a:lnTo>
                    <a:pt x="525" y="902"/>
                  </a:lnTo>
                  <a:lnTo>
                    <a:pt x="526" y="904"/>
                  </a:lnTo>
                  <a:lnTo>
                    <a:pt x="527" y="905"/>
                  </a:lnTo>
                  <a:lnTo>
                    <a:pt x="529" y="908"/>
                  </a:lnTo>
                  <a:lnTo>
                    <a:pt x="532" y="908"/>
                  </a:lnTo>
                  <a:lnTo>
                    <a:pt x="532" y="908"/>
                  </a:lnTo>
                  <a:lnTo>
                    <a:pt x="532" y="907"/>
                  </a:lnTo>
                  <a:lnTo>
                    <a:pt x="533" y="904"/>
                  </a:lnTo>
                  <a:lnTo>
                    <a:pt x="539" y="898"/>
                  </a:lnTo>
                  <a:lnTo>
                    <a:pt x="539" y="897"/>
                  </a:lnTo>
                  <a:lnTo>
                    <a:pt x="537" y="897"/>
                  </a:lnTo>
                  <a:lnTo>
                    <a:pt x="537" y="895"/>
                  </a:lnTo>
                  <a:lnTo>
                    <a:pt x="537" y="895"/>
                  </a:lnTo>
                  <a:lnTo>
                    <a:pt x="539" y="894"/>
                  </a:lnTo>
                  <a:lnTo>
                    <a:pt x="536" y="888"/>
                  </a:lnTo>
                  <a:lnTo>
                    <a:pt x="533" y="881"/>
                  </a:lnTo>
                  <a:lnTo>
                    <a:pt x="532" y="872"/>
                  </a:lnTo>
                  <a:lnTo>
                    <a:pt x="532" y="871"/>
                  </a:lnTo>
                  <a:lnTo>
                    <a:pt x="530" y="865"/>
                  </a:lnTo>
                  <a:lnTo>
                    <a:pt x="530" y="864"/>
                  </a:lnTo>
                  <a:lnTo>
                    <a:pt x="529" y="862"/>
                  </a:lnTo>
                  <a:lnTo>
                    <a:pt x="529" y="861"/>
                  </a:lnTo>
                  <a:lnTo>
                    <a:pt x="529" y="859"/>
                  </a:lnTo>
                  <a:lnTo>
                    <a:pt x="529" y="858"/>
                  </a:lnTo>
                  <a:lnTo>
                    <a:pt x="527" y="854"/>
                  </a:lnTo>
                  <a:lnTo>
                    <a:pt x="525" y="829"/>
                  </a:lnTo>
                  <a:lnTo>
                    <a:pt x="525" y="827"/>
                  </a:lnTo>
                  <a:lnTo>
                    <a:pt x="525" y="825"/>
                  </a:lnTo>
                  <a:lnTo>
                    <a:pt x="526" y="824"/>
                  </a:lnTo>
                  <a:lnTo>
                    <a:pt x="529" y="824"/>
                  </a:lnTo>
                  <a:lnTo>
                    <a:pt x="529" y="824"/>
                  </a:lnTo>
                  <a:lnTo>
                    <a:pt x="529" y="822"/>
                  </a:lnTo>
                  <a:lnTo>
                    <a:pt x="527" y="819"/>
                  </a:lnTo>
                  <a:lnTo>
                    <a:pt x="526" y="818"/>
                  </a:lnTo>
                  <a:lnTo>
                    <a:pt x="527" y="817"/>
                  </a:lnTo>
                  <a:lnTo>
                    <a:pt x="533" y="817"/>
                  </a:lnTo>
                  <a:lnTo>
                    <a:pt x="536" y="819"/>
                  </a:lnTo>
                  <a:lnTo>
                    <a:pt x="542" y="825"/>
                  </a:lnTo>
                  <a:lnTo>
                    <a:pt x="543" y="825"/>
                  </a:lnTo>
                  <a:lnTo>
                    <a:pt x="543" y="822"/>
                  </a:lnTo>
                  <a:lnTo>
                    <a:pt x="545" y="821"/>
                  </a:lnTo>
                  <a:lnTo>
                    <a:pt x="547" y="821"/>
                  </a:lnTo>
                  <a:lnTo>
                    <a:pt x="552" y="825"/>
                  </a:lnTo>
                  <a:lnTo>
                    <a:pt x="559" y="831"/>
                  </a:lnTo>
                  <a:lnTo>
                    <a:pt x="563" y="835"/>
                  </a:lnTo>
                  <a:lnTo>
                    <a:pt x="566" y="839"/>
                  </a:lnTo>
                  <a:lnTo>
                    <a:pt x="569" y="844"/>
                  </a:lnTo>
                  <a:lnTo>
                    <a:pt x="569" y="847"/>
                  </a:lnTo>
                  <a:lnTo>
                    <a:pt x="569" y="848"/>
                  </a:lnTo>
                  <a:lnTo>
                    <a:pt x="569" y="849"/>
                  </a:lnTo>
                  <a:lnTo>
                    <a:pt x="569" y="851"/>
                  </a:lnTo>
                  <a:lnTo>
                    <a:pt x="570" y="854"/>
                  </a:lnTo>
                  <a:lnTo>
                    <a:pt x="570" y="855"/>
                  </a:lnTo>
                  <a:lnTo>
                    <a:pt x="572" y="859"/>
                  </a:lnTo>
                  <a:lnTo>
                    <a:pt x="572" y="865"/>
                  </a:lnTo>
                  <a:lnTo>
                    <a:pt x="572" y="867"/>
                  </a:lnTo>
                  <a:lnTo>
                    <a:pt x="577" y="889"/>
                  </a:lnTo>
                  <a:lnTo>
                    <a:pt x="579" y="894"/>
                  </a:lnTo>
                  <a:lnTo>
                    <a:pt x="580" y="895"/>
                  </a:lnTo>
                  <a:lnTo>
                    <a:pt x="583" y="904"/>
                  </a:lnTo>
                  <a:lnTo>
                    <a:pt x="586" y="911"/>
                  </a:lnTo>
                  <a:lnTo>
                    <a:pt x="586" y="915"/>
                  </a:lnTo>
                  <a:lnTo>
                    <a:pt x="586" y="915"/>
                  </a:lnTo>
                  <a:lnTo>
                    <a:pt x="586" y="918"/>
                  </a:lnTo>
                  <a:lnTo>
                    <a:pt x="586" y="921"/>
                  </a:lnTo>
                  <a:lnTo>
                    <a:pt x="586" y="922"/>
                  </a:lnTo>
                  <a:lnTo>
                    <a:pt x="584" y="924"/>
                  </a:lnTo>
                  <a:lnTo>
                    <a:pt x="584" y="927"/>
                  </a:lnTo>
                  <a:lnTo>
                    <a:pt x="583" y="932"/>
                  </a:lnTo>
                  <a:lnTo>
                    <a:pt x="583" y="934"/>
                  </a:lnTo>
                  <a:lnTo>
                    <a:pt x="584" y="937"/>
                  </a:lnTo>
                  <a:lnTo>
                    <a:pt x="589" y="942"/>
                  </a:lnTo>
                  <a:lnTo>
                    <a:pt x="593" y="951"/>
                  </a:lnTo>
                  <a:lnTo>
                    <a:pt x="594" y="952"/>
                  </a:lnTo>
                  <a:lnTo>
                    <a:pt x="599" y="958"/>
                  </a:lnTo>
                  <a:lnTo>
                    <a:pt x="603" y="961"/>
                  </a:lnTo>
                  <a:lnTo>
                    <a:pt x="604" y="961"/>
                  </a:lnTo>
                  <a:lnTo>
                    <a:pt x="606" y="964"/>
                  </a:lnTo>
                  <a:lnTo>
                    <a:pt x="607" y="964"/>
                  </a:lnTo>
                  <a:lnTo>
                    <a:pt x="607" y="962"/>
                  </a:lnTo>
                  <a:lnTo>
                    <a:pt x="607" y="962"/>
                  </a:lnTo>
                  <a:lnTo>
                    <a:pt x="609" y="962"/>
                  </a:lnTo>
                  <a:lnTo>
                    <a:pt x="607" y="958"/>
                  </a:lnTo>
                  <a:lnTo>
                    <a:pt x="607" y="957"/>
                  </a:lnTo>
                  <a:lnTo>
                    <a:pt x="607" y="957"/>
                  </a:lnTo>
                  <a:lnTo>
                    <a:pt x="612" y="962"/>
                  </a:lnTo>
                  <a:lnTo>
                    <a:pt x="614" y="965"/>
                  </a:lnTo>
                  <a:lnTo>
                    <a:pt x="619" y="968"/>
                  </a:lnTo>
                  <a:lnTo>
                    <a:pt x="624" y="974"/>
                  </a:lnTo>
                  <a:lnTo>
                    <a:pt x="624" y="974"/>
                  </a:lnTo>
                  <a:lnTo>
                    <a:pt x="629" y="974"/>
                  </a:lnTo>
                  <a:lnTo>
                    <a:pt x="629" y="974"/>
                  </a:lnTo>
                  <a:lnTo>
                    <a:pt x="630" y="975"/>
                  </a:lnTo>
                  <a:lnTo>
                    <a:pt x="630" y="975"/>
                  </a:lnTo>
                  <a:lnTo>
                    <a:pt x="630" y="979"/>
                  </a:lnTo>
                  <a:lnTo>
                    <a:pt x="632" y="981"/>
                  </a:lnTo>
                  <a:lnTo>
                    <a:pt x="636" y="981"/>
                  </a:lnTo>
                  <a:lnTo>
                    <a:pt x="637" y="981"/>
                  </a:lnTo>
                  <a:lnTo>
                    <a:pt x="639" y="981"/>
                  </a:lnTo>
                  <a:lnTo>
                    <a:pt x="639" y="982"/>
                  </a:lnTo>
                  <a:lnTo>
                    <a:pt x="640" y="986"/>
                  </a:lnTo>
                  <a:lnTo>
                    <a:pt x="641" y="994"/>
                  </a:lnTo>
                  <a:lnTo>
                    <a:pt x="641" y="996"/>
                  </a:lnTo>
                  <a:lnTo>
                    <a:pt x="641" y="1001"/>
                  </a:lnTo>
                  <a:lnTo>
                    <a:pt x="640" y="1002"/>
                  </a:lnTo>
                  <a:lnTo>
                    <a:pt x="639" y="1002"/>
                  </a:lnTo>
                  <a:lnTo>
                    <a:pt x="637" y="1002"/>
                  </a:lnTo>
                  <a:lnTo>
                    <a:pt x="634" y="1001"/>
                  </a:lnTo>
                  <a:lnTo>
                    <a:pt x="633" y="999"/>
                  </a:lnTo>
                  <a:lnTo>
                    <a:pt x="633" y="995"/>
                  </a:lnTo>
                  <a:lnTo>
                    <a:pt x="633" y="994"/>
                  </a:lnTo>
                  <a:lnTo>
                    <a:pt x="632" y="995"/>
                  </a:lnTo>
                  <a:lnTo>
                    <a:pt x="632" y="999"/>
                  </a:lnTo>
                  <a:lnTo>
                    <a:pt x="630" y="1001"/>
                  </a:lnTo>
                  <a:lnTo>
                    <a:pt x="630" y="1001"/>
                  </a:lnTo>
                  <a:lnTo>
                    <a:pt x="629" y="1001"/>
                  </a:lnTo>
                  <a:lnTo>
                    <a:pt x="626" y="999"/>
                  </a:lnTo>
                  <a:lnTo>
                    <a:pt x="623" y="995"/>
                  </a:lnTo>
                  <a:lnTo>
                    <a:pt x="622" y="995"/>
                  </a:lnTo>
                  <a:lnTo>
                    <a:pt x="620" y="995"/>
                  </a:lnTo>
                  <a:lnTo>
                    <a:pt x="619" y="996"/>
                  </a:lnTo>
                  <a:lnTo>
                    <a:pt x="616" y="998"/>
                  </a:lnTo>
                  <a:lnTo>
                    <a:pt x="614" y="1001"/>
                  </a:lnTo>
                  <a:lnTo>
                    <a:pt x="614" y="1002"/>
                  </a:lnTo>
                  <a:lnTo>
                    <a:pt x="616" y="1004"/>
                  </a:lnTo>
                  <a:lnTo>
                    <a:pt x="616" y="1005"/>
                  </a:lnTo>
                  <a:lnTo>
                    <a:pt x="616" y="1006"/>
                  </a:lnTo>
                  <a:lnTo>
                    <a:pt x="614" y="1006"/>
                  </a:lnTo>
                  <a:lnTo>
                    <a:pt x="614" y="1008"/>
                  </a:lnTo>
                  <a:lnTo>
                    <a:pt x="612" y="1008"/>
                  </a:lnTo>
                  <a:lnTo>
                    <a:pt x="609" y="1008"/>
                  </a:lnTo>
                  <a:lnTo>
                    <a:pt x="607" y="1006"/>
                  </a:lnTo>
                  <a:lnTo>
                    <a:pt x="603" y="1002"/>
                  </a:lnTo>
                  <a:lnTo>
                    <a:pt x="602" y="1002"/>
                  </a:lnTo>
                  <a:lnTo>
                    <a:pt x="602" y="1002"/>
                  </a:lnTo>
                  <a:lnTo>
                    <a:pt x="600" y="1004"/>
                  </a:lnTo>
                  <a:lnTo>
                    <a:pt x="602" y="1005"/>
                  </a:lnTo>
                  <a:lnTo>
                    <a:pt x="603" y="1008"/>
                  </a:lnTo>
                  <a:lnTo>
                    <a:pt x="606" y="1011"/>
                  </a:lnTo>
                  <a:lnTo>
                    <a:pt x="606" y="1011"/>
                  </a:lnTo>
                  <a:lnTo>
                    <a:pt x="607" y="1011"/>
                  </a:lnTo>
                  <a:lnTo>
                    <a:pt x="607" y="1012"/>
                  </a:lnTo>
                  <a:lnTo>
                    <a:pt x="607" y="1014"/>
                  </a:lnTo>
                  <a:lnTo>
                    <a:pt x="607" y="1016"/>
                  </a:lnTo>
                  <a:lnTo>
                    <a:pt x="606" y="1022"/>
                  </a:lnTo>
                  <a:lnTo>
                    <a:pt x="606" y="1024"/>
                  </a:lnTo>
                  <a:lnTo>
                    <a:pt x="607" y="1024"/>
                  </a:lnTo>
                  <a:lnTo>
                    <a:pt x="610" y="1018"/>
                  </a:lnTo>
                  <a:lnTo>
                    <a:pt x="612" y="1016"/>
                  </a:lnTo>
                  <a:lnTo>
                    <a:pt x="616" y="1014"/>
                  </a:lnTo>
                  <a:lnTo>
                    <a:pt x="617" y="1011"/>
                  </a:lnTo>
                  <a:lnTo>
                    <a:pt x="622" y="1011"/>
                  </a:lnTo>
                  <a:lnTo>
                    <a:pt x="623" y="1012"/>
                  </a:lnTo>
                  <a:lnTo>
                    <a:pt x="624" y="1014"/>
                  </a:lnTo>
                  <a:lnTo>
                    <a:pt x="624" y="1015"/>
                  </a:lnTo>
                  <a:lnTo>
                    <a:pt x="623" y="1016"/>
                  </a:lnTo>
                  <a:lnTo>
                    <a:pt x="623" y="1018"/>
                  </a:lnTo>
                  <a:lnTo>
                    <a:pt x="623" y="1019"/>
                  </a:lnTo>
                  <a:lnTo>
                    <a:pt x="623" y="1021"/>
                  </a:lnTo>
                  <a:lnTo>
                    <a:pt x="623" y="1021"/>
                  </a:lnTo>
                  <a:lnTo>
                    <a:pt x="624" y="1022"/>
                  </a:lnTo>
                  <a:lnTo>
                    <a:pt x="626" y="1022"/>
                  </a:lnTo>
                  <a:lnTo>
                    <a:pt x="626" y="1022"/>
                  </a:lnTo>
                  <a:lnTo>
                    <a:pt x="627" y="1024"/>
                  </a:lnTo>
                  <a:lnTo>
                    <a:pt x="627" y="1025"/>
                  </a:lnTo>
                  <a:lnTo>
                    <a:pt x="627" y="1026"/>
                  </a:lnTo>
                  <a:lnTo>
                    <a:pt x="626" y="1032"/>
                  </a:lnTo>
                  <a:lnTo>
                    <a:pt x="624" y="1034"/>
                  </a:lnTo>
                  <a:lnTo>
                    <a:pt x="619" y="1036"/>
                  </a:lnTo>
                  <a:lnTo>
                    <a:pt x="616" y="1038"/>
                  </a:lnTo>
                  <a:lnTo>
                    <a:pt x="612" y="1039"/>
                  </a:lnTo>
                  <a:lnTo>
                    <a:pt x="610" y="1041"/>
                  </a:lnTo>
                  <a:lnTo>
                    <a:pt x="610" y="1041"/>
                  </a:lnTo>
                  <a:lnTo>
                    <a:pt x="606" y="1041"/>
                  </a:lnTo>
                  <a:lnTo>
                    <a:pt x="600" y="1042"/>
                  </a:lnTo>
                  <a:lnTo>
                    <a:pt x="594" y="1039"/>
                  </a:lnTo>
                  <a:lnTo>
                    <a:pt x="592" y="1039"/>
                  </a:lnTo>
                  <a:lnTo>
                    <a:pt x="586" y="1036"/>
                  </a:lnTo>
                  <a:lnTo>
                    <a:pt x="584" y="1036"/>
                  </a:lnTo>
                  <a:lnTo>
                    <a:pt x="583" y="1039"/>
                  </a:lnTo>
                  <a:lnTo>
                    <a:pt x="574" y="1036"/>
                  </a:lnTo>
                  <a:lnTo>
                    <a:pt x="573" y="1035"/>
                  </a:lnTo>
                  <a:lnTo>
                    <a:pt x="573" y="1034"/>
                  </a:lnTo>
                  <a:lnTo>
                    <a:pt x="576" y="1031"/>
                  </a:lnTo>
                  <a:lnTo>
                    <a:pt x="576" y="1029"/>
                  </a:lnTo>
                  <a:lnTo>
                    <a:pt x="576" y="1029"/>
                  </a:lnTo>
                  <a:lnTo>
                    <a:pt x="572" y="1029"/>
                  </a:lnTo>
                  <a:lnTo>
                    <a:pt x="567" y="1026"/>
                  </a:lnTo>
                  <a:lnTo>
                    <a:pt x="563" y="1026"/>
                  </a:lnTo>
                  <a:lnTo>
                    <a:pt x="560" y="1026"/>
                  </a:lnTo>
                  <a:lnTo>
                    <a:pt x="557" y="1025"/>
                  </a:lnTo>
                  <a:lnTo>
                    <a:pt x="556" y="1024"/>
                  </a:lnTo>
                  <a:lnTo>
                    <a:pt x="554" y="1022"/>
                  </a:lnTo>
                  <a:lnTo>
                    <a:pt x="554" y="1022"/>
                  </a:lnTo>
                  <a:lnTo>
                    <a:pt x="554" y="1021"/>
                  </a:lnTo>
                  <a:lnTo>
                    <a:pt x="554" y="1018"/>
                  </a:lnTo>
                  <a:lnTo>
                    <a:pt x="554" y="1016"/>
                  </a:lnTo>
                  <a:lnTo>
                    <a:pt x="553" y="1014"/>
                  </a:lnTo>
                  <a:lnTo>
                    <a:pt x="552" y="1014"/>
                  </a:lnTo>
                  <a:lnTo>
                    <a:pt x="549" y="1014"/>
                  </a:lnTo>
                  <a:lnTo>
                    <a:pt x="547" y="1015"/>
                  </a:lnTo>
                  <a:lnTo>
                    <a:pt x="546" y="1018"/>
                  </a:lnTo>
                  <a:lnTo>
                    <a:pt x="543" y="1025"/>
                  </a:lnTo>
                  <a:lnTo>
                    <a:pt x="542" y="1026"/>
                  </a:lnTo>
                  <a:lnTo>
                    <a:pt x="539" y="1032"/>
                  </a:lnTo>
                  <a:lnTo>
                    <a:pt x="537" y="1032"/>
                  </a:lnTo>
                  <a:lnTo>
                    <a:pt x="530" y="1035"/>
                  </a:lnTo>
                  <a:lnTo>
                    <a:pt x="522" y="1036"/>
                  </a:lnTo>
                  <a:lnTo>
                    <a:pt x="519" y="1038"/>
                  </a:lnTo>
                  <a:lnTo>
                    <a:pt x="516" y="1041"/>
                  </a:lnTo>
                  <a:lnTo>
                    <a:pt x="513" y="1044"/>
                  </a:lnTo>
                  <a:lnTo>
                    <a:pt x="505" y="1048"/>
                  </a:lnTo>
                  <a:lnTo>
                    <a:pt x="496" y="1049"/>
                  </a:lnTo>
                  <a:lnTo>
                    <a:pt x="489" y="1051"/>
                  </a:lnTo>
                  <a:lnTo>
                    <a:pt x="482" y="1052"/>
                  </a:lnTo>
                  <a:lnTo>
                    <a:pt x="480" y="1051"/>
                  </a:lnTo>
                  <a:lnTo>
                    <a:pt x="477" y="1051"/>
                  </a:lnTo>
                  <a:lnTo>
                    <a:pt x="475" y="1054"/>
                  </a:lnTo>
                  <a:lnTo>
                    <a:pt x="472" y="1054"/>
                  </a:lnTo>
                  <a:lnTo>
                    <a:pt x="459" y="1055"/>
                  </a:lnTo>
                  <a:lnTo>
                    <a:pt x="453" y="1055"/>
                  </a:lnTo>
                  <a:lnTo>
                    <a:pt x="450" y="1056"/>
                  </a:lnTo>
                  <a:lnTo>
                    <a:pt x="448" y="1056"/>
                  </a:lnTo>
                  <a:lnTo>
                    <a:pt x="446" y="1055"/>
                  </a:lnTo>
                  <a:lnTo>
                    <a:pt x="445" y="1054"/>
                  </a:lnTo>
                  <a:lnTo>
                    <a:pt x="442" y="1051"/>
                  </a:lnTo>
                  <a:lnTo>
                    <a:pt x="439" y="1044"/>
                  </a:lnTo>
                  <a:lnTo>
                    <a:pt x="438" y="1041"/>
                  </a:lnTo>
                  <a:lnTo>
                    <a:pt x="439" y="1035"/>
                  </a:lnTo>
                  <a:lnTo>
                    <a:pt x="438" y="1032"/>
                  </a:lnTo>
                  <a:lnTo>
                    <a:pt x="438" y="1025"/>
                  </a:lnTo>
                  <a:lnTo>
                    <a:pt x="436" y="1024"/>
                  </a:lnTo>
                  <a:lnTo>
                    <a:pt x="430" y="1022"/>
                  </a:lnTo>
                  <a:lnTo>
                    <a:pt x="426" y="1021"/>
                  </a:lnTo>
                  <a:lnTo>
                    <a:pt x="420" y="1021"/>
                  </a:lnTo>
                  <a:lnTo>
                    <a:pt x="413" y="1021"/>
                  </a:lnTo>
                  <a:lnTo>
                    <a:pt x="406" y="1021"/>
                  </a:lnTo>
                  <a:lnTo>
                    <a:pt x="402" y="1019"/>
                  </a:lnTo>
                  <a:lnTo>
                    <a:pt x="398" y="1018"/>
                  </a:lnTo>
                  <a:lnTo>
                    <a:pt x="392" y="1014"/>
                  </a:lnTo>
                  <a:lnTo>
                    <a:pt x="392" y="1014"/>
                  </a:lnTo>
                  <a:lnTo>
                    <a:pt x="390" y="1012"/>
                  </a:lnTo>
                  <a:lnTo>
                    <a:pt x="390" y="1009"/>
                  </a:lnTo>
                  <a:lnTo>
                    <a:pt x="389" y="1006"/>
                  </a:lnTo>
                  <a:lnTo>
                    <a:pt x="383" y="1001"/>
                  </a:lnTo>
                  <a:lnTo>
                    <a:pt x="382" y="996"/>
                  </a:lnTo>
                  <a:lnTo>
                    <a:pt x="382" y="995"/>
                  </a:lnTo>
                  <a:lnTo>
                    <a:pt x="382" y="992"/>
                  </a:lnTo>
                  <a:lnTo>
                    <a:pt x="380" y="988"/>
                  </a:lnTo>
                  <a:lnTo>
                    <a:pt x="380" y="985"/>
                  </a:lnTo>
                  <a:lnTo>
                    <a:pt x="382" y="982"/>
                  </a:lnTo>
                  <a:lnTo>
                    <a:pt x="382" y="982"/>
                  </a:lnTo>
                  <a:lnTo>
                    <a:pt x="390" y="979"/>
                  </a:lnTo>
                  <a:lnTo>
                    <a:pt x="408" y="975"/>
                  </a:lnTo>
                  <a:lnTo>
                    <a:pt x="422" y="972"/>
                  </a:lnTo>
                  <a:lnTo>
                    <a:pt x="429" y="972"/>
                  </a:lnTo>
                  <a:lnTo>
                    <a:pt x="433" y="974"/>
                  </a:lnTo>
                  <a:lnTo>
                    <a:pt x="438" y="975"/>
                  </a:lnTo>
                  <a:lnTo>
                    <a:pt x="445" y="975"/>
                  </a:lnTo>
                  <a:lnTo>
                    <a:pt x="453" y="976"/>
                  </a:lnTo>
                  <a:lnTo>
                    <a:pt x="456" y="976"/>
                  </a:lnTo>
                  <a:lnTo>
                    <a:pt x="460" y="975"/>
                  </a:lnTo>
                  <a:lnTo>
                    <a:pt x="460" y="974"/>
                  </a:lnTo>
                  <a:lnTo>
                    <a:pt x="467" y="975"/>
                  </a:lnTo>
                  <a:lnTo>
                    <a:pt x="469" y="974"/>
                  </a:lnTo>
                  <a:lnTo>
                    <a:pt x="470" y="972"/>
                  </a:lnTo>
                  <a:lnTo>
                    <a:pt x="469" y="971"/>
                  </a:lnTo>
                  <a:lnTo>
                    <a:pt x="462" y="967"/>
                  </a:lnTo>
                  <a:lnTo>
                    <a:pt x="446" y="958"/>
                  </a:lnTo>
                  <a:lnTo>
                    <a:pt x="442" y="957"/>
                  </a:lnTo>
                  <a:lnTo>
                    <a:pt x="436" y="954"/>
                  </a:lnTo>
                  <a:lnTo>
                    <a:pt x="432" y="954"/>
                  </a:lnTo>
                  <a:lnTo>
                    <a:pt x="428" y="955"/>
                  </a:lnTo>
                  <a:lnTo>
                    <a:pt x="426" y="955"/>
                  </a:lnTo>
                  <a:lnTo>
                    <a:pt x="422" y="957"/>
                  </a:lnTo>
                  <a:lnTo>
                    <a:pt x="419" y="958"/>
                  </a:lnTo>
                  <a:lnTo>
                    <a:pt x="410" y="959"/>
                  </a:lnTo>
                  <a:lnTo>
                    <a:pt x="400" y="959"/>
                  </a:lnTo>
                  <a:lnTo>
                    <a:pt x="399" y="959"/>
                  </a:lnTo>
                  <a:lnTo>
                    <a:pt x="396" y="958"/>
                  </a:lnTo>
                  <a:lnTo>
                    <a:pt x="395" y="958"/>
                  </a:lnTo>
                  <a:lnTo>
                    <a:pt x="383" y="958"/>
                  </a:lnTo>
                  <a:lnTo>
                    <a:pt x="375" y="958"/>
                  </a:lnTo>
                  <a:lnTo>
                    <a:pt x="363" y="945"/>
                  </a:lnTo>
                  <a:lnTo>
                    <a:pt x="362" y="941"/>
                  </a:lnTo>
                  <a:lnTo>
                    <a:pt x="362" y="939"/>
                  </a:lnTo>
                  <a:lnTo>
                    <a:pt x="363" y="938"/>
                  </a:lnTo>
                  <a:lnTo>
                    <a:pt x="369" y="932"/>
                  </a:lnTo>
                  <a:lnTo>
                    <a:pt x="370" y="931"/>
                  </a:lnTo>
                  <a:lnTo>
                    <a:pt x="379" y="929"/>
                  </a:lnTo>
                  <a:lnTo>
                    <a:pt x="386" y="925"/>
                  </a:lnTo>
                  <a:lnTo>
                    <a:pt x="393" y="922"/>
                  </a:lnTo>
                  <a:lnTo>
                    <a:pt x="396" y="921"/>
                  </a:lnTo>
                  <a:lnTo>
                    <a:pt x="399" y="921"/>
                  </a:lnTo>
                  <a:lnTo>
                    <a:pt x="402" y="921"/>
                  </a:lnTo>
                  <a:lnTo>
                    <a:pt x="400" y="919"/>
                  </a:lnTo>
                  <a:lnTo>
                    <a:pt x="399" y="918"/>
                  </a:lnTo>
                  <a:lnTo>
                    <a:pt x="399" y="917"/>
                  </a:lnTo>
                  <a:lnTo>
                    <a:pt x="400" y="917"/>
                  </a:lnTo>
                  <a:lnTo>
                    <a:pt x="405" y="915"/>
                  </a:lnTo>
                  <a:lnTo>
                    <a:pt x="409" y="917"/>
                  </a:lnTo>
                  <a:lnTo>
                    <a:pt x="410" y="915"/>
                  </a:lnTo>
                  <a:lnTo>
                    <a:pt x="410" y="915"/>
                  </a:lnTo>
                  <a:lnTo>
                    <a:pt x="410" y="914"/>
                  </a:lnTo>
                  <a:lnTo>
                    <a:pt x="406" y="912"/>
                  </a:lnTo>
                  <a:lnTo>
                    <a:pt x="388" y="917"/>
                  </a:lnTo>
                  <a:lnTo>
                    <a:pt x="379" y="918"/>
                  </a:lnTo>
                  <a:lnTo>
                    <a:pt x="372" y="919"/>
                  </a:lnTo>
                  <a:lnTo>
                    <a:pt x="369" y="919"/>
                  </a:lnTo>
                  <a:lnTo>
                    <a:pt x="365" y="918"/>
                  </a:lnTo>
                  <a:lnTo>
                    <a:pt x="365" y="917"/>
                  </a:lnTo>
                  <a:lnTo>
                    <a:pt x="365" y="917"/>
                  </a:lnTo>
                  <a:lnTo>
                    <a:pt x="365" y="914"/>
                  </a:lnTo>
                  <a:lnTo>
                    <a:pt x="369" y="911"/>
                  </a:lnTo>
                  <a:lnTo>
                    <a:pt x="372" y="907"/>
                  </a:lnTo>
                  <a:lnTo>
                    <a:pt x="369" y="907"/>
                  </a:lnTo>
                  <a:lnTo>
                    <a:pt x="362" y="907"/>
                  </a:lnTo>
                  <a:lnTo>
                    <a:pt x="359" y="907"/>
                  </a:lnTo>
                  <a:lnTo>
                    <a:pt x="353" y="905"/>
                  </a:lnTo>
                  <a:lnTo>
                    <a:pt x="352" y="902"/>
                  </a:lnTo>
                  <a:lnTo>
                    <a:pt x="352" y="901"/>
                  </a:lnTo>
                  <a:lnTo>
                    <a:pt x="352" y="899"/>
                  </a:lnTo>
                  <a:lnTo>
                    <a:pt x="352" y="894"/>
                  </a:lnTo>
                  <a:lnTo>
                    <a:pt x="352" y="891"/>
                  </a:lnTo>
                  <a:lnTo>
                    <a:pt x="353" y="889"/>
                  </a:lnTo>
                  <a:lnTo>
                    <a:pt x="358" y="879"/>
                  </a:lnTo>
                  <a:lnTo>
                    <a:pt x="362" y="878"/>
                  </a:lnTo>
                  <a:lnTo>
                    <a:pt x="365" y="875"/>
                  </a:lnTo>
                  <a:lnTo>
                    <a:pt x="365" y="874"/>
                  </a:lnTo>
                  <a:lnTo>
                    <a:pt x="363" y="872"/>
                  </a:lnTo>
                  <a:lnTo>
                    <a:pt x="362" y="869"/>
                  </a:lnTo>
                  <a:lnTo>
                    <a:pt x="360" y="868"/>
                  </a:lnTo>
                  <a:lnTo>
                    <a:pt x="360" y="867"/>
                  </a:lnTo>
                  <a:lnTo>
                    <a:pt x="360" y="864"/>
                  </a:lnTo>
                  <a:lnTo>
                    <a:pt x="362" y="861"/>
                  </a:lnTo>
                  <a:lnTo>
                    <a:pt x="366" y="855"/>
                  </a:lnTo>
                  <a:lnTo>
                    <a:pt x="375" y="845"/>
                  </a:lnTo>
                  <a:lnTo>
                    <a:pt x="379" y="841"/>
                  </a:lnTo>
                  <a:lnTo>
                    <a:pt x="385" y="838"/>
                  </a:lnTo>
                  <a:lnTo>
                    <a:pt x="390" y="832"/>
                  </a:lnTo>
                  <a:lnTo>
                    <a:pt x="408" y="824"/>
                  </a:lnTo>
                  <a:lnTo>
                    <a:pt x="422" y="815"/>
                  </a:lnTo>
                  <a:lnTo>
                    <a:pt x="428" y="817"/>
                  </a:lnTo>
                  <a:lnTo>
                    <a:pt x="429" y="819"/>
                  </a:lnTo>
                  <a:lnTo>
                    <a:pt x="429" y="821"/>
                  </a:lnTo>
                  <a:lnTo>
                    <a:pt x="430" y="822"/>
                  </a:lnTo>
                  <a:lnTo>
                    <a:pt x="430" y="825"/>
                  </a:lnTo>
                  <a:lnTo>
                    <a:pt x="430" y="831"/>
                  </a:lnTo>
                  <a:lnTo>
                    <a:pt x="432" y="835"/>
                  </a:lnTo>
                  <a:lnTo>
                    <a:pt x="430" y="838"/>
                  </a:lnTo>
                  <a:lnTo>
                    <a:pt x="430" y="841"/>
                  </a:lnTo>
                  <a:lnTo>
                    <a:pt x="430" y="844"/>
                  </a:lnTo>
                  <a:lnTo>
                    <a:pt x="429" y="847"/>
                  </a:lnTo>
                  <a:lnTo>
                    <a:pt x="428" y="849"/>
                  </a:lnTo>
                  <a:lnTo>
                    <a:pt x="423" y="855"/>
                  </a:lnTo>
                  <a:lnTo>
                    <a:pt x="423" y="858"/>
                  </a:lnTo>
                  <a:close/>
                  <a:moveTo>
                    <a:pt x="707" y="839"/>
                  </a:moveTo>
                  <a:lnTo>
                    <a:pt x="706" y="839"/>
                  </a:lnTo>
                  <a:lnTo>
                    <a:pt x="703" y="835"/>
                  </a:lnTo>
                  <a:lnTo>
                    <a:pt x="703" y="832"/>
                  </a:lnTo>
                  <a:lnTo>
                    <a:pt x="703" y="829"/>
                  </a:lnTo>
                  <a:lnTo>
                    <a:pt x="703" y="828"/>
                  </a:lnTo>
                  <a:lnTo>
                    <a:pt x="704" y="827"/>
                  </a:lnTo>
                  <a:lnTo>
                    <a:pt x="706" y="825"/>
                  </a:lnTo>
                  <a:lnTo>
                    <a:pt x="707" y="827"/>
                  </a:lnTo>
                  <a:lnTo>
                    <a:pt x="707" y="828"/>
                  </a:lnTo>
                  <a:lnTo>
                    <a:pt x="709" y="828"/>
                  </a:lnTo>
                  <a:lnTo>
                    <a:pt x="710" y="829"/>
                  </a:lnTo>
                  <a:lnTo>
                    <a:pt x="710" y="831"/>
                  </a:lnTo>
                  <a:lnTo>
                    <a:pt x="710" y="834"/>
                  </a:lnTo>
                  <a:lnTo>
                    <a:pt x="710" y="837"/>
                  </a:lnTo>
                  <a:lnTo>
                    <a:pt x="710" y="838"/>
                  </a:lnTo>
                  <a:lnTo>
                    <a:pt x="709" y="838"/>
                  </a:lnTo>
                  <a:lnTo>
                    <a:pt x="707" y="839"/>
                  </a:lnTo>
                  <a:close/>
                  <a:moveTo>
                    <a:pt x="1061" y="1770"/>
                  </a:moveTo>
                  <a:lnTo>
                    <a:pt x="1061" y="1770"/>
                  </a:lnTo>
                  <a:lnTo>
                    <a:pt x="1058" y="1770"/>
                  </a:lnTo>
                  <a:lnTo>
                    <a:pt x="1057" y="1770"/>
                  </a:lnTo>
                  <a:lnTo>
                    <a:pt x="1054" y="1772"/>
                  </a:lnTo>
                  <a:lnTo>
                    <a:pt x="1049" y="1775"/>
                  </a:lnTo>
                  <a:lnTo>
                    <a:pt x="1044" y="1782"/>
                  </a:lnTo>
                  <a:lnTo>
                    <a:pt x="1044" y="1782"/>
                  </a:lnTo>
                  <a:lnTo>
                    <a:pt x="1044" y="1782"/>
                  </a:lnTo>
                  <a:lnTo>
                    <a:pt x="1044" y="1782"/>
                  </a:lnTo>
                  <a:lnTo>
                    <a:pt x="1041" y="1783"/>
                  </a:lnTo>
                  <a:lnTo>
                    <a:pt x="1039" y="1785"/>
                  </a:lnTo>
                  <a:lnTo>
                    <a:pt x="1035" y="1786"/>
                  </a:lnTo>
                  <a:lnTo>
                    <a:pt x="1034" y="1786"/>
                  </a:lnTo>
                  <a:lnTo>
                    <a:pt x="1032" y="1787"/>
                  </a:lnTo>
                  <a:lnTo>
                    <a:pt x="1031" y="1787"/>
                  </a:lnTo>
                  <a:lnTo>
                    <a:pt x="1029" y="1787"/>
                  </a:lnTo>
                  <a:lnTo>
                    <a:pt x="1028" y="1789"/>
                  </a:lnTo>
                  <a:lnTo>
                    <a:pt x="1024" y="1790"/>
                  </a:lnTo>
                  <a:lnTo>
                    <a:pt x="1024" y="1790"/>
                  </a:lnTo>
                  <a:lnTo>
                    <a:pt x="1024" y="1790"/>
                  </a:lnTo>
                  <a:lnTo>
                    <a:pt x="1024" y="1790"/>
                  </a:lnTo>
                  <a:lnTo>
                    <a:pt x="1024" y="1789"/>
                  </a:lnTo>
                  <a:lnTo>
                    <a:pt x="1027" y="1789"/>
                  </a:lnTo>
                  <a:lnTo>
                    <a:pt x="1025" y="1787"/>
                  </a:lnTo>
                  <a:lnTo>
                    <a:pt x="1025" y="1789"/>
                  </a:lnTo>
                  <a:lnTo>
                    <a:pt x="1024" y="1789"/>
                  </a:lnTo>
                  <a:lnTo>
                    <a:pt x="1024" y="1789"/>
                  </a:lnTo>
                  <a:lnTo>
                    <a:pt x="1024" y="1787"/>
                  </a:lnTo>
                  <a:lnTo>
                    <a:pt x="1024" y="1787"/>
                  </a:lnTo>
                  <a:lnTo>
                    <a:pt x="1022" y="1789"/>
                  </a:lnTo>
                  <a:lnTo>
                    <a:pt x="1021" y="1789"/>
                  </a:lnTo>
                  <a:lnTo>
                    <a:pt x="1021" y="1789"/>
                  </a:lnTo>
                  <a:lnTo>
                    <a:pt x="1021" y="1789"/>
                  </a:lnTo>
                  <a:lnTo>
                    <a:pt x="1020" y="1789"/>
                  </a:lnTo>
                  <a:lnTo>
                    <a:pt x="1020" y="1789"/>
                  </a:lnTo>
                  <a:lnTo>
                    <a:pt x="1018" y="1789"/>
                  </a:lnTo>
                  <a:lnTo>
                    <a:pt x="1015" y="1790"/>
                  </a:lnTo>
                  <a:lnTo>
                    <a:pt x="1015" y="1790"/>
                  </a:lnTo>
                  <a:lnTo>
                    <a:pt x="1015" y="1790"/>
                  </a:lnTo>
                  <a:lnTo>
                    <a:pt x="1017" y="1789"/>
                  </a:lnTo>
                  <a:lnTo>
                    <a:pt x="1018" y="1789"/>
                  </a:lnTo>
                  <a:lnTo>
                    <a:pt x="1020" y="1789"/>
                  </a:lnTo>
                  <a:lnTo>
                    <a:pt x="1020" y="1789"/>
                  </a:lnTo>
                  <a:lnTo>
                    <a:pt x="1020" y="1790"/>
                  </a:lnTo>
                  <a:lnTo>
                    <a:pt x="1020" y="1790"/>
                  </a:lnTo>
                  <a:lnTo>
                    <a:pt x="1020" y="1790"/>
                  </a:lnTo>
                  <a:lnTo>
                    <a:pt x="1020" y="1790"/>
                  </a:lnTo>
                  <a:lnTo>
                    <a:pt x="1020" y="1790"/>
                  </a:lnTo>
                  <a:lnTo>
                    <a:pt x="1020" y="1790"/>
                  </a:lnTo>
                  <a:lnTo>
                    <a:pt x="1020" y="1790"/>
                  </a:lnTo>
                  <a:lnTo>
                    <a:pt x="1020" y="1789"/>
                  </a:lnTo>
                  <a:lnTo>
                    <a:pt x="1022" y="1789"/>
                  </a:lnTo>
                  <a:lnTo>
                    <a:pt x="1022" y="1789"/>
                  </a:lnTo>
                  <a:lnTo>
                    <a:pt x="1022" y="1790"/>
                  </a:lnTo>
                  <a:lnTo>
                    <a:pt x="1022" y="1792"/>
                  </a:lnTo>
                  <a:lnTo>
                    <a:pt x="1024" y="1792"/>
                  </a:lnTo>
                  <a:lnTo>
                    <a:pt x="1025" y="1790"/>
                  </a:lnTo>
                  <a:lnTo>
                    <a:pt x="1027" y="1790"/>
                  </a:lnTo>
                  <a:lnTo>
                    <a:pt x="1027" y="1790"/>
                  </a:lnTo>
                  <a:lnTo>
                    <a:pt x="1027" y="1790"/>
                  </a:lnTo>
                  <a:lnTo>
                    <a:pt x="1025" y="1792"/>
                  </a:lnTo>
                  <a:lnTo>
                    <a:pt x="1024" y="1793"/>
                  </a:lnTo>
                  <a:lnTo>
                    <a:pt x="1024" y="1793"/>
                  </a:lnTo>
                  <a:lnTo>
                    <a:pt x="1024" y="1793"/>
                  </a:lnTo>
                  <a:lnTo>
                    <a:pt x="1024" y="1793"/>
                  </a:lnTo>
                  <a:lnTo>
                    <a:pt x="1025" y="1793"/>
                  </a:lnTo>
                  <a:lnTo>
                    <a:pt x="1027" y="1793"/>
                  </a:lnTo>
                  <a:lnTo>
                    <a:pt x="1027" y="1793"/>
                  </a:lnTo>
                  <a:lnTo>
                    <a:pt x="1025" y="1795"/>
                  </a:lnTo>
                  <a:lnTo>
                    <a:pt x="1024" y="1795"/>
                  </a:lnTo>
                  <a:lnTo>
                    <a:pt x="1022" y="1796"/>
                  </a:lnTo>
                  <a:lnTo>
                    <a:pt x="1021" y="1795"/>
                  </a:lnTo>
                  <a:lnTo>
                    <a:pt x="1021" y="1795"/>
                  </a:lnTo>
                  <a:lnTo>
                    <a:pt x="1021" y="1793"/>
                  </a:lnTo>
                  <a:lnTo>
                    <a:pt x="1021" y="1793"/>
                  </a:lnTo>
                  <a:lnTo>
                    <a:pt x="1020" y="1795"/>
                  </a:lnTo>
                  <a:lnTo>
                    <a:pt x="1020" y="1795"/>
                  </a:lnTo>
                  <a:lnTo>
                    <a:pt x="1020" y="1793"/>
                  </a:lnTo>
                  <a:lnTo>
                    <a:pt x="1020" y="1793"/>
                  </a:lnTo>
                  <a:lnTo>
                    <a:pt x="1020" y="1793"/>
                  </a:lnTo>
                  <a:lnTo>
                    <a:pt x="1020" y="1793"/>
                  </a:lnTo>
                  <a:lnTo>
                    <a:pt x="1020" y="1793"/>
                  </a:lnTo>
                  <a:lnTo>
                    <a:pt x="1018" y="1793"/>
                  </a:lnTo>
                  <a:lnTo>
                    <a:pt x="1017" y="1793"/>
                  </a:lnTo>
                  <a:lnTo>
                    <a:pt x="1015" y="1793"/>
                  </a:lnTo>
                  <a:lnTo>
                    <a:pt x="1015" y="1792"/>
                  </a:lnTo>
                  <a:lnTo>
                    <a:pt x="1015" y="1792"/>
                  </a:lnTo>
                  <a:lnTo>
                    <a:pt x="1015" y="1792"/>
                  </a:lnTo>
                  <a:lnTo>
                    <a:pt x="1015" y="1792"/>
                  </a:lnTo>
                  <a:lnTo>
                    <a:pt x="1014" y="1792"/>
                  </a:lnTo>
                  <a:lnTo>
                    <a:pt x="1012" y="1792"/>
                  </a:lnTo>
                  <a:lnTo>
                    <a:pt x="1012" y="1792"/>
                  </a:lnTo>
                  <a:lnTo>
                    <a:pt x="1011" y="1792"/>
                  </a:lnTo>
                  <a:lnTo>
                    <a:pt x="1011" y="1793"/>
                  </a:lnTo>
                  <a:lnTo>
                    <a:pt x="1008" y="1793"/>
                  </a:lnTo>
                  <a:lnTo>
                    <a:pt x="1005" y="1793"/>
                  </a:lnTo>
                  <a:lnTo>
                    <a:pt x="1002" y="1793"/>
                  </a:lnTo>
                  <a:lnTo>
                    <a:pt x="1001" y="1795"/>
                  </a:lnTo>
                  <a:lnTo>
                    <a:pt x="1000" y="1795"/>
                  </a:lnTo>
                  <a:lnTo>
                    <a:pt x="1000" y="1795"/>
                  </a:lnTo>
                  <a:lnTo>
                    <a:pt x="998" y="1795"/>
                  </a:lnTo>
                  <a:lnTo>
                    <a:pt x="995" y="1795"/>
                  </a:lnTo>
                  <a:lnTo>
                    <a:pt x="992" y="1796"/>
                  </a:lnTo>
                  <a:lnTo>
                    <a:pt x="991" y="1796"/>
                  </a:lnTo>
                  <a:lnTo>
                    <a:pt x="990" y="1797"/>
                  </a:lnTo>
                  <a:lnTo>
                    <a:pt x="988" y="1799"/>
                  </a:lnTo>
                  <a:lnTo>
                    <a:pt x="985" y="1800"/>
                  </a:lnTo>
                  <a:lnTo>
                    <a:pt x="985" y="1800"/>
                  </a:lnTo>
                  <a:lnTo>
                    <a:pt x="985" y="1800"/>
                  </a:lnTo>
                  <a:lnTo>
                    <a:pt x="984" y="1802"/>
                  </a:lnTo>
                  <a:lnTo>
                    <a:pt x="984" y="1802"/>
                  </a:lnTo>
                  <a:lnTo>
                    <a:pt x="982" y="1802"/>
                  </a:lnTo>
                  <a:lnTo>
                    <a:pt x="982" y="1803"/>
                  </a:lnTo>
                  <a:lnTo>
                    <a:pt x="982" y="1805"/>
                  </a:lnTo>
                  <a:lnTo>
                    <a:pt x="980" y="1807"/>
                  </a:lnTo>
                  <a:lnTo>
                    <a:pt x="980" y="1807"/>
                  </a:lnTo>
                  <a:lnTo>
                    <a:pt x="981" y="1809"/>
                  </a:lnTo>
                  <a:lnTo>
                    <a:pt x="982" y="1809"/>
                  </a:lnTo>
                  <a:lnTo>
                    <a:pt x="984" y="1810"/>
                  </a:lnTo>
                  <a:lnTo>
                    <a:pt x="985" y="1810"/>
                  </a:lnTo>
                  <a:lnTo>
                    <a:pt x="987" y="1810"/>
                  </a:lnTo>
                  <a:lnTo>
                    <a:pt x="988" y="1810"/>
                  </a:lnTo>
                  <a:lnTo>
                    <a:pt x="990" y="1809"/>
                  </a:lnTo>
                  <a:lnTo>
                    <a:pt x="991" y="1809"/>
                  </a:lnTo>
                  <a:lnTo>
                    <a:pt x="991" y="1809"/>
                  </a:lnTo>
                  <a:lnTo>
                    <a:pt x="991" y="1812"/>
                  </a:lnTo>
                  <a:lnTo>
                    <a:pt x="991" y="1813"/>
                  </a:lnTo>
                  <a:lnTo>
                    <a:pt x="991" y="1813"/>
                  </a:lnTo>
                  <a:lnTo>
                    <a:pt x="992" y="1813"/>
                  </a:lnTo>
                  <a:lnTo>
                    <a:pt x="991" y="1815"/>
                  </a:lnTo>
                  <a:lnTo>
                    <a:pt x="992" y="1815"/>
                  </a:lnTo>
                  <a:lnTo>
                    <a:pt x="994" y="1816"/>
                  </a:lnTo>
                  <a:lnTo>
                    <a:pt x="994" y="1816"/>
                  </a:lnTo>
                  <a:lnTo>
                    <a:pt x="994" y="1816"/>
                  </a:lnTo>
                  <a:lnTo>
                    <a:pt x="991" y="1817"/>
                  </a:lnTo>
                  <a:lnTo>
                    <a:pt x="991" y="1817"/>
                  </a:lnTo>
                  <a:lnTo>
                    <a:pt x="990" y="1817"/>
                  </a:lnTo>
                  <a:lnTo>
                    <a:pt x="988" y="1817"/>
                  </a:lnTo>
                  <a:lnTo>
                    <a:pt x="987" y="1817"/>
                  </a:lnTo>
                  <a:lnTo>
                    <a:pt x="982" y="1817"/>
                  </a:lnTo>
                  <a:lnTo>
                    <a:pt x="982" y="1817"/>
                  </a:lnTo>
                  <a:lnTo>
                    <a:pt x="981" y="1817"/>
                  </a:lnTo>
                  <a:lnTo>
                    <a:pt x="981" y="1817"/>
                  </a:lnTo>
                  <a:lnTo>
                    <a:pt x="978" y="1819"/>
                  </a:lnTo>
                  <a:lnTo>
                    <a:pt x="975" y="1819"/>
                  </a:lnTo>
                  <a:lnTo>
                    <a:pt x="972" y="1819"/>
                  </a:lnTo>
                  <a:lnTo>
                    <a:pt x="971" y="1820"/>
                  </a:lnTo>
                  <a:lnTo>
                    <a:pt x="971" y="1820"/>
                  </a:lnTo>
                  <a:lnTo>
                    <a:pt x="971" y="1822"/>
                  </a:lnTo>
                  <a:lnTo>
                    <a:pt x="970" y="1822"/>
                  </a:lnTo>
                  <a:lnTo>
                    <a:pt x="970" y="1823"/>
                  </a:lnTo>
                  <a:lnTo>
                    <a:pt x="970" y="1823"/>
                  </a:lnTo>
                  <a:lnTo>
                    <a:pt x="971" y="1823"/>
                  </a:lnTo>
                  <a:lnTo>
                    <a:pt x="971" y="1823"/>
                  </a:lnTo>
                  <a:lnTo>
                    <a:pt x="975" y="1823"/>
                  </a:lnTo>
                  <a:lnTo>
                    <a:pt x="975" y="1824"/>
                  </a:lnTo>
                  <a:lnTo>
                    <a:pt x="975" y="1824"/>
                  </a:lnTo>
                  <a:lnTo>
                    <a:pt x="970" y="1823"/>
                  </a:lnTo>
                  <a:lnTo>
                    <a:pt x="968" y="1823"/>
                  </a:lnTo>
                  <a:lnTo>
                    <a:pt x="967" y="1823"/>
                  </a:lnTo>
                  <a:lnTo>
                    <a:pt x="962" y="1822"/>
                  </a:lnTo>
                  <a:lnTo>
                    <a:pt x="960" y="1822"/>
                  </a:lnTo>
                  <a:lnTo>
                    <a:pt x="957" y="1822"/>
                  </a:lnTo>
                  <a:lnTo>
                    <a:pt x="954" y="1823"/>
                  </a:lnTo>
                  <a:lnTo>
                    <a:pt x="952" y="1823"/>
                  </a:lnTo>
                  <a:lnTo>
                    <a:pt x="948" y="1826"/>
                  </a:lnTo>
                  <a:lnTo>
                    <a:pt x="947" y="1829"/>
                  </a:lnTo>
                  <a:lnTo>
                    <a:pt x="947" y="1830"/>
                  </a:lnTo>
                  <a:lnTo>
                    <a:pt x="947" y="1830"/>
                  </a:lnTo>
                  <a:lnTo>
                    <a:pt x="947" y="1830"/>
                  </a:lnTo>
                  <a:lnTo>
                    <a:pt x="947" y="1830"/>
                  </a:lnTo>
                  <a:lnTo>
                    <a:pt x="947" y="1829"/>
                  </a:lnTo>
                  <a:lnTo>
                    <a:pt x="947" y="1829"/>
                  </a:lnTo>
                  <a:lnTo>
                    <a:pt x="945" y="1830"/>
                  </a:lnTo>
                  <a:lnTo>
                    <a:pt x="945" y="1830"/>
                  </a:lnTo>
                  <a:lnTo>
                    <a:pt x="944" y="1830"/>
                  </a:lnTo>
                  <a:lnTo>
                    <a:pt x="941" y="1832"/>
                  </a:lnTo>
                  <a:lnTo>
                    <a:pt x="940" y="1833"/>
                  </a:lnTo>
                  <a:lnTo>
                    <a:pt x="938" y="1834"/>
                  </a:lnTo>
                  <a:lnTo>
                    <a:pt x="937" y="1834"/>
                  </a:lnTo>
                  <a:lnTo>
                    <a:pt x="937" y="1836"/>
                  </a:lnTo>
                  <a:lnTo>
                    <a:pt x="937" y="1837"/>
                  </a:lnTo>
                  <a:lnTo>
                    <a:pt x="937" y="1837"/>
                  </a:lnTo>
                  <a:lnTo>
                    <a:pt x="935" y="1836"/>
                  </a:lnTo>
                  <a:lnTo>
                    <a:pt x="934" y="1836"/>
                  </a:lnTo>
                  <a:lnTo>
                    <a:pt x="934" y="1836"/>
                  </a:lnTo>
                  <a:lnTo>
                    <a:pt x="934" y="1836"/>
                  </a:lnTo>
                  <a:lnTo>
                    <a:pt x="931" y="1836"/>
                  </a:lnTo>
                  <a:lnTo>
                    <a:pt x="930" y="1836"/>
                  </a:lnTo>
                  <a:lnTo>
                    <a:pt x="927" y="1834"/>
                  </a:lnTo>
                  <a:lnTo>
                    <a:pt x="927" y="1834"/>
                  </a:lnTo>
                  <a:lnTo>
                    <a:pt x="927" y="1833"/>
                  </a:lnTo>
                  <a:lnTo>
                    <a:pt x="927" y="1832"/>
                  </a:lnTo>
                  <a:lnTo>
                    <a:pt x="927" y="1830"/>
                  </a:lnTo>
                  <a:lnTo>
                    <a:pt x="927" y="1830"/>
                  </a:lnTo>
                  <a:lnTo>
                    <a:pt x="927" y="1830"/>
                  </a:lnTo>
                  <a:lnTo>
                    <a:pt x="928" y="1829"/>
                  </a:lnTo>
                  <a:lnTo>
                    <a:pt x="931" y="1827"/>
                  </a:lnTo>
                  <a:lnTo>
                    <a:pt x="932" y="1826"/>
                  </a:lnTo>
                  <a:lnTo>
                    <a:pt x="934" y="1824"/>
                  </a:lnTo>
                  <a:lnTo>
                    <a:pt x="935" y="1823"/>
                  </a:lnTo>
                  <a:lnTo>
                    <a:pt x="937" y="1820"/>
                  </a:lnTo>
                  <a:lnTo>
                    <a:pt x="938" y="1815"/>
                  </a:lnTo>
                  <a:lnTo>
                    <a:pt x="940" y="1813"/>
                  </a:lnTo>
                  <a:lnTo>
                    <a:pt x="941" y="1813"/>
                  </a:lnTo>
                  <a:lnTo>
                    <a:pt x="942" y="1812"/>
                  </a:lnTo>
                  <a:lnTo>
                    <a:pt x="944" y="1810"/>
                  </a:lnTo>
                  <a:lnTo>
                    <a:pt x="945" y="1810"/>
                  </a:lnTo>
                  <a:lnTo>
                    <a:pt x="945" y="1809"/>
                  </a:lnTo>
                  <a:lnTo>
                    <a:pt x="947" y="1809"/>
                  </a:lnTo>
                  <a:lnTo>
                    <a:pt x="948" y="1807"/>
                  </a:lnTo>
                  <a:lnTo>
                    <a:pt x="948" y="1806"/>
                  </a:lnTo>
                  <a:lnTo>
                    <a:pt x="948" y="1805"/>
                  </a:lnTo>
                  <a:lnTo>
                    <a:pt x="950" y="1802"/>
                  </a:lnTo>
                  <a:lnTo>
                    <a:pt x="948" y="1800"/>
                  </a:lnTo>
                  <a:lnTo>
                    <a:pt x="948" y="1793"/>
                  </a:lnTo>
                  <a:lnTo>
                    <a:pt x="948" y="1792"/>
                  </a:lnTo>
                  <a:lnTo>
                    <a:pt x="950" y="1789"/>
                  </a:lnTo>
                  <a:lnTo>
                    <a:pt x="950" y="1789"/>
                  </a:lnTo>
                  <a:lnTo>
                    <a:pt x="951" y="1787"/>
                  </a:lnTo>
                  <a:lnTo>
                    <a:pt x="951" y="1786"/>
                  </a:lnTo>
                  <a:lnTo>
                    <a:pt x="951" y="1785"/>
                  </a:lnTo>
                  <a:lnTo>
                    <a:pt x="952" y="1783"/>
                  </a:lnTo>
                  <a:lnTo>
                    <a:pt x="952" y="1783"/>
                  </a:lnTo>
                  <a:lnTo>
                    <a:pt x="954" y="1783"/>
                  </a:lnTo>
                  <a:lnTo>
                    <a:pt x="954" y="1782"/>
                  </a:lnTo>
                  <a:lnTo>
                    <a:pt x="954" y="1782"/>
                  </a:lnTo>
                  <a:lnTo>
                    <a:pt x="955" y="1780"/>
                  </a:lnTo>
                  <a:lnTo>
                    <a:pt x="955" y="1779"/>
                  </a:lnTo>
                  <a:lnTo>
                    <a:pt x="955" y="1777"/>
                  </a:lnTo>
                  <a:lnTo>
                    <a:pt x="955" y="1776"/>
                  </a:lnTo>
                  <a:lnTo>
                    <a:pt x="955" y="1775"/>
                  </a:lnTo>
                  <a:lnTo>
                    <a:pt x="955" y="1773"/>
                  </a:lnTo>
                  <a:lnTo>
                    <a:pt x="955" y="1773"/>
                  </a:lnTo>
                  <a:lnTo>
                    <a:pt x="954" y="1772"/>
                  </a:lnTo>
                  <a:lnTo>
                    <a:pt x="954" y="1770"/>
                  </a:lnTo>
                  <a:lnTo>
                    <a:pt x="954" y="1770"/>
                  </a:lnTo>
                  <a:lnTo>
                    <a:pt x="954" y="1770"/>
                  </a:lnTo>
                  <a:lnTo>
                    <a:pt x="952" y="1770"/>
                  </a:lnTo>
                  <a:lnTo>
                    <a:pt x="952" y="1769"/>
                  </a:lnTo>
                  <a:lnTo>
                    <a:pt x="951" y="1767"/>
                  </a:lnTo>
                  <a:lnTo>
                    <a:pt x="951" y="1767"/>
                  </a:lnTo>
                  <a:lnTo>
                    <a:pt x="951" y="1766"/>
                  </a:lnTo>
                  <a:lnTo>
                    <a:pt x="950" y="1766"/>
                  </a:lnTo>
                  <a:lnTo>
                    <a:pt x="950" y="1766"/>
                  </a:lnTo>
                  <a:lnTo>
                    <a:pt x="950" y="1765"/>
                  </a:lnTo>
                  <a:lnTo>
                    <a:pt x="950" y="1765"/>
                  </a:lnTo>
                  <a:lnTo>
                    <a:pt x="951" y="1765"/>
                  </a:lnTo>
                  <a:lnTo>
                    <a:pt x="954" y="1765"/>
                  </a:lnTo>
                  <a:lnTo>
                    <a:pt x="955" y="1765"/>
                  </a:lnTo>
                  <a:lnTo>
                    <a:pt x="955" y="1765"/>
                  </a:lnTo>
                  <a:lnTo>
                    <a:pt x="955" y="1766"/>
                  </a:lnTo>
                  <a:lnTo>
                    <a:pt x="955" y="1766"/>
                  </a:lnTo>
                  <a:lnTo>
                    <a:pt x="955" y="1767"/>
                  </a:lnTo>
                  <a:lnTo>
                    <a:pt x="957" y="1769"/>
                  </a:lnTo>
                  <a:lnTo>
                    <a:pt x="957" y="1769"/>
                  </a:lnTo>
                  <a:lnTo>
                    <a:pt x="957" y="1770"/>
                  </a:lnTo>
                  <a:lnTo>
                    <a:pt x="957" y="1770"/>
                  </a:lnTo>
                  <a:lnTo>
                    <a:pt x="957" y="1770"/>
                  </a:lnTo>
                  <a:lnTo>
                    <a:pt x="958" y="1770"/>
                  </a:lnTo>
                  <a:lnTo>
                    <a:pt x="958" y="1772"/>
                  </a:lnTo>
                  <a:lnTo>
                    <a:pt x="958" y="1772"/>
                  </a:lnTo>
                  <a:lnTo>
                    <a:pt x="958" y="1772"/>
                  </a:lnTo>
                  <a:lnTo>
                    <a:pt x="960" y="1772"/>
                  </a:lnTo>
                  <a:lnTo>
                    <a:pt x="960" y="1772"/>
                  </a:lnTo>
                  <a:lnTo>
                    <a:pt x="960" y="1770"/>
                  </a:lnTo>
                  <a:lnTo>
                    <a:pt x="961" y="1770"/>
                  </a:lnTo>
                  <a:lnTo>
                    <a:pt x="961" y="1770"/>
                  </a:lnTo>
                  <a:lnTo>
                    <a:pt x="961" y="1772"/>
                  </a:lnTo>
                  <a:lnTo>
                    <a:pt x="960" y="1772"/>
                  </a:lnTo>
                  <a:lnTo>
                    <a:pt x="960" y="1773"/>
                  </a:lnTo>
                  <a:lnTo>
                    <a:pt x="960" y="1773"/>
                  </a:lnTo>
                  <a:lnTo>
                    <a:pt x="958" y="1775"/>
                  </a:lnTo>
                  <a:lnTo>
                    <a:pt x="958" y="1775"/>
                  </a:lnTo>
                  <a:lnTo>
                    <a:pt x="958" y="1776"/>
                  </a:lnTo>
                  <a:lnTo>
                    <a:pt x="960" y="1775"/>
                  </a:lnTo>
                  <a:lnTo>
                    <a:pt x="961" y="1775"/>
                  </a:lnTo>
                  <a:lnTo>
                    <a:pt x="961" y="1775"/>
                  </a:lnTo>
                  <a:lnTo>
                    <a:pt x="962" y="1775"/>
                  </a:lnTo>
                  <a:lnTo>
                    <a:pt x="962" y="1776"/>
                  </a:lnTo>
                  <a:lnTo>
                    <a:pt x="962" y="1776"/>
                  </a:lnTo>
                  <a:lnTo>
                    <a:pt x="961" y="1779"/>
                  </a:lnTo>
                  <a:lnTo>
                    <a:pt x="962" y="1779"/>
                  </a:lnTo>
                  <a:lnTo>
                    <a:pt x="962" y="1777"/>
                  </a:lnTo>
                  <a:lnTo>
                    <a:pt x="964" y="1777"/>
                  </a:lnTo>
                  <a:lnTo>
                    <a:pt x="965" y="1776"/>
                  </a:lnTo>
                  <a:lnTo>
                    <a:pt x="965" y="1776"/>
                  </a:lnTo>
                  <a:lnTo>
                    <a:pt x="967" y="1779"/>
                  </a:lnTo>
                  <a:lnTo>
                    <a:pt x="970" y="1779"/>
                  </a:lnTo>
                  <a:lnTo>
                    <a:pt x="972" y="1782"/>
                  </a:lnTo>
                  <a:lnTo>
                    <a:pt x="975" y="1782"/>
                  </a:lnTo>
                  <a:lnTo>
                    <a:pt x="975" y="1780"/>
                  </a:lnTo>
                  <a:lnTo>
                    <a:pt x="977" y="1780"/>
                  </a:lnTo>
                  <a:lnTo>
                    <a:pt x="977" y="1777"/>
                  </a:lnTo>
                  <a:lnTo>
                    <a:pt x="975" y="1776"/>
                  </a:lnTo>
                  <a:lnTo>
                    <a:pt x="975" y="1776"/>
                  </a:lnTo>
                  <a:lnTo>
                    <a:pt x="975" y="1775"/>
                  </a:lnTo>
                  <a:lnTo>
                    <a:pt x="975" y="1775"/>
                  </a:lnTo>
                  <a:lnTo>
                    <a:pt x="975" y="1773"/>
                  </a:lnTo>
                  <a:lnTo>
                    <a:pt x="977" y="1773"/>
                  </a:lnTo>
                  <a:lnTo>
                    <a:pt x="978" y="1773"/>
                  </a:lnTo>
                  <a:lnTo>
                    <a:pt x="978" y="1773"/>
                  </a:lnTo>
                  <a:lnTo>
                    <a:pt x="977" y="1775"/>
                  </a:lnTo>
                  <a:lnTo>
                    <a:pt x="978" y="1775"/>
                  </a:lnTo>
                  <a:lnTo>
                    <a:pt x="978" y="1775"/>
                  </a:lnTo>
                  <a:lnTo>
                    <a:pt x="978" y="1775"/>
                  </a:lnTo>
                  <a:lnTo>
                    <a:pt x="980" y="1775"/>
                  </a:lnTo>
                  <a:lnTo>
                    <a:pt x="981" y="1776"/>
                  </a:lnTo>
                  <a:lnTo>
                    <a:pt x="981" y="1775"/>
                  </a:lnTo>
                  <a:lnTo>
                    <a:pt x="981" y="1775"/>
                  </a:lnTo>
                  <a:lnTo>
                    <a:pt x="981" y="1775"/>
                  </a:lnTo>
                  <a:lnTo>
                    <a:pt x="981" y="1773"/>
                  </a:lnTo>
                  <a:lnTo>
                    <a:pt x="981" y="1773"/>
                  </a:lnTo>
                  <a:lnTo>
                    <a:pt x="981" y="1773"/>
                  </a:lnTo>
                  <a:lnTo>
                    <a:pt x="981" y="1773"/>
                  </a:lnTo>
                  <a:lnTo>
                    <a:pt x="981" y="1775"/>
                  </a:lnTo>
                  <a:lnTo>
                    <a:pt x="980" y="1775"/>
                  </a:lnTo>
                  <a:lnTo>
                    <a:pt x="980" y="1773"/>
                  </a:lnTo>
                  <a:lnTo>
                    <a:pt x="980" y="1773"/>
                  </a:lnTo>
                  <a:lnTo>
                    <a:pt x="980" y="1772"/>
                  </a:lnTo>
                  <a:lnTo>
                    <a:pt x="978" y="1772"/>
                  </a:lnTo>
                  <a:lnTo>
                    <a:pt x="978" y="1770"/>
                  </a:lnTo>
                  <a:lnTo>
                    <a:pt x="977" y="1770"/>
                  </a:lnTo>
                  <a:lnTo>
                    <a:pt x="977" y="1770"/>
                  </a:lnTo>
                  <a:lnTo>
                    <a:pt x="977" y="1769"/>
                  </a:lnTo>
                  <a:lnTo>
                    <a:pt x="975" y="1769"/>
                  </a:lnTo>
                  <a:lnTo>
                    <a:pt x="975" y="1767"/>
                  </a:lnTo>
                  <a:lnTo>
                    <a:pt x="975" y="1767"/>
                  </a:lnTo>
                  <a:lnTo>
                    <a:pt x="975" y="1767"/>
                  </a:lnTo>
                  <a:lnTo>
                    <a:pt x="977" y="1766"/>
                  </a:lnTo>
                  <a:lnTo>
                    <a:pt x="977" y="1766"/>
                  </a:lnTo>
                  <a:lnTo>
                    <a:pt x="975" y="1766"/>
                  </a:lnTo>
                  <a:lnTo>
                    <a:pt x="975" y="1766"/>
                  </a:lnTo>
                  <a:lnTo>
                    <a:pt x="975" y="1766"/>
                  </a:lnTo>
                  <a:lnTo>
                    <a:pt x="975" y="1766"/>
                  </a:lnTo>
                  <a:lnTo>
                    <a:pt x="974" y="1765"/>
                  </a:lnTo>
                  <a:lnTo>
                    <a:pt x="974" y="1765"/>
                  </a:lnTo>
                  <a:lnTo>
                    <a:pt x="975" y="1763"/>
                  </a:lnTo>
                  <a:lnTo>
                    <a:pt x="975" y="1762"/>
                  </a:lnTo>
                  <a:lnTo>
                    <a:pt x="975" y="1762"/>
                  </a:lnTo>
                  <a:lnTo>
                    <a:pt x="975" y="1762"/>
                  </a:lnTo>
                  <a:lnTo>
                    <a:pt x="974" y="1762"/>
                  </a:lnTo>
                  <a:lnTo>
                    <a:pt x="974" y="1762"/>
                  </a:lnTo>
                  <a:lnTo>
                    <a:pt x="974" y="1762"/>
                  </a:lnTo>
                  <a:lnTo>
                    <a:pt x="974" y="1762"/>
                  </a:lnTo>
                  <a:lnTo>
                    <a:pt x="974" y="1762"/>
                  </a:lnTo>
                  <a:lnTo>
                    <a:pt x="972" y="1762"/>
                  </a:lnTo>
                  <a:lnTo>
                    <a:pt x="971" y="1762"/>
                  </a:lnTo>
                  <a:lnTo>
                    <a:pt x="971" y="1762"/>
                  </a:lnTo>
                  <a:lnTo>
                    <a:pt x="970" y="1760"/>
                  </a:lnTo>
                  <a:lnTo>
                    <a:pt x="970" y="1759"/>
                  </a:lnTo>
                  <a:lnTo>
                    <a:pt x="970" y="1757"/>
                  </a:lnTo>
                  <a:lnTo>
                    <a:pt x="970" y="1756"/>
                  </a:lnTo>
                  <a:lnTo>
                    <a:pt x="970" y="1756"/>
                  </a:lnTo>
                  <a:lnTo>
                    <a:pt x="970" y="1756"/>
                  </a:lnTo>
                  <a:lnTo>
                    <a:pt x="970" y="1757"/>
                  </a:lnTo>
                  <a:lnTo>
                    <a:pt x="968" y="1757"/>
                  </a:lnTo>
                  <a:lnTo>
                    <a:pt x="968" y="1756"/>
                  </a:lnTo>
                  <a:lnTo>
                    <a:pt x="968" y="1756"/>
                  </a:lnTo>
                  <a:lnTo>
                    <a:pt x="968" y="1756"/>
                  </a:lnTo>
                  <a:lnTo>
                    <a:pt x="967" y="1755"/>
                  </a:lnTo>
                  <a:lnTo>
                    <a:pt x="967" y="1753"/>
                  </a:lnTo>
                  <a:lnTo>
                    <a:pt x="967" y="1753"/>
                  </a:lnTo>
                  <a:lnTo>
                    <a:pt x="965" y="1753"/>
                  </a:lnTo>
                  <a:lnTo>
                    <a:pt x="965" y="1752"/>
                  </a:lnTo>
                  <a:lnTo>
                    <a:pt x="965" y="1752"/>
                  </a:lnTo>
                  <a:lnTo>
                    <a:pt x="965" y="1750"/>
                  </a:lnTo>
                  <a:lnTo>
                    <a:pt x="965" y="1750"/>
                  </a:lnTo>
                  <a:lnTo>
                    <a:pt x="964" y="1749"/>
                  </a:lnTo>
                  <a:lnTo>
                    <a:pt x="964" y="1749"/>
                  </a:lnTo>
                  <a:lnTo>
                    <a:pt x="964" y="1749"/>
                  </a:lnTo>
                  <a:lnTo>
                    <a:pt x="962" y="1749"/>
                  </a:lnTo>
                  <a:lnTo>
                    <a:pt x="961" y="1749"/>
                  </a:lnTo>
                  <a:lnTo>
                    <a:pt x="958" y="1749"/>
                  </a:lnTo>
                  <a:lnTo>
                    <a:pt x="958" y="1749"/>
                  </a:lnTo>
                  <a:lnTo>
                    <a:pt x="958" y="1747"/>
                  </a:lnTo>
                  <a:lnTo>
                    <a:pt x="958" y="1747"/>
                  </a:lnTo>
                  <a:lnTo>
                    <a:pt x="958" y="1747"/>
                  </a:lnTo>
                  <a:lnTo>
                    <a:pt x="957" y="1747"/>
                  </a:lnTo>
                  <a:lnTo>
                    <a:pt x="957" y="1747"/>
                  </a:lnTo>
                  <a:lnTo>
                    <a:pt x="957" y="1747"/>
                  </a:lnTo>
                  <a:lnTo>
                    <a:pt x="955" y="1747"/>
                  </a:lnTo>
                  <a:lnTo>
                    <a:pt x="952" y="1747"/>
                  </a:lnTo>
                  <a:lnTo>
                    <a:pt x="952" y="1747"/>
                  </a:lnTo>
                  <a:lnTo>
                    <a:pt x="951" y="1747"/>
                  </a:lnTo>
                  <a:lnTo>
                    <a:pt x="950" y="1747"/>
                  </a:lnTo>
                  <a:lnTo>
                    <a:pt x="951" y="1747"/>
                  </a:lnTo>
                  <a:lnTo>
                    <a:pt x="951" y="1747"/>
                  </a:lnTo>
                  <a:lnTo>
                    <a:pt x="950" y="1747"/>
                  </a:lnTo>
                  <a:lnTo>
                    <a:pt x="950" y="1746"/>
                  </a:lnTo>
                  <a:lnTo>
                    <a:pt x="950" y="1746"/>
                  </a:lnTo>
                  <a:lnTo>
                    <a:pt x="951" y="1746"/>
                  </a:lnTo>
                  <a:lnTo>
                    <a:pt x="951" y="1745"/>
                  </a:lnTo>
                  <a:lnTo>
                    <a:pt x="951" y="1745"/>
                  </a:lnTo>
                  <a:lnTo>
                    <a:pt x="950" y="1745"/>
                  </a:lnTo>
                  <a:lnTo>
                    <a:pt x="950" y="1745"/>
                  </a:lnTo>
                  <a:lnTo>
                    <a:pt x="950" y="1746"/>
                  </a:lnTo>
                  <a:lnTo>
                    <a:pt x="948" y="1746"/>
                  </a:lnTo>
                  <a:lnTo>
                    <a:pt x="948" y="1746"/>
                  </a:lnTo>
                  <a:lnTo>
                    <a:pt x="948" y="1746"/>
                  </a:lnTo>
                  <a:lnTo>
                    <a:pt x="948" y="1746"/>
                  </a:lnTo>
                  <a:lnTo>
                    <a:pt x="948" y="1745"/>
                  </a:lnTo>
                  <a:lnTo>
                    <a:pt x="947" y="1745"/>
                  </a:lnTo>
                  <a:lnTo>
                    <a:pt x="944" y="1745"/>
                  </a:lnTo>
                  <a:lnTo>
                    <a:pt x="942" y="1745"/>
                  </a:lnTo>
                  <a:lnTo>
                    <a:pt x="941" y="1745"/>
                  </a:lnTo>
                  <a:lnTo>
                    <a:pt x="940" y="1743"/>
                  </a:lnTo>
                  <a:lnTo>
                    <a:pt x="938" y="1743"/>
                  </a:lnTo>
                  <a:lnTo>
                    <a:pt x="935" y="1743"/>
                  </a:lnTo>
                  <a:lnTo>
                    <a:pt x="934" y="1743"/>
                  </a:lnTo>
                  <a:lnTo>
                    <a:pt x="934" y="1743"/>
                  </a:lnTo>
                  <a:lnTo>
                    <a:pt x="932" y="1743"/>
                  </a:lnTo>
                  <a:lnTo>
                    <a:pt x="930" y="1743"/>
                  </a:lnTo>
                  <a:lnTo>
                    <a:pt x="928" y="1743"/>
                  </a:lnTo>
                  <a:lnTo>
                    <a:pt x="921" y="1742"/>
                  </a:lnTo>
                  <a:lnTo>
                    <a:pt x="920" y="1742"/>
                  </a:lnTo>
                  <a:lnTo>
                    <a:pt x="918" y="1740"/>
                  </a:lnTo>
                  <a:lnTo>
                    <a:pt x="918" y="1740"/>
                  </a:lnTo>
                  <a:lnTo>
                    <a:pt x="915" y="1740"/>
                  </a:lnTo>
                  <a:lnTo>
                    <a:pt x="914" y="1740"/>
                  </a:lnTo>
                  <a:lnTo>
                    <a:pt x="914" y="1739"/>
                  </a:lnTo>
                  <a:lnTo>
                    <a:pt x="914" y="1739"/>
                  </a:lnTo>
                  <a:lnTo>
                    <a:pt x="911" y="1739"/>
                  </a:lnTo>
                  <a:lnTo>
                    <a:pt x="911" y="1739"/>
                  </a:lnTo>
                  <a:lnTo>
                    <a:pt x="911" y="1739"/>
                  </a:lnTo>
                  <a:lnTo>
                    <a:pt x="911" y="1737"/>
                  </a:lnTo>
                  <a:lnTo>
                    <a:pt x="911" y="1736"/>
                  </a:lnTo>
                  <a:lnTo>
                    <a:pt x="911" y="1736"/>
                  </a:lnTo>
                  <a:lnTo>
                    <a:pt x="910" y="1735"/>
                  </a:lnTo>
                  <a:lnTo>
                    <a:pt x="910" y="1735"/>
                  </a:lnTo>
                  <a:lnTo>
                    <a:pt x="908" y="1735"/>
                  </a:lnTo>
                  <a:lnTo>
                    <a:pt x="907" y="1735"/>
                  </a:lnTo>
                  <a:lnTo>
                    <a:pt x="905" y="1735"/>
                  </a:lnTo>
                  <a:lnTo>
                    <a:pt x="905" y="1736"/>
                  </a:lnTo>
                  <a:lnTo>
                    <a:pt x="904" y="1736"/>
                  </a:lnTo>
                  <a:lnTo>
                    <a:pt x="904" y="1736"/>
                  </a:lnTo>
                  <a:lnTo>
                    <a:pt x="903" y="1735"/>
                  </a:lnTo>
                  <a:lnTo>
                    <a:pt x="903" y="1735"/>
                  </a:lnTo>
                  <a:lnTo>
                    <a:pt x="904" y="1733"/>
                  </a:lnTo>
                  <a:lnTo>
                    <a:pt x="905" y="1732"/>
                  </a:lnTo>
                  <a:lnTo>
                    <a:pt x="905" y="1730"/>
                  </a:lnTo>
                  <a:lnTo>
                    <a:pt x="905" y="1730"/>
                  </a:lnTo>
                  <a:lnTo>
                    <a:pt x="904" y="1730"/>
                  </a:lnTo>
                  <a:lnTo>
                    <a:pt x="904" y="1730"/>
                  </a:lnTo>
                  <a:lnTo>
                    <a:pt x="904" y="1732"/>
                  </a:lnTo>
                  <a:lnTo>
                    <a:pt x="904" y="1732"/>
                  </a:lnTo>
                  <a:lnTo>
                    <a:pt x="904" y="1730"/>
                  </a:lnTo>
                  <a:lnTo>
                    <a:pt x="904" y="1729"/>
                  </a:lnTo>
                  <a:lnTo>
                    <a:pt x="904" y="1727"/>
                  </a:lnTo>
                  <a:lnTo>
                    <a:pt x="904" y="1727"/>
                  </a:lnTo>
                  <a:lnTo>
                    <a:pt x="905" y="1727"/>
                  </a:lnTo>
                  <a:lnTo>
                    <a:pt x="907" y="1727"/>
                  </a:lnTo>
                  <a:lnTo>
                    <a:pt x="907" y="1727"/>
                  </a:lnTo>
                  <a:lnTo>
                    <a:pt x="907" y="1726"/>
                  </a:lnTo>
                  <a:lnTo>
                    <a:pt x="905" y="1726"/>
                  </a:lnTo>
                  <a:lnTo>
                    <a:pt x="904" y="1726"/>
                  </a:lnTo>
                  <a:lnTo>
                    <a:pt x="904" y="1725"/>
                  </a:lnTo>
                  <a:lnTo>
                    <a:pt x="903" y="1726"/>
                  </a:lnTo>
                  <a:lnTo>
                    <a:pt x="903" y="1726"/>
                  </a:lnTo>
                  <a:lnTo>
                    <a:pt x="903" y="1726"/>
                  </a:lnTo>
                  <a:lnTo>
                    <a:pt x="901" y="1725"/>
                  </a:lnTo>
                  <a:lnTo>
                    <a:pt x="900" y="1725"/>
                  </a:lnTo>
                  <a:lnTo>
                    <a:pt x="900" y="1725"/>
                  </a:lnTo>
                  <a:lnTo>
                    <a:pt x="900" y="1723"/>
                  </a:lnTo>
                  <a:lnTo>
                    <a:pt x="901" y="1722"/>
                  </a:lnTo>
                  <a:lnTo>
                    <a:pt x="901" y="1720"/>
                  </a:lnTo>
                  <a:lnTo>
                    <a:pt x="901" y="1719"/>
                  </a:lnTo>
                  <a:lnTo>
                    <a:pt x="903" y="1717"/>
                  </a:lnTo>
                  <a:lnTo>
                    <a:pt x="903" y="1716"/>
                  </a:lnTo>
                  <a:lnTo>
                    <a:pt x="903" y="1716"/>
                  </a:lnTo>
                  <a:lnTo>
                    <a:pt x="903" y="1716"/>
                  </a:lnTo>
                  <a:lnTo>
                    <a:pt x="901" y="1715"/>
                  </a:lnTo>
                  <a:lnTo>
                    <a:pt x="901" y="1715"/>
                  </a:lnTo>
                  <a:lnTo>
                    <a:pt x="901" y="1715"/>
                  </a:lnTo>
                  <a:lnTo>
                    <a:pt x="900" y="1713"/>
                  </a:lnTo>
                  <a:lnTo>
                    <a:pt x="898" y="1712"/>
                  </a:lnTo>
                  <a:lnTo>
                    <a:pt x="897" y="1712"/>
                  </a:lnTo>
                  <a:lnTo>
                    <a:pt x="897" y="1710"/>
                  </a:lnTo>
                  <a:lnTo>
                    <a:pt x="895" y="1709"/>
                  </a:lnTo>
                  <a:lnTo>
                    <a:pt x="897" y="1707"/>
                  </a:lnTo>
                  <a:lnTo>
                    <a:pt x="897" y="1707"/>
                  </a:lnTo>
                  <a:lnTo>
                    <a:pt x="897" y="1707"/>
                  </a:lnTo>
                  <a:lnTo>
                    <a:pt x="897" y="1706"/>
                  </a:lnTo>
                  <a:lnTo>
                    <a:pt x="897" y="1705"/>
                  </a:lnTo>
                  <a:lnTo>
                    <a:pt x="897" y="1705"/>
                  </a:lnTo>
                  <a:lnTo>
                    <a:pt x="898" y="1703"/>
                  </a:lnTo>
                  <a:lnTo>
                    <a:pt x="898" y="1703"/>
                  </a:lnTo>
                  <a:lnTo>
                    <a:pt x="898" y="1702"/>
                  </a:lnTo>
                  <a:lnTo>
                    <a:pt x="898" y="1702"/>
                  </a:lnTo>
                  <a:lnTo>
                    <a:pt x="897" y="1702"/>
                  </a:lnTo>
                  <a:lnTo>
                    <a:pt x="894" y="1702"/>
                  </a:lnTo>
                  <a:lnTo>
                    <a:pt x="891" y="1702"/>
                  </a:lnTo>
                  <a:lnTo>
                    <a:pt x="888" y="1702"/>
                  </a:lnTo>
                  <a:lnTo>
                    <a:pt x="887" y="1702"/>
                  </a:lnTo>
                  <a:lnTo>
                    <a:pt x="884" y="1702"/>
                  </a:lnTo>
                  <a:lnTo>
                    <a:pt x="881" y="1700"/>
                  </a:lnTo>
                  <a:lnTo>
                    <a:pt x="880" y="1697"/>
                  </a:lnTo>
                  <a:lnTo>
                    <a:pt x="878" y="1695"/>
                  </a:lnTo>
                  <a:lnTo>
                    <a:pt x="878" y="1693"/>
                  </a:lnTo>
                  <a:lnTo>
                    <a:pt x="877" y="1692"/>
                  </a:lnTo>
                  <a:lnTo>
                    <a:pt x="877" y="1690"/>
                  </a:lnTo>
                  <a:lnTo>
                    <a:pt x="877" y="1690"/>
                  </a:lnTo>
                  <a:lnTo>
                    <a:pt x="877" y="1689"/>
                  </a:lnTo>
                  <a:lnTo>
                    <a:pt x="875" y="1687"/>
                  </a:lnTo>
                  <a:lnTo>
                    <a:pt x="875" y="1686"/>
                  </a:lnTo>
                  <a:lnTo>
                    <a:pt x="875" y="1686"/>
                  </a:lnTo>
                  <a:lnTo>
                    <a:pt x="875" y="1685"/>
                  </a:lnTo>
                  <a:lnTo>
                    <a:pt x="874" y="1683"/>
                  </a:lnTo>
                  <a:lnTo>
                    <a:pt x="874" y="1683"/>
                  </a:lnTo>
                  <a:lnTo>
                    <a:pt x="874" y="1683"/>
                  </a:lnTo>
                  <a:lnTo>
                    <a:pt x="874" y="1682"/>
                  </a:lnTo>
                  <a:lnTo>
                    <a:pt x="873" y="1682"/>
                  </a:lnTo>
                  <a:lnTo>
                    <a:pt x="871" y="1682"/>
                  </a:lnTo>
                  <a:lnTo>
                    <a:pt x="870" y="1682"/>
                  </a:lnTo>
                  <a:lnTo>
                    <a:pt x="870" y="1682"/>
                  </a:lnTo>
                  <a:lnTo>
                    <a:pt x="870" y="1680"/>
                  </a:lnTo>
                  <a:lnTo>
                    <a:pt x="868" y="1682"/>
                  </a:lnTo>
                  <a:lnTo>
                    <a:pt x="867" y="1682"/>
                  </a:lnTo>
                  <a:lnTo>
                    <a:pt x="865" y="1682"/>
                  </a:lnTo>
                  <a:lnTo>
                    <a:pt x="864" y="1682"/>
                  </a:lnTo>
                  <a:lnTo>
                    <a:pt x="863" y="1682"/>
                  </a:lnTo>
                  <a:lnTo>
                    <a:pt x="861" y="1682"/>
                  </a:lnTo>
                  <a:lnTo>
                    <a:pt x="860" y="1682"/>
                  </a:lnTo>
                  <a:lnTo>
                    <a:pt x="858" y="1680"/>
                  </a:lnTo>
                  <a:lnTo>
                    <a:pt x="857" y="1680"/>
                  </a:lnTo>
                  <a:lnTo>
                    <a:pt x="855" y="1680"/>
                  </a:lnTo>
                  <a:lnTo>
                    <a:pt x="855" y="1680"/>
                  </a:lnTo>
                  <a:lnTo>
                    <a:pt x="855" y="1679"/>
                  </a:lnTo>
                  <a:lnTo>
                    <a:pt x="854" y="1679"/>
                  </a:lnTo>
                  <a:lnTo>
                    <a:pt x="853" y="1679"/>
                  </a:lnTo>
                  <a:lnTo>
                    <a:pt x="853" y="1677"/>
                  </a:lnTo>
                  <a:lnTo>
                    <a:pt x="848" y="1677"/>
                  </a:lnTo>
                  <a:lnTo>
                    <a:pt x="848" y="1676"/>
                  </a:lnTo>
                  <a:lnTo>
                    <a:pt x="847" y="1676"/>
                  </a:lnTo>
                  <a:lnTo>
                    <a:pt x="845" y="1676"/>
                  </a:lnTo>
                  <a:lnTo>
                    <a:pt x="845" y="1676"/>
                  </a:lnTo>
                  <a:lnTo>
                    <a:pt x="845" y="1677"/>
                  </a:lnTo>
                  <a:lnTo>
                    <a:pt x="844" y="1676"/>
                  </a:lnTo>
                  <a:lnTo>
                    <a:pt x="844" y="1677"/>
                  </a:lnTo>
                  <a:lnTo>
                    <a:pt x="844" y="1677"/>
                  </a:lnTo>
                  <a:lnTo>
                    <a:pt x="844" y="1679"/>
                  </a:lnTo>
                  <a:lnTo>
                    <a:pt x="844" y="1679"/>
                  </a:lnTo>
                  <a:lnTo>
                    <a:pt x="845" y="1680"/>
                  </a:lnTo>
                  <a:lnTo>
                    <a:pt x="847" y="1682"/>
                  </a:lnTo>
                  <a:lnTo>
                    <a:pt x="847" y="1683"/>
                  </a:lnTo>
                  <a:lnTo>
                    <a:pt x="845" y="1685"/>
                  </a:lnTo>
                  <a:lnTo>
                    <a:pt x="844" y="1686"/>
                  </a:lnTo>
                  <a:lnTo>
                    <a:pt x="844" y="1686"/>
                  </a:lnTo>
                  <a:lnTo>
                    <a:pt x="843" y="1686"/>
                  </a:lnTo>
                  <a:lnTo>
                    <a:pt x="843" y="1687"/>
                  </a:lnTo>
                  <a:lnTo>
                    <a:pt x="841" y="1687"/>
                  </a:lnTo>
                  <a:lnTo>
                    <a:pt x="841" y="1686"/>
                  </a:lnTo>
                  <a:lnTo>
                    <a:pt x="841" y="1687"/>
                  </a:lnTo>
                  <a:lnTo>
                    <a:pt x="841" y="1687"/>
                  </a:lnTo>
                  <a:lnTo>
                    <a:pt x="840" y="1689"/>
                  </a:lnTo>
                  <a:lnTo>
                    <a:pt x="840" y="1689"/>
                  </a:lnTo>
                  <a:lnTo>
                    <a:pt x="840" y="1689"/>
                  </a:lnTo>
                  <a:lnTo>
                    <a:pt x="840" y="1690"/>
                  </a:lnTo>
                  <a:lnTo>
                    <a:pt x="840" y="1690"/>
                  </a:lnTo>
                  <a:lnTo>
                    <a:pt x="840" y="1689"/>
                  </a:lnTo>
                  <a:lnTo>
                    <a:pt x="838" y="1689"/>
                  </a:lnTo>
                  <a:lnTo>
                    <a:pt x="840" y="1687"/>
                  </a:lnTo>
                  <a:lnTo>
                    <a:pt x="841" y="1685"/>
                  </a:lnTo>
                  <a:lnTo>
                    <a:pt x="843" y="1683"/>
                  </a:lnTo>
                  <a:lnTo>
                    <a:pt x="843" y="1683"/>
                  </a:lnTo>
                  <a:lnTo>
                    <a:pt x="843" y="1682"/>
                  </a:lnTo>
                  <a:lnTo>
                    <a:pt x="843" y="1680"/>
                  </a:lnTo>
                  <a:lnTo>
                    <a:pt x="841" y="1680"/>
                  </a:lnTo>
                  <a:lnTo>
                    <a:pt x="841" y="1680"/>
                  </a:lnTo>
                  <a:lnTo>
                    <a:pt x="840" y="1680"/>
                  </a:lnTo>
                  <a:lnTo>
                    <a:pt x="840" y="1682"/>
                  </a:lnTo>
                  <a:lnTo>
                    <a:pt x="840" y="1682"/>
                  </a:lnTo>
                  <a:lnTo>
                    <a:pt x="840" y="1685"/>
                  </a:lnTo>
                  <a:lnTo>
                    <a:pt x="840" y="1685"/>
                  </a:lnTo>
                  <a:lnTo>
                    <a:pt x="840" y="1685"/>
                  </a:lnTo>
                  <a:lnTo>
                    <a:pt x="838" y="1685"/>
                  </a:lnTo>
                  <a:lnTo>
                    <a:pt x="838" y="1686"/>
                  </a:lnTo>
                  <a:lnTo>
                    <a:pt x="838" y="1687"/>
                  </a:lnTo>
                  <a:lnTo>
                    <a:pt x="838" y="1687"/>
                  </a:lnTo>
                  <a:lnTo>
                    <a:pt x="837" y="1687"/>
                  </a:lnTo>
                  <a:lnTo>
                    <a:pt x="837" y="1689"/>
                  </a:lnTo>
                  <a:lnTo>
                    <a:pt x="837" y="1690"/>
                  </a:lnTo>
                  <a:lnTo>
                    <a:pt x="837" y="1692"/>
                  </a:lnTo>
                  <a:lnTo>
                    <a:pt x="835" y="1692"/>
                  </a:lnTo>
                  <a:lnTo>
                    <a:pt x="834" y="1692"/>
                  </a:lnTo>
                  <a:lnTo>
                    <a:pt x="833" y="1692"/>
                  </a:lnTo>
                  <a:lnTo>
                    <a:pt x="834" y="1692"/>
                  </a:lnTo>
                  <a:lnTo>
                    <a:pt x="834" y="1692"/>
                  </a:lnTo>
                  <a:lnTo>
                    <a:pt x="834" y="1692"/>
                  </a:lnTo>
                  <a:lnTo>
                    <a:pt x="835" y="1689"/>
                  </a:lnTo>
                  <a:lnTo>
                    <a:pt x="835" y="1686"/>
                  </a:lnTo>
                  <a:lnTo>
                    <a:pt x="835" y="1686"/>
                  </a:lnTo>
                  <a:lnTo>
                    <a:pt x="831" y="1689"/>
                  </a:lnTo>
                  <a:lnTo>
                    <a:pt x="828" y="1689"/>
                  </a:lnTo>
                  <a:lnTo>
                    <a:pt x="828" y="1690"/>
                  </a:lnTo>
                  <a:lnTo>
                    <a:pt x="828" y="1692"/>
                  </a:lnTo>
                  <a:lnTo>
                    <a:pt x="828" y="1692"/>
                  </a:lnTo>
                  <a:lnTo>
                    <a:pt x="828" y="1693"/>
                  </a:lnTo>
                  <a:lnTo>
                    <a:pt x="828" y="1693"/>
                  </a:lnTo>
                  <a:lnTo>
                    <a:pt x="827" y="1696"/>
                  </a:lnTo>
                  <a:lnTo>
                    <a:pt x="827" y="1696"/>
                  </a:lnTo>
                  <a:lnTo>
                    <a:pt x="827" y="1697"/>
                  </a:lnTo>
                  <a:lnTo>
                    <a:pt x="826" y="1697"/>
                  </a:lnTo>
                  <a:lnTo>
                    <a:pt x="826" y="1699"/>
                  </a:lnTo>
                  <a:lnTo>
                    <a:pt x="824" y="1700"/>
                  </a:lnTo>
                  <a:lnTo>
                    <a:pt x="823" y="1700"/>
                  </a:lnTo>
                  <a:lnTo>
                    <a:pt x="820" y="1700"/>
                  </a:lnTo>
                  <a:lnTo>
                    <a:pt x="818" y="1700"/>
                  </a:lnTo>
                  <a:lnTo>
                    <a:pt x="817" y="1700"/>
                  </a:lnTo>
                  <a:lnTo>
                    <a:pt x="816" y="1699"/>
                  </a:lnTo>
                  <a:lnTo>
                    <a:pt x="814" y="1697"/>
                  </a:lnTo>
                  <a:lnTo>
                    <a:pt x="811" y="1697"/>
                  </a:lnTo>
                  <a:lnTo>
                    <a:pt x="807" y="1697"/>
                  </a:lnTo>
                  <a:lnTo>
                    <a:pt x="804" y="1697"/>
                  </a:lnTo>
                  <a:lnTo>
                    <a:pt x="804" y="1697"/>
                  </a:lnTo>
                  <a:lnTo>
                    <a:pt x="803" y="1696"/>
                  </a:lnTo>
                  <a:lnTo>
                    <a:pt x="801" y="1696"/>
                  </a:lnTo>
                  <a:lnTo>
                    <a:pt x="800" y="1696"/>
                  </a:lnTo>
                  <a:lnTo>
                    <a:pt x="797" y="1697"/>
                  </a:lnTo>
                  <a:lnTo>
                    <a:pt x="794" y="1699"/>
                  </a:lnTo>
                  <a:lnTo>
                    <a:pt x="791" y="1699"/>
                  </a:lnTo>
                  <a:lnTo>
                    <a:pt x="790" y="1697"/>
                  </a:lnTo>
                  <a:lnTo>
                    <a:pt x="787" y="1696"/>
                  </a:lnTo>
                  <a:lnTo>
                    <a:pt x="784" y="1693"/>
                  </a:lnTo>
                  <a:lnTo>
                    <a:pt x="781" y="1692"/>
                  </a:lnTo>
                  <a:lnTo>
                    <a:pt x="780" y="1693"/>
                  </a:lnTo>
                  <a:lnTo>
                    <a:pt x="778" y="1693"/>
                  </a:lnTo>
                  <a:lnTo>
                    <a:pt x="777" y="1693"/>
                  </a:lnTo>
                  <a:lnTo>
                    <a:pt x="777" y="1692"/>
                  </a:lnTo>
                  <a:lnTo>
                    <a:pt x="776" y="1690"/>
                  </a:lnTo>
                  <a:lnTo>
                    <a:pt x="774" y="1689"/>
                  </a:lnTo>
                  <a:lnTo>
                    <a:pt x="773" y="1687"/>
                  </a:lnTo>
                  <a:lnTo>
                    <a:pt x="771" y="1686"/>
                  </a:lnTo>
                  <a:lnTo>
                    <a:pt x="768" y="1686"/>
                  </a:lnTo>
                  <a:lnTo>
                    <a:pt x="767" y="1686"/>
                  </a:lnTo>
                  <a:lnTo>
                    <a:pt x="766" y="1686"/>
                  </a:lnTo>
                  <a:lnTo>
                    <a:pt x="764" y="1685"/>
                  </a:lnTo>
                  <a:lnTo>
                    <a:pt x="763" y="1686"/>
                  </a:lnTo>
                  <a:lnTo>
                    <a:pt x="763" y="1686"/>
                  </a:lnTo>
                  <a:lnTo>
                    <a:pt x="763" y="1686"/>
                  </a:lnTo>
                  <a:lnTo>
                    <a:pt x="763" y="1686"/>
                  </a:lnTo>
                  <a:lnTo>
                    <a:pt x="761" y="1687"/>
                  </a:lnTo>
                  <a:lnTo>
                    <a:pt x="758" y="1687"/>
                  </a:lnTo>
                  <a:lnTo>
                    <a:pt x="757" y="1687"/>
                  </a:lnTo>
                  <a:lnTo>
                    <a:pt x="756" y="1687"/>
                  </a:lnTo>
                  <a:lnTo>
                    <a:pt x="754" y="1686"/>
                  </a:lnTo>
                  <a:lnTo>
                    <a:pt x="751" y="1685"/>
                  </a:lnTo>
                  <a:lnTo>
                    <a:pt x="746" y="1683"/>
                  </a:lnTo>
                  <a:lnTo>
                    <a:pt x="743" y="1683"/>
                  </a:lnTo>
                  <a:lnTo>
                    <a:pt x="741" y="1682"/>
                  </a:lnTo>
                  <a:lnTo>
                    <a:pt x="741" y="1680"/>
                  </a:lnTo>
                  <a:lnTo>
                    <a:pt x="741" y="1679"/>
                  </a:lnTo>
                  <a:lnTo>
                    <a:pt x="741" y="1679"/>
                  </a:lnTo>
                  <a:lnTo>
                    <a:pt x="740" y="1676"/>
                  </a:lnTo>
                  <a:lnTo>
                    <a:pt x="738" y="1673"/>
                  </a:lnTo>
                  <a:lnTo>
                    <a:pt x="738" y="1670"/>
                  </a:lnTo>
                  <a:lnTo>
                    <a:pt x="738" y="1669"/>
                  </a:lnTo>
                  <a:lnTo>
                    <a:pt x="738" y="1669"/>
                  </a:lnTo>
                  <a:lnTo>
                    <a:pt x="737" y="1667"/>
                  </a:lnTo>
                  <a:lnTo>
                    <a:pt x="734" y="1667"/>
                  </a:lnTo>
                  <a:lnTo>
                    <a:pt x="734" y="1672"/>
                  </a:lnTo>
                  <a:lnTo>
                    <a:pt x="734" y="1676"/>
                  </a:lnTo>
                  <a:lnTo>
                    <a:pt x="730" y="1676"/>
                  </a:lnTo>
                  <a:lnTo>
                    <a:pt x="723" y="1676"/>
                  </a:lnTo>
                  <a:lnTo>
                    <a:pt x="716" y="1676"/>
                  </a:lnTo>
                  <a:lnTo>
                    <a:pt x="710" y="1676"/>
                  </a:lnTo>
                  <a:lnTo>
                    <a:pt x="703" y="1676"/>
                  </a:lnTo>
                  <a:lnTo>
                    <a:pt x="696" y="1676"/>
                  </a:lnTo>
                  <a:lnTo>
                    <a:pt x="689" y="1676"/>
                  </a:lnTo>
                  <a:lnTo>
                    <a:pt x="681" y="1676"/>
                  </a:lnTo>
                  <a:lnTo>
                    <a:pt x="676" y="1676"/>
                  </a:lnTo>
                  <a:lnTo>
                    <a:pt x="669" y="1676"/>
                  </a:lnTo>
                  <a:lnTo>
                    <a:pt x="661" y="1676"/>
                  </a:lnTo>
                  <a:lnTo>
                    <a:pt x="654" y="1676"/>
                  </a:lnTo>
                  <a:lnTo>
                    <a:pt x="647" y="1676"/>
                  </a:lnTo>
                  <a:lnTo>
                    <a:pt x="641" y="1676"/>
                  </a:lnTo>
                  <a:lnTo>
                    <a:pt x="634" y="1676"/>
                  </a:lnTo>
                  <a:lnTo>
                    <a:pt x="627" y="1676"/>
                  </a:lnTo>
                  <a:lnTo>
                    <a:pt x="620" y="1676"/>
                  </a:lnTo>
                  <a:lnTo>
                    <a:pt x="613" y="1676"/>
                  </a:lnTo>
                  <a:lnTo>
                    <a:pt x="607" y="1676"/>
                  </a:lnTo>
                  <a:lnTo>
                    <a:pt x="600" y="1676"/>
                  </a:lnTo>
                  <a:lnTo>
                    <a:pt x="593" y="1676"/>
                  </a:lnTo>
                  <a:lnTo>
                    <a:pt x="586" y="1676"/>
                  </a:lnTo>
                  <a:lnTo>
                    <a:pt x="580" y="1676"/>
                  </a:lnTo>
                  <a:lnTo>
                    <a:pt x="573" y="1676"/>
                  </a:lnTo>
                  <a:lnTo>
                    <a:pt x="566" y="1676"/>
                  </a:lnTo>
                  <a:lnTo>
                    <a:pt x="559" y="1676"/>
                  </a:lnTo>
                  <a:lnTo>
                    <a:pt x="552" y="1676"/>
                  </a:lnTo>
                  <a:lnTo>
                    <a:pt x="546" y="1676"/>
                  </a:lnTo>
                  <a:lnTo>
                    <a:pt x="539" y="1676"/>
                  </a:lnTo>
                  <a:lnTo>
                    <a:pt x="532" y="1676"/>
                  </a:lnTo>
                  <a:lnTo>
                    <a:pt x="525" y="1676"/>
                  </a:lnTo>
                  <a:lnTo>
                    <a:pt x="517" y="1676"/>
                  </a:lnTo>
                  <a:lnTo>
                    <a:pt x="512" y="1676"/>
                  </a:lnTo>
                  <a:lnTo>
                    <a:pt x="505" y="1676"/>
                  </a:lnTo>
                  <a:lnTo>
                    <a:pt x="497" y="1676"/>
                  </a:lnTo>
                  <a:lnTo>
                    <a:pt x="490" y="1676"/>
                  </a:lnTo>
                  <a:lnTo>
                    <a:pt x="485" y="1676"/>
                  </a:lnTo>
                  <a:lnTo>
                    <a:pt x="477" y="1676"/>
                  </a:lnTo>
                  <a:lnTo>
                    <a:pt x="470" y="1676"/>
                  </a:lnTo>
                  <a:lnTo>
                    <a:pt x="463" y="1676"/>
                  </a:lnTo>
                  <a:lnTo>
                    <a:pt x="456" y="1676"/>
                  </a:lnTo>
                  <a:lnTo>
                    <a:pt x="450" y="1676"/>
                  </a:lnTo>
                  <a:lnTo>
                    <a:pt x="443" y="1676"/>
                  </a:lnTo>
                  <a:lnTo>
                    <a:pt x="436" y="1676"/>
                  </a:lnTo>
                  <a:lnTo>
                    <a:pt x="429" y="1676"/>
                  </a:lnTo>
                  <a:lnTo>
                    <a:pt x="422" y="1676"/>
                  </a:lnTo>
                  <a:lnTo>
                    <a:pt x="416" y="1676"/>
                  </a:lnTo>
                  <a:lnTo>
                    <a:pt x="409" y="1676"/>
                  </a:lnTo>
                  <a:lnTo>
                    <a:pt x="402" y="1676"/>
                  </a:lnTo>
                  <a:lnTo>
                    <a:pt x="395" y="1676"/>
                  </a:lnTo>
                  <a:lnTo>
                    <a:pt x="389" y="1676"/>
                  </a:lnTo>
                  <a:lnTo>
                    <a:pt x="382" y="1676"/>
                  </a:lnTo>
                  <a:lnTo>
                    <a:pt x="375" y="1676"/>
                  </a:lnTo>
                  <a:lnTo>
                    <a:pt x="368" y="1676"/>
                  </a:lnTo>
                  <a:lnTo>
                    <a:pt x="360" y="1676"/>
                  </a:lnTo>
                  <a:lnTo>
                    <a:pt x="355" y="1676"/>
                  </a:lnTo>
                  <a:lnTo>
                    <a:pt x="348" y="1676"/>
                  </a:lnTo>
                  <a:lnTo>
                    <a:pt x="341" y="1676"/>
                  </a:lnTo>
                  <a:lnTo>
                    <a:pt x="333" y="1676"/>
                  </a:lnTo>
                  <a:lnTo>
                    <a:pt x="326" y="1676"/>
                  </a:lnTo>
                  <a:lnTo>
                    <a:pt x="321" y="1676"/>
                  </a:lnTo>
                  <a:lnTo>
                    <a:pt x="313" y="1676"/>
                  </a:lnTo>
                  <a:lnTo>
                    <a:pt x="306" y="1676"/>
                  </a:lnTo>
                  <a:lnTo>
                    <a:pt x="299" y="1676"/>
                  </a:lnTo>
                  <a:lnTo>
                    <a:pt x="293" y="1676"/>
                  </a:lnTo>
                  <a:lnTo>
                    <a:pt x="291" y="1676"/>
                  </a:lnTo>
                  <a:lnTo>
                    <a:pt x="291" y="1676"/>
                  </a:lnTo>
                  <a:lnTo>
                    <a:pt x="289" y="1675"/>
                  </a:lnTo>
                  <a:lnTo>
                    <a:pt x="288" y="1675"/>
                  </a:lnTo>
                  <a:lnTo>
                    <a:pt x="288" y="1675"/>
                  </a:lnTo>
                  <a:lnTo>
                    <a:pt x="288" y="1675"/>
                  </a:lnTo>
                  <a:lnTo>
                    <a:pt x="286" y="1676"/>
                  </a:lnTo>
                  <a:lnTo>
                    <a:pt x="286" y="1677"/>
                  </a:lnTo>
                  <a:lnTo>
                    <a:pt x="286" y="1676"/>
                  </a:lnTo>
                  <a:lnTo>
                    <a:pt x="286" y="1676"/>
                  </a:lnTo>
                  <a:lnTo>
                    <a:pt x="286" y="1675"/>
                  </a:lnTo>
                  <a:lnTo>
                    <a:pt x="286" y="1675"/>
                  </a:lnTo>
                  <a:lnTo>
                    <a:pt x="286" y="1673"/>
                  </a:lnTo>
                  <a:lnTo>
                    <a:pt x="286" y="1673"/>
                  </a:lnTo>
                  <a:lnTo>
                    <a:pt x="285" y="1673"/>
                  </a:lnTo>
                  <a:lnTo>
                    <a:pt x="285" y="1673"/>
                  </a:lnTo>
                  <a:lnTo>
                    <a:pt x="285" y="1673"/>
                  </a:lnTo>
                  <a:lnTo>
                    <a:pt x="285" y="1670"/>
                  </a:lnTo>
                  <a:lnTo>
                    <a:pt x="283" y="1670"/>
                  </a:lnTo>
                  <a:lnTo>
                    <a:pt x="285" y="1669"/>
                  </a:lnTo>
                  <a:lnTo>
                    <a:pt x="286" y="1669"/>
                  </a:lnTo>
                  <a:lnTo>
                    <a:pt x="289" y="1669"/>
                  </a:lnTo>
                  <a:lnTo>
                    <a:pt x="289" y="1669"/>
                  </a:lnTo>
                  <a:lnTo>
                    <a:pt x="289" y="1666"/>
                  </a:lnTo>
                  <a:lnTo>
                    <a:pt x="288" y="1669"/>
                  </a:lnTo>
                  <a:lnTo>
                    <a:pt x="288" y="1669"/>
                  </a:lnTo>
                  <a:lnTo>
                    <a:pt x="285" y="1667"/>
                  </a:lnTo>
                  <a:lnTo>
                    <a:pt x="283" y="1667"/>
                  </a:lnTo>
                  <a:lnTo>
                    <a:pt x="283" y="1667"/>
                  </a:lnTo>
                  <a:lnTo>
                    <a:pt x="283" y="1667"/>
                  </a:lnTo>
                  <a:lnTo>
                    <a:pt x="283" y="1666"/>
                  </a:lnTo>
                  <a:lnTo>
                    <a:pt x="283" y="1666"/>
                  </a:lnTo>
                  <a:lnTo>
                    <a:pt x="283" y="1662"/>
                  </a:lnTo>
                  <a:lnTo>
                    <a:pt x="285" y="1660"/>
                  </a:lnTo>
                  <a:lnTo>
                    <a:pt x="285" y="1660"/>
                  </a:lnTo>
                  <a:lnTo>
                    <a:pt x="285" y="1659"/>
                  </a:lnTo>
                  <a:lnTo>
                    <a:pt x="282" y="1662"/>
                  </a:lnTo>
                  <a:lnTo>
                    <a:pt x="282" y="1663"/>
                  </a:lnTo>
                  <a:lnTo>
                    <a:pt x="282" y="1663"/>
                  </a:lnTo>
                  <a:lnTo>
                    <a:pt x="282" y="1665"/>
                  </a:lnTo>
                  <a:lnTo>
                    <a:pt x="282" y="1666"/>
                  </a:lnTo>
                  <a:lnTo>
                    <a:pt x="281" y="1665"/>
                  </a:lnTo>
                  <a:lnTo>
                    <a:pt x="279" y="1666"/>
                  </a:lnTo>
                  <a:lnTo>
                    <a:pt x="279" y="1666"/>
                  </a:lnTo>
                  <a:lnTo>
                    <a:pt x="273" y="1665"/>
                  </a:lnTo>
                  <a:lnTo>
                    <a:pt x="273" y="1665"/>
                  </a:lnTo>
                  <a:lnTo>
                    <a:pt x="272" y="1663"/>
                  </a:lnTo>
                  <a:lnTo>
                    <a:pt x="271" y="1662"/>
                  </a:lnTo>
                  <a:lnTo>
                    <a:pt x="271" y="1660"/>
                  </a:lnTo>
                  <a:lnTo>
                    <a:pt x="271" y="1659"/>
                  </a:lnTo>
                  <a:lnTo>
                    <a:pt x="272" y="1657"/>
                  </a:lnTo>
                  <a:lnTo>
                    <a:pt x="272" y="1657"/>
                  </a:lnTo>
                  <a:lnTo>
                    <a:pt x="273" y="1659"/>
                  </a:lnTo>
                  <a:lnTo>
                    <a:pt x="273" y="1660"/>
                  </a:lnTo>
                  <a:lnTo>
                    <a:pt x="275" y="1662"/>
                  </a:lnTo>
                  <a:lnTo>
                    <a:pt x="276" y="1662"/>
                  </a:lnTo>
                  <a:lnTo>
                    <a:pt x="278" y="1660"/>
                  </a:lnTo>
                  <a:lnTo>
                    <a:pt x="278" y="1659"/>
                  </a:lnTo>
                  <a:lnTo>
                    <a:pt x="276" y="1660"/>
                  </a:lnTo>
                  <a:lnTo>
                    <a:pt x="275" y="1660"/>
                  </a:lnTo>
                  <a:lnTo>
                    <a:pt x="275" y="1659"/>
                  </a:lnTo>
                  <a:lnTo>
                    <a:pt x="273" y="1657"/>
                  </a:lnTo>
                  <a:lnTo>
                    <a:pt x="273" y="1656"/>
                  </a:lnTo>
                  <a:lnTo>
                    <a:pt x="273" y="1652"/>
                  </a:lnTo>
                  <a:lnTo>
                    <a:pt x="273" y="1652"/>
                  </a:lnTo>
                  <a:lnTo>
                    <a:pt x="275" y="1650"/>
                  </a:lnTo>
                  <a:lnTo>
                    <a:pt x="275" y="1649"/>
                  </a:lnTo>
                  <a:lnTo>
                    <a:pt x="275" y="1649"/>
                  </a:lnTo>
                  <a:lnTo>
                    <a:pt x="275" y="1647"/>
                  </a:lnTo>
                  <a:lnTo>
                    <a:pt x="273" y="1647"/>
                  </a:lnTo>
                  <a:lnTo>
                    <a:pt x="273" y="1647"/>
                  </a:lnTo>
                  <a:lnTo>
                    <a:pt x="272" y="1647"/>
                  </a:lnTo>
                  <a:lnTo>
                    <a:pt x="273" y="1649"/>
                  </a:lnTo>
                  <a:lnTo>
                    <a:pt x="273" y="1650"/>
                  </a:lnTo>
                  <a:lnTo>
                    <a:pt x="272" y="1652"/>
                  </a:lnTo>
                  <a:lnTo>
                    <a:pt x="272" y="1652"/>
                  </a:lnTo>
                  <a:lnTo>
                    <a:pt x="272" y="1655"/>
                  </a:lnTo>
                  <a:lnTo>
                    <a:pt x="272" y="1655"/>
                  </a:lnTo>
                  <a:lnTo>
                    <a:pt x="271" y="1655"/>
                  </a:lnTo>
                  <a:lnTo>
                    <a:pt x="269" y="1657"/>
                  </a:lnTo>
                  <a:lnTo>
                    <a:pt x="268" y="1657"/>
                  </a:lnTo>
                  <a:lnTo>
                    <a:pt x="265" y="1657"/>
                  </a:lnTo>
                  <a:lnTo>
                    <a:pt x="263" y="1656"/>
                  </a:lnTo>
                  <a:lnTo>
                    <a:pt x="261" y="1653"/>
                  </a:lnTo>
                  <a:lnTo>
                    <a:pt x="259" y="1652"/>
                  </a:lnTo>
                  <a:lnTo>
                    <a:pt x="259" y="1650"/>
                  </a:lnTo>
                  <a:lnTo>
                    <a:pt x="256" y="1645"/>
                  </a:lnTo>
                  <a:lnTo>
                    <a:pt x="256" y="1645"/>
                  </a:lnTo>
                  <a:lnTo>
                    <a:pt x="256" y="1643"/>
                  </a:lnTo>
                  <a:lnTo>
                    <a:pt x="255" y="1643"/>
                  </a:lnTo>
                  <a:lnTo>
                    <a:pt x="255" y="1642"/>
                  </a:lnTo>
                  <a:lnTo>
                    <a:pt x="256" y="1639"/>
                  </a:lnTo>
                  <a:lnTo>
                    <a:pt x="258" y="1636"/>
                  </a:lnTo>
                  <a:lnTo>
                    <a:pt x="258" y="1635"/>
                  </a:lnTo>
                  <a:lnTo>
                    <a:pt x="258" y="1633"/>
                  </a:lnTo>
                  <a:lnTo>
                    <a:pt x="258" y="1630"/>
                  </a:lnTo>
                  <a:lnTo>
                    <a:pt x="258" y="1630"/>
                  </a:lnTo>
                  <a:lnTo>
                    <a:pt x="256" y="1632"/>
                  </a:lnTo>
                  <a:lnTo>
                    <a:pt x="256" y="1632"/>
                  </a:lnTo>
                  <a:lnTo>
                    <a:pt x="256" y="1633"/>
                  </a:lnTo>
                  <a:lnTo>
                    <a:pt x="256" y="1635"/>
                  </a:lnTo>
                  <a:lnTo>
                    <a:pt x="256" y="1637"/>
                  </a:lnTo>
                  <a:lnTo>
                    <a:pt x="255" y="1639"/>
                  </a:lnTo>
                  <a:lnTo>
                    <a:pt x="252" y="1640"/>
                  </a:lnTo>
                  <a:lnTo>
                    <a:pt x="248" y="1639"/>
                  </a:lnTo>
                  <a:lnTo>
                    <a:pt x="248" y="1639"/>
                  </a:lnTo>
                  <a:lnTo>
                    <a:pt x="248" y="1639"/>
                  </a:lnTo>
                  <a:lnTo>
                    <a:pt x="246" y="1636"/>
                  </a:lnTo>
                  <a:lnTo>
                    <a:pt x="246" y="1636"/>
                  </a:lnTo>
                  <a:lnTo>
                    <a:pt x="246" y="1637"/>
                  </a:lnTo>
                  <a:lnTo>
                    <a:pt x="246" y="1639"/>
                  </a:lnTo>
                  <a:lnTo>
                    <a:pt x="245" y="1640"/>
                  </a:lnTo>
                  <a:lnTo>
                    <a:pt x="245" y="1640"/>
                  </a:lnTo>
                  <a:lnTo>
                    <a:pt x="244" y="1640"/>
                  </a:lnTo>
                  <a:lnTo>
                    <a:pt x="244" y="1639"/>
                  </a:lnTo>
                  <a:lnTo>
                    <a:pt x="242" y="1639"/>
                  </a:lnTo>
                  <a:lnTo>
                    <a:pt x="241" y="1639"/>
                  </a:lnTo>
                  <a:lnTo>
                    <a:pt x="239" y="1639"/>
                  </a:lnTo>
                  <a:lnTo>
                    <a:pt x="238" y="1639"/>
                  </a:lnTo>
                  <a:lnTo>
                    <a:pt x="236" y="1639"/>
                  </a:lnTo>
                  <a:lnTo>
                    <a:pt x="234" y="1639"/>
                  </a:lnTo>
                  <a:lnTo>
                    <a:pt x="232" y="1637"/>
                  </a:lnTo>
                  <a:lnTo>
                    <a:pt x="232" y="1637"/>
                  </a:lnTo>
                  <a:lnTo>
                    <a:pt x="234" y="1636"/>
                  </a:lnTo>
                  <a:lnTo>
                    <a:pt x="236" y="1636"/>
                  </a:lnTo>
                  <a:lnTo>
                    <a:pt x="239" y="1635"/>
                  </a:lnTo>
                  <a:lnTo>
                    <a:pt x="241" y="1635"/>
                  </a:lnTo>
                  <a:lnTo>
                    <a:pt x="241" y="1635"/>
                  </a:lnTo>
                  <a:lnTo>
                    <a:pt x="241" y="1633"/>
                  </a:lnTo>
                  <a:lnTo>
                    <a:pt x="234" y="1635"/>
                  </a:lnTo>
                  <a:lnTo>
                    <a:pt x="232" y="1635"/>
                  </a:lnTo>
                  <a:lnTo>
                    <a:pt x="232" y="1635"/>
                  </a:lnTo>
                  <a:lnTo>
                    <a:pt x="232" y="1633"/>
                  </a:lnTo>
                  <a:lnTo>
                    <a:pt x="232" y="1632"/>
                  </a:lnTo>
                  <a:lnTo>
                    <a:pt x="234" y="1632"/>
                  </a:lnTo>
                  <a:lnTo>
                    <a:pt x="234" y="1630"/>
                  </a:lnTo>
                  <a:lnTo>
                    <a:pt x="234" y="1630"/>
                  </a:lnTo>
                  <a:lnTo>
                    <a:pt x="232" y="1630"/>
                  </a:lnTo>
                  <a:lnTo>
                    <a:pt x="231" y="1630"/>
                  </a:lnTo>
                  <a:lnTo>
                    <a:pt x="232" y="1627"/>
                  </a:lnTo>
                  <a:lnTo>
                    <a:pt x="232" y="1625"/>
                  </a:lnTo>
                  <a:lnTo>
                    <a:pt x="231" y="1627"/>
                  </a:lnTo>
                  <a:lnTo>
                    <a:pt x="229" y="1629"/>
                  </a:lnTo>
                  <a:lnTo>
                    <a:pt x="225" y="1629"/>
                  </a:lnTo>
                  <a:lnTo>
                    <a:pt x="224" y="1630"/>
                  </a:lnTo>
                  <a:lnTo>
                    <a:pt x="222" y="1630"/>
                  </a:lnTo>
                  <a:lnTo>
                    <a:pt x="219" y="1629"/>
                  </a:lnTo>
                  <a:lnTo>
                    <a:pt x="218" y="1627"/>
                  </a:lnTo>
                  <a:lnTo>
                    <a:pt x="216" y="1627"/>
                  </a:lnTo>
                  <a:lnTo>
                    <a:pt x="214" y="1625"/>
                  </a:lnTo>
                  <a:lnTo>
                    <a:pt x="212" y="1623"/>
                  </a:lnTo>
                  <a:lnTo>
                    <a:pt x="212" y="1620"/>
                  </a:lnTo>
                  <a:lnTo>
                    <a:pt x="212" y="1617"/>
                  </a:lnTo>
                  <a:lnTo>
                    <a:pt x="214" y="1616"/>
                  </a:lnTo>
                  <a:lnTo>
                    <a:pt x="216" y="1610"/>
                  </a:lnTo>
                  <a:lnTo>
                    <a:pt x="218" y="1610"/>
                  </a:lnTo>
                  <a:lnTo>
                    <a:pt x="219" y="1610"/>
                  </a:lnTo>
                  <a:lnTo>
                    <a:pt x="224" y="1609"/>
                  </a:lnTo>
                  <a:lnTo>
                    <a:pt x="228" y="1609"/>
                  </a:lnTo>
                  <a:lnTo>
                    <a:pt x="229" y="1609"/>
                  </a:lnTo>
                  <a:lnTo>
                    <a:pt x="224" y="1607"/>
                  </a:lnTo>
                  <a:lnTo>
                    <a:pt x="218" y="1609"/>
                  </a:lnTo>
                  <a:lnTo>
                    <a:pt x="216" y="1609"/>
                  </a:lnTo>
                  <a:lnTo>
                    <a:pt x="215" y="1612"/>
                  </a:lnTo>
                  <a:lnTo>
                    <a:pt x="214" y="1613"/>
                  </a:lnTo>
                  <a:lnTo>
                    <a:pt x="214" y="1615"/>
                  </a:lnTo>
                  <a:lnTo>
                    <a:pt x="214" y="1615"/>
                  </a:lnTo>
                  <a:lnTo>
                    <a:pt x="212" y="1615"/>
                  </a:lnTo>
                  <a:lnTo>
                    <a:pt x="212" y="1613"/>
                  </a:lnTo>
                  <a:lnTo>
                    <a:pt x="212" y="1613"/>
                  </a:lnTo>
                  <a:lnTo>
                    <a:pt x="211" y="1612"/>
                  </a:lnTo>
                  <a:lnTo>
                    <a:pt x="211" y="1609"/>
                  </a:lnTo>
                  <a:lnTo>
                    <a:pt x="209" y="1606"/>
                  </a:lnTo>
                  <a:lnTo>
                    <a:pt x="209" y="1606"/>
                  </a:lnTo>
                  <a:lnTo>
                    <a:pt x="211" y="1605"/>
                  </a:lnTo>
                  <a:lnTo>
                    <a:pt x="212" y="1600"/>
                  </a:lnTo>
                  <a:lnTo>
                    <a:pt x="209" y="1602"/>
                  </a:lnTo>
                  <a:lnTo>
                    <a:pt x="211" y="1599"/>
                  </a:lnTo>
                  <a:lnTo>
                    <a:pt x="211" y="1596"/>
                  </a:lnTo>
                  <a:lnTo>
                    <a:pt x="214" y="1595"/>
                  </a:lnTo>
                  <a:lnTo>
                    <a:pt x="215" y="1593"/>
                  </a:lnTo>
                  <a:lnTo>
                    <a:pt x="216" y="1592"/>
                  </a:lnTo>
                  <a:lnTo>
                    <a:pt x="219" y="1590"/>
                  </a:lnTo>
                  <a:lnTo>
                    <a:pt x="221" y="1593"/>
                  </a:lnTo>
                  <a:lnTo>
                    <a:pt x="224" y="1593"/>
                  </a:lnTo>
                  <a:lnTo>
                    <a:pt x="225" y="1595"/>
                  </a:lnTo>
                  <a:lnTo>
                    <a:pt x="225" y="1596"/>
                  </a:lnTo>
                  <a:lnTo>
                    <a:pt x="226" y="1598"/>
                  </a:lnTo>
                  <a:lnTo>
                    <a:pt x="228" y="1599"/>
                  </a:lnTo>
                  <a:lnTo>
                    <a:pt x="228" y="1599"/>
                  </a:lnTo>
                  <a:lnTo>
                    <a:pt x="228" y="1598"/>
                  </a:lnTo>
                  <a:lnTo>
                    <a:pt x="225" y="1595"/>
                  </a:lnTo>
                  <a:lnTo>
                    <a:pt x="225" y="1593"/>
                  </a:lnTo>
                  <a:lnTo>
                    <a:pt x="225" y="1593"/>
                  </a:lnTo>
                  <a:lnTo>
                    <a:pt x="222" y="1592"/>
                  </a:lnTo>
                  <a:lnTo>
                    <a:pt x="221" y="1590"/>
                  </a:lnTo>
                  <a:lnTo>
                    <a:pt x="221" y="1589"/>
                  </a:lnTo>
                  <a:lnTo>
                    <a:pt x="221" y="1588"/>
                  </a:lnTo>
                  <a:lnTo>
                    <a:pt x="221" y="1586"/>
                  </a:lnTo>
                  <a:lnTo>
                    <a:pt x="224" y="1583"/>
                  </a:lnTo>
                  <a:lnTo>
                    <a:pt x="225" y="1582"/>
                  </a:lnTo>
                  <a:lnTo>
                    <a:pt x="225" y="1582"/>
                  </a:lnTo>
                  <a:lnTo>
                    <a:pt x="224" y="1580"/>
                  </a:lnTo>
                  <a:lnTo>
                    <a:pt x="224" y="1579"/>
                  </a:lnTo>
                  <a:lnTo>
                    <a:pt x="224" y="1579"/>
                  </a:lnTo>
                  <a:lnTo>
                    <a:pt x="224" y="1580"/>
                  </a:lnTo>
                  <a:lnTo>
                    <a:pt x="224" y="1582"/>
                  </a:lnTo>
                  <a:lnTo>
                    <a:pt x="224" y="1583"/>
                  </a:lnTo>
                  <a:lnTo>
                    <a:pt x="222" y="1583"/>
                  </a:lnTo>
                  <a:lnTo>
                    <a:pt x="222" y="1585"/>
                  </a:lnTo>
                  <a:lnTo>
                    <a:pt x="215" y="1592"/>
                  </a:lnTo>
                  <a:lnTo>
                    <a:pt x="215" y="1592"/>
                  </a:lnTo>
                  <a:lnTo>
                    <a:pt x="212" y="1593"/>
                  </a:lnTo>
                  <a:lnTo>
                    <a:pt x="211" y="1593"/>
                  </a:lnTo>
                  <a:lnTo>
                    <a:pt x="211" y="1595"/>
                  </a:lnTo>
                  <a:lnTo>
                    <a:pt x="209" y="1598"/>
                  </a:lnTo>
                  <a:lnTo>
                    <a:pt x="208" y="1602"/>
                  </a:lnTo>
                  <a:lnTo>
                    <a:pt x="206" y="1606"/>
                  </a:lnTo>
                  <a:lnTo>
                    <a:pt x="205" y="1600"/>
                  </a:lnTo>
                  <a:lnTo>
                    <a:pt x="202" y="1596"/>
                  </a:lnTo>
                  <a:lnTo>
                    <a:pt x="206" y="1593"/>
                  </a:lnTo>
                  <a:lnTo>
                    <a:pt x="208" y="1592"/>
                  </a:lnTo>
                  <a:lnTo>
                    <a:pt x="206" y="1590"/>
                  </a:lnTo>
                  <a:lnTo>
                    <a:pt x="206" y="1589"/>
                  </a:lnTo>
                  <a:lnTo>
                    <a:pt x="208" y="1588"/>
                  </a:lnTo>
                  <a:lnTo>
                    <a:pt x="209" y="1586"/>
                  </a:lnTo>
                  <a:lnTo>
                    <a:pt x="209" y="1586"/>
                  </a:lnTo>
                  <a:lnTo>
                    <a:pt x="206" y="1588"/>
                  </a:lnTo>
                  <a:lnTo>
                    <a:pt x="205" y="1590"/>
                  </a:lnTo>
                  <a:lnTo>
                    <a:pt x="204" y="1592"/>
                  </a:lnTo>
                  <a:lnTo>
                    <a:pt x="204" y="1592"/>
                  </a:lnTo>
                  <a:lnTo>
                    <a:pt x="204" y="1589"/>
                  </a:lnTo>
                  <a:lnTo>
                    <a:pt x="205" y="1585"/>
                  </a:lnTo>
                  <a:lnTo>
                    <a:pt x="205" y="1580"/>
                  </a:lnTo>
                  <a:lnTo>
                    <a:pt x="206" y="1579"/>
                  </a:lnTo>
                  <a:lnTo>
                    <a:pt x="206" y="1578"/>
                  </a:lnTo>
                  <a:lnTo>
                    <a:pt x="206" y="1578"/>
                  </a:lnTo>
                  <a:lnTo>
                    <a:pt x="202" y="1579"/>
                  </a:lnTo>
                  <a:lnTo>
                    <a:pt x="201" y="1578"/>
                  </a:lnTo>
                  <a:lnTo>
                    <a:pt x="199" y="1570"/>
                  </a:lnTo>
                  <a:lnTo>
                    <a:pt x="198" y="1568"/>
                  </a:lnTo>
                  <a:lnTo>
                    <a:pt x="194" y="1566"/>
                  </a:lnTo>
                  <a:lnTo>
                    <a:pt x="191" y="1565"/>
                  </a:lnTo>
                  <a:lnTo>
                    <a:pt x="189" y="1563"/>
                  </a:lnTo>
                  <a:lnTo>
                    <a:pt x="189" y="1560"/>
                  </a:lnTo>
                  <a:lnTo>
                    <a:pt x="189" y="1558"/>
                  </a:lnTo>
                  <a:lnTo>
                    <a:pt x="191" y="1556"/>
                  </a:lnTo>
                  <a:lnTo>
                    <a:pt x="192" y="1556"/>
                  </a:lnTo>
                  <a:lnTo>
                    <a:pt x="194" y="1556"/>
                  </a:lnTo>
                  <a:lnTo>
                    <a:pt x="194" y="1556"/>
                  </a:lnTo>
                  <a:lnTo>
                    <a:pt x="194" y="1559"/>
                  </a:lnTo>
                  <a:lnTo>
                    <a:pt x="195" y="1560"/>
                  </a:lnTo>
                  <a:lnTo>
                    <a:pt x="199" y="1563"/>
                  </a:lnTo>
                  <a:lnTo>
                    <a:pt x="201" y="1563"/>
                  </a:lnTo>
                  <a:lnTo>
                    <a:pt x="202" y="1562"/>
                  </a:lnTo>
                  <a:lnTo>
                    <a:pt x="204" y="1562"/>
                  </a:lnTo>
                  <a:lnTo>
                    <a:pt x="205" y="1563"/>
                  </a:lnTo>
                  <a:lnTo>
                    <a:pt x="206" y="1565"/>
                  </a:lnTo>
                  <a:lnTo>
                    <a:pt x="209" y="1568"/>
                  </a:lnTo>
                  <a:lnTo>
                    <a:pt x="208" y="1566"/>
                  </a:lnTo>
                  <a:lnTo>
                    <a:pt x="206" y="1563"/>
                  </a:lnTo>
                  <a:lnTo>
                    <a:pt x="205" y="1562"/>
                  </a:lnTo>
                  <a:lnTo>
                    <a:pt x="202" y="1562"/>
                  </a:lnTo>
                  <a:lnTo>
                    <a:pt x="201" y="1562"/>
                  </a:lnTo>
                  <a:lnTo>
                    <a:pt x="199" y="1562"/>
                  </a:lnTo>
                  <a:lnTo>
                    <a:pt x="198" y="1560"/>
                  </a:lnTo>
                  <a:lnTo>
                    <a:pt x="196" y="1560"/>
                  </a:lnTo>
                  <a:lnTo>
                    <a:pt x="195" y="1558"/>
                  </a:lnTo>
                  <a:lnTo>
                    <a:pt x="195" y="1556"/>
                  </a:lnTo>
                  <a:lnTo>
                    <a:pt x="195" y="1555"/>
                  </a:lnTo>
                  <a:lnTo>
                    <a:pt x="196" y="1553"/>
                  </a:lnTo>
                  <a:lnTo>
                    <a:pt x="196" y="1553"/>
                  </a:lnTo>
                  <a:lnTo>
                    <a:pt x="198" y="1552"/>
                  </a:lnTo>
                  <a:lnTo>
                    <a:pt x="199" y="1552"/>
                  </a:lnTo>
                  <a:lnTo>
                    <a:pt x="199" y="1552"/>
                  </a:lnTo>
                  <a:lnTo>
                    <a:pt x="198" y="1550"/>
                  </a:lnTo>
                  <a:lnTo>
                    <a:pt x="196" y="1550"/>
                  </a:lnTo>
                  <a:lnTo>
                    <a:pt x="194" y="1552"/>
                  </a:lnTo>
                  <a:lnTo>
                    <a:pt x="192" y="1552"/>
                  </a:lnTo>
                  <a:lnTo>
                    <a:pt x="192" y="1552"/>
                  </a:lnTo>
                  <a:lnTo>
                    <a:pt x="192" y="1552"/>
                  </a:lnTo>
                  <a:lnTo>
                    <a:pt x="191" y="1553"/>
                  </a:lnTo>
                  <a:lnTo>
                    <a:pt x="191" y="1553"/>
                  </a:lnTo>
                  <a:lnTo>
                    <a:pt x="188" y="1558"/>
                  </a:lnTo>
                  <a:lnTo>
                    <a:pt x="188" y="1559"/>
                  </a:lnTo>
                  <a:lnTo>
                    <a:pt x="188" y="1562"/>
                  </a:lnTo>
                  <a:lnTo>
                    <a:pt x="188" y="1563"/>
                  </a:lnTo>
                  <a:lnTo>
                    <a:pt x="186" y="1565"/>
                  </a:lnTo>
                  <a:lnTo>
                    <a:pt x="184" y="1565"/>
                  </a:lnTo>
                  <a:lnTo>
                    <a:pt x="182" y="1568"/>
                  </a:lnTo>
                  <a:lnTo>
                    <a:pt x="181" y="1566"/>
                  </a:lnTo>
                  <a:lnTo>
                    <a:pt x="178" y="1563"/>
                  </a:lnTo>
                  <a:lnTo>
                    <a:pt x="176" y="1560"/>
                  </a:lnTo>
                  <a:lnTo>
                    <a:pt x="175" y="1559"/>
                  </a:lnTo>
                  <a:lnTo>
                    <a:pt x="171" y="1558"/>
                  </a:lnTo>
                  <a:lnTo>
                    <a:pt x="171" y="1555"/>
                  </a:lnTo>
                  <a:lnTo>
                    <a:pt x="172" y="1552"/>
                  </a:lnTo>
                  <a:lnTo>
                    <a:pt x="174" y="1549"/>
                  </a:lnTo>
                  <a:lnTo>
                    <a:pt x="175" y="1545"/>
                  </a:lnTo>
                  <a:lnTo>
                    <a:pt x="175" y="1545"/>
                  </a:lnTo>
                  <a:lnTo>
                    <a:pt x="179" y="1543"/>
                  </a:lnTo>
                  <a:lnTo>
                    <a:pt x="182" y="1542"/>
                  </a:lnTo>
                  <a:lnTo>
                    <a:pt x="179" y="1542"/>
                  </a:lnTo>
                  <a:lnTo>
                    <a:pt x="178" y="1542"/>
                  </a:lnTo>
                  <a:lnTo>
                    <a:pt x="174" y="1543"/>
                  </a:lnTo>
                  <a:lnTo>
                    <a:pt x="171" y="1540"/>
                  </a:lnTo>
                  <a:lnTo>
                    <a:pt x="169" y="1538"/>
                  </a:lnTo>
                  <a:lnTo>
                    <a:pt x="169" y="1536"/>
                  </a:lnTo>
                  <a:lnTo>
                    <a:pt x="169" y="1535"/>
                  </a:lnTo>
                  <a:lnTo>
                    <a:pt x="169" y="1533"/>
                  </a:lnTo>
                  <a:lnTo>
                    <a:pt x="169" y="1530"/>
                  </a:lnTo>
                  <a:lnTo>
                    <a:pt x="169" y="1530"/>
                  </a:lnTo>
                  <a:lnTo>
                    <a:pt x="171" y="1529"/>
                  </a:lnTo>
                  <a:lnTo>
                    <a:pt x="172" y="1528"/>
                  </a:lnTo>
                  <a:lnTo>
                    <a:pt x="174" y="1525"/>
                  </a:lnTo>
                  <a:lnTo>
                    <a:pt x="174" y="1523"/>
                  </a:lnTo>
                  <a:lnTo>
                    <a:pt x="176" y="1518"/>
                  </a:lnTo>
                  <a:lnTo>
                    <a:pt x="178" y="1516"/>
                  </a:lnTo>
                  <a:lnTo>
                    <a:pt x="179" y="1512"/>
                  </a:lnTo>
                  <a:lnTo>
                    <a:pt x="182" y="1508"/>
                  </a:lnTo>
                  <a:lnTo>
                    <a:pt x="182" y="1508"/>
                  </a:lnTo>
                  <a:lnTo>
                    <a:pt x="181" y="1508"/>
                  </a:lnTo>
                  <a:lnTo>
                    <a:pt x="181" y="1508"/>
                  </a:lnTo>
                  <a:lnTo>
                    <a:pt x="179" y="1508"/>
                  </a:lnTo>
                  <a:lnTo>
                    <a:pt x="179" y="1506"/>
                  </a:lnTo>
                  <a:lnTo>
                    <a:pt x="179" y="1505"/>
                  </a:lnTo>
                  <a:lnTo>
                    <a:pt x="179" y="1505"/>
                  </a:lnTo>
                  <a:lnTo>
                    <a:pt x="178" y="1509"/>
                  </a:lnTo>
                  <a:lnTo>
                    <a:pt x="178" y="1512"/>
                  </a:lnTo>
                  <a:lnTo>
                    <a:pt x="178" y="1513"/>
                  </a:lnTo>
                  <a:lnTo>
                    <a:pt x="176" y="1518"/>
                  </a:lnTo>
                  <a:lnTo>
                    <a:pt x="175" y="1519"/>
                  </a:lnTo>
                  <a:lnTo>
                    <a:pt x="174" y="1518"/>
                  </a:lnTo>
                  <a:lnTo>
                    <a:pt x="175" y="1515"/>
                  </a:lnTo>
                  <a:lnTo>
                    <a:pt x="175" y="1513"/>
                  </a:lnTo>
                  <a:lnTo>
                    <a:pt x="176" y="1510"/>
                  </a:lnTo>
                  <a:lnTo>
                    <a:pt x="175" y="1508"/>
                  </a:lnTo>
                  <a:lnTo>
                    <a:pt x="175" y="1505"/>
                  </a:lnTo>
                  <a:lnTo>
                    <a:pt x="174" y="1502"/>
                  </a:lnTo>
                  <a:lnTo>
                    <a:pt x="174" y="1500"/>
                  </a:lnTo>
                  <a:lnTo>
                    <a:pt x="174" y="1499"/>
                  </a:lnTo>
                  <a:lnTo>
                    <a:pt x="175" y="1498"/>
                  </a:lnTo>
                  <a:lnTo>
                    <a:pt x="175" y="1495"/>
                  </a:lnTo>
                  <a:lnTo>
                    <a:pt x="175" y="1495"/>
                  </a:lnTo>
                  <a:lnTo>
                    <a:pt x="175" y="1493"/>
                  </a:lnTo>
                  <a:lnTo>
                    <a:pt x="175" y="1492"/>
                  </a:lnTo>
                  <a:lnTo>
                    <a:pt x="175" y="1490"/>
                  </a:lnTo>
                  <a:lnTo>
                    <a:pt x="174" y="1489"/>
                  </a:lnTo>
                  <a:lnTo>
                    <a:pt x="172" y="1489"/>
                  </a:lnTo>
                  <a:lnTo>
                    <a:pt x="169" y="1489"/>
                  </a:lnTo>
                  <a:lnTo>
                    <a:pt x="168" y="1485"/>
                  </a:lnTo>
                  <a:lnTo>
                    <a:pt x="165" y="1485"/>
                  </a:lnTo>
                  <a:lnTo>
                    <a:pt x="164" y="1482"/>
                  </a:lnTo>
                  <a:lnTo>
                    <a:pt x="161" y="1480"/>
                  </a:lnTo>
                  <a:lnTo>
                    <a:pt x="158" y="1480"/>
                  </a:lnTo>
                  <a:lnTo>
                    <a:pt x="157" y="1479"/>
                  </a:lnTo>
                  <a:lnTo>
                    <a:pt x="154" y="1478"/>
                  </a:lnTo>
                  <a:lnTo>
                    <a:pt x="152" y="1476"/>
                  </a:lnTo>
                  <a:lnTo>
                    <a:pt x="151" y="1475"/>
                  </a:lnTo>
                  <a:lnTo>
                    <a:pt x="149" y="1475"/>
                  </a:lnTo>
                  <a:lnTo>
                    <a:pt x="147" y="1475"/>
                  </a:lnTo>
                  <a:lnTo>
                    <a:pt x="147" y="1472"/>
                  </a:lnTo>
                  <a:lnTo>
                    <a:pt x="145" y="1470"/>
                  </a:lnTo>
                  <a:lnTo>
                    <a:pt x="145" y="1469"/>
                  </a:lnTo>
                  <a:lnTo>
                    <a:pt x="144" y="1468"/>
                  </a:lnTo>
                  <a:lnTo>
                    <a:pt x="142" y="1468"/>
                  </a:lnTo>
                  <a:lnTo>
                    <a:pt x="142" y="1465"/>
                  </a:lnTo>
                  <a:lnTo>
                    <a:pt x="144" y="1462"/>
                  </a:lnTo>
                  <a:lnTo>
                    <a:pt x="141" y="1462"/>
                  </a:lnTo>
                  <a:lnTo>
                    <a:pt x="138" y="1460"/>
                  </a:lnTo>
                  <a:lnTo>
                    <a:pt x="139" y="1459"/>
                  </a:lnTo>
                  <a:lnTo>
                    <a:pt x="139" y="1458"/>
                  </a:lnTo>
                  <a:lnTo>
                    <a:pt x="139" y="1455"/>
                  </a:lnTo>
                  <a:lnTo>
                    <a:pt x="137" y="1450"/>
                  </a:lnTo>
                  <a:lnTo>
                    <a:pt x="135" y="1448"/>
                  </a:lnTo>
                  <a:lnTo>
                    <a:pt x="132" y="1443"/>
                  </a:lnTo>
                  <a:lnTo>
                    <a:pt x="131" y="1440"/>
                  </a:lnTo>
                  <a:lnTo>
                    <a:pt x="129" y="1436"/>
                  </a:lnTo>
                  <a:lnTo>
                    <a:pt x="128" y="1435"/>
                  </a:lnTo>
                  <a:lnTo>
                    <a:pt x="125" y="1430"/>
                  </a:lnTo>
                  <a:lnTo>
                    <a:pt x="124" y="1426"/>
                  </a:lnTo>
                  <a:lnTo>
                    <a:pt x="121" y="1423"/>
                  </a:lnTo>
                  <a:lnTo>
                    <a:pt x="121" y="1420"/>
                  </a:lnTo>
                  <a:lnTo>
                    <a:pt x="119" y="1418"/>
                  </a:lnTo>
                  <a:lnTo>
                    <a:pt x="117" y="1415"/>
                  </a:lnTo>
                  <a:lnTo>
                    <a:pt x="115" y="1412"/>
                  </a:lnTo>
                  <a:lnTo>
                    <a:pt x="112" y="1410"/>
                  </a:lnTo>
                  <a:lnTo>
                    <a:pt x="111" y="1409"/>
                  </a:lnTo>
                  <a:lnTo>
                    <a:pt x="108" y="1408"/>
                  </a:lnTo>
                  <a:lnTo>
                    <a:pt x="107" y="1406"/>
                  </a:lnTo>
                  <a:lnTo>
                    <a:pt x="107" y="1405"/>
                  </a:lnTo>
                  <a:lnTo>
                    <a:pt x="105" y="1403"/>
                  </a:lnTo>
                  <a:lnTo>
                    <a:pt x="105" y="1402"/>
                  </a:lnTo>
                  <a:lnTo>
                    <a:pt x="105" y="1400"/>
                  </a:lnTo>
                  <a:lnTo>
                    <a:pt x="105" y="1400"/>
                  </a:lnTo>
                  <a:lnTo>
                    <a:pt x="102" y="1398"/>
                  </a:lnTo>
                  <a:lnTo>
                    <a:pt x="101" y="1396"/>
                  </a:lnTo>
                  <a:lnTo>
                    <a:pt x="99" y="1395"/>
                  </a:lnTo>
                  <a:lnTo>
                    <a:pt x="97" y="1395"/>
                  </a:lnTo>
                  <a:lnTo>
                    <a:pt x="97" y="1393"/>
                  </a:lnTo>
                  <a:lnTo>
                    <a:pt x="94" y="1389"/>
                  </a:lnTo>
                  <a:lnTo>
                    <a:pt x="95" y="1388"/>
                  </a:lnTo>
                  <a:lnTo>
                    <a:pt x="95" y="1385"/>
                  </a:lnTo>
                  <a:lnTo>
                    <a:pt x="95" y="1385"/>
                  </a:lnTo>
                  <a:lnTo>
                    <a:pt x="91" y="1381"/>
                  </a:lnTo>
                  <a:lnTo>
                    <a:pt x="89" y="1379"/>
                  </a:lnTo>
                  <a:lnTo>
                    <a:pt x="88" y="1378"/>
                  </a:lnTo>
                  <a:lnTo>
                    <a:pt x="84" y="1379"/>
                  </a:lnTo>
                  <a:lnTo>
                    <a:pt x="81" y="1382"/>
                  </a:lnTo>
                  <a:lnTo>
                    <a:pt x="78" y="1382"/>
                  </a:lnTo>
                  <a:lnTo>
                    <a:pt x="74" y="1383"/>
                  </a:lnTo>
                  <a:lnTo>
                    <a:pt x="75" y="1386"/>
                  </a:lnTo>
                  <a:lnTo>
                    <a:pt x="75" y="1388"/>
                  </a:lnTo>
                  <a:lnTo>
                    <a:pt x="74" y="1388"/>
                  </a:lnTo>
                  <a:lnTo>
                    <a:pt x="72" y="1388"/>
                  </a:lnTo>
                  <a:lnTo>
                    <a:pt x="72" y="1393"/>
                  </a:lnTo>
                  <a:lnTo>
                    <a:pt x="71" y="1398"/>
                  </a:lnTo>
                  <a:lnTo>
                    <a:pt x="67" y="1398"/>
                  </a:lnTo>
                  <a:lnTo>
                    <a:pt x="65" y="1399"/>
                  </a:lnTo>
                  <a:lnTo>
                    <a:pt x="61" y="1402"/>
                  </a:lnTo>
                  <a:lnTo>
                    <a:pt x="60" y="1403"/>
                  </a:lnTo>
                  <a:lnTo>
                    <a:pt x="57" y="1406"/>
                  </a:lnTo>
                  <a:lnTo>
                    <a:pt x="55" y="1405"/>
                  </a:lnTo>
                  <a:lnTo>
                    <a:pt x="55" y="1403"/>
                  </a:lnTo>
                  <a:lnTo>
                    <a:pt x="55" y="1399"/>
                  </a:lnTo>
                  <a:lnTo>
                    <a:pt x="54" y="1395"/>
                  </a:lnTo>
                  <a:lnTo>
                    <a:pt x="52" y="1393"/>
                  </a:lnTo>
                  <a:lnTo>
                    <a:pt x="50" y="1391"/>
                  </a:lnTo>
                  <a:lnTo>
                    <a:pt x="48" y="1389"/>
                  </a:lnTo>
                  <a:lnTo>
                    <a:pt x="45" y="1386"/>
                  </a:lnTo>
                  <a:lnTo>
                    <a:pt x="42" y="1383"/>
                  </a:lnTo>
                  <a:lnTo>
                    <a:pt x="41" y="1381"/>
                  </a:lnTo>
                  <a:lnTo>
                    <a:pt x="38" y="1378"/>
                  </a:lnTo>
                  <a:lnTo>
                    <a:pt x="37" y="1375"/>
                  </a:lnTo>
                  <a:lnTo>
                    <a:pt x="34" y="1373"/>
                  </a:lnTo>
                  <a:lnTo>
                    <a:pt x="31" y="1372"/>
                  </a:lnTo>
                  <a:lnTo>
                    <a:pt x="28" y="1368"/>
                  </a:lnTo>
                  <a:lnTo>
                    <a:pt x="30" y="1365"/>
                  </a:lnTo>
                  <a:lnTo>
                    <a:pt x="31" y="1362"/>
                  </a:lnTo>
                  <a:lnTo>
                    <a:pt x="31" y="1361"/>
                  </a:lnTo>
                  <a:lnTo>
                    <a:pt x="28" y="1361"/>
                  </a:lnTo>
                  <a:lnTo>
                    <a:pt x="24" y="1361"/>
                  </a:lnTo>
                  <a:lnTo>
                    <a:pt x="21" y="1361"/>
                  </a:lnTo>
                  <a:lnTo>
                    <a:pt x="18" y="1363"/>
                  </a:lnTo>
                  <a:lnTo>
                    <a:pt x="15" y="1365"/>
                  </a:lnTo>
                  <a:lnTo>
                    <a:pt x="12" y="1363"/>
                  </a:lnTo>
                  <a:lnTo>
                    <a:pt x="8" y="1362"/>
                  </a:lnTo>
                  <a:lnTo>
                    <a:pt x="7" y="1363"/>
                  </a:lnTo>
                  <a:lnTo>
                    <a:pt x="4" y="1363"/>
                  </a:lnTo>
                  <a:lnTo>
                    <a:pt x="0" y="1362"/>
                  </a:lnTo>
                  <a:lnTo>
                    <a:pt x="0" y="1352"/>
                  </a:lnTo>
                  <a:lnTo>
                    <a:pt x="0" y="1342"/>
                  </a:lnTo>
                  <a:lnTo>
                    <a:pt x="0" y="1332"/>
                  </a:lnTo>
                  <a:lnTo>
                    <a:pt x="0" y="1323"/>
                  </a:lnTo>
                  <a:lnTo>
                    <a:pt x="0" y="1313"/>
                  </a:lnTo>
                  <a:lnTo>
                    <a:pt x="0" y="1303"/>
                  </a:lnTo>
                  <a:lnTo>
                    <a:pt x="0" y="1293"/>
                  </a:lnTo>
                  <a:lnTo>
                    <a:pt x="0" y="1283"/>
                  </a:lnTo>
                  <a:lnTo>
                    <a:pt x="0" y="1273"/>
                  </a:lnTo>
                  <a:lnTo>
                    <a:pt x="0" y="1262"/>
                  </a:lnTo>
                  <a:lnTo>
                    <a:pt x="0" y="1252"/>
                  </a:lnTo>
                  <a:lnTo>
                    <a:pt x="0" y="1242"/>
                  </a:lnTo>
                  <a:lnTo>
                    <a:pt x="0" y="1231"/>
                  </a:lnTo>
                  <a:lnTo>
                    <a:pt x="0" y="1221"/>
                  </a:lnTo>
                  <a:lnTo>
                    <a:pt x="0" y="1209"/>
                  </a:lnTo>
                  <a:lnTo>
                    <a:pt x="0" y="1198"/>
                  </a:lnTo>
                  <a:lnTo>
                    <a:pt x="0" y="1188"/>
                  </a:lnTo>
                  <a:lnTo>
                    <a:pt x="0" y="1176"/>
                  </a:lnTo>
                  <a:lnTo>
                    <a:pt x="0" y="1165"/>
                  </a:lnTo>
                  <a:lnTo>
                    <a:pt x="0" y="1154"/>
                  </a:lnTo>
                  <a:lnTo>
                    <a:pt x="0" y="1141"/>
                  </a:lnTo>
                  <a:lnTo>
                    <a:pt x="0" y="1129"/>
                  </a:lnTo>
                  <a:lnTo>
                    <a:pt x="0" y="1118"/>
                  </a:lnTo>
                  <a:lnTo>
                    <a:pt x="0" y="1105"/>
                  </a:lnTo>
                  <a:lnTo>
                    <a:pt x="0" y="1094"/>
                  </a:lnTo>
                  <a:lnTo>
                    <a:pt x="0" y="1081"/>
                  </a:lnTo>
                  <a:lnTo>
                    <a:pt x="0" y="1068"/>
                  </a:lnTo>
                  <a:lnTo>
                    <a:pt x="0" y="1056"/>
                  </a:lnTo>
                  <a:lnTo>
                    <a:pt x="0" y="1044"/>
                  </a:lnTo>
                  <a:lnTo>
                    <a:pt x="0" y="1029"/>
                  </a:lnTo>
                  <a:lnTo>
                    <a:pt x="0" y="1016"/>
                  </a:lnTo>
                  <a:lnTo>
                    <a:pt x="0" y="1004"/>
                  </a:lnTo>
                  <a:lnTo>
                    <a:pt x="2" y="1004"/>
                  </a:lnTo>
                  <a:lnTo>
                    <a:pt x="10" y="1005"/>
                  </a:lnTo>
                  <a:lnTo>
                    <a:pt x="15" y="1005"/>
                  </a:lnTo>
                  <a:lnTo>
                    <a:pt x="28" y="1009"/>
                  </a:lnTo>
                  <a:lnTo>
                    <a:pt x="37" y="1019"/>
                  </a:lnTo>
                  <a:lnTo>
                    <a:pt x="42" y="1024"/>
                  </a:lnTo>
                  <a:lnTo>
                    <a:pt x="45" y="1026"/>
                  </a:lnTo>
                  <a:lnTo>
                    <a:pt x="50" y="1029"/>
                  </a:lnTo>
                  <a:lnTo>
                    <a:pt x="60" y="1035"/>
                  </a:lnTo>
                  <a:lnTo>
                    <a:pt x="62" y="1035"/>
                  </a:lnTo>
                  <a:lnTo>
                    <a:pt x="68" y="1038"/>
                  </a:lnTo>
                  <a:lnTo>
                    <a:pt x="71" y="1038"/>
                  </a:lnTo>
                  <a:lnTo>
                    <a:pt x="78" y="1038"/>
                  </a:lnTo>
                  <a:lnTo>
                    <a:pt x="82" y="1041"/>
                  </a:lnTo>
                  <a:lnTo>
                    <a:pt x="89" y="1046"/>
                  </a:lnTo>
                  <a:lnTo>
                    <a:pt x="91" y="1046"/>
                  </a:lnTo>
                  <a:lnTo>
                    <a:pt x="92" y="1046"/>
                  </a:lnTo>
                  <a:lnTo>
                    <a:pt x="89" y="1041"/>
                  </a:lnTo>
                  <a:lnTo>
                    <a:pt x="88" y="1039"/>
                  </a:lnTo>
                  <a:lnTo>
                    <a:pt x="85" y="1038"/>
                  </a:lnTo>
                  <a:lnTo>
                    <a:pt x="81" y="1036"/>
                  </a:lnTo>
                  <a:lnTo>
                    <a:pt x="81" y="1036"/>
                  </a:lnTo>
                  <a:lnTo>
                    <a:pt x="81" y="1034"/>
                  </a:lnTo>
                  <a:lnTo>
                    <a:pt x="81" y="1034"/>
                  </a:lnTo>
                  <a:lnTo>
                    <a:pt x="82" y="1034"/>
                  </a:lnTo>
                  <a:lnTo>
                    <a:pt x="85" y="1034"/>
                  </a:lnTo>
                  <a:lnTo>
                    <a:pt x="87" y="1032"/>
                  </a:lnTo>
                  <a:lnTo>
                    <a:pt x="87" y="1032"/>
                  </a:lnTo>
                  <a:lnTo>
                    <a:pt x="85" y="1032"/>
                  </a:lnTo>
                  <a:lnTo>
                    <a:pt x="84" y="1031"/>
                  </a:lnTo>
                  <a:lnTo>
                    <a:pt x="82" y="1029"/>
                  </a:lnTo>
                  <a:lnTo>
                    <a:pt x="81" y="1028"/>
                  </a:lnTo>
                  <a:lnTo>
                    <a:pt x="85" y="1019"/>
                  </a:lnTo>
                  <a:lnTo>
                    <a:pt x="85" y="1019"/>
                  </a:lnTo>
                  <a:lnTo>
                    <a:pt x="88" y="1018"/>
                  </a:lnTo>
                  <a:lnTo>
                    <a:pt x="91" y="1019"/>
                  </a:lnTo>
                  <a:lnTo>
                    <a:pt x="91" y="1018"/>
                  </a:lnTo>
                  <a:lnTo>
                    <a:pt x="92" y="1014"/>
                  </a:lnTo>
                  <a:lnTo>
                    <a:pt x="92" y="1012"/>
                  </a:lnTo>
                  <a:lnTo>
                    <a:pt x="94" y="1012"/>
                  </a:lnTo>
                  <a:lnTo>
                    <a:pt x="98" y="1011"/>
                  </a:lnTo>
                  <a:lnTo>
                    <a:pt x="104" y="1012"/>
                  </a:lnTo>
                  <a:lnTo>
                    <a:pt x="104" y="1011"/>
                  </a:lnTo>
                  <a:lnTo>
                    <a:pt x="104" y="1008"/>
                  </a:lnTo>
                  <a:lnTo>
                    <a:pt x="104" y="1006"/>
                  </a:lnTo>
                  <a:lnTo>
                    <a:pt x="104" y="1004"/>
                  </a:lnTo>
                  <a:lnTo>
                    <a:pt x="104" y="1002"/>
                  </a:lnTo>
                  <a:lnTo>
                    <a:pt x="105" y="1002"/>
                  </a:lnTo>
                  <a:lnTo>
                    <a:pt x="108" y="1002"/>
                  </a:lnTo>
                  <a:lnTo>
                    <a:pt x="108" y="1004"/>
                  </a:lnTo>
                  <a:lnTo>
                    <a:pt x="109" y="1006"/>
                  </a:lnTo>
                  <a:lnTo>
                    <a:pt x="111" y="1008"/>
                  </a:lnTo>
                  <a:lnTo>
                    <a:pt x="114" y="1009"/>
                  </a:lnTo>
                  <a:lnTo>
                    <a:pt x="114" y="1009"/>
                  </a:lnTo>
                  <a:lnTo>
                    <a:pt x="112" y="1014"/>
                  </a:lnTo>
                  <a:lnTo>
                    <a:pt x="111" y="1015"/>
                  </a:lnTo>
                  <a:lnTo>
                    <a:pt x="109" y="1021"/>
                  </a:lnTo>
                  <a:lnTo>
                    <a:pt x="109" y="1022"/>
                  </a:lnTo>
                  <a:lnTo>
                    <a:pt x="112" y="1019"/>
                  </a:lnTo>
                  <a:lnTo>
                    <a:pt x="117" y="1016"/>
                  </a:lnTo>
                  <a:lnTo>
                    <a:pt x="119" y="1015"/>
                  </a:lnTo>
                  <a:lnTo>
                    <a:pt x="122" y="1015"/>
                  </a:lnTo>
                  <a:lnTo>
                    <a:pt x="125" y="1014"/>
                  </a:lnTo>
                  <a:lnTo>
                    <a:pt x="127" y="1012"/>
                  </a:lnTo>
                  <a:lnTo>
                    <a:pt x="127" y="1009"/>
                  </a:lnTo>
                  <a:lnTo>
                    <a:pt x="129" y="1005"/>
                  </a:lnTo>
                  <a:lnTo>
                    <a:pt x="131" y="1004"/>
                  </a:lnTo>
                  <a:lnTo>
                    <a:pt x="135" y="1004"/>
                  </a:lnTo>
                  <a:lnTo>
                    <a:pt x="137" y="1004"/>
                  </a:lnTo>
                  <a:lnTo>
                    <a:pt x="137" y="1004"/>
                  </a:lnTo>
                  <a:lnTo>
                    <a:pt x="137" y="1002"/>
                  </a:lnTo>
                  <a:lnTo>
                    <a:pt x="137" y="1002"/>
                  </a:lnTo>
                  <a:lnTo>
                    <a:pt x="135" y="1001"/>
                  </a:lnTo>
                  <a:lnTo>
                    <a:pt x="135" y="1001"/>
                  </a:lnTo>
                  <a:lnTo>
                    <a:pt x="135" y="999"/>
                  </a:lnTo>
                  <a:lnTo>
                    <a:pt x="135" y="999"/>
                  </a:lnTo>
                  <a:lnTo>
                    <a:pt x="138" y="999"/>
                  </a:lnTo>
                  <a:lnTo>
                    <a:pt x="139" y="1001"/>
                  </a:lnTo>
                  <a:lnTo>
                    <a:pt x="141" y="1001"/>
                  </a:lnTo>
                  <a:lnTo>
                    <a:pt x="145" y="999"/>
                  </a:lnTo>
                  <a:lnTo>
                    <a:pt x="151" y="992"/>
                  </a:lnTo>
                  <a:lnTo>
                    <a:pt x="152" y="991"/>
                  </a:lnTo>
                  <a:lnTo>
                    <a:pt x="155" y="991"/>
                  </a:lnTo>
                  <a:lnTo>
                    <a:pt x="157" y="992"/>
                  </a:lnTo>
                  <a:lnTo>
                    <a:pt x="158" y="992"/>
                  </a:lnTo>
                  <a:lnTo>
                    <a:pt x="159" y="988"/>
                  </a:lnTo>
                  <a:lnTo>
                    <a:pt x="159" y="986"/>
                  </a:lnTo>
                  <a:lnTo>
                    <a:pt x="161" y="985"/>
                  </a:lnTo>
                  <a:lnTo>
                    <a:pt x="165" y="981"/>
                  </a:lnTo>
                  <a:lnTo>
                    <a:pt x="168" y="981"/>
                  </a:lnTo>
                  <a:lnTo>
                    <a:pt x="169" y="981"/>
                  </a:lnTo>
                  <a:lnTo>
                    <a:pt x="171" y="982"/>
                  </a:lnTo>
                  <a:lnTo>
                    <a:pt x="172" y="984"/>
                  </a:lnTo>
                  <a:lnTo>
                    <a:pt x="175" y="982"/>
                  </a:lnTo>
                  <a:lnTo>
                    <a:pt x="176" y="984"/>
                  </a:lnTo>
                  <a:lnTo>
                    <a:pt x="178" y="982"/>
                  </a:lnTo>
                  <a:lnTo>
                    <a:pt x="179" y="978"/>
                  </a:lnTo>
                  <a:lnTo>
                    <a:pt x="181" y="978"/>
                  </a:lnTo>
                  <a:lnTo>
                    <a:pt x="182" y="979"/>
                  </a:lnTo>
                  <a:lnTo>
                    <a:pt x="184" y="982"/>
                  </a:lnTo>
                  <a:lnTo>
                    <a:pt x="184" y="984"/>
                  </a:lnTo>
                  <a:lnTo>
                    <a:pt x="181" y="988"/>
                  </a:lnTo>
                  <a:lnTo>
                    <a:pt x="168" y="998"/>
                  </a:lnTo>
                  <a:lnTo>
                    <a:pt x="164" y="1002"/>
                  </a:lnTo>
                  <a:lnTo>
                    <a:pt x="162" y="1004"/>
                  </a:lnTo>
                  <a:lnTo>
                    <a:pt x="161" y="1004"/>
                  </a:lnTo>
                  <a:lnTo>
                    <a:pt x="157" y="1005"/>
                  </a:lnTo>
                  <a:lnTo>
                    <a:pt x="155" y="1006"/>
                  </a:lnTo>
                  <a:lnTo>
                    <a:pt x="152" y="1006"/>
                  </a:lnTo>
                  <a:lnTo>
                    <a:pt x="147" y="1008"/>
                  </a:lnTo>
                  <a:lnTo>
                    <a:pt x="145" y="1009"/>
                  </a:lnTo>
                  <a:lnTo>
                    <a:pt x="144" y="1009"/>
                  </a:lnTo>
                  <a:lnTo>
                    <a:pt x="142" y="1015"/>
                  </a:lnTo>
                  <a:lnTo>
                    <a:pt x="141" y="1016"/>
                  </a:lnTo>
                  <a:lnTo>
                    <a:pt x="138" y="1019"/>
                  </a:lnTo>
                  <a:lnTo>
                    <a:pt x="137" y="1021"/>
                  </a:lnTo>
                  <a:lnTo>
                    <a:pt x="132" y="1021"/>
                  </a:lnTo>
                  <a:lnTo>
                    <a:pt x="131" y="1024"/>
                  </a:lnTo>
                  <a:lnTo>
                    <a:pt x="128" y="1028"/>
                  </a:lnTo>
                  <a:lnTo>
                    <a:pt x="127" y="1032"/>
                  </a:lnTo>
                  <a:lnTo>
                    <a:pt x="124" y="1035"/>
                  </a:lnTo>
                  <a:lnTo>
                    <a:pt x="122" y="1038"/>
                  </a:lnTo>
                  <a:lnTo>
                    <a:pt x="121" y="1039"/>
                  </a:lnTo>
                  <a:lnTo>
                    <a:pt x="122" y="1042"/>
                  </a:lnTo>
                  <a:lnTo>
                    <a:pt x="122" y="1044"/>
                  </a:lnTo>
                  <a:lnTo>
                    <a:pt x="125" y="1045"/>
                  </a:lnTo>
                  <a:lnTo>
                    <a:pt x="125" y="1044"/>
                  </a:lnTo>
                  <a:lnTo>
                    <a:pt x="125" y="1044"/>
                  </a:lnTo>
                  <a:lnTo>
                    <a:pt x="122" y="1041"/>
                  </a:lnTo>
                  <a:lnTo>
                    <a:pt x="122" y="1041"/>
                  </a:lnTo>
                  <a:lnTo>
                    <a:pt x="122" y="1039"/>
                  </a:lnTo>
                  <a:lnTo>
                    <a:pt x="132" y="1041"/>
                  </a:lnTo>
                  <a:lnTo>
                    <a:pt x="135" y="1039"/>
                  </a:lnTo>
                  <a:lnTo>
                    <a:pt x="135" y="1038"/>
                  </a:lnTo>
                  <a:lnTo>
                    <a:pt x="135" y="1038"/>
                  </a:lnTo>
                  <a:lnTo>
                    <a:pt x="132" y="1038"/>
                  </a:lnTo>
                  <a:lnTo>
                    <a:pt x="132" y="1036"/>
                  </a:lnTo>
                  <a:lnTo>
                    <a:pt x="131" y="1034"/>
                  </a:lnTo>
                  <a:lnTo>
                    <a:pt x="131" y="1032"/>
                  </a:lnTo>
                  <a:lnTo>
                    <a:pt x="132" y="1031"/>
                  </a:lnTo>
                  <a:lnTo>
                    <a:pt x="132" y="1029"/>
                  </a:lnTo>
                  <a:lnTo>
                    <a:pt x="135" y="1026"/>
                  </a:lnTo>
                  <a:lnTo>
                    <a:pt x="138" y="1025"/>
                  </a:lnTo>
                  <a:lnTo>
                    <a:pt x="141" y="1024"/>
                  </a:lnTo>
                  <a:lnTo>
                    <a:pt x="141" y="1022"/>
                  </a:lnTo>
                  <a:lnTo>
                    <a:pt x="145" y="1019"/>
                  </a:lnTo>
                  <a:lnTo>
                    <a:pt x="147" y="1018"/>
                  </a:lnTo>
                  <a:lnTo>
                    <a:pt x="147" y="1016"/>
                  </a:lnTo>
                  <a:lnTo>
                    <a:pt x="147" y="1015"/>
                  </a:lnTo>
                  <a:lnTo>
                    <a:pt x="147" y="1015"/>
                  </a:lnTo>
                  <a:lnTo>
                    <a:pt x="147" y="1014"/>
                  </a:lnTo>
                  <a:lnTo>
                    <a:pt x="149" y="1012"/>
                  </a:lnTo>
                  <a:lnTo>
                    <a:pt x="151" y="1012"/>
                  </a:lnTo>
                  <a:lnTo>
                    <a:pt x="154" y="1014"/>
                  </a:lnTo>
                  <a:lnTo>
                    <a:pt x="155" y="1014"/>
                  </a:lnTo>
                  <a:lnTo>
                    <a:pt x="155" y="1016"/>
                  </a:lnTo>
                  <a:lnTo>
                    <a:pt x="155" y="1016"/>
                  </a:lnTo>
                  <a:lnTo>
                    <a:pt x="157" y="1014"/>
                  </a:lnTo>
                  <a:lnTo>
                    <a:pt x="157" y="1012"/>
                  </a:lnTo>
                  <a:lnTo>
                    <a:pt x="158" y="1012"/>
                  </a:lnTo>
                  <a:lnTo>
                    <a:pt x="159" y="1012"/>
                  </a:lnTo>
                  <a:lnTo>
                    <a:pt x="159" y="1014"/>
                  </a:lnTo>
                  <a:lnTo>
                    <a:pt x="159" y="1016"/>
                  </a:lnTo>
                  <a:lnTo>
                    <a:pt x="159" y="1022"/>
                  </a:lnTo>
                  <a:lnTo>
                    <a:pt x="161" y="1024"/>
                  </a:lnTo>
                  <a:lnTo>
                    <a:pt x="161" y="1021"/>
                  </a:lnTo>
                  <a:lnTo>
                    <a:pt x="162" y="1018"/>
                  </a:lnTo>
                  <a:lnTo>
                    <a:pt x="165" y="1011"/>
                  </a:lnTo>
                  <a:lnTo>
                    <a:pt x="168" y="1006"/>
                  </a:lnTo>
                  <a:lnTo>
                    <a:pt x="169" y="1004"/>
                  </a:lnTo>
                  <a:lnTo>
                    <a:pt x="174" y="1001"/>
                  </a:lnTo>
                  <a:lnTo>
                    <a:pt x="182" y="995"/>
                  </a:lnTo>
                  <a:lnTo>
                    <a:pt x="188" y="994"/>
                  </a:lnTo>
                  <a:lnTo>
                    <a:pt x="189" y="992"/>
                  </a:lnTo>
                  <a:lnTo>
                    <a:pt x="191" y="992"/>
                  </a:lnTo>
                  <a:lnTo>
                    <a:pt x="192" y="991"/>
                  </a:lnTo>
                  <a:lnTo>
                    <a:pt x="194" y="989"/>
                  </a:lnTo>
                  <a:lnTo>
                    <a:pt x="194" y="989"/>
                  </a:lnTo>
                  <a:lnTo>
                    <a:pt x="194" y="992"/>
                  </a:lnTo>
                  <a:lnTo>
                    <a:pt x="192" y="994"/>
                  </a:lnTo>
                  <a:lnTo>
                    <a:pt x="189" y="995"/>
                  </a:lnTo>
                  <a:lnTo>
                    <a:pt x="189" y="996"/>
                  </a:lnTo>
                  <a:lnTo>
                    <a:pt x="189" y="999"/>
                  </a:lnTo>
                  <a:lnTo>
                    <a:pt x="191" y="1001"/>
                  </a:lnTo>
                  <a:lnTo>
                    <a:pt x="191" y="1001"/>
                  </a:lnTo>
                  <a:lnTo>
                    <a:pt x="192" y="1001"/>
                  </a:lnTo>
                  <a:lnTo>
                    <a:pt x="194" y="999"/>
                  </a:lnTo>
                  <a:lnTo>
                    <a:pt x="196" y="996"/>
                  </a:lnTo>
                  <a:lnTo>
                    <a:pt x="202" y="989"/>
                  </a:lnTo>
                  <a:lnTo>
                    <a:pt x="202" y="988"/>
                  </a:lnTo>
                  <a:lnTo>
                    <a:pt x="204" y="982"/>
                  </a:lnTo>
                  <a:lnTo>
                    <a:pt x="206" y="979"/>
                  </a:lnTo>
                  <a:lnTo>
                    <a:pt x="212" y="976"/>
                  </a:lnTo>
                  <a:lnTo>
                    <a:pt x="212" y="975"/>
                  </a:lnTo>
                  <a:lnTo>
                    <a:pt x="208" y="974"/>
                  </a:lnTo>
                  <a:lnTo>
                    <a:pt x="208" y="972"/>
                  </a:lnTo>
                  <a:lnTo>
                    <a:pt x="206" y="972"/>
                  </a:lnTo>
                  <a:lnTo>
                    <a:pt x="208" y="969"/>
                  </a:lnTo>
                  <a:lnTo>
                    <a:pt x="206" y="968"/>
                  </a:lnTo>
                  <a:lnTo>
                    <a:pt x="205" y="968"/>
                  </a:lnTo>
                  <a:lnTo>
                    <a:pt x="205" y="965"/>
                  </a:lnTo>
                  <a:lnTo>
                    <a:pt x="205" y="962"/>
                  </a:lnTo>
                  <a:lnTo>
                    <a:pt x="206" y="961"/>
                  </a:lnTo>
                  <a:lnTo>
                    <a:pt x="208" y="959"/>
                  </a:lnTo>
                  <a:lnTo>
                    <a:pt x="209" y="961"/>
                  </a:lnTo>
                  <a:lnTo>
                    <a:pt x="212" y="962"/>
                  </a:lnTo>
                  <a:lnTo>
                    <a:pt x="218" y="969"/>
                  </a:lnTo>
                  <a:lnTo>
                    <a:pt x="221" y="974"/>
                  </a:lnTo>
                  <a:lnTo>
                    <a:pt x="222" y="976"/>
                  </a:lnTo>
                  <a:lnTo>
                    <a:pt x="225" y="984"/>
                  </a:lnTo>
                  <a:lnTo>
                    <a:pt x="226" y="989"/>
                  </a:lnTo>
                  <a:lnTo>
                    <a:pt x="228" y="994"/>
                  </a:lnTo>
                  <a:lnTo>
                    <a:pt x="229" y="998"/>
                  </a:lnTo>
                  <a:lnTo>
                    <a:pt x="229" y="999"/>
                  </a:lnTo>
                  <a:lnTo>
                    <a:pt x="236" y="1008"/>
                  </a:lnTo>
                  <a:lnTo>
                    <a:pt x="239" y="1012"/>
                  </a:lnTo>
                  <a:lnTo>
                    <a:pt x="241" y="1014"/>
                  </a:lnTo>
                  <a:lnTo>
                    <a:pt x="244" y="1016"/>
                  </a:lnTo>
                  <a:lnTo>
                    <a:pt x="248" y="1016"/>
                  </a:lnTo>
                  <a:lnTo>
                    <a:pt x="249" y="1018"/>
                  </a:lnTo>
                  <a:lnTo>
                    <a:pt x="254" y="1014"/>
                  </a:lnTo>
                  <a:lnTo>
                    <a:pt x="254" y="1011"/>
                  </a:lnTo>
                  <a:lnTo>
                    <a:pt x="252" y="1008"/>
                  </a:lnTo>
                  <a:lnTo>
                    <a:pt x="251" y="1005"/>
                  </a:lnTo>
                  <a:lnTo>
                    <a:pt x="251" y="1002"/>
                  </a:lnTo>
                  <a:lnTo>
                    <a:pt x="252" y="999"/>
                  </a:lnTo>
                  <a:lnTo>
                    <a:pt x="252" y="998"/>
                  </a:lnTo>
                  <a:lnTo>
                    <a:pt x="252" y="995"/>
                  </a:lnTo>
                  <a:lnTo>
                    <a:pt x="254" y="996"/>
                  </a:lnTo>
                  <a:lnTo>
                    <a:pt x="255" y="995"/>
                  </a:lnTo>
                  <a:lnTo>
                    <a:pt x="255" y="995"/>
                  </a:lnTo>
                  <a:lnTo>
                    <a:pt x="256" y="992"/>
                  </a:lnTo>
                  <a:lnTo>
                    <a:pt x="258" y="991"/>
                  </a:lnTo>
                  <a:lnTo>
                    <a:pt x="259" y="989"/>
                  </a:lnTo>
                  <a:lnTo>
                    <a:pt x="259" y="988"/>
                  </a:lnTo>
                  <a:lnTo>
                    <a:pt x="258" y="986"/>
                  </a:lnTo>
                  <a:lnTo>
                    <a:pt x="256" y="986"/>
                  </a:lnTo>
                  <a:lnTo>
                    <a:pt x="256" y="986"/>
                  </a:lnTo>
                  <a:lnTo>
                    <a:pt x="256" y="986"/>
                  </a:lnTo>
                  <a:lnTo>
                    <a:pt x="256" y="985"/>
                  </a:lnTo>
                  <a:lnTo>
                    <a:pt x="259" y="984"/>
                  </a:lnTo>
                  <a:lnTo>
                    <a:pt x="261" y="982"/>
                  </a:lnTo>
                  <a:lnTo>
                    <a:pt x="262" y="981"/>
                  </a:lnTo>
                  <a:lnTo>
                    <a:pt x="263" y="981"/>
                  </a:lnTo>
                  <a:lnTo>
                    <a:pt x="263" y="981"/>
                  </a:lnTo>
                  <a:lnTo>
                    <a:pt x="265" y="982"/>
                  </a:lnTo>
                  <a:lnTo>
                    <a:pt x="265" y="984"/>
                  </a:lnTo>
                  <a:lnTo>
                    <a:pt x="265" y="988"/>
                  </a:lnTo>
                  <a:lnTo>
                    <a:pt x="263" y="991"/>
                  </a:lnTo>
                  <a:lnTo>
                    <a:pt x="265" y="998"/>
                  </a:lnTo>
                  <a:lnTo>
                    <a:pt x="266" y="999"/>
                  </a:lnTo>
                  <a:lnTo>
                    <a:pt x="269" y="1002"/>
                  </a:lnTo>
                  <a:lnTo>
                    <a:pt x="269" y="1004"/>
                  </a:lnTo>
                  <a:lnTo>
                    <a:pt x="265" y="1011"/>
                  </a:lnTo>
                  <a:lnTo>
                    <a:pt x="265" y="1012"/>
                  </a:lnTo>
                  <a:lnTo>
                    <a:pt x="263" y="1014"/>
                  </a:lnTo>
                  <a:lnTo>
                    <a:pt x="263" y="1015"/>
                  </a:lnTo>
                  <a:lnTo>
                    <a:pt x="265" y="1016"/>
                  </a:lnTo>
                  <a:lnTo>
                    <a:pt x="266" y="1016"/>
                  </a:lnTo>
                  <a:lnTo>
                    <a:pt x="271" y="1016"/>
                  </a:lnTo>
                  <a:lnTo>
                    <a:pt x="271" y="1016"/>
                  </a:lnTo>
                  <a:lnTo>
                    <a:pt x="278" y="1016"/>
                  </a:lnTo>
                  <a:lnTo>
                    <a:pt x="279" y="1015"/>
                  </a:lnTo>
                  <a:lnTo>
                    <a:pt x="281" y="1014"/>
                  </a:lnTo>
                  <a:lnTo>
                    <a:pt x="282" y="1011"/>
                  </a:lnTo>
                  <a:lnTo>
                    <a:pt x="283" y="1009"/>
                  </a:lnTo>
                  <a:lnTo>
                    <a:pt x="285" y="1008"/>
                  </a:lnTo>
                  <a:lnTo>
                    <a:pt x="285" y="1004"/>
                  </a:lnTo>
                  <a:lnTo>
                    <a:pt x="286" y="999"/>
                  </a:lnTo>
                  <a:lnTo>
                    <a:pt x="286" y="998"/>
                  </a:lnTo>
                  <a:lnTo>
                    <a:pt x="288" y="996"/>
                  </a:lnTo>
                  <a:lnTo>
                    <a:pt x="289" y="995"/>
                  </a:lnTo>
                  <a:lnTo>
                    <a:pt x="291" y="996"/>
                  </a:lnTo>
                  <a:lnTo>
                    <a:pt x="292" y="995"/>
                  </a:lnTo>
                  <a:lnTo>
                    <a:pt x="298" y="996"/>
                  </a:lnTo>
                  <a:lnTo>
                    <a:pt x="302" y="996"/>
                  </a:lnTo>
                  <a:lnTo>
                    <a:pt x="308" y="996"/>
                  </a:lnTo>
                  <a:lnTo>
                    <a:pt x="312" y="998"/>
                  </a:lnTo>
                  <a:lnTo>
                    <a:pt x="315" y="999"/>
                  </a:lnTo>
                  <a:lnTo>
                    <a:pt x="321" y="1004"/>
                  </a:lnTo>
                  <a:lnTo>
                    <a:pt x="323" y="1005"/>
                  </a:lnTo>
                  <a:lnTo>
                    <a:pt x="331" y="1014"/>
                  </a:lnTo>
                  <a:lnTo>
                    <a:pt x="333" y="1016"/>
                  </a:lnTo>
                  <a:lnTo>
                    <a:pt x="338" y="1018"/>
                  </a:lnTo>
                  <a:lnTo>
                    <a:pt x="353" y="1021"/>
                  </a:lnTo>
                  <a:lnTo>
                    <a:pt x="356" y="1022"/>
                  </a:lnTo>
                  <a:lnTo>
                    <a:pt x="360" y="1026"/>
                  </a:lnTo>
                  <a:lnTo>
                    <a:pt x="363" y="1029"/>
                  </a:lnTo>
                  <a:lnTo>
                    <a:pt x="366" y="1031"/>
                  </a:lnTo>
                  <a:lnTo>
                    <a:pt x="370" y="1034"/>
                  </a:lnTo>
                  <a:lnTo>
                    <a:pt x="379" y="1036"/>
                  </a:lnTo>
                  <a:lnTo>
                    <a:pt x="380" y="1036"/>
                  </a:lnTo>
                  <a:lnTo>
                    <a:pt x="382" y="1036"/>
                  </a:lnTo>
                  <a:lnTo>
                    <a:pt x="383" y="1036"/>
                  </a:lnTo>
                  <a:lnTo>
                    <a:pt x="390" y="1038"/>
                  </a:lnTo>
                  <a:lnTo>
                    <a:pt x="393" y="1038"/>
                  </a:lnTo>
                  <a:lnTo>
                    <a:pt x="395" y="1038"/>
                  </a:lnTo>
                  <a:lnTo>
                    <a:pt x="396" y="1039"/>
                  </a:lnTo>
                  <a:lnTo>
                    <a:pt x="399" y="1041"/>
                  </a:lnTo>
                  <a:lnTo>
                    <a:pt x="399" y="1039"/>
                  </a:lnTo>
                  <a:lnTo>
                    <a:pt x="396" y="1035"/>
                  </a:lnTo>
                  <a:lnTo>
                    <a:pt x="396" y="1034"/>
                  </a:lnTo>
                  <a:lnTo>
                    <a:pt x="398" y="1034"/>
                  </a:lnTo>
                  <a:lnTo>
                    <a:pt x="400" y="1035"/>
                  </a:lnTo>
                  <a:lnTo>
                    <a:pt x="402" y="1034"/>
                  </a:lnTo>
                  <a:lnTo>
                    <a:pt x="403" y="1034"/>
                  </a:lnTo>
                  <a:lnTo>
                    <a:pt x="406" y="1034"/>
                  </a:lnTo>
                  <a:lnTo>
                    <a:pt x="409" y="1035"/>
                  </a:lnTo>
                  <a:lnTo>
                    <a:pt x="412" y="1038"/>
                  </a:lnTo>
                  <a:lnTo>
                    <a:pt x="416" y="1039"/>
                  </a:lnTo>
                  <a:lnTo>
                    <a:pt x="422" y="1044"/>
                  </a:lnTo>
                  <a:lnTo>
                    <a:pt x="425" y="1048"/>
                  </a:lnTo>
                  <a:lnTo>
                    <a:pt x="429" y="1052"/>
                  </a:lnTo>
                  <a:lnTo>
                    <a:pt x="430" y="1056"/>
                  </a:lnTo>
                  <a:lnTo>
                    <a:pt x="430" y="1058"/>
                  </a:lnTo>
                  <a:lnTo>
                    <a:pt x="430" y="1059"/>
                  </a:lnTo>
                  <a:lnTo>
                    <a:pt x="432" y="1059"/>
                  </a:lnTo>
                  <a:lnTo>
                    <a:pt x="432" y="1059"/>
                  </a:lnTo>
                  <a:lnTo>
                    <a:pt x="432" y="1064"/>
                  </a:lnTo>
                  <a:lnTo>
                    <a:pt x="430" y="1065"/>
                  </a:lnTo>
                  <a:lnTo>
                    <a:pt x="430" y="1065"/>
                  </a:lnTo>
                  <a:lnTo>
                    <a:pt x="428" y="1066"/>
                  </a:lnTo>
                  <a:lnTo>
                    <a:pt x="419" y="1065"/>
                  </a:lnTo>
                  <a:lnTo>
                    <a:pt x="418" y="1068"/>
                  </a:lnTo>
                  <a:lnTo>
                    <a:pt x="413" y="1071"/>
                  </a:lnTo>
                  <a:lnTo>
                    <a:pt x="413" y="1072"/>
                  </a:lnTo>
                  <a:lnTo>
                    <a:pt x="413" y="1074"/>
                  </a:lnTo>
                  <a:lnTo>
                    <a:pt x="413" y="1076"/>
                  </a:lnTo>
                  <a:lnTo>
                    <a:pt x="413" y="1076"/>
                  </a:lnTo>
                  <a:lnTo>
                    <a:pt x="409" y="1079"/>
                  </a:lnTo>
                  <a:lnTo>
                    <a:pt x="409" y="1081"/>
                  </a:lnTo>
                  <a:lnTo>
                    <a:pt x="412" y="1082"/>
                  </a:lnTo>
                  <a:lnTo>
                    <a:pt x="413" y="1085"/>
                  </a:lnTo>
                  <a:lnTo>
                    <a:pt x="416" y="1085"/>
                  </a:lnTo>
                  <a:lnTo>
                    <a:pt x="418" y="1085"/>
                  </a:lnTo>
                  <a:lnTo>
                    <a:pt x="422" y="1085"/>
                  </a:lnTo>
                  <a:lnTo>
                    <a:pt x="425" y="1088"/>
                  </a:lnTo>
                  <a:lnTo>
                    <a:pt x="428" y="1088"/>
                  </a:lnTo>
                  <a:lnTo>
                    <a:pt x="429" y="1088"/>
                  </a:lnTo>
                  <a:lnTo>
                    <a:pt x="430" y="1088"/>
                  </a:lnTo>
                  <a:lnTo>
                    <a:pt x="433" y="1089"/>
                  </a:lnTo>
                  <a:lnTo>
                    <a:pt x="438" y="1089"/>
                  </a:lnTo>
                  <a:lnTo>
                    <a:pt x="445" y="1089"/>
                  </a:lnTo>
                  <a:lnTo>
                    <a:pt x="446" y="1089"/>
                  </a:lnTo>
                  <a:lnTo>
                    <a:pt x="450" y="1091"/>
                  </a:lnTo>
                  <a:lnTo>
                    <a:pt x="456" y="1091"/>
                  </a:lnTo>
                  <a:lnTo>
                    <a:pt x="457" y="1091"/>
                  </a:lnTo>
                  <a:lnTo>
                    <a:pt x="459" y="1088"/>
                  </a:lnTo>
                  <a:lnTo>
                    <a:pt x="460" y="1088"/>
                  </a:lnTo>
                  <a:lnTo>
                    <a:pt x="462" y="1088"/>
                  </a:lnTo>
                  <a:lnTo>
                    <a:pt x="469" y="1086"/>
                  </a:lnTo>
                  <a:lnTo>
                    <a:pt x="470" y="1086"/>
                  </a:lnTo>
                  <a:lnTo>
                    <a:pt x="473" y="1086"/>
                  </a:lnTo>
                  <a:lnTo>
                    <a:pt x="475" y="1085"/>
                  </a:lnTo>
                  <a:lnTo>
                    <a:pt x="477" y="1084"/>
                  </a:lnTo>
                  <a:lnTo>
                    <a:pt x="477" y="1085"/>
                  </a:lnTo>
                  <a:lnTo>
                    <a:pt x="479" y="1085"/>
                  </a:lnTo>
                  <a:lnTo>
                    <a:pt x="480" y="1085"/>
                  </a:lnTo>
                  <a:lnTo>
                    <a:pt x="483" y="1084"/>
                  </a:lnTo>
                  <a:lnTo>
                    <a:pt x="490" y="1079"/>
                  </a:lnTo>
                  <a:lnTo>
                    <a:pt x="493" y="1079"/>
                  </a:lnTo>
                  <a:lnTo>
                    <a:pt x="495" y="1076"/>
                  </a:lnTo>
                  <a:lnTo>
                    <a:pt x="495" y="1076"/>
                  </a:lnTo>
                  <a:lnTo>
                    <a:pt x="495" y="1078"/>
                  </a:lnTo>
                  <a:lnTo>
                    <a:pt x="497" y="1082"/>
                  </a:lnTo>
                  <a:lnTo>
                    <a:pt x="497" y="1082"/>
                  </a:lnTo>
                  <a:lnTo>
                    <a:pt x="499" y="1082"/>
                  </a:lnTo>
                  <a:lnTo>
                    <a:pt x="500" y="1085"/>
                  </a:lnTo>
                  <a:lnTo>
                    <a:pt x="500" y="1088"/>
                  </a:lnTo>
                  <a:lnTo>
                    <a:pt x="502" y="1088"/>
                  </a:lnTo>
                  <a:lnTo>
                    <a:pt x="509" y="1088"/>
                  </a:lnTo>
                  <a:lnTo>
                    <a:pt x="510" y="1089"/>
                  </a:lnTo>
                  <a:lnTo>
                    <a:pt x="512" y="1089"/>
                  </a:lnTo>
                  <a:lnTo>
                    <a:pt x="512" y="1092"/>
                  </a:lnTo>
                  <a:lnTo>
                    <a:pt x="513" y="1096"/>
                  </a:lnTo>
                  <a:lnTo>
                    <a:pt x="513" y="1098"/>
                  </a:lnTo>
                  <a:lnTo>
                    <a:pt x="513" y="1101"/>
                  </a:lnTo>
                  <a:lnTo>
                    <a:pt x="515" y="1101"/>
                  </a:lnTo>
                  <a:lnTo>
                    <a:pt x="515" y="1101"/>
                  </a:lnTo>
                  <a:lnTo>
                    <a:pt x="516" y="1095"/>
                  </a:lnTo>
                  <a:lnTo>
                    <a:pt x="517" y="1094"/>
                  </a:lnTo>
                  <a:lnTo>
                    <a:pt x="519" y="1094"/>
                  </a:lnTo>
                  <a:lnTo>
                    <a:pt x="519" y="1094"/>
                  </a:lnTo>
                  <a:lnTo>
                    <a:pt x="520" y="1098"/>
                  </a:lnTo>
                  <a:lnTo>
                    <a:pt x="523" y="1102"/>
                  </a:lnTo>
                  <a:lnTo>
                    <a:pt x="529" y="1108"/>
                  </a:lnTo>
                  <a:lnTo>
                    <a:pt x="529" y="1111"/>
                  </a:lnTo>
                  <a:lnTo>
                    <a:pt x="529" y="1112"/>
                  </a:lnTo>
                  <a:lnTo>
                    <a:pt x="529" y="1114"/>
                  </a:lnTo>
                  <a:lnTo>
                    <a:pt x="529" y="1115"/>
                  </a:lnTo>
                  <a:lnTo>
                    <a:pt x="526" y="1115"/>
                  </a:lnTo>
                  <a:lnTo>
                    <a:pt x="525" y="1116"/>
                  </a:lnTo>
                  <a:lnTo>
                    <a:pt x="523" y="1116"/>
                  </a:lnTo>
                  <a:lnTo>
                    <a:pt x="520" y="1115"/>
                  </a:lnTo>
                  <a:lnTo>
                    <a:pt x="520" y="1115"/>
                  </a:lnTo>
                  <a:lnTo>
                    <a:pt x="520" y="1116"/>
                  </a:lnTo>
                  <a:lnTo>
                    <a:pt x="525" y="1121"/>
                  </a:lnTo>
                  <a:lnTo>
                    <a:pt x="526" y="1124"/>
                  </a:lnTo>
                  <a:lnTo>
                    <a:pt x="526" y="1124"/>
                  </a:lnTo>
                  <a:lnTo>
                    <a:pt x="527" y="1125"/>
                  </a:lnTo>
                  <a:lnTo>
                    <a:pt x="527" y="1126"/>
                  </a:lnTo>
                  <a:lnTo>
                    <a:pt x="529" y="1128"/>
                  </a:lnTo>
                  <a:lnTo>
                    <a:pt x="532" y="1131"/>
                  </a:lnTo>
                  <a:lnTo>
                    <a:pt x="533" y="1134"/>
                  </a:lnTo>
                  <a:lnTo>
                    <a:pt x="536" y="1139"/>
                  </a:lnTo>
                  <a:lnTo>
                    <a:pt x="537" y="1142"/>
                  </a:lnTo>
                  <a:lnTo>
                    <a:pt x="539" y="1142"/>
                  </a:lnTo>
                  <a:lnTo>
                    <a:pt x="540" y="1144"/>
                  </a:lnTo>
                  <a:lnTo>
                    <a:pt x="540" y="1142"/>
                  </a:lnTo>
                  <a:lnTo>
                    <a:pt x="535" y="1134"/>
                  </a:lnTo>
                  <a:lnTo>
                    <a:pt x="533" y="1129"/>
                  </a:lnTo>
                  <a:lnTo>
                    <a:pt x="532" y="1128"/>
                  </a:lnTo>
                  <a:lnTo>
                    <a:pt x="532" y="1126"/>
                  </a:lnTo>
                  <a:lnTo>
                    <a:pt x="532" y="1121"/>
                  </a:lnTo>
                  <a:lnTo>
                    <a:pt x="533" y="1119"/>
                  </a:lnTo>
                  <a:lnTo>
                    <a:pt x="535" y="1118"/>
                  </a:lnTo>
                  <a:lnTo>
                    <a:pt x="536" y="1121"/>
                  </a:lnTo>
                  <a:lnTo>
                    <a:pt x="537" y="1122"/>
                  </a:lnTo>
                  <a:lnTo>
                    <a:pt x="537" y="1121"/>
                  </a:lnTo>
                  <a:lnTo>
                    <a:pt x="537" y="1121"/>
                  </a:lnTo>
                  <a:lnTo>
                    <a:pt x="539" y="1121"/>
                  </a:lnTo>
                  <a:lnTo>
                    <a:pt x="540" y="1124"/>
                  </a:lnTo>
                  <a:lnTo>
                    <a:pt x="542" y="1124"/>
                  </a:lnTo>
                  <a:lnTo>
                    <a:pt x="540" y="1119"/>
                  </a:lnTo>
                  <a:lnTo>
                    <a:pt x="539" y="1118"/>
                  </a:lnTo>
                  <a:lnTo>
                    <a:pt x="539" y="1116"/>
                  </a:lnTo>
                  <a:lnTo>
                    <a:pt x="539" y="1114"/>
                  </a:lnTo>
                  <a:lnTo>
                    <a:pt x="539" y="1114"/>
                  </a:lnTo>
                  <a:lnTo>
                    <a:pt x="536" y="1111"/>
                  </a:lnTo>
                  <a:lnTo>
                    <a:pt x="535" y="1108"/>
                  </a:lnTo>
                  <a:lnTo>
                    <a:pt x="533" y="1102"/>
                  </a:lnTo>
                  <a:lnTo>
                    <a:pt x="533" y="1101"/>
                  </a:lnTo>
                  <a:lnTo>
                    <a:pt x="533" y="1099"/>
                  </a:lnTo>
                  <a:lnTo>
                    <a:pt x="533" y="1098"/>
                  </a:lnTo>
                  <a:lnTo>
                    <a:pt x="532" y="1094"/>
                  </a:lnTo>
                  <a:lnTo>
                    <a:pt x="530" y="1092"/>
                  </a:lnTo>
                  <a:lnTo>
                    <a:pt x="529" y="1089"/>
                  </a:lnTo>
                  <a:lnTo>
                    <a:pt x="529" y="1088"/>
                  </a:lnTo>
                  <a:lnTo>
                    <a:pt x="529" y="1085"/>
                  </a:lnTo>
                  <a:lnTo>
                    <a:pt x="530" y="1082"/>
                  </a:lnTo>
                  <a:lnTo>
                    <a:pt x="532" y="1081"/>
                  </a:lnTo>
                  <a:lnTo>
                    <a:pt x="532" y="1078"/>
                  </a:lnTo>
                  <a:lnTo>
                    <a:pt x="532" y="1076"/>
                  </a:lnTo>
                  <a:lnTo>
                    <a:pt x="532" y="1075"/>
                  </a:lnTo>
                  <a:lnTo>
                    <a:pt x="532" y="1075"/>
                  </a:lnTo>
                  <a:lnTo>
                    <a:pt x="536" y="1074"/>
                  </a:lnTo>
                  <a:lnTo>
                    <a:pt x="537" y="1075"/>
                  </a:lnTo>
                  <a:lnTo>
                    <a:pt x="539" y="1074"/>
                  </a:lnTo>
                  <a:lnTo>
                    <a:pt x="540" y="1072"/>
                  </a:lnTo>
                  <a:lnTo>
                    <a:pt x="542" y="1072"/>
                  </a:lnTo>
                  <a:lnTo>
                    <a:pt x="545" y="1072"/>
                  </a:lnTo>
                  <a:lnTo>
                    <a:pt x="546" y="1072"/>
                  </a:lnTo>
                  <a:lnTo>
                    <a:pt x="546" y="1071"/>
                  </a:lnTo>
                  <a:lnTo>
                    <a:pt x="547" y="1071"/>
                  </a:lnTo>
                  <a:lnTo>
                    <a:pt x="549" y="1068"/>
                  </a:lnTo>
                  <a:lnTo>
                    <a:pt x="549" y="1068"/>
                  </a:lnTo>
                  <a:lnTo>
                    <a:pt x="552" y="1068"/>
                  </a:lnTo>
                  <a:lnTo>
                    <a:pt x="553" y="1068"/>
                  </a:lnTo>
                  <a:lnTo>
                    <a:pt x="553" y="1068"/>
                  </a:lnTo>
                  <a:lnTo>
                    <a:pt x="553" y="1064"/>
                  </a:lnTo>
                  <a:lnTo>
                    <a:pt x="553" y="1064"/>
                  </a:lnTo>
                  <a:lnTo>
                    <a:pt x="556" y="1061"/>
                  </a:lnTo>
                  <a:lnTo>
                    <a:pt x="557" y="1059"/>
                  </a:lnTo>
                  <a:lnTo>
                    <a:pt x="559" y="1059"/>
                  </a:lnTo>
                  <a:lnTo>
                    <a:pt x="562" y="1058"/>
                  </a:lnTo>
                  <a:lnTo>
                    <a:pt x="562" y="1056"/>
                  </a:lnTo>
                  <a:lnTo>
                    <a:pt x="563" y="1054"/>
                  </a:lnTo>
                  <a:lnTo>
                    <a:pt x="564" y="1051"/>
                  </a:lnTo>
                  <a:lnTo>
                    <a:pt x="563" y="1051"/>
                  </a:lnTo>
                  <a:lnTo>
                    <a:pt x="562" y="1049"/>
                  </a:lnTo>
                  <a:lnTo>
                    <a:pt x="560" y="1049"/>
                  </a:lnTo>
                  <a:lnTo>
                    <a:pt x="556" y="1052"/>
                  </a:lnTo>
                  <a:lnTo>
                    <a:pt x="553" y="1055"/>
                  </a:lnTo>
                  <a:lnTo>
                    <a:pt x="552" y="1056"/>
                  </a:lnTo>
                  <a:lnTo>
                    <a:pt x="552" y="1059"/>
                  </a:lnTo>
                  <a:lnTo>
                    <a:pt x="550" y="1061"/>
                  </a:lnTo>
                  <a:lnTo>
                    <a:pt x="547" y="1059"/>
                  </a:lnTo>
                  <a:lnTo>
                    <a:pt x="546" y="1059"/>
                  </a:lnTo>
                  <a:lnTo>
                    <a:pt x="545" y="1061"/>
                  </a:lnTo>
                  <a:lnTo>
                    <a:pt x="543" y="1062"/>
                  </a:lnTo>
                  <a:lnTo>
                    <a:pt x="542" y="1064"/>
                  </a:lnTo>
                  <a:lnTo>
                    <a:pt x="539" y="1064"/>
                  </a:lnTo>
                  <a:lnTo>
                    <a:pt x="536" y="1062"/>
                  </a:lnTo>
                  <a:lnTo>
                    <a:pt x="535" y="1062"/>
                  </a:lnTo>
                  <a:lnTo>
                    <a:pt x="532" y="1065"/>
                  </a:lnTo>
                  <a:lnTo>
                    <a:pt x="532" y="1066"/>
                  </a:lnTo>
                  <a:lnTo>
                    <a:pt x="533" y="1068"/>
                  </a:lnTo>
                  <a:lnTo>
                    <a:pt x="532" y="1069"/>
                  </a:lnTo>
                  <a:lnTo>
                    <a:pt x="527" y="1069"/>
                  </a:lnTo>
                  <a:lnTo>
                    <a:pt x="526" y="1069"/>
                  </a:lnTo>
                  <a:lnTo>
                    <a:pt x="523" y="1071"/>
                  </a:lnTo>
                  <a:lnTo>
                    <a:pt x="523" y="1071"/>
                  </a:lnTo>
                  <a:lnTo>
                    <a:pt x="522" y="1069"/>
                  </a:lnTo>
                  <a:lnTo>
                    <a:pt x="517" y="1065"/>
                  </a:lnTo>
                  <a:lnTo>
                    <a:pt x="516" y="1064"/>
                  </a:lnTo>
                  <a:lnTo>
                    <a:pt x="517" y="1061"/>
                  </a:lnTo>
                  <a:lnTo>
                    <a:pt x="523" y="1051"/>
                  </a:lnTo>
                  <a:lnTo>
                    <a:pt x="523" y="1051"/>
                  </a:lnTo>
                  <a:lnTo>
                    <a:pt x="532" y="1048"/>
                  </a:lnTo>
                  <a:lnTo>
                    <a:pt x="537" y="1046"/>
                  </a:lnTo>
                  <a:lnTo>
                    <a:pt x="547" y="1041"/>
                  </a:lnTo>
                  <a:lnTo>
                    <a:pt x="549" y="1041"/>
                  </a:lnTo>
                  <a:lnTo>
                    <a:pt x="554" y="1038"/>
                  </a:lnTo>
                  <a:lnTo>
                    <a:pt x="557" y="1036"/>
                  </a:lnTo>
                  <a:lnTo>
                    <a:pt x="560" y="1036"/>
                  </a:lnTo>
                  <a:lnTo>
                    <a:pt x="563" y="1039"/>
                  </a:lnTo>
                  <a:lnTo>
                    <a:pt x="564" y="1041"/>
                  </a:lnTo>
                  <a:lnTo>
                    <a:pt x="566" y="1042"/>
                  </a:lnTo>
                  <a:lnTo>
                    <a:pt x="567" y="1045"/>
                  </a:lnTo>
                  <a:lnTo>
                    <a:pt x="569" y="1052"/>
                  </a:lnTo>
                  <a:lnTo>
                    <a:pt x="569" y="1056"/>
                  </a:lnTo>
                  <a:lnTo>
                    <a:pt x="570" y="1059"/>
                  </a:lnTo>
                  <a:lnTo>
                    <a:pt x="573" y="1062"/>
                  </a:lnTo>
                  <a:lnTo>
                    <a:pt x="574" y="1064"/>
                  </a:lnTo>
                  <a:lnTo>
                    <a:pt x="576" y="1064"/>
                  </a:lnTo>
                  <a:lnTo>
                    <a:pt x="576" y="1064"/>
                  </a:lnTo>
                  <a:lnTo>
                    <a:pt x="577" y="1064"/>
                  </a:lnTo>
                  <a:lnTo>
                    <a:pt x="577" y="1064"/>
                  </a:lnTo>
                  <a:lnTo>
                    <a:pt x="577" y="1066"/>
                  </a:lnTo>
                  <a:lnTo>
                    <a:pt x="577" y="1066"/>
                  </a:lnTo>
                  <a:lnTo>
                    <a:pt x="580" y="1066"/>
                  </a:lnTo>
                  <a:lnTo>
                    <a:pt x="582" y="1066"/>
                  </a:lnTo>
                  <a:lnTo>
                    <a:pt x="582" y="1068"/>
                  </a:lnTo>
                  <a:lnTo>
                    <a:pt x="582" y="1071"/>
                  </a:lnTo>
                  <a:lnTo>
                    <a:pt x="582" y="1072"/>
                  </a:lnTo>
                  <a:lnTo>
                    <a:pt x="584" y="1074"/>
                  </a:lnTo>
                  <a:lnTo>
                    <a:pt x="586" y="1075"/>
                  </a:lnTo>
                  <a:lnTo>
                    <a:pt x="589" y="1075"/>
                  </a:lnTo>
                  <a:lnTo>
                    <a:pt x="593" y="1075"/>
                  </a:lnTo>
                  <a:lnTo>
                    <a:pt x="597" y="1074"/>
                  </a:lnTo>
                  <a:lnTo>
                    <a:pt x="600" y="1072"/>
                  </a:lnTo>
                  <a:lnTo>
                    <a:pt x="603" y="1074"/>
                  </a:lnTo>
                  <a:lnTo>
                    <a:pt x="607" y="1079"/>
                  </a:lnTo>
                  <a:lnTo>
                    <a:pt x="610" y="1084"/>
                  </a:lnTo>
                  <a:lnTo>
                    <a:pt x="613" y="1085"/>
                  </a:lnTo>
                  <a:lnTo>
                    <a:pt x="617" y="1086"/>
                  </a:lnTo>
                  <a:lnTo>
                    <a:pt x="619" y="1088"/>
                  </a:lnTo>
                  <a:lnTo>
                    <a:pt x="620" y="1088"/>
                  </a:lnTo>
                  <a:lnTo>
                    <a:pt x="623" y="1088"/>
                  </a:lnTo>
                  <a:lnTo>
                    <a:pt x="626" y="1088"/>
                  </a:lnTo>
                  <a:lnTo>
                    <a:pt x="629" y="1089"/>
                  </a:lnTo>
                  <a:lnTo>
                    <a:pt x="632" y="1089"/>
                  </a:lnTo>
                  <a:lnTo>
                    <a:pt x="639" y="1086"/>
                  </a:lnTo>
                  <a:lnTo>
                    <a:pt x="640" y="1086"/>
                  </a:lnTo>
                  <a:lnTo>
                    <a:pt x="643" y="1085"/>
                  </a:lnTo>
                  <a:lnTo>
                    <a:pt x="644" y="1085"/>
                  </a:lnTo>
                  <a:lnTo>
                    <a:pt x="646" y="1085"/>
                  </a:lnTo>
                  <a:lnTo>
                    <a:pt x="647" y="1085"/>
                  </a:lnTo>
                  <a:lnTo>
                    <a:pt x="649" y="1084"/>
                  </a:lnTo>
                  <a:lnTo>
                    <a:pt x="653" y="1084"/>
                  </a:lnTo>
                  <a:lnTo>
                    <a:pt x="660" y="1085"/>
                  </a:lnTo>
                  <a:lnTo>
                    <a:pt x="664" y="1086"/>
                  </a:lnTo>
                  <a:lnTo>
                    <a:pt x="667" y="1088"/>
                  </a:lnTo>
                  <a:lnTo>
                    <a:pt x="670" y="1088"/>
                  </a:lnTo>
                  <a:lnTo>
                    <a:pt x="671" y="1089"/>
                  </a:lnTo>
                  <a:lnTo>
                    <a:pt x="673" y="1088"/>
                  </a:lnTo>
                  <a:lnTo>
                    <a:pt x="676" y="1088"/>
                  </a:lnTo>
                  <a:lnTo>
                    <a:pt x="677" y="1086"/>
                  </a:lnTo>
                  <a:lnTo>
                    <a:pt x="681" y="1085"/>
                  </a:lnTo>
                  <a:lnTo>
                    <a:pt x="681" y="1085"/>
                  </a:lnTo>
                  <a:lnTo>
                    <a:pt x="681" y="1084"/>
                  </a:lnTo>
                  <a:lnTo>
                    <a:pt x="680" y="1082"/>
                  </a:lnTo>
                  <a:lnTo>
                    <a:pt x="679" y="1081"/>
                  </a:lnTo>
                  <a:lnTo>
                    <a:pt x="677" y="1078"/>
                  </a:lnTo>
                  <a:lnTo>
                    <a:pt x="677" y="1076"/>
                  </a:lnTo>
                  <a:lnTo>
                    <a:pt x="677" y="1075"/>
                  </a:lnTo>
                  <a:lnTo>
                    <a:pt x="677" y="1074"/>
                  </a:lnTo>
                  <a:lnTo>
                    <a:pt x="679" y="1074"/>
                  </a:lnTo>
                  <a:lnTo>
                    <a:pt x="680" y="1075"/>
                  </a:lnTo>
                  <a:lnTo>
                    <a:pt x="681" y="1078"/>
                  </a:lnTo>
                  <a:lnTo>
                    <a:pt x="687" y="1086"/>
                  </a:lnTo>
                  <a:lnTo>
                    <a:pt x="689" y="1088"/>
                  </a:lnTo>
                  <a:lnTo>
                    <a:pt x="689" y="1089"/>
                  </a:lnTo>
                  <a:lnTo>
                    <a:pt x="694" y="1092"/>
                  </a:lnTo>
                  <a:lnTo>
                    <a:pt x="697" y="1094"/>
                  </a:lnTo>
                  <a:lnTo>
                    <a:pt x="700" y="1091"/>
                  </a:lnTo>
                  <a:lnTo>
                    <a:pt x="701" y="1089"/>
                  </a:lnTo>
                  <a:lnTo>
                    <a:pt x="701" y="1088"/>
                  </a:lnTo>
                  <a:lnTo>
                    <a:pt x="701" y="1086"/>
                  </a:lnTo>
                  <a:lnTo>
                    <a:pt x="701" y="1085"/>
                  </a:lnTo>
                  <a:lnTo>
                    <a:pt x="701" y="1084"/>
                  </a:lnTo>
                  <a:lnTo>
                    <a:pt x="701" y="1082"/>
                  </a:lnTo>
                  <a:lnTo>
                    <a:pt x="699" y="1081"/>
                  </a:lnTo>
                  <a:lnTo>
                    <a:pt x="696" y="1078"/>
                  </a:lnTo>
                  <a:lnTo>
                    <a:pt x="693" y="1078"/>
                  </a:lnTo>
                  <a:lnTo>
                    <a:pt x="690" y="1079"/>
                  </a:lnTo>
                  <a:lnTo>
                    <a:pt x="686" y="1081"/>
                  </a:lnTo>
                  <a:lnTo>
                    <a:pt x="686" y="1079"/>
                  </a:lnTo>
                  <a:lnTo>
                    <a:pt x="681" y="1074"/>
                  </a:lnTo>
                  <a:lnTo>
                    <a:pt x="680" y="1072"/>
                  </a:lnTo>
                  <a:lnTo>
                    <a:pt x="680" y="1071"/>
                  </a:lnTo>
                  <a:lnTo>
                    <a:pt x="681" y="1072"/>
                  </a:lnTo>
                  <a:lnTo>
                    <a:pt x="681" y="1071"/>
                  </a:lnTo>
                  <a:lnTo>
                    <a:pt x="681" y="1068"/>
                  </a:lnTo>
                  <a:lnTo>
                    <a:pt x="680" y="1066"/>
                  </a:lnTo>
                  <a:lnTo>
                    <a:pt x="679" y="1062"/>
                  </a:lnTo>
                  <a:lnTo>
                    <a:pt x="677" y="1061"/>
                  </a:lnTo>
                  <a:lnTo>
                    <a:pt x="679" y="1061"/>
                  </a:lnTo>
                  <a:lnTo>
                    <a:pt x="680" y="1061"/>
                  </a:lnTo>
                  <a:lnTo>
                    <a:pt x="680" y="1061"/>
                  </a:lnTo>
                  <a:lnTo>
                    <a:pt x="684" y="1064"/>
                  </a:lnTo>
                  <a:lnTo>
                    <a:pt x="687" y="1062"/>
                  </a:lnTo>
                  <a:lnTo>
                    <a:pt x="691" y="1059"/>
                  </a:lnTo>
                  <a:lnTo>
                    <a:pt x="690" y="1058"/>
                  </a:lnTo>
                  <a:lnTo>
                    <a:pt x="689" y="1055"/>
                  </a:lnTo>
                  <a:lnTo>
                    <a:pt x="690" y="1054"/>
                  </a:lnTo>
                  <a:lnTo>
                    <a:pt x="691" y="1054"/>
                  </a:lnTo>
                  <a:lnTo>
                    <a:pt x="694" y="1056"/>
                  </a:lnTo>
                  <a:lnTo>
                    <a:pt x="696" y="1056"/>
                  </a:lnTo>
                  <a:lnTo>
                    <a:pt x="696" y="1055"/>
                  </a:lnTo>
                  <a:lnTo>
                    <a:pt x="697" y="1055"/>
                  </a:lnTo>
                  <a:lnTo>
                    <a:pt x="699" y="1056"/>
                  </a:lnTo>
                  <a:lnTo>
                    <a:pt x="700" y="1056"/>
                  </a:lnTo>
                  <a:lnTo>
                    <a:pt x="701" y="1061"/>
                  </a:lnTo>
                  <a:lnTo>
                    <a:pt x="703" y="1062"/>
                  </a:lnTo>
                  <a:lnTo>
                    <a:pt x="704" y="1065"/>
                  </a:lnTo>
                  <a:lnTo>
                    <a:pt x="704" y="1065"/>
                  </a:lnTo>
                  <a:lnTo>
                    <a:pt x="710" y="1066"/>
                  </a:lnTo>
                  <a:lnTo>
                    <a:pt x="713" y="1064"/>
                  </a:lnTo>
                  <a:lnTo>
                    <a:pt x="713" y="1064"/>
                  </a:lnTo>
                  <a:lnTo>
                    <a:pt x="713" y="1066"/>
                  </a:lnTo>
                  <a:lnTo>
                    <a:pt x="709" y="1074"/>
                  </a:lnTo>
                  <a:lnTo>
                    <a:pt x="709" y="1075"/>
                  </a:lnTo>
                  <a:lnTo>
                    <a:pt x="710" y="1075"/>
                  </a:lnTo>
                  <a:lnTo>
                    <a:pt x="711" y="1074"/>
                  </a:lnTo>
                  <a:lnTo>
                    <a:pt x="713" y="1074"/>
                  </a:lnTo>
                  <a:lnTo>
                    <a:pt x="713" y="1071"/>
                  </a:lnTo>
                  <a:lnTo>
                    <a:pt x="713" y="1071"/>
                  </a:lnTo>
                  <a:lnTo>
                    <a:pt x="719" y="1066"/>
                  </a:lnTo>
                  <a:lnTo>
                    <a:pt x="720" y="1066"/>
                  </a:lnTo>
                  <a:lnTo>
                    <a:pt x="720" y="1069"/>
                  </a:lnTo>
                  <a:lnTo>
                    <a:pt x="717" y="1084"/>
                  </a:lnTo>
                  <a:lnTo>
                    <a:pt x="717" y="1089"/>
                  </a:lnTo>
                  <a:lnTo>
                    <a:pt x="717" y="1091"/>
                  </a:lnTo>
                  <a:lnTo>
                    <a:pt x="714" y="1095"/>
                  </a:lnTo>
                  <a:lnTo>
                    <a:pt x="714" y="1098"/>
                  </a:lnTo>
                  <a:lnTo>
                    <a:pt x="717" y="1102"/>
                  </a:lnTo>
                  <a:lnTo>
                    <a:pt x="717" y="1104"/>
                  </a:lnTo>
                  <a:lnTo>
                    <a:pt x="717" y="1106"/>
                  </a:lnTo>
                  <a:lnTo>
                    <a:pt x="719" y="1108"/>
                  </a:lnTo>
                  <a:lnTo>
                    <a:pt x="720" y="1108"/>
                  </a:lnTo>
                  <a:lnTo>
                    <a:pt x="721" y="1106"/>
                  </a:lnTo>
                  <a:lnTo>
                    <a:pt x="724" y="1105"/>
                  </a:lnTo>
                  <a:lnTo>
                    <a:pt x="726" y="1106"/>
                  </a:lnTo>
                  <a:lnTo>
                    <a:pt x="724" y="1111"/>
                  </a:lnTo>
                  <a:lnTo>
                    <a:pt x="724" y="1111"/>
                  </a:lnTo>
                  <a:lnTo>
                    <a:pt x="726" y="1109"/>
                  </a:lnTo>
                  <a:lnTo>
                    <a:pt x="727" y="1109"/>
                  </a:lnTo>
                  <a:lnTo>
                    <a:pt x="727" y="1109"/>
                  </a:lnTo>
                  <a:lnTo>
                    <a:pt x="730" y="1112"/>
                  </a:lnTo>
                  <a:lnTo>
                    <a:pt x="730" y="1114"/>
                  </a:lnTo>
                  <a:lnTo>
                    <a:pt x="730" y="1116"/>
                  </a:lnTo>
                  <a:lnTo>
                    <a:pt x="730" y="1118"/>
                  </a:lnTo>
                  <a:lnTo>
                    <a:pt x="729" y="1119"/>
                  </a:lnTo>
                  <a:lnTo>
                    <a:pt x="729" y="1119"/>
                  </a:lnTo>
                  <a:lnTo>
                    <a:pt x="727" y="1119"/>
                  </a:lnTo>
                  <a:lnTo>
                    <a:pt x="726" y="1119"/>
                  </a:lnTo>
                  <a:lnTo>
                    <a:pt x="724" y="1119"/>
                  </a:lnTo>
                  <a:lnTo>
                    <a:pt x="723" y="1119"/>
                  </a:lnTo>
                  <a:lnTo>
                    <a:pt x="721" y="1118"/>
                  </a:lnTo>
                  <a:lnTo>
                    <a:pt x="720" y="1118"/>
                  </a:lnTo>
                  <a:lnTo>
                    <a:pt x="719" y="1119"/>
                  </a:lnTo>
                  <a:lnTo>
                    <a:pt x="717" y="1119"/>
                  </a:lnTo>
                  <a:lnTo>
                    <a:pt x="714" y="1115"/>
                  </a:lnTo>
                  <a:lnTo>
                    <a:pt x="714" y="1116"/>
                  </a:lnTo>
                  <a:lnTo>
                    <a:pt x="713" y="1116"/>
                  </a:lnTo>
                  <a:lnTo>
                    <a:pt x="713" y="1116"/>
                  </a:lnTo>
                  <a:lnTo>
                    <a:pt x="714" y="1119"/>
                  </a:lnTo>
                  <a:lnTo>
                    <a:pt x="721" y="1129"/>
                  </a:lnTo>
                  <a:lnTo>
                    <a:pt x="723" y="1131"/>
                  </a:lnTo>
                  <a:lnTo>
                    <a:pt x="723" y="1134"/>
                  </a:lnTo>
                  <a:lnTo>
                    <a:pt x="723" y="1134"/>
                  </a:lnTo>
                  <a:lnTo>
                    <a:pt x="724" y="1131"/>
                  </a:lnTo>
                  <a:lnTo>
                    <a:pt x="724" y="1129"/>
                  </a:lnTo>
                  <a:lnTo>
                    <a:pt x="720" y="1124"/>
                  </a:lnTo>
                  <a:lnTo>
                    <a:pt x="720" y="1122"/>
                  </a:lnTo>
                  <a:lnTo>
                    <a:pt x="720" y="1121"/>
                  </a:lnTo>
                  <a:lnTo>
                    <a:pt x="720" y="1121"/>
                  </a:lnTo>
                  <a:lnTo>
                    <a:pt x="726" y="1122"/>
                  </a:lnTo>
                  <a:lnTo>
                    <a:pt x="729" y="1122"/>
                  </a:lnTo>
                  <a:lnTo>
                    <a:pt x="730" y="1121"/>
                  </a:lnTo>
                  <a:lnTo>
                    <a:pt x="730" y="1119"/>
                  </a:lnTo>
                  <a:lnTo>
                    <a:pt x="731" y="1112"/>
                  </a:lnTo>
                  <a:lnTo>
                    <a:pt x="731" y="1108"/>
                  </a:lnTo>
                  <a:lnTo>
                    <a:pt x="731" y="1104"/>
                  </a:lnTo>
                  <a:lnTo>
                    <a:pt x="730" y="1096"/>
                  </a:lnTo>
                  <a:lnTo>
                    <a:pt x="729" y="1094"/>
                  </a:lnTo>
                  <a:lnTo>
                    <a:pt x="726" y="1089"/>
                  </a:lnTo>
                  <a:lnTo>
                    <a:pt x="726" y="1088"/>
                  </a:lnTo>
                  <a:lnTo>
                    <a:pt x="729" y="1076"/>
                  </a:lnTo>
                  <a:lnTo>
                    <a:pt x="730" y="1075"/>
                  </a:lnTo>
                  <a:lnTo>
                    <a:pt x="730" y="1075"/>
                  </a:lnTo>
                  <a:lnTo>
                    <a:pt x="733" y="1074"/>
                  </a:lnTo>
                  <a:lnTo>
                    <a:pt x="734" y="1074"/>
                  </a:lnTo>
                  <a:lnTo>
                    <a:pt x="737" y="1075"/>
                  </a:lnTo>
                  <a:lnTo>
                    <a:pt x="738" y="1075"/>
                  </a:lnTo>
                  <a:lnTo>
                    <a:pt x="740" y="1074"/>
                  </a:lnTo>
                  <a:lnTo>
                    <a:pt x="744" y="1068"/>
                  </a:lnTo>
                  <a:lnTo>
                    <a:pt x="746" y="1066"/>
                  </a:lnTo>
                  <a:lnTo>
                    <a:pt x="748" y="1064"/>
                  </a:lnTo>
                  <a:lnTo>
                    <a:pt x="750" y="1059"/>
                  </a:lnTo>
                  <a:lnTo>
                    <a:pt x="753" y="1056"/>
                  </a:lnTo>
                  <a:lnTo>
                    <a:pt x="757" y="1054"/>
                  </a:lnTo>
                  <a:lnTo>
                    <a:pt x="760" y="1051"/>
                  </a:lnTo>
                  <a:lnTo>
                    <a:pt x="761" y="1049"/>
                  </a:lnTo>
                  <a:lnTo>
                    <a:pt x="758" y="1049"/>
                  </a:lnTo>
                  <a:lnTo>
                    <a:pt x="758" y="1049"/>
                  </a:lnTo>
                  <a:lnTo>
                    <a:pt x="757" y="1046"/>
                  </a:lnTo>
                  <a:lnTo>
                    <a:pt x="757" y="1042"/>
                  </a:lnTo>
                  <a:lnTo>
                    <a:pt x="757" y="1041"/>
                  </a:lnTo>
                  <a:lnTo>
                    <a:pt x="757" y="1038"/>
                  </a:lnTo>
                  <a:lnTo>
                    <a:pt x="757" y="1036"/>
                  </a:lnTo>
                  <a:lnTo>
                    <a:pt x="756" y="1035"/>
                  </a:lnTo>
                  <a:lnTo>
                    <a:pt x="756" y="1034"/>
                  </a:lnTo>
                  <a:lnTo>
                    <a:pt x="754" y="1034"/>
                  </a:lnTo>
                  <a:lnTo>
                    <a:pt x="754" y="1034"/>
                  </a:lnTo>
                  <a:lnTo>
                    <a:pt x="754" y="1034"/>
                  </a:lnTo>
                  <a:lnTo>
                    <a:pt x="753" y="1038"/>
                  </a:lnTo>
                  <a:lnTo>
                    <a:pt x="753" y="1041"/>
                  </a:lnTo>
                  <a:lnTo>
                    <a:pt x="751" y="1042"/>
                  </a:lnTo>
                  <a:lnTo>
                    <a:pt x="748" y="1044"/>
                  </a:lnTo>
                  <a:lnTo>
                    <a:pt x="744" y="1045"/>
                  </a:lnTo>
                  <a:lnTo>
                    <a:pt x="743" y="1044"/>
                  </a:lnTo>
                  <a:lnTo>
                    <a:pt x="743" y="1042"/>
                  </a:lnTo>
                  <a:lnTo>
                    <a:pt x="743" y="1036"/>
                  </a:lnTo>
                  <a:lnTo>
                    <a:pt x="744" y="1035"/>
                  </a:lnTo>
                  <a:lnTo>
                    <a:pt x="748" y="1031"/>
                  </a:lnTo>
                  <a:lnTo>
                    <a:pt x="751" y="1028"/>
                  </a:lnTo>
                  <a:lnTo>
                    <a:pt x="751" y="1026"/>
                  </a:lnTo>
                  <a:lnTo>
                    <a:pt x="748" y="1026"/>
                  </a:lnTo>
                  <a:lnTo>
                    <a:pt x="748" y="1026"/>
                  </a:lnTo>
                  <a:lnTo>
                    <a:pt x="747" y="1022"/>
                  </a:lnTo>
                  <a:lnTo>
                    <a:pt x="747" y="1021"/>
                  </a:lnTo>
                  <a:lnTo>
                    <a:pt x="748" y="1019"/>
                  </a:lnTo>
                  <a:lnTo>
                    <a:pt x="750" y="1018"/>
                  </a:lnTo>
                  <a:lnTo>
                    <a:pt x="754" y="1016"/>
                  </a:lnTo>
                  <a:lnTo>
                    <a:pt x="758" y="1014"/>
                  </a:lnTo>
                  <a:lnTo>
                    <a:pt x="758" y="1015"/>
                  </a:lnTo>
                  <a:lnTo>
                    <a:pt x="756" y="1021"/>
                  </a:lnTo>
                  <a:lnTo>
                    <a:pt x="756" y="1022"/>
                  </a:lnTo>
                  <a:lnTo>
                    <a:pt x="756" y="1022"/>
                  </a:lnTo>
                  <a:lnTo>
                    <a:pt x="758" y="1019"/>
                  </a:lnTo>
                  <a:lnTo>
                    <a:pt x="761" y="1016"/>
                  </a:lnTo>
                  <a:lnTo>
                    <a:pt x="761" y="1016"/>
                  </a:lnTo>
                  <a:lnTo>
                    <a:pt x="760" y="1015"/>
                  </a:lnTo>
                  <a:lnTo>
                    <a:pt x="760" y="1015"/>
                  </a:lnTo>
                  <a:lnTo>
                    <a:pt x="760" y="1012"/>
                  </a:lnTo>
                  <a:lnTo>
                    <a:pt x="760" y="1011"/>
                  </a:lnTo>
                  <a:lnTo>
                    <a:pt x="757" y="1009"/>
                  </a:lnTo>
                  <a:lnTo>
                    <a:pt x="756" y="1011"/>
                  </a:lnTo>
                  <a:lnTo>
                    <a:pt x="754" y="1012"/>
                  </a:lnTo>
                  <a:lnTo>
                    <a:pt x="751" y="1012"/>
                  </a:lnTo>
                  <a:lnTo>
                    <a:pt x="750" y="1012"/>
                  </a:lnTo>
                  <a:lnTo>
                    <a:pt x="748" y="1012"/>
                  </a:lnTo>
                  <a:lnTo>
                    <a:pt x="747" y="1012"/>
                  </a:lnTo>
                  <a:lnTo>
                    <a:pt x="746" y="1009"/>
                  </a:lnTo>
                  <a:lnTo>
                    <a:pt x="744" y="1006"/>
                  </a:lnTo>
                  <a:lnTo>
                    <a:pt x="741" y="1004"/>
                  </a:lnTo>
                  <a:lnTo>
                    <a:pt x="741" y="1004"/>
                  </a:lnTo>
                  <a:lnTo>
                    <a:pt x="741" y="1004"/>
                  </a:lnTo>
                  <a:lnTo>
                    <a:pt x="740" y="1006"/>
                  </a:lnTo>
                  <a:lnTo>
                    <a:pt x="738" y="1006"/>
                  </a:lnTo>
                  <a:lnTo>
                    <a:pt x="731" y="1002"/>
                  </a:lnTo>
                  <a:lnTo>
                    <a:pt x="729" y="1001"/>
                  </a:lnTo>
                  <a:lnTo>
                    <a:pt x="727" y="998"/>
                  </a:lnTo>
                  <a:lnTo>
                    <a:pt x="724" y="998"/>
                  </a:lnTo>
                  <a:lnTo>
                    <a:pt x="723" y="998"/>
                  </a:lnTo>
                  <a:lnTo>
                    <a:pt x="721" y="996"/>
                  </a:lnTo>
                  <a:lnTo>
                    <a:pt x="720" y="995"/>
                  </a:lnTo>
                  <a:lnTo>
                    <a:pt x="719" y="994"/>
                  </a:lnTo>
                  <a:lnTo>
                    <a:pt x="717" y="991"/>
                  </a:lnTo>
                  <a:lnTo>
                    <a:pt x="716" y="988"/>
                  </a:lnTo>
                  <a:lnTo>
                    <a:pt x="713" y="981"/>
                  </a:lnTo>
                  <a:lnTo>
                    <a:pt x="711" y="978"/>
                  </a:lnTo>
                  <a:lnTo>
                    <a:pt x="711" y="976"/>
                  </a:lnTo>
                  <a:lnTo>
                    <a:pt x="711" y="972"/>
                  </a:lnTo>
                  <a:lnTo>
                    <a:pt x="714" y="965"/>
                  </a:lnTo>
                  <a:lnTo>
                    <a:pt x="716" y="964"/>
                  </a:lnTo>
                  <a:lnTo>
                    <a:pt x="717" y="962"/>
                  </a:lnTo>
                  <a:lnTo>
                    <a:pt x="719" y="961"/>
                  </a:lnTo>
                  <a:lnTo>
                    <a:pt x="720" y="961"/>
                  </a:lnTo>
                  <a:lnTo>
                    <a:pt x="721" y="961"/>
                  </a:lnTo>
                  <a:lnTo>
                    <a:pt x="720" y="959"/>
                  </a:lnTo>
                  <a:lnTo>
                    <a:pt x="720" y="958"/>
                  </a:lnTo>
                  <a:lnTo>
                    <a:pt x="721" y="954"/>
                  </a:lnTo>
                  <a:lnTo>
                    <a:pt x="721" y="954"/>
                  </a:lnTo>
                  <a:lnTo>
                    <a:pt x="717" y="957"/>
                  </a:lnTo>
                  <a:lnTo>
                    <a:pt x="716" y="957"/>
                  </a:lnTo>
                  <a:lnTo>
                    <a:pt x="714" y="955"/>
                  </a:lnTo>
                  <a:lnTo>
                    <a:pt x="711" y="948"/>
                  </a:lnTo>
                  <a:lnTo>
                    <a:pt x="711" y="945"/>
                  </a:lnTo>
                  <a:lnTo>
                    <a:pt x="713" y="939"/>
                  </a:lnTo>
                  <a:lnTo>
                    <a:pt x="713" y="937"/>
                  </a:lnTo>
                  <a:lnTo>
                    <a:pt x="711" y="934"/>
                  </a:lnTo>
                  <a:lnTo>
                    <a:pt x="711" y="932"/>
                  </a:lnTo>
                  <a:lnTo>
                    <a:pt x="713" y="931"/>
                  </a:lnTo>
                  <a:lnTo>
                    <a:pt x="713" y="931"/>
                  </a:lnTo>
                  <a:lnTo>
                    <a:pt x="713" y="928"/>
                  </a:lnTo>
                  <a:lnTo>
                    <a:pt x="714" y="925"/>
                  </a:lnTo>
                  <a:lnTo>
                    <a:pt x="716" y="922"/>
                  </a:lnTo>
                  <a:lnTo>
                    <a:pt x="719" y="919"/>
                  </a:lnTo>
                  <a:lnTo>
                    <a:pt x="719" y="918"/>
                  </a:lnTo>
                  <a:lnTo>
                    <a:pt x="720" y="919"/>
                  </a:lnTo>
                  <a:lnTo>
                    <a:pt x="721" y="919"/>
                  </a:lnTo>
                  <a:lnTo>
                    <a:pt x="723" y="921"/>
                  </a:lnTo>
                  <a:lnTo>
                    <a:pt x="724" y="922"/>
                  </a:lnTo>
                  <a:lnTo>
                    <a:pt x="726" y="924"/>
                  </a:lnTo>
                  <a:lnTo>
                    <a:pt x="727" y="922"/>
                  </a:lnTo>
                  <a:lnTo>
                    <a:pt x="729" y="917"/>
                  </a:lnTo>
                  <a:lnTo>
                    <a:pt x="730" y="915"/>
                  </a:lnTo>
                  <a:lnTo>
                    <a:pt x="729" y="914"/>
                  </a:lnTo>
                  <a:lnTo>
                    <a:pt x="726" y="914"/>
                  </a:lnTo>
                  <a:lnTo>
                    <a:pt x="724" y="914"/>
                  </a:lnTo>
                  <a:lnTo>
                    <a:pt x="723" y="914"/>
                  </a:lnTo>
                  <a:lnTo>
                    <a:pt x="723" y="911"/>
                  </a:lnTo>
                  <a:lnTo>
                    <a:pt x="723" y="909"/>
                  </a:lnTo>
                  <a:lnTo>
                    <a:pt x="726" y="905"/>
                  </a:lnTo>
                  <a:lnTo>
                    <a:pt x="729" y="901"/>
                  </a:lnTo>
                  <a:lnTo>
                    <a:pt x="733" y="894"/>
                  </a:lnTo>
                  <a:lnTo>
                    <a:pt x="738" y="891"/>
                  </a:lnTo>
                  <a:lnTo>
                    <a:pt x="740" y="889"/>
                  </a:lnTo>
                  <a:lnTo>
                    <a:pt x="743" y="889"/>
                  </a:lnTo>
                  <a:lnTo>
                    <a:pt x="743" y="889"/>
                  </a:lnTo>
                  <a:lnTo>
                    <a:pt x="744" y="894"/>
                  </a:lnTo>
                  <a:lnTo>
                    <a:pt x="744" y="897"/>
                  </a:lnTo>
                  <a:lnTo>
                    <a:pt x="747" y="901"/>
                  </a:lnTo>
                  <a:lnTo>
                    <a:pt x="750" y="901"/>
                  </a:lnTo>
                  <a:lnTo>
                    <a:pt x="751" y="901"/>
                  </a:lnTo>
                  <a:lnTo>
                    <a:pt x="756" y="901"/>
                  </a:lnTo>
                  <a:lnTo>
                    <a:pt x="756" y="902"/>
                  </a:lnTo>
                  <a:lnTo>
                    <a:pt x="756" y="904"/>
                  </a:lnTo>
                  <a:lnTo>
                    <a:pt x="756" y="905"/>
                  </a:lnTo>
                  <a:lnTo>
                    <a:pt x="756" y="908"/>
                  </a:lnTo>
                  <a:lnTo>
                    <a:pt x="758" y="911"/>
                  </a:lnTo>
                  <a:lnTo>
                    <a:pt x="761" y="914"/>
                  </a:lnTo>
                  <a:lnTo>
                    <a:pt x="764" y="917"/>
                  </a:lnTo>
                  <a:lnTo>
                    <a:pt x="767" y="922"/>
                  </a:lnTo>
                  <a:lnTo>
                    <a:pt x="768" y="924"/>
                  </a:lnTo>
                  <a:lnTo>
                    <a:pt x="768" y="927"/>
                  </a:lnTo>
                  <a:lnTo>
                    <a:pt x="770" y="934"/>
                  </a:lnTo>
                  <a:lnTo>
                    <a:pt x="770" y="937"/>
                  </a:lnTo>
                  <a:lnTo>
                    <a:pt x="770" y="944"/>
                  </a:lnTo>
                  <a:lnTo>
                    <a:pt x="770" y="945"/>
                  </a:lnTo>
                  <a:lnTo>
                    <a:pt x="768" y="947"/>
                  </a:lnTo>
                  <a:lnTo>
                    <a:pt x="768" y="947"/>
                  </a:lnTo>
                  <a:lnTo>
                    <a:pt x="771" y="949"/>
                  </a:lnTo>
                  <a:lnTo>
                    <a:pt x="774" y="954"/>
                  </a:lnTo>
                  <a:lnTo>
                    <a:pt x="776" y="954"/>
                  </a:lnTo>
                  <a:lnTo>
                    <a:pt x="778" y="957"/>
                  </a:lnTo>
                  <a:lnTo>
                    <a:pt x="778" y="957"/>
                  </a:lnTo>
                  <a:lnTo>
                    <a:pt x="778" y="958"/>
                  </a:lnTo>
                  <a:lnTo>
                    <a:pt x="781" y="964"/>
                  </a:lnTo>
                  <a:lnTo>
                    <a:pt x="783" y="969"/>
                  </a:lnTo>
                  <a:lnTo>
                    <a:pt x="784" y="969"/>
                  </a:lnTo>
                  <a:lnTo>
                    <a:pt x="783" y="972"/>
                  </a:lnTo>
                  <a:lnTo>
                    <a:pt x="783" y="972"/>
                  </a:lnTo>
                  <a:lnTo>
                    <a:pt x="784" y="974"/>
                  </a:lnTo>
                  <a:lnTo>
                    <a:pt x="786" y="974"/>
                  </a:lnTo>
                  <a:lnTo>
                    <a:pt x="786" y="972"/>
                  </a:lnTo>
                  <a:lnTo>
                    <a:pt x="787" y="971"/>
                  </a:lnTo>
                  <a:lnTo>
                    <a:pt x="788" y="972"/>
                  </a:lnTo>
                  <a:lnTo>
                    <a:pt x="788" y="974"/>
                  </a:lnTo>
                  <a:lnTo>
                    <a:pt x="790" y="976"/>
                  </a:lnTo>
                  <a:lnTo>
                    <a:pt x="791" y="979"/>
                  </a:lnTo>
                  <a:lnTo>
                    <a:pt x="791" y="979"/>
                  </a:lnTo>
                  <a:lnTo>
                    <a:pt x="790" y="981"/>
                  </a:lnTo>
                  <a:lnTo>
                    <a:pt x="787" y="981"/>
                  </a:lnTo>
                  <a:lnTo>
                    <a:pt x="784" y="981"/>
                  </a:lnTo>
                  <a:lnTo>
                    <a:pt x="783" y="979"/>
                  </a:lnTo>
                  <a:lnTo>
                    <a:pt x="781" y="978"/>
                  </a:lnTo>
                  <a:lnTo>
                    <a:pt x="780" y="976"/>
                  </a:lnTo>
                  <a:lnTo>
                    <a:pt x="778" y="976"/>
                  </a:lnTo>
                  <a:lnTo>
                    <a:pt x="778" y="978"/>
                  </a:lnTo>
                  <a:lnTo>
                    <a:pt x="777" y="981"/>
                  </a:lnTo>
                  <a:lnTo>
                    <a:pt x="776" y="982"/>
                  </a:lnTo>
                  <a:lnTo>
                    <a:pt x="777" y="984"/>
                  </a:lnTo>
                  <a:lnTo>
                    <a:pt x="783" y="984"/>
                  </a:lnTo>
                  <a:lnTo>
                    <a:pt x="783" y="984"/>
                  </a:lnTo>
                  <a:lnTo>
                    <a:pt x="784" y="985"/>
                  </a:lnTo>
                  <a:lnTo>
                    <a:pt x="783" y="988"/>
                  </a:lnTo>
                  <a:lnTo>
                    <a:pt x="780" y="992"/>
                  </a:lnTo>
                  <a:lnTo>
                    <a:pt x="773" y="1001"/>
                  </a:lnTo>
                  <a:lnTo>
                    <a:pt x="770" y="1002"/>
                  </a:lnTo>
                  <a:lnTo>
                    <a:pt x="770" y="1004"/>
                  </a:lnTo>
                  <a:lnTo>
                    <a:pt x="771" y="1004"/>
                  </a:lnTo>
                  <a:lnTo>
                    <a:pt x="774" y="1004"/>
                  </a:lnTo>
                  <a:lnTo>
                    <a:pt x="776" y="1002"/>
                  </a:lnTo>
                  <a:lnTo>
                    <a:pt x="780" y="1002"/>
                  </a:lnTo>
                  <a:lnTo>
                    <a:pt x="780" y="1004"/>
                  </a:lnTo>
                  <a:lnTo>
                    <a:pt x="780" y="1004"/>
                  </a:lnTo>
                  <a:lnTo>
                    <a:pt x="781" y="1005"/>
                  </a:lnTo>
                  <a:lnTo>
                    <a:pt x="786" y="1009"/>
                  </a:lnTo>
                  <a:lnTo>
                    <a:pt x="788" y="1008"/>
                  </a:lnTo>
                  <a:lnTo>
                    <a:pt x="791" y="1005"/>
                  </a:lnTo>
                  <a:lnTo>
                    <a:pt x="794" y="1004"/>
                  </a:lnTo>
                  <a:lnTo>
                    <a:pt x="797" y="1004"/>
                  </a:lnTo>
                  <a:lnTo>
                    <a:pt x="798" y="1004"/>
                  </a:lnTo>
                  <a:lnTo>
                    <a:pt x="797" y="1005"/>
                  </a:lnTo>
                  <a:lnTo>
                    <a:pt x="796" y="1006"/>
                  </a:lnTo>
                  <a:lnTo>
                    <a:pt x="793" y="1008"/>
                  </a:lnTo>
                  <a:lnTo>
                    <a:pt x="793" y="1009"/>
                  </a:lnTo>
                  <a:lnTo>
                    <a:pt x="796" y="1008"/>
                  </a:lnTo>
                  <a:lnTo>
                    <a:pt x="801" y="1009"/>
                  </a:lnTo>
                  <a:lnTo>
                    <a:pt x="804" y="1009"/>
                  </a:lnTo>
                  <a:lnTo>
                    <a:pt x="806" y="1009"/>
                  </a:lnTo>
                  <a:lnTo>
                    <a:pt x="807" y="1011"/>
                  </a:lnTo>
                  <a:lnTo>
                    <a:pt x="808" y="1011"/>
                  </a:lnTo>
                  <a:lnTo>
                    <a:pt x="810" y="1012"/>
                  </a:lnTo>
                  <a:lnTo>
                    <a:pt x="808" y="1012"/>
                  </a:lnTo>
                  <a:lnTo>
                    <a:pt x="807" y="1012"/>
                  </a:lnTo>
                  <a:lnTo>
                    <a:pt x="806" y="1014"/>
                  </a:lnTo>
                  <a:lnTo>
                    <a:pt x="804" y="1015"/>
                  </a:lnTo>
                  <a:lnTo>
                    <a:pt x="804" y="1018"/>
                  </a:lnTo>
                  <a:lnTo>
                    <a:pt x="803" y="1019"/>
                  </a:lnTo>
                  <a:lnTo>
                    <a:pt x="801" y="1021"/>
                  </a:lnTo>
                  <a:lnTo>
                    <a:pt x="800" y="1021"/>
                  </a:lnTo>
                  <a:lnTo>
                    <a:pt x="800" y="1019"/>
                  </a:lnTo>
                  <a:lnTo>
                    <a:pt x="800" y="1019"/>
                  </a:lnTo>
                  <a:lnTo>
                    <a:pt x="800" y="1018"/>
                  </a:lnTo>
                  <a:lnTo>
                    <a:pt x="798" y="1019"/>
                  </a:lnTo>
                  <a:lnTo>
                    <a:pt x="797" y="1019"/>
                  </a:lnTo>
                  <a:lnTo>
                    <a:pt x="797" y="1021"/>
                  </a:lnTo>
                  <a:lnTo>
                    <a:pt x="804" y="1028"/>
                  </a:lnTo>
                  <a:lnTo>
                    <a:pt x="807" y="1035"/>
                  </a:lnTo>
                  <a:lnTo>
                    <a:pt x="808" y="1038"/>
                  </a:lnTo>
                  <a:lnTo>
                    <a:pt x="808" y="1039"/>
                  </a:lnTo>
                  <a:lnTo>
                    <a:pt x="807" y="1041"/>
                  </a:lnTo>
                  <a:lnTo>
                    <a:pt x="807" y="1042"/>
                  </a:lnTo>
                  <a:lnTo>
                    <a:pt x="808" y="1046"/>
                  </a:lnTo>
                  <a:lnTo>
                    <a:pt x="808" y="1051"/>
                  </a:lnTo>
                  <a:lnTo>
                    <a:pt x="807" y="1056"/>
                  </a:lnTo>
                  <a:lnTo>
                    <a:pt x="808" y="1058"/>
                  </a:lnTo>
                  <a:lnTo>
                    <a:pt x="810" y="1059"/>
                  </a:lnTo>
                  <a:lnTo>
                    <a:pt x="810" y="1062"/>
                  </a:lnTo>
                  <a:lnTo>
                    <a:pt x="811" y="1062"/>
                  </a:lnTo>
                  <a:lnTo>
                    <a:pt x="811" y="1064"/>
                  </a:lnTo>
                  <a:lnTo>
                    <a:pt x="813" y="1065"/>
                  </a:lnTo>
                  <a:lnTo>
                    <a:pt x="813" y="1065"/>
                  </a:lnTo>
                  <a:lnTo>
                    <a:pt x="814" y="1065"/>
                  </a:lnTo>
                  <a:lnTo>
                    <a:pt x="814" y="1064"/>
                  </a:lnTo>
                  <a:lnTo>
                    <a:pt x="814" y="1062"/>
                  </a:lnTo>
                  <a:lnTo>
                    <a:pt x="816" y="1059"/>
                  </a:lnTo>
                  <a:lnTo>
                    <a:pt x="818" y="1055"/>
                  </a:lnTo>
                  <a:lnTo>
                    <a:pt x="818" y="1054"/>
                  </a:lnTo>
                  <a:lnTo>
                    <a:pt x="818" y="1051"/>
                  </a:lnTo>
                  <a:lnTo>
                    <a:pt x="818" y="1049"/>
                  </a:lnTo>
                  <a:lnTo>
                    <a:pt x="820" y="1045"/>
                  </a:lnTo>
                  <a:lnTo>
                    <a:pt x="820" y="1041"/>
                  </a:lnTo>
                  <a:lnTo>
                    <a:pt x="821" y="1036"/>
                  </a:lnTo>
                  <a:lnTo>
                    <a:pt x="821" y="1032"/>
                  </a:lnTo>
                  <a:lnTo>
                    <a:pt x="824" y="1029"/>
                  </a:lnTo>
                  <a:lnTo>
                    <a:pt x="827" y="1022"/>
                  </a:lnTo>
                  <a:lnTo>
                    <a:pt x="828" y="1021"/>
                  </a:lnTo>
                  <a:lnTo>
                    <a:pt x="828" y="1021"/>
                  </a:lnTo>
                  <a:lnTo>
                    <a:pt x="831" y="1021"/>
                  </a:lnTo>
                  <a:lnTo>
                    <a:pt x="833" y="1024"/>
                  </a:lnTo>
                  <a:lnTo>
                    <a:pt x="835" y="1026"/>
                  </a:lnTo>
                  <a:lnTo>
                    <a:pt x="838" y="1031"/>
                  </a:lnTo>
                  <a:lnTo>
                    <a:pt x="843" y="1035"/>
                  </a:lnTo>
                  <a:lnTo>
                    <a:pt x="844" y="1036"/>
                  </a:lnTo>
                  <a:lnTo>
                    <a:pt x="847" y="1041"/>
                  </a:lnTo>
                  <a:lnTo>
                    <a:pt x="848" y="1046"/>
                  </a:lnTo>
                  <a:lnTo>
                    <a:pt x="850" y="1052"/>
                  </a:lnTo>
                  <a:lnTo>
                    <a:pt x="850" y="1056"/>
                  </a:lnTo>
                  <a:lnTo>
                    <a:pt x="851" y="1058"/>
                  </a:lnTo>
                  <a:lnTo>
                    <a:pt x="851" y="1059"/>
                  </a:lnTo>
                  <a:lnTo>
                    <a:pt x="851" y="1062"/>
                  </a:lnTo>
                  <a:lnTo>
                    <a:pt x="851" y="1064"/>
                  </a:lnTo>
                  <a:lnTo>
                    <a:pt x="851" y="1065"/>
                  </a:lnTo>
                  <a:lnTo>
                    <a:pt x="850" y="1066"/>
                  </a:lnTo>
                  <a:lnTo>
                    <a:pt x="848" y="1066"/>
                  </a:lnTo>
                  <a:lnTo>
                    <a:pt x="847" y="1066"/>
                  </a:lnTo>
                  <a:lnTo>
                    <a:pt x="845" y="1065"/>
                  </a:lnTo>
                  <a:lnTo>
                    <a:pt x="845" y="1062"/>
                  </a:lnTo>
                  <a:lnTo>
                    <a:pt x="844" y="1062"/>
                  </a:lnTo>
                  <a:lnTo>
                    <a:pt x="843" y="1064"/>
                  </a:lnTo>
                  <a:lnTo>
                    <a:pt x="843" y="1065"/>
                  </a:lnTo>
                  <a:lnTo>
                    <a:pt x="843" y="1069"/>
                  </a:lnTo>
                  <a:lnTo>
                    <a:pt x="843" y="1076"/>
                  </a:lnTo>
                  <a:lnTo>
                    <a:pt x="843" y="1079"/>
                  </a:lnTo>
                  <a:lnTo>
                    <a:pt x="845" y="1086"/>
                  </a:lnTo>
                  <a:lnTo>
                    <a:pt x="848" y="1092"/>
                  </a:lnTo>
                  <a:lnTo>
                    <a:pt x="857" y="1104"/>
                  </a:lnTo>
                  <a:lnTo>
                    <a:pt x="857" y="1105"/>
                  </a:lnTo>
                  <a:lnTo>
                    <a:pt x="857" y="1109"/>
                  </a:lnTo>
                  <a:lnTo>
                    <a:pt x="858" y="1111"/>
                  </a:lnTo>
                  <a:lnTo>
                    <a:pt x="858" y="1111"/>
                  </a:lnTo>
                  <a:lnTo>
                    <a:pt x="860" y="1111"/>
                  </a:lnTo>
                  <a:lnTo>
                    <a:pt x="860" y="1111"/>
                  </a:lnTo>
                  <a:lnTo>
                    <a:pt x="863" y="1108"/>
                  </a:lnTo>
                  <a:lnTo>
                    <a:pt x="865" y="1104"/>
                  </a:lnTo>
                  <a:lnTo>
                    <a:pt x="867" y="1102"/>
                  </a:lnTo>
                  <a:lnTo>
                    <a:pt x="868" y="1102"/>
                  </a:lnTo>
                  <a:lnTo>
                    <a:pt x="870" y="1101"/>
                  </a:lnTo>
                  <a:lnTo>
                    <a:pt x="871" y="1099"/>
                  </a:lnTo>
                  <a:lnTo>
                    <a:pt x="871" y="1098"/>
                  </a:lnTo>
                  <a:lnTo>
                    <a:pt x="871" y="1096"/>
                  </a:lnTo>
                  <a:lnTo>
                    <a:pt x="873" y="1092"/>
                  </a:lnTo>
                  <a:lnTo>
                    <a:pt x="873" y="1089"/>
                  </a:lnTo>
                  <a:lnTo>
                    <a:pt x="874" y="1085"/>
                  </a:lnTo>
                  <a:lnTo>
                    <a:pt x="874" y="1084"/>
                  </a:lnTo>
                  <a:lnTo>
                    <a:pt x="881" y="1075"/>
                  </a:lnTo>
                  <a:lnTo>
                    <a:pt x="881" y="1074"/>
                  </a:lnTo>
                  <a:lnTo>
                    <a:pt x="884" y="1062"/>
                  </a:lnTo>
                  <a:lnTo>
                    <a:pt x="884" y="1058"/>
                  </a:lnTo>
                  <a:lnTo>
                    <a:pt x="884" y="1055"/>
                  </a:lnTo>
                  <a:lnTo>
                    <a:pt x="884" y="1052"/>
                  </a:lnTo>
                  <a:lnTo>
                    <a:pt x="884" y="1049"/>
                  </a:lnTo>
                  <a:lnTo>
                    <a:pt x="885" y="1048"/>
                  </a:lnTo>
                  <a:lnTo>
                    <a:pt x="885" y="1046"/>
                  </a:lnTo>
                  <a:lnTo>
                    <a:pt x="887" y="1045"/>
                  </a:lnTo>
                  <a:lnTo>
                    <a:pt x="888" y="1044"/>
                  </a:lnTo>
                  <a:lnTo>
                    <a:pt x="888" y="1044"/>
                  </a:lnTo>
                  <a:lnTo>
                    <a:pt x="890" y="1044"/>
                  </a:lnTo>
                  <a:lnTo>
                    <a:pt x="891" y="1044"/>
                  </a:lnTo>
                  <a:lnTo>
                    <a:pt x="893" y="1045"/>
                  </a:lnTo>
                  <a:lnTo>
                    <a:pt x="898" y="1044"/>
                  </a:lnTo>
                  <a:lnTo>
                    <a:pt x="898" y="1042"/>
                  </a:lnTo>
                  <a:lnTo>
                    <a:pt x="894" y="1039"/>
                  </a:lnTo>
                  <a:lnTo>
                    <a:pt x="894" y="1039"/>
                  </a:lnTo>
                  <a:lnTo>
                    <a:pt x="895" y="1036"/>
                  </a:lnTo>
                  <a:lnTo>
                    <a:pt x="897" y="1035"/>
                  </a:lnTo>
                  <a:lnTo>
                    <a:pt x="898" y="1035"/>
                  </a:lnTo>
                  <a:lnTo>
                    <a:pt x="898" y="1034"/>
                  </a:lnTo>
                  <a:lnTo>
                    <a:pt x="898" y="1032"/>
                  </a:lnTo>
                  <a:lnTo>
                    <a:pt x="898" y="1029"/>
                  </a:lnTo>
                  <a:lnTo>
                    <a:pt x="898" y="1029"/>
                  </a:lnTo>
                  <a:lnTo>
                    <a:pt x="894" y="1025"/>
                  </a:lnTo>
                  <a:lnTo>
                    <a:pt x="893" y="1025"/>
                  </a:lnTo>
                  <a:lnTo>
                    <a:pt x="893" y="1025"/>
                  </a:lnTo>
                  <a:lnTo>
                    <a:pt x="890" y="1022"/>
                  </a:lnTo>
                  <a:lnTo>
                    <a:pt x="890" y="1018"/>
                  </a:lnTo>
                  <a:lnTo>
                    <a:pt x="890" y="1016"/>
                  </a:lnTo>
                  <a:lnTo>
                    <a:pt x="890" y="1015"/>
                  </a:lnTo>
                  <a:lnTo>
                    <a:pt x="890" y="1014"/>
                  </a:lnTo>
                  <a:lnTo>
                    <a:pt x="890" y="1012"/>
                  </a:lnTo>
                  <a:lnTo>
                    <a:pt x="890" y="1011"/>
                  </a:lnTo>
                  <a:lnTo>
                    <a:pt x="890" y="1009"/>
                  </a:lnTo>
                  <a:lnTo>
                    <a:pt x="890" y="1008"/>
                  </a:lnTo>
                  <a:lnTo>
                    <a:pt x="890" y="1006"/>
                  </a:lnTo>
                  <a:lnTo>
                    <a:pt x="888" y="1005"/>
                  </a:lnTo>
                  <a:lnTo>
                    <a:pt x="888" y="1004"/>
                  </a:lnTo>
                  <a:lnTo>
                    <a:pt x="890" y="999"/>
                  </a:lnTo>
                  <a:lnTo>
                    <a:pt x="890" y="998"/>
                  </a:lnTo>
                  <a:lnTo>
                    <a:pt x="888" y="995"/>
                  </a:lnTo>
                  <a:lnTo>
                    <a:pt x="888" y="995"/>
                  </a:lnTo>
                  <a:lnTo>
                    <a:pt x="888" y="995"/>
                  </a:lnTo>
                  <a:lnTo>
                    <a:pt x="890" y="994"/>
                  </a:lnTo>
                  <a:lnTo>
                    <a:pt x="891" y="995"/>
                  </a:lnTo>
                  <a:lnTo>
                    <a:pt x="894" y="996"/>
                  </a:lnTo>
                  <a:lnTo>
                    <a:pt x="895" y="996"/>
                  </a:lnTo>
                  <a:lnTo>
                    <a:pt x="898" y="995"/>
                  </a:lnTo>
                  <a:lnTo>
                    <a:pt x="903" y="994"/>
                  </a:lnTo>
                  <a:lnTo>
                    <a:pt x="907" y="995"/>
                  </a:lnTo>
                  <a:lnTo>
                    <a:pt x="908" y="995"/>
                  </a:lnTo>
                  <a:lnTo>
                    <a:pt x="914" y="999"/>
                  </a:lnTo>
                  <a:lnTo>
                    <a:pt x="918" y="1001"/>
                  </a:lnTo>
                  <a:lnTo>
                    <a:pt x="920" y="1001"/>
                  </a:lnTo>
                  <a:lnTo>
                    <a:pt x="928" y="1002"/>
                  </a:lnTo>
                  <a:lnTo>
                    <a:pt x="932" y="1001"/>
                  </a:lnTo>
                  <a:lnTo>
                    <a:pt x="934" y="1002"/>
                  </a:lnTo>
                  <a:lnTo>
                    <a:pt x="938" y="1004"/>
                  </a:lnTo>
                  <a:lnTo>
                    <a:pt x="938" y="1005"/>
                  </a:lnTo>
                  <a:lnTo>
                    <a:pt x="937" y="1009"/>
                  </a:lnTo>
                  <a:lnTo>
                    <a:pt x="934" y="1009"/>
                  </a:lnTo>
                  <a:lnTo>
                    <a:pt x="932" y="1011"/>
                  </a:lnTo>
                  <a:lnTo>
                    <a:pt x="934" y="1012"/>
                  </a:lnTo>
                  <a:lnTo>
                    <a:pt x="940" y="1015"/>
                  </a:lnTo>
                  <a:lnTo>
                    <a:pt x="941" y="1018"/>
                  </a:lnTo>
                  <a:lnTo>
                    <a:pt x="941" y="1019"/>
                  </a:lnTo>
                  <a:lnTo>
                    <a:pt x="941" y="1021"/>
                  </a:lnTo>
                  <a:lnTo>
                    <a:pt x="941" y="1022"/>
                  </a:lnTo>
                  <a:lnTo>
                    <a:pt x="942" y="1022"/>
                  </a:lnTo>
                  <a:lnTo>
                    <a:pt x="945" y="1021"/>
                  </a:lnTo>
                  <a:lnTo>
                    <a:pt x="948" y="1021"/>
                  </a:lnTo>
                  <a:lnTo>
                    <a:pt x="954" y="1024"/>
                  </a:lnTo>
                  <a:lnTo>
                    <a:pt x="954" y="1025"/>
                  </a:lnTo>
                  <a:lnTo>
                    <a:pt x="955" y="1026"/>
                  </a:lnTo>
                  <a:lnTo>
                    <a:pt x="955" y="1028"/>
                  </a:lnTo>
                  <a:lnTo>
                    <a:pt x="951" y="1032"/>
                  </a:lnTo>
                  <a:lnTo>
                    <a:pt x="948" y="1035"/>
                  </a:lnTo>
                  <a:lnTo>
                    <a:pt x="945" y="1036"/>
                  </a:lnTo>
                  <a:lnTo>
                    <a:pt x="945" y="1038"/>
                  </a:lnTo>
                  <a:lnTo>
                    <a:pt x="950" y="1038"/>
                  </a:lnTo>
                  <a:lnTo>
                    <a:pt x="952" y="1039"/>
                  </a:lnTo>
                  <a:lnTo>
                    <a:pt x="954" y="1039"/>
                  </a:lnTo>
                  <a:lnTo>
                    <a:pt x="955" y="1041"/>
                  </a:lnTo>
                  <a:lnTo>
                    <a:pt x="957" y="1042"/>
                  </a:lnTo>
                  <a:lnTo>
                    <a:pt x="957" y="1045"/>
                  </a:lnTo>
                  <a:lnTo>
                    <a:pt x="957" y="1046"/>
                  </a:lnTo>
                  <a:lnTo>
                    <a:pt x="955" y="1048"/>
                  </a:lnTo>
                  <a:lnTo>
                    <a:pt x="952" y="1052"/>
                  </a:lnTo>
                  <a:lnTo>
                    <a:pt x="950" y="1054"/>
                  </a:lnTo>
                  <a:lnTo>
                    <a:pt x="947" y="1055"/>
                  </a:lnTo>
                  <a:lnTo>
                    <a:pt x="945" y="1056"/>
                  </a:lnTo>
                  <a:lnTo>
                    <a:pt x="944" y="1056"/>
                  </a:lnTo>
                  <a:lnTo>
                    <a:pt x="942" y="1055"/>
                  </a:lnTo>
                  <a:lnTo>
                    <a:pt x="941" y="1055"/>
                  </a:lnTo>
                  <a:lnTo>
                    <a:pt x="938" y="1056"/>
                  </a:lnTo>
                  <a:lnTo>
                    <a:pt x="937" y="1056"/>
                  </a:lnTo>
                  <a:lnTo>
                    <a:pt x="935" y="1056"/>
                  </a:lnTo>
                  <a:lnTo>
                    <a:pt x="935" y="1058"/>
                  </a:lnTo>
                  <a:lnTo>
                    <a:pt x="937" y="1061"/>
                  </a:lnTo>
                  <a:lnTo>
                    <a:pt x="938" y="1061"/>
                  </a:lnTo>
                  <a:lnTo>
                    <a:pt x="938" y="1062"/>
                  </a:lnTo>
                  <a:lnTo>
                    <a:pt x="937" y="1064"/>
                  </a:lnTo>
                  <a:lnTo>
                    <a:pt x="938" y="1064"/>
                  </a:lnTo>
                  <a:lnTo>
                    <a:pt x="938" y="1065"/>
                  </a:lnTo>
                  <a:lnTo>
                    <a:pt x="941" y="1071"/>
                  </a:lnTo>
                  <a:lnTo>
                    <a:pt x="941" y="1071"/>
                  </a:lnTo>
                  <a:lnTo>
                    <a:pt x="942" y="1071"/>
                  </a:lnTo>
                  <a:lnTo>
                    <a:pt x="942" y="1069"/>
                  </a:lnTo>
                  <a:lnTo>
                    <a:pt x="944" y="1068"/>
                  </a:lnTo>
                  <a:lnTo>
                    <a:pt x="944" y="1068"/>
                  </a:lnTo>
                  <a:lnTo>
                    <a:pt x="944" y="1069"/>
                  </a:lnTo>
                  <a:lnTo>
                    <a:pt x="942" y="1075"/>
                  </a:lnTo>
                  <a:lnTo>
                    <a:pt x="942" y="1076"/>
                  </a:lnTo>
                  <a:lnTo>
                    <a:pt x="942" y="1076"/>
                  </a:lnTo>
                  <a:lnTo>
                    <a:pt x="944" y="1079"/>
                  </a:lnTo>
                  <a:lnTo>
                    <a:pt x="945" y="1082"/>
                  </a:lnTo>
                  <a:lnTo>
                    <a:pt x="947" y="1085"/>
                  </a:lnTo>
                  <a:lnTo>
                    <a:pt x="950" y="1088"/>
                  </a:lnTo>
                  <a:lnTo>
                    <a:pt x="952" y="1092"/>
                  </a:lnTo>
                  <a:lnTo>
                    <a:pt x="954" y="1094"/>
                  </a:lnTo>
                  <a:lnTo>
                    <a:pt x="955" y="1098"/>
                  </a:lnTo>
                  <a:lnTo>
                    <a:pt x="955" y="1099"/>
                  </a:lnTo>
                  <a:lnTo>
                    <a:pt x="955" y="1104"/>
                  </a:lnTo>
                  <a:lnTo>
                    <a:pt x="954" y="1111"/>
                  </a:lnTo>
                  <a:lnTo>
                    <a:pt x="954" y="1115"/>
                  </a:lnTo>
                  <a:lnTo>
                    <a:pt x="952" y="1115"/>
                  </a:lnTo>
                  <a:lnTo>
                    <a:pt x="950" y="1118"/>
                  </a:lnTo>
                  <a:lnTo>
                    <a:pt x="948" y="1119"/>
                  </a:lnTo>
                  <a:lnTo>
                    <a:pt x="947" y="1119"/>
                  </a:lnTo>
                  <a:lnTo>
                    <a:pt x="945" y="1119"/>
                  </a:lnTo>
                  <a:lnTo>
                    <a:pt x="944" y="1122"/>
                  </a:lnTo>
                  <a:lnTo>
                    <a:pt x="942" y="1125"/>
                  </a:lnTo>
                  <a:lnTo>
                    <a:pt x="941" y="1128"/>
                  </a:lnTo>
                  <a:lnTo>
                    <a:pt x="940" y="1129"/>
                  </a:lnTo>
                  <a:lnTo>
                    <a:pt x="938" y="1131"/>
                  </a:lnTo>
                  <a:lnTo>
                    <a:pt x="935" y="1134"/>
                  </a:lnTo>
                  <a:lnTo>
                    <a:pt x="934" y="1135"/>
                  </a:lnTo>
                  <a:lnTo>
                    <a:pt x="930" y="1136"/>
                  </a:lnTo>
                  <a:lnTo>
                    <a:pt x="925" y="1142"/>
                  </a:lnTo>
                  <a:lnTo>
                    <a:pt x="924" y="1144"/>
                  </a:lnTo>
                  <a:lnTo>
                    <a:pt x="923" y="1144"/>
                  </a:lnTo>
                  <a:lnTo>
                    <a:pt x="920" y="1144"/>
                  </a:lnTo>
                  <a:lnTo>
                    <a:pt x="918" y="1144"/>
                  </a:lnTo>
                  <a:lnTo>
                    <a:pt x="918" y="1141"/>
                  </a:lnTo>
                  <a:lnTo>
                    <a:pt x="918" y="1139"/>
                  </a:lnTo>
                  <a:lnTo>
                    <a:pt x="917" y="1138"/>
                  </a:lnTo>
                  <a:lnTo>
                    <a:pt x="914" y="1132"/>
                  </a:lnTo>
                  <a:lnTo>
                    <a:pt x="913" y="1129"/>
                  </a:lnTo>
                  <a:lnTo>
                    <a:pt x="911" y="1129"/>
                  </a:lnTo>
                  <a:lnTo>
                    <a:pt x="910" y="1129"/>
                  </a:lnTo>
                  <a:lnTo>
                    <a:pt x="910" y="1129"/>
                  </a:lnTo>
                  <a:lnTo>
                    <a:pt x="907" y="1128"/>
                  </a:lnTo>
                  <a:lnTo>
                    <a:pt x="907" y="1126"/>
                  </a:lnTo>
                  <a:lnTo>
                    <a:pt x="907" y="1126"/>
                  </a:lnTo>
                  <a:lnTo>
                    <a:pt x="908" y="1125"/>
                  </a:lnTo>
                  <a:lnTo>
                    <a:pt x="907" y="1124"/>
                  </a:lnTo>
                  <a:lnTo>
                    <a:pt x="905" y="1122"/>
                  </a:lnTo>
                  <a:lnTo>
                    <a:pt x="904" y="1121"/>
                  </a:lnTo>
                  <a:lnTo>
                    <a:pt x="904" y="1119"/>
                  </a:lnTo>
                  <a:lnTo>
                    <a:pt x="901" y="1118"/>
                  </a:lnTo>
                  <a:lnTo>
                    <a:pt x="898" y="1118"/>
                  </a:lnTo>
                  <a:lnTo>
                    <a:pt x="895" y="1121"/>
                  </a:lnTo>
                  <a:lnTo>
                    <a:pt x="894" y="1122"/>
                  </a:lnTo>
                  <a:lnTo>
                    <a:pt x="894" y="1124"/>
                  </a:lnTo>
                  <a:lnTo>
                    <a:pt x="895" y="1124"/>
                  </a:lnTo>
                  <a:lnTo>
                    <a:pt x="897" y="1124"/>
                  </a:lnTo>
                  <a:lnTo>
                    <a:pt x="898" y="1122"/>
                  </a:lnTo>
                  <a:lnTo>
                    <a:pt x="898" y="1121"/>
                  </a:lnTo>
                  <a:lnTo>
                    <a:pt x="901" y="1121"/>
                  </a:lnTo>
                  <a:lnTo>
                    <a:pt x="903" y="1122"/>
                  </a:lnTo>
                  <a:lnTo>
                    <a:pt x="903" y="1124"/>
                  </a:lnTo>
                  <a:lnTo>
                    <a:pt x="903" y="1125"/>
                  </a:lnTo>
                  <a:lnTo>
                    <a:pt x="907" y="1131"/>
                  </a:lnTo>
                  <a:lnTo>
                    <a:pt x="908" y="1132"/>
                  </a:lnTo>
                  <a:lnTo>
                    <a:pt x="910" y="1132"/>
                  </a:lnTo>
                  <a:lnTo>
                    <a:pt x="910" y="1135"/>
                  </a:lnTo>
                  <a:lnTo>
                    <a:pt x="911" y="1138"/>
                  </a:lnTo>
                  <a:lnTo>
                    <a:pt x="913" y="1142"/>
                  </a:lnTo>
                  <a:lnTo>
                    <a:pt x="915" y="1148"/>
                  </a:lnTo>
                  <a:lnTo>
                    <a:pt x="915" y="1149"/>
                  </a:lnTo>
                  <a:lnTo>
                    <a:pt x="914" y="1151"/>
                  </a:lnTo>
                  <a:lnTo>
                    <a:pt x="914" y="1151"/>
                  </a:lnTo>
                  <a:lnTo>
                    <a:pt x="913" y="1149"/>
                  </a:lnTo>
                  <a:lnTo>
                    <a:pt x="908" y="1146"/>
                  </a:lnTo>
                  <a:lnTo>
                    <a:pt x="907" y="1148"/>
                  </a:lnTo>
                  <a:lnTo>
                    <a:pt x="905" y="1148"/>
                  </a:lnTo>
                  <a:lnTo>
                    <a:pt x="905" y="1151"/>
                  </a:lnTo>
                  <a:lnTo>
                    <a:pt x="904" y="1152"/>
                  </a:lnTo>
                  <a:lnTo>
                    <a:pt x="903" y="1151"/>
                  </a:lnTo>
                  <a:lnTo>
                    <a:pt x="898" y="1148"/>
                  </a:lnTo>
                  <a:lnTo>
                    <a:pt x="895" y="1146"/>
                  </a:lnTo>
                  <a:lnTo>
                    <a:pt x="893" y="1144"/>
                  </a:lnTo>
                  <a:lnTo>
                    <a:pt x="891" y="1141"/>
                  </a:lnTo>
                  <a:lnTo>
                    <a:pt x="890" y="1138"/>
                  </a:lnTo>
                  <a:lnTo>
                    <a:pt x="887" y="1136"/>
                  </a:lnTo>
                  <a:lnTo>
                    <a:pt x="884" y="1138"/>
                  </a:lnTo>
                  <a:lnTo>
                    <a:pt x="880" y="1138"/>
                  </a:lnTo>
                  <a:lnTo>
                    <a:pt x="870" y="1138"/>
                  </a:lnTo>
                  <a:lnTo>
                    <a:pt x="868" y="1138"/>
                  </a:lnTo>
                  <a:lnTo>
                    <a:pt x="868" y="1138"/>
                  </a:lnTo>
                  <a:lnTo>
                    <a:pt x="870" y="1141"/>
                  </a:lnTo>
                  <a:lnTo>
                    <a:pt x="870" y="1141"/>
                  </a:lnTo>
                  <a:lnTo>
                    <a:pt x="868" y="1142"/>
                  </a:lnTo>
                  <a:lnTo>
                    <a:pt x="868" y="1142"/>
                  </a:lnTo>
                  <a:lnTo>
                    <a:pt x="870" y="1145"/>
                  </a:lnTo>
                  <a:lnTo>
                    <a:pt x="871" y="1146"/>
                  </a:lnTo>
                  <a:lnTo>
                    <a:pt x="875" y="1148"/>
                  </a:lnTo>
                  <a:lnTo>
                    <a:pt x="878" y="1149"/>
                  </a:lnTo>
                  <a:lnTo>
                    <a:pt x="880" y="1151"/>
                  </a:lnTo>
                  <a:lnTo>
                    <a:pt x="881" y="1152"/>
                  </a:lnTo>
                  <a:lnTo>
                    <a:pt x="881" y="1154"/>
                  </a:lnTo>
                  <a:lnTo>
                    <a:pt x="880" y="1156"/>
                  </a:lnTo>
                  <a:lnTo>
                    <a:pt x="880" y="1158"/>
                  </a:lnTo>
                  <a:lnTo>
                    <a:pt x="870" y="1172"/>
                  </a:lnTo>
                  <a:lnTo>
                    <a:pt x="865" y="1176"/>
                  </a:lnTo>
                  <a:lnTo>
                    <a:pt x="863" y="1181"/>
                  </a:lnTo>
                  <a:lnTo>
                    <a:pt x="861" y="1182"/>
                  </a:lnTo>
                  <a:lnTo>
                    <a:pt x="860" y="1183"/>
                  </a:lnTo>
                  <a:lnTo>
                    <a:pt x="857" y="1185"/>
                  </a:lnTo>
                  <a:lnTo>
                    <a:pt x="854" y="1185"/>
                  </a:lnTo>
                  <a:lnTo>
                    <a:pt x="848" y="1183"/>
                  </a:lnTo>
                  <a:lnTo>
                    <a:pt x="847" y="1182"/>
                  </a:lnTo>
                  <a:lnTo>
                    <a:pt x="843" y="1178"/>
                  </a:lnTo>
                  <a:lnTo>
                    <a:pt x="838" y="1175"/>
                  </a:lnTo>
                  <a:lnTo>
                    <a:pt x="837" y="1174"/>
                  </a:lnTo>
                  <a:lnTo>
                    <a:pt x="837" y="1171"/>
                  </a:lnTo>
                  <a:lnTo>
                    <a:pt x="835" y="1171"/>
                  </a:lnTo>
                  <a:lnTo>
                    <a:pt x="833" y="1171"/>
                  </a:lnTo>
                  <a:lnTo>
                    <a:pt x="831" y="1169"/>
                  </a:lnTo>
                  <a:lnTo>
                    <a:pt x="826" y="1164"/>
                  </a:lnTo>
                  <a:lnTo>
                    <a:pt x="823" y="1162"/>
                  </a:lnTo>
                  <a:lnTo>
                    <a:pt x="820" y="1161"/>
                  </a:lnTo>
                  <a:lnTo>
                    <a:pt x="818" y="1161"/>
                  </a:lnTo>
                  <a:lnTo>
                    <a:pt x="817" y="1161"/>
                  </a:lnTo>
                  <a:lnTo>
                    <a:pt x="818" y="1164"/>
                  </a:lnTo>
                  <a:lnTo>
                    <a:pt x="818" y="1164"/>
                  </a:lnTo>
                  <a:lnTo>
                    <a:pt x="816" y="1164"/>
                  </a:lnTo>
                  <a:lnTo>
                    <a:pt x="814" y="1164"/>
                  </a:lnTo>
                  <a:lnTo>
                    <a:pt x="811" y="1162"/>
                  </a:lnTo>
                  <a:lnTo>
                    <a:pt x="808" y="1162"/>
                  </a:lnTo>
                  <a:lnTo>
                    <a:pt x="806" y="1162"/>
                  </a:lnTo>
                  <a:lnTo>
                    <a:pt x="803" y="1161"/>
                  </a:lnTo>
                  <a:lnTo>
                    <a:pt x="800" y="1161"/>
                  </a:lnTo>
                  <a:lnTo>
                    <a:pt x="796" y="1161"/>
                  </a:lnTo>
                  <a:lnTo>
                    <a:pt x="794" y="1161"/>
                  </a:lnTo>
                  <a:lnTo>
                    <a:pt x="793" y="1161"/>
                  </a:lnTo>
                  <a:lnTo>
                    <a:pt x="796" y="1162"/>
                  </a:lnTo>
                  <a:lnTo>
                    <a:pt x="800" y="1165"/>
                  </a:lnTo>
                  <a:lnTo>
                    <a:pt x="798" y="1164"/>
                  </a:lnTo>
                  <a:lnTo>
                    <a:pt x="800" y="1162"/>
                  </a:lnTo>
                  <a:lnTo>
                    <a:pt x="800" y="1162"/>
                  </a:lnTo>
                  <a:lnTo>
                    <a:pt x="807" y="1164"/>
                  </a:lnTo>
                  <a:lnTo>
                    <a:pt x="814" y="1166"/>
                  </a:lnTo>
                  <a:lnTo>
                    <a:pt x="816" y="1166"/>
                  </a:lnTo>
                  <a:lnTo>
                    <a:pt x="817" y="1168"/>
                  </a:lnTo>
                  <a:lnTo>
                    <a:pt x="820" y="1169"/>
                  </a:lnTo>
                  <a:lnTo>
                    <a:pt x="823" y="1172"/>
                  </a:lnTo>
                  <a:lnTo>
                    <a:pt x="828" y="1181"/>
                  </a:lnTo>
                  <a:lnTo>
                    <a:pt x="830" y="1182"/>
                  </a:lnTo>
                  <a:lnTo>
                    <a:pt x="833" y="1183"/>
                  </a:lnTo>
                  <a:lnTo>
                    <a:pt x="845" y="1186"/>
                  </a:lnTo>
                  <a:lnTo>
                    <a:pt x="850" y="1186"/>
                  </a:lnTo>
                  <a:lnTo>
                    <a:pt x="858" y="1188"/>
                  </a:lnTo>
                  <a:lnTo>
                    <a:pt x="863" y="1189"/>
                  </a:lnTo>
                  <a:lnTo>
                    <a:pt x="864" y="1189"/>
                  </a:lnTo>
                  <a:lnTo>
                    <a:pt x="864" y="1193"/>
                  </a:lnTo>
                  <a:lnTo>
                    <a:pt x="864" y="1195"/>
                  </a:lnTo>
                  <a:lnTo>
                    <a:pt x="861" y="1201"/>
                  </a:lnTo>
                  <a:lnTo>
                    <a:pt x="860" y="1203"/>
                  </a:lnTo>
                  <a:lnTo>
                    <a:pt x="850" y="1219"/>
                  </a:lnTo>
                  <a:lnTo>
                    <a:pt x="848" y="1223"/>
                  </a:lnTo>
                  <a:lnTo>
                    <a:pt x="848" y="1225"/>
                  </a:lnTo>
                  <a:lnTo>
                    <a:pt x="847" y="1228"/>
                  </a:lnTo>
                  <a:lnTo>
                    <a:pt x="843" y="1231"/>
                  </a:lnTo>
                  <a:lnTo>
                    <a:pt x="838" y="1233"/>
                  </a:lnTo>
                  <a:lnTo>
                    <a:pt x="835" y="1235"/>
                  </a:lnTo>
                  <a:lnTo>
                    <a:pt x="833" y="1233"/>
                  </a:lnTo>
                  <a:lnTo>
                    <a:pt x="831" y="1233"/>
                  </a:lnTo>
                  <a:lnTo>
                    <a:pt x="828" y="1231"/>
                  </a:lnTo>
                  <a:lnTo>
                    <a:pt x="828" y="1231"/>
                  </a:lnTo>
                  <a:lnTo>
                    <a:pt x="831" y="1235"/>
                  </a:lnTo>
                  <a:lnTo>
                    <a:pt x="830" y="1235"/>
                  </a:lnTo>
                  <a:lnTo>
                    <a:pt x="828" y="1235"/>
                  </a:lnTo>
                  <a:lnTo>
                    <a:pt x="826" y="1233"/>
                  </a:lnTo>
                  <a:lnTo>
                    <a:pt x="824" y="1233"/>
                  </a:lnTo>
                  <a:lnTo>
                    <a:pt x="824" y="1233"/>
                  </a:lnTo>
                  <a:lnTo>
                    <a:pt x="824" y="1233"/>
                  </a:lnTo>
                  <a:lnTo>
                    <a:pt x="823" y="1233"/>
                  </a:lnTo>
                  <a:lnTo>
                    <a:pt x="820" y="1232"/>
                  </a:lnTo>
                  <a:lnTo>
                    <a:pt x="820" y="1231"/>
                  </a:lnTo>
                  <a:lnTo>
                    <a:pt x="820" y="1228"/>
                  </a:lnTo>
                  <a:lnTo>
                    <a:pt x="820" y="1228"/>
                  </a:lnTo>
                  <a:lnTo>
                    <a:pt x="816" y="1229"/>
                  </a:lnTo>
                  <a:lnTo>
                    <a:pt x="816" y="1229"/>
                  </a:lnTo>
                  <a:lnTo>
                    <a:pt x="817" y="1231"/>
                  </a:lnTo>
                  <a:lnTo>
                    <a:pt x="817" y="1232"/>
                  </a:lnTo>
                  <a:lnTo>
                    <a:pt x="818" y="1235"/>
                  </a:lnTo>
                  <a:lnTo>
                    <a:pt x="818" y="1236"/>
                  </a:lnTo>
                  <a:lnTo>
                    <a:pt x="817" y="1236"/>
                  </a:lnTo>
                  <a:lnTo>
                    <a:pt x="814" y="1235"/>
                  </a:lnTo>
                  <a:lnTo>
                    <a:pt x="814" y="1235"/>
                  </a:lnTo>
                  <a:lnTo>
                    <a:pt x="816" y="1239"/>
                  </a:lnTo>
                  <a:lnTo>
                    <a:pt x="816" y="1241"/>
                  </a:lnTo>
                  <a:lnTo>
                    <a:pt x="816" y="1242"/>
                  </a:lnTo>
                  <a:lnTo>
                    <a:pt x="814" y="1246"/>
                  </a:lnTo>
                  <a:lnTo>
                    <a:pt x="813" y="1248"/>
                  </a:lnTo>
                  <a:lnTo>
                    <a:pt x="810" y="1248"/>
                  </a:lnTo>
                  <a:lnTo>
                    <a:pt x="808" y="1248"/>
                  </a:lnTo>
                  <a:lnTo>
                    <a:pt x="808" y="1246"/>
                  </a:lnTo>
                  <a:lnTo>
                    <a:pt x="807" y="1246"/>
                  </a:lnTo>
                  <a:lnTo>
                    <a:pt x="806" y="1248"/>
                  </a:lnTo>
                  <a:lnTo>
                    <a:pt x="806" y="1249"/>
                  </a:lnTo>
                  <a:lnTo>
                    <a:pt x="803" y="1249"/>
                  </a:lnTo>
                  <a:lnTo>
                    <a:pt x="801" y="1249"/>
                  </a:lnTo>
                  <a:lnTo>
                    <a:pt x="798" y="1248"/>
                  </a:lnTo>
                  <a:lnTo>
                    <a:pt x="791" y="1245"/>
                  </a:lnTo>
                  <a:lnTo>
                    <a:pt x="790" y="1243"/>
                  </a:lnTo>
                  <a:lnTo>
                    <a:pt x="786" y="1243"/>
                  </a:lnTo>
                  <a:lnTo>
                    <a:pt x="786" y="1242"/>
                  </a:lnTo>
                  <a:lnTo>
                    <a:pt x="786" y="1242"/>
                  </a:lnTo>
                  <a:lnTo>
                    <a:pt x="786" y="1242"/>
                  </a:lnTo>
                  <a:lnTo>
                    <a:pt x="786" y="1241"/>
                  </a:lnTo>
                  <a:lnTo>
                    <a:pt x="784" y="1241"/>
                  </a:lnTo>
                  <a:lnTo>
                    <a:pt x="784" y="1241"/>
                  </a:lnTo>
                  <a:lnTo>
                    <a:pt x="783" y="1242"/>
                  </a:lnTo>
                  <a:lnTo>
                    <a:pt x="781" y="1242"/>
                  </a:lnTo>
                  <a:lnTo>
                    <a:pt x="778" y="1242"/>
                  </a:lnTo>
                  <a:lnTo>
                    <a:pt x="776" y="1241"/>
                  </a:lnTo>
                  <a:lnTo>
                    <a:pt x="768" y="1236"/>
                  </a:lnTo>
                  <a:lnTo>
                    <a:pt x="761" y="1233"/>
                  </a:lnTo>
                  <a:lnTo>
                    <a:pt x="757" y="1229"/>
                  </a:lnTo>
                  <a:lnTo>
                    <a:pt x="758" y="1233"/>
                  </a:lnTo>
                  <a:lnTo>
                    <a:pt x="758" y="1235"/>
                  </a:lnTo>
                  <a:lnTo>
                    <a:pt x="757" y="1235"/>
                  </a:lnTo>
                  <a:lnTo>
                    <a:pt x="757" y="1236"/>
                  </a:lnTo>
                  <a:lnTo>
                    <a:pt x="760" y="1239"/>
                  </a:lnTo>
                  <a:lnTo>
                    <a:pt x="761" y="1241"/>
                  </a:lnTo>
                  <a:lnTo>
                    <a:pt x="764" y="1241"/>
                  </a:lnTo>
                  <a:lnTo>
                    <a:pt x="764" y="1239"/>
                  </a:lnTo>
                  <a:lnTo>
                    <a:pt x="763" y="1239"/>
                  </a:lnTo>
                  <a:lnTo>
                    <a:pt x="763" y="1238"/>
                  </a:lnTo>
                  <a:lnTo>
                    <a:pt x="761" y="1236"/>
                  </a:lnTo>
                  <a:lnTo>
                    <a:pt x="763" y="1236"/>
                  </a:lnTo>
                  <a:lnTo>
                    <a:pt x="764" y="1238"/>
                  </a:lnTo>
                  <a:lnTo>
                    <a:pt x="766" y="1238"/>
                  </a:lnTo>
                  <a:lnTo>
                    <a:pt x="776" y="1243"/>
                  </a:lnTo>
                  <a:lnTo>
                    <a:pt x="778" y="1243"/>
                  </a:lnTo>
                  <a:lnTo>
                    <a:pt x="781" y="1245"/>
                  </a:lnTo>
                  <a:lnTo>
                    <a:pt x="781" y="1246"/>
                  </a:lnTo>
                  <a:lnTo>
                    <a:pt x="781" y="1246"/>
                  </a:lnTo>
                  <a:lnTo>
                    <a:pt x="777" y="1251"/>
                  </a:lnTo>
                  <a:lnTo>
                    <a:pt x="777" y="1251"/>
                  </a:lnTo>
                  <a:lnTo>
                    <a:pt x="780" y="1251"/>
                  </a:lnTo>
                  <a:lnTo>
                    <a:pt x="783" y="1248"/>
                  </a:lnTo>
                  <a:lnTo>
                    <a:pt x="786" y="1246"/>
                  </a:lnTo>
                  <a:lnTo>
                    <a:pt x="787" y="1245"/>
                  </a:lnTo>
                  <a:lnTo>
                    <a:pt x="790" y="1246"/>
                  </a:lnTo>
                  <a:lnTo>
                    <a:pt x="793" y="1251"/>
                  </a:lnTo>
                  <a:lnTo>
                    <a:pt x="796" y="1252"/>
                  </a:lnTo>
                  <a:lnTo>
                    <a:pt x="798" y="1253"/>
                  </a:lnTo>
                  <a:lnTo>
                    <a:pt x="801" y="1255"/>
                  </a:lnTo>
                  <a:lnTo>
                    <a:pt x="804" y="1258"/>
                  </a:lnTo>
                  <a:lnTo>
                    <a:pt x="806" y="1259"/>
                  </a:lnTo>
                  <a:lnTo>
                    <a:pt x="806" y="1266"/>
                  </a:lnTo>
                  <a:lnTo>
                    <a:pt x="806" y="1268"/>
                  </a:lnTo>
                  <a:lnTo>
                    <a:pt x="804" y="1269"/>
                  </a:lnTo>
                  <a:lnTo>
                    <a:pt x="804" y="1272"/>
                  </a:lnTo>
                  <a:lnTo>
                    <a:pt x="803" y="1272"/>
                  </a:lnTo>
                  <a:lnTo>
                    <a:pt x="800" y="1272"/>
                  </a:lnTo>
                  <a:lnTo>
                    <a:pt x="798" y="1273"/>
                  </a:lnTo>
                  <a:lnTo>
                    <a:pt x="794" y="1276"/>
                  </a:lnTo>
                  <a:lnTo>
                    <a:pt x="793" y="1278"/>
                  </a:lnTo>
                  <a:lnTo>
                    <a:pt x="786" y="1276"/>
                  </a:lnTo>
                  <a:lnTo>
                    <a:pt x="784" y="1275"/>
                  </a:lnTo>
                  <a:lnTo>
                    <a:pt x="783" y="1275"/>
                  </a:lnTo>
                  <a:lnTo>
                    <a:pt x="781" y="1276"/>
                  </a:lnTo>
                  <a:lnTo>
                    <a:pt x="781" y="1276"/>
                  </a:lnTo>
                  <a:lnTo>
                    <a:pt x="778" y="1276"/>
                  </a:lnTo>
                  <a:lnTo>
                    <a:pt x="778" y="1278"/>
                  </a:lnTo>
                  <a:lnTo>
                    <a:pt x="778" y="1278"/>
                  </a:lnTo>
                  <a:lnTo>
                    <a:pt x="778" y="1279"/>
                  </a:lnTo>
                  <a:lnTo>
                    <a:pt x="780" y="1281"/>
                  </a:lnTo>
                  <a:lnTo>
                    <a:pt x="780" y="1282"/>
                  </a:lnTo>
                  <a:lnTo>
                    <a:pt x="781" y="1282"/>
                  </a:lnTo>
                  <a:lnTo>
                    <a:pt x="786" y="1283"/>
                  </a:lnTo>
                  <a:lnTo>
                    <a:pt x="786" y="1285"/>
                  </a:lnTo>
                  <a:lnTo>
                    <a:pt x="786" y="1285"/>
                  </a:lnTo>
                  <a:lnTo>
                    <a:pt x="784" y="1286"/>
                  </a:lnTo>
                  <a:lnTo>
                    <a:pt x="783" y="1286"/>
                  </a:lnTo>
                  <a:lnTo>
                    <a:pt x="781" y="1285"/>
                  </a:lnTo>
                  <a:lnTo>
                    <a:pt x="780" y="1285"/>
                  </a:lnTo>
                  <a:lnTo>
                    <a:pt x="778" y="1285"/>
                  </a:lnTo>
                  <a:lnTo>
                    <a:pt x="778" y="1286"/>
                  </a:lnTo>
                  <a:lnTo>
                    <a:pt x="776" y="1285"/>
                  </a:lnTo>
                  <a:lnTo>
                    <a:pt x="776" y="1286"/>
                  </a:lnTo>
                  <a:lnTo>
                    <a:pt x="776" y="1288"/>
                  </a:lnTo>
                  <a:lnTo>
                    <a:pt x="774" y="1289"/>
                  </a:lnTo>
                  <a:lnTo>
                    <a:pt x="773" y="1291"/>
                  </a:lnTo>
                  <a:lnTo>
                    <a:pt x="771" y="1292"/>
                  </a:lnTo>
                  <a:lnTo>
                    <a:pt x="771" y="1293"/>
                  </a:lnTo>
                  <a:lnTo>
                    <a:pt x="773" y="1293"/>
                  </a:lnTo>
                  <a:lnTo>
                    <a:pt x="774" y="1295"/>
                  </a:lnTo>
                  <a:lnTo>
                    <a:pt x="776" y="1298"/>
                  </a:lnTo>
                  <a:lnTo>
                    <a:pt x="776" y="1299"/>
                  </a:lnTo>
                  <a:lnTo>
                    <a:pt x="776" y="1299"/>
                  </a:lnTo>
                  <a:lnTo>
                    <a:pt x="774" y="1298"/>
                  </a:lnTo>
                  <a:lnTo>
                    <a:pt x="773" y="1296"/>
                  </a:lnTo>
                  <a:lnTo>
                    <a:pt x="770" y="1295"/>
                  </a:lnTo>
                  <a:lnTo>
                    <a:pt x="766" y="1292"/>
                  </a:lnTo>
                  <a:lnTo>
                    <a:pt x="766" y="1292"/>
                  </a:lnTo>
                  <a:lnTo>
                    <a:pt x="766" y="1293"/>
                  </a:lnTo>
                  <a:lnTo>
                    <a:pt x="768" y="1295"/>
                  </a:lnTo>
                  <a:lnTo>
                    <a:pt x="770" y="1296"/>
                  </a:lnTo>
                  <a:lnTo>
                    <a:pt x="770" y="1298"/>
                  </a:lnTo>
                  <a:lnTo>
                    <a:pt x="767" y="1299"/>
                  </a:lnTo>
                  <a:lnTo>
                    <a:pt x="767" y="1301"/>
                  </a:lnTo>
                  <a:lnTo>
                    <a:pt x="767" y="1301"/>
                  </a:lnTo>
                  <a:lnTo>
                    <a:pt x="768" y="1302"/>
                  </a:lnTo>
                  <a:lnTo>
                    <a:pt x="767" y="1303"/>
                  </a:lnTo>
                  <a:lnTo>
                    <a:pt x="766" y="1303"/>
                  </a:lnTo>
                  <a:lnTo>
                    <a:pt x="763" y="1303"/>
                  </a:lnTo>
                  <a:lnTo>
                    <a:pt x="763" y="1305"/>
                  </a:lnTo>
                  <a:lnTo>
                    <a:pt x="763" y="1306"/>
                  </a:lnTo>
                  <a:lnTo>
                    <a:pt x="764" y="1306"/>
                  </a:lnTo>
                  <a:lnTo>
                    <a:pt x="763" y="1308"/>
                  </a:lnTo>
                  <a:lnTo>
                    <a:pt x="763" y="1308"/>
                  </a:lnTo>
                  <a:lnTo>
                    <a:pt x="758" y="1306"/>
                  </a:lnTo>
                  <a:lnTo>
                    <a:pt x="760" y="1309"/>
                  </a:lnTo>
                  <a:lnTo>
                    <a:pt x="760" y="1311"/>
                  </a:lnTo>
                  <a:lnTo>
                    <a:pt x="761" y="1312"/>
                  </a:lnTo>
                  <a:lnTo>
                    <a:pt x="763" y="1312"/>
                  </a:lnTo>
                  <a:lnTo>
                    <a:pt x="763" y="1313"/>
                  </a:lnTo>
                  <a:lnTo>
                    <a:pt x="763" y="1313"/>
                  </a:lnTo>
                  <a:lnTo>
                    <a:pt x="761" y="1315"/>
                  </a:lnTo>
                  <a:lnTo>
                    <a:pt x="757" y="1319"/>
                  </a:lnTo>
                  <a:lnTo>
                    <a:pt x="754" y="1322"/>
                  </a:lnTo>
                  <a:lnTo>
                    <a:pt x="753" y="1323"/>
                  </a:lnTo>
                  <a:lnTo>
                    <a:pt x="754" y="1326"/>
                  </a:lnTo>
                  <a:lnTo>
                    <a:pt x="754" y="1328"/>
                  </a:lnTo>
                  <a:lnTo>
                    <a:pt x="753" y="1328"/>
                  </a:lnTo>
                  <a:lnTo>
                    <a:pt x="751" y="1328"/>
                  </a:lnTo>
                  <a:lnTo>
                    <a:pt x="751" y="1329"/>
                  </a:lnTo>
                  <a:lnTo>
                    <a:pt x="751" y="1329"/>
                  </a:lnTo>
                  <a:lnTo>
                    <a:pt x="751" y="1332"/>
                  </a:lnTo>
                  <a:lnTo>
                    <a:pt x="751" y="1333"/>
                  </a:lnTo>
                  <a:lnTo>
                    <a:pt x="750" y="1338"/>
                  </a:lnTo>
                  <a:lnTo>
                    <a:pt x="747" y="1343"/>
                  </a:lnTo>
                  <a:lnTo>
                    <a:pt x="746" y="1348"/>
                  </a:lnTo>
                  <a:lnTo>
                    <a:pt x="744" y="1352"/>
                  </a:lnTo>
                  <a:lnTo>
                    <a:pt x="743" y="1353"/>
                  </a:lnTo>
                  <a:lnTo>
                    <a:pt x="741" y="1353"/>
                  </a:lnTo>
                  <a:lnTo>
                    <a:pt x="740" y="1355"/>
                  </a:lnTo>
                  <a:lnTo>
                    <a:pt x="741" y="1356"/>
                  </a:lnTo>
                  <a:lnTo>
                    <a:pt x="741" y="1356"/>
                  </a:lnTo>
                  <a:lnTo>
                    <a:pt x="741" y="1358"/>
                  </a:lnTo>
                  <a:lnTo>
                    <a:pt x="741" y="1362"/>
                  </a:lnTo>
                  <a:lnTo>
                    <a:pt x="740" y="1368"/>
                  </a:lnTo>
                  <a:lnTo>
                    <a:pt x="740" y="1372"/>
                  </a:lnTo>
                  <a:lnTo>
                    <a:pt x="740" y="1388"/>
                  </a:lnTo>
                  <a:lnTo>
                    <a:pt x="740" y="1395"/>
                  </a:lnTo>
                  <a:lnTo>
                    <a:pt x="738" y="1398"/>
                  </a:lnTo>
                  <a:lnTo>
                    <a:pt x="738" y="1400"/>
                  </a:lnTo>
                  <a:lnTo>
                    <a:pt x="737" y="1400"/>
                  </a:lnTo>
                  <a:lnTo>
                    <a:pt x="738" y="1400"/>
                  </a:lnTo>
                  <a:lnTo>
                    <a:pt x="740" y="1402"/>
                  </a:lnTo>
                  <a:lnTo>
                    <a:pt x="740" y="1403"/>
                  </a:lnTo>
                  <a:lnTo>
                    <a:pt x="741" y="1406"/>
                  </a:lnTo>
                  <a:lnTo>
                    <a:pt x="741" y="1406"/>
                  </a:lnTo>
                  <a:lnTo>
                    <a:pt x="743" y="1406"/>
                  </a:lnTo>
                  <a:lnTo>
                    <a:pt x="743" y="1406"/>
                  </a:lnTo>
                  <a:lnTo>
                    <a:pt x="744" y="1408"/>
                  </a:lnTo>
                  <a:lnTo>
                    <a:pt x="746" y="1410"/>
                  </a:lnTo>
                  <a:lnTo>
                    <a:pt x="747" y="1412"/>
                  </a:lnTo>
                  <a:lnTo>
                    <a:pt x="747" y="1413"/>
                  </a:lnTo>
                  <a:lnTo>
                    <a:pt x="747" y="1423"/>
                  </a:lnTo>
                  <a:lnTo>
                    <a:pt x="747" y="1425"/>
                  </a:lnTo>
                  <a:lnTo>
                    <a:pt x="748" y="1422"/>
                  </a:lnTo>
                  <a:lnTo>
                    <a:pt x="748" y="1415"/>
                  </a:lnTo>
                  <a:lnTo>
                    <a:pt x="750" y="1410"/>
                  </a:lnTo>
                  <a:lnTo>
                    <a:pt x="751" y="1410"/>
                  </a:lnTo>
                  <a:lnTo>
                    <a:pt x="756" y="1409"/>
                  </a:lnTo>
                  <a:lnTo>
                    <a:pt x="760" y="1410"/>
                  </a:lnTo>
                  <a:lnTo>
                    <a:pt x="763" y="1410"/>
                  </a:lnTo>
                  <a:lnTo>
                    <a:pt x="764" y="1410"/>
                  </a:lnTo>
                  <a:lnTo>
                    <a:pt x="766" y="1410"/>
                  </a:lnTo>
                  <a:lnTo>
                    <a:pt x="766" y="1412"/>
                  </a:lnTo>
                  <a:lnTo>
                    <a:pt x="766" y="1416"/>
                  </a:lnTo>
                  <a:lnTo>
                    <a:pt x="767" y="1418"/>
                  </a:lnTo>
                  <a:lnTo>
                    <a:pt x="770" y="1426"/>
                  </a:lnTo>
                  <a:lnTo>
                    <a:pt x="771" y="1430"/>
                  </a:lnTo>
                  <a:lnTo>
                    <a:pt x="773" y="1438"/>
                  </a:lnTo>
                  <a:lnTo>
                    <a:pt x="773" y="1440"/>
                  </a:lnTo>
                  <a:lnTo>
                    <a:pt x="777" y="1449"/>
                  </a:lnTo>
                  <a:lnTo>
                    <a:pt x="777" y="1452"/>
                  </a:lnTo>
                  <a:lnTo>
                    <a:pt x="777" y="1453"/>
                  </a:lnTo>
                  <a:lnTo>
                    <a:pt x="777" y="1455"/>
                  </a:lnTo>
                  <a:lnTo>
                    <a:pt x="777" y="1458"/>
                  </a:lnTo>
                  <a:lnTo>
                    <a:pt x="776" y="1459"/>
                  </a:lnTo>
                  <a:lnTo>
                    <a:pt x="774" y="1462"/>
                  </a:lnTo>
                  <a:lnTo>
                    <a:pt x="773" y="1463"/>
                  </a:lnTo>
                  <a:lnTo>
                    <a:pt x="773" y="1465"/>
                  </a:lnTo>
                  <a:lnTo>
                    <a:pt x="771" y="1465"/>
                  </a:lnTo>
                  <a:lnTo>
                    <a:pt x="771" y="1465"/>
                  </a:lnTo>
                  <a:lnTo>
                    <a:pt x="773" y="1465"/>
                  </a:lnTo>
                  <a:lnTo>
                    <a:pt x="774" y="1465"/>
                  </a:lnTo>
                  <a:lnTo>
                    <a:pt x="776" y="1462"/>
                  </a:lnTo>
                  <a:lnTo>
                    <a:pt x="777" y="1462"/>
                  </a:lnTo>
                  <a:lnTo>
                    <a:pt x="780" y="1462"/>
                  </a:lnTo>
                  <a:lnTo>
                    <a:pt x="780" y="1462"/>
                  </a:lnTo>
                  <a:lnTo>
                    <a:pt x="778" y="1463"/>
                  </a:lnTo>
                  <a:lnTo>
                    <a:pt x="778" y="1463"/>
                  </a:lnTo>
                  <a:lnTo>
                    <a:pt x="780" y="1463"/>
                  </a:lnTo>
                  <a:lnTo>
                    <a:pt x="784" y="1460"/>
                  </a:lnTo>
                  <a:lnTo>
                    <a:pt x="798" y="1456"/>
                  </a:lnTo>
                  <a:lnTo>
                    <a:pt x="801" y="1455"/>
                  </a:lnTo>
                  <a:lnTo>
                    <a:pt x="807" y="1456"/>
                  </a:lnTo>
                  <a:lnTo>
                    <a:pt x="811" y="1459"/>
                  </a:lnTo>
                  <a:lnTo>
                    <a:pt x="816" y="1462"/>
                  </a:lnTo>
                  <a:lnTo>
                    <a:pt x="820" y="1463"/>
                  </a:lnTo>
                  <a:lnTo>
                    <a:pt x="827" y="1465"/>
                  </a:lnTo>
                  <a:lnTo>
                    <a:pt x="828" y="1466"/>
                  </a:lnTo>
                  <a:lnTo>
                    <a:pt x="833" y="1468"/>
                  </a:lnTo>
                  <a:lnTo>
                    <a:pt x="835" y="1469"/>
                  </a:lnTo>
                  <a:lnTo>
                    <a:pt x="837" y="1470"/>
                  </a:lnTo>
                  <a:lnTo>
                    <a:pt x="841" y="1475"/>
                  </a:lnTo>
                  <a:lnTo>
                    <a:pt x="844" y="1476"/>
                  </a:lnTo>
                  <a:lnTo>
                    <a:pt x="847" y="1479"/>
                  </a:lnTo>
                  <a:lnTo>
                    <a:pt x="850" y="1482"/>
                  </a:lnTo>
                  <a:lnTo>
                    <a:pt x="855" y="1490"/>
                  </a:lnTo>
                  <a:lnTo>
                    <a:pt x="857" y="1492"/>
                  </a:lnTo>
                  <a:lnTo>
                    <a:pt x="860" y="1493"/>
                  </a:lnTo>
                  <a:lnTo>
                    <a:pt x="865" y="1495"/>
                  </a:lnTo>
                  <a:lnTo>
                    <a:pt x="874" y="1499"/>
                  </a:lnTo>
                  <a:lnTo>
                    <a:pt x="878" y="1500"/>
                  </a:lnTo>
                  <a:lnTo>
                    <a:pt x="881" y="1500"/>
                  </a:lnTo>
                  <a:lnTo>
                    <a:pt x="883" y="1502"/>
                  </a:lnTo>
                  <a:lnTo>
                    <a:pt x="885" y="1503"/>
                  </a:lnTo>
                  <a:lnTo>
                    <a:pt x="887" y="1505"/>
                  </a:lnTo>
                  <a:lnTo>
                    <a:pt x="888" y="1506"/>
                  </a:lnTo>
                  <a:lnTo>
                    <a:pt x="890" y="1508"/>
                  </a:lnTo>
                  <a:lnTo>
                    <a:pt x="891" y="1509"/>
                  </a:lnTo>
                  <a:lnTo>
                    <a:pt x="893" y="1510"/>
                  </a:lnTo>
                  <a:lnTo>
                    <a:pt x="893" y="1512"/>
                  </a:lnTo>
                  <a:lnTo>
                    <a:pt x="891" y="1518"/>
                  </a:lnTo>
                  <a:lnTo>
                    <a:pt x="890" y="1518"/>
                  </a:lnTo>
                  <a:lnTo>
                    <a:pt x="893" y="1513"/>
                  </a:lnTo>
                  <a:lnTo>
                    <a:pt x="894" y="1513"/>
                  </a:lnTo>
                  <a:lnTo>
                    <a:pt x="895" y="1512"/>
                  </a:lnTo>
                  <a:lnTo>
                    <a:pt x="897" y="1512"/>
                  </a:lnTo>
                  <a:lnTo>
                    <a:pt x="901" y="1513"/>
                  </a:lnTo>
                  <a:lnTo>
                    <a:pt x="904" y="1513"/>
                  </a:lnTo>
                  <a:lnTo>
                    <a:pt x="907" y="1512"/>
                  </a:lnTo>
                  <a:lnTo>
                    <a:pt x="908" y="1512"/>
                  </a:lnTo>
                  <a:lnTo>
                    <a:pt x="911" y="1512"/>
                  </a:lnTo>
                  <a:lnTo>
                    <a:pt x="913" y="1512"/>
                  </a:lnTo>
                  <a:lnTo>
                    <a:pt x="913" y="1512"/>
                  </a:lnTo>
                  <a:lnTo>
                    <a:pt x="914" y="1512"/>
                  </a:lnTo>
                  <a:lnTo>
                    <a:pt x="918" y="1513"/>
                  </a:lnTo>
                  <a:lnTo>
                    <a:pt x="920" y="1513"/>
                  </a:lnTo>
                  <a:lnTo>
                    <a:pt x="925" y="1515"/>
                  </a:lnTo>
                  <a:lnTo>
                    <a:pt x="928" y="1513"/>
                  </a:lnTo>
                  <a:lnTo>
                    <a:pt x="930" y="1513"/>
                  </a:lnTo>
                  <a:lnTo>
                    <a:pt x="931" y="1516"/>
                  </a:lnTo>
                  <a:lnTo>
                    <a:pt x="931" y="1516"/>
                  </a:lnTo>
                  <a:lnTo>
                    <a:pt x="934" y="1516"/>
                  </a:lnTo>
                  <a:lnTo>
                    <a:pt x="935" y="1516"/>
                  </a:lnTo>
                  <a:lnTo>
                    <a:pt x="938" y="1518"/>
                  </a:lnTo>
                  <a:lnTo>
                    <a:pt x="940" y="1520"/>
                  </a:lnTo>
                  <a:lnTo>
                    <a:pt x="941" y="1525"/>
                  </a:lnTo>
                  <a:lnTo>
                    <a:pt x="941" y="1525"/>
                  </a:lnTo>
                  <a:lnTo>
                    <a:pt x="938" y="1535"/>
                  </a:lnTo>
                  <a:lnTo>
                    <a:pt x="938" y="1538"/>
                  </a:lnTo>
                  <a:lnTo>
                    <a:pt x="938" y="1540"/>
                  </a:lnTo>
                  <a:lnTo>
                    <a:pt x="938" y="1543"/>
                  </a:lnTo>
                  <a:lnTo>
                    <a:pt x="940" y="1546"/>
                  </a:lnTo>
                  <a:lnTo>
                    <a:pt x="941" y="1546"/>
                  </a:lnTo>
                  <a:lnTo>
                    <a:pt x="941" y="1550"/>
                  </a:lnTo>
                  <a:lnTo>
                    <a:pt x="942" y="1553"/>
                  </a:lnTo>
                  <a:lnTo>
                    <a:pt x="942" y="1555"/>
                  </a:lnTo>
                  <a:lnTo>
                    <a:pt x="941" y="1558"/>
                  </a:lnTo>
                  <a:lnTo>
                    <a:pt x="941" y="1560"/>
                  </a:lnTo>
                  <a:lnTo>
                    <a:pt x="942" y="1565"/>
                  </a:lnTo>
                  <a:lnTo>
                    <a:pt x="941" y="1568"/>
                  </a:lnTo>
                  <a:lnTo>
                    <a:pt x="941" y="1569"/>
                  </a:lnTo>
                  <a:lnTo>
                    <a:pt x="940" y="1570"/>
                  </a:lnTo>
                  <a:lnTo>
                    <a:pt x="940" y="1573"/>
                  </a:lnTo>
                  <a:lnTo>
                    <a:pt x="940" y="1573"/>
                  </a:lnTo>
                  <a:lnTo>
                    <a:pt x="940" y="1576"/>
                  </a:lnTo>
                  <a:lnTo>
                    <a:pt x="941" y="1576"/>
                  </a:lnTo>
                  <a:lnTo>
                    <a:pt x="942" y="1578"/>
                  </a:lnTo>
                  <a:lnTo>
                    <a:pt x="944" y="1579"/>
                  </a:lnTo>
                  <a:lnTo>
                    <a:pt x="947" y="1583"/>
                  </a:lnTo>
                  <a:lnTo>
                    <a:pt x="948" y="1586"/>
                  </a:lnTo>
                  <a:lnTo>
                    <a:pt x="951" y="1589"/>
                  </a:lnTo>
                  <a:lnTo>
                    <a:pt x="951" y="1592"/>
                  </a:lnTo>
                  <a:lnTo>
                    <a:pt x="951" y="1592"/>
                  </a:lnTo>
                  <a:lnTo>
                    <a:pt x="950" y="1593"/>
                  </a:lnTo>
                  <a:lnTo>
                    <a:pt x="948" y="1595"/>
                  </a:lnTo>
                  <a:lnTo>
                    <a:pt x="947" y="1595"/>
                  </a:lnTo>
                  <a:lnTo>
                    <a:pt x="947" y="1595"/>
                  </a:lnTo>
                  <a:lnTo>
                    <a:pt x="950" y="1595"/>
                  </a:lnTo>
                  <a:lnTo>
                    <a:pt x="951" y="1595"/>
                  </a:lnTo>
                  <a:lnTo>
                    <a:pt x="952" y="1596"/>
                  </a:lnTo>
                  <a:lnTo>
                    <a:pt x="954" y="1598"/>
                  </a:lnTo>
                  <a:lnTo>
                    <a:pt x="955" y="1599"/>
                  </a:lnTo>
                  <a:lnTo>
                    <a:pt x="958" y="1599"/>
                  </a:lnTo>
                  <a:lnTo>
                    <a:pt x="961" y="1602"/>
                  </a:lnTo>
                  <a:lnTo>
                    <a:pt x="965" y="1606"/>
                  </a:lnTo>
                  <a:lnTo>
                    <a:pt x="965" y="1607"/>
                  </a:lnTo>
                  <a:lnTo>
                    <a:pt x="967" y="1609"/>
                  </a:lnTo>
                  <a:lnTo>
                    <a:pt x="968" y="1613"/>
                  </a:lnTo>
                  <a:lnTo>
                    <a:pt x="970" y="1616"/>
                  </a:lnTo>
                  <a:lnTo>
                    <a:pt x="970" y="1616"/>
                  </a:lnTo>
                  <a:lnTo>
                    <a:pt x="968" y="1617"/>
                  </a:lnTo>
                  <a:lnTo>
                    <a:pt x="965" y="1620"/>
                  </a:lnTo>
                  <a:lnTo>
                    <a:pt x="962" y="1623"/>
                  </a:lnTo>
                  <a:lnTo>
                    <a:pt x="964" y="1623"/>
                  </a:lnTo>
                  <a:lnTo>
                    <a:pt x="965" y="1622"/>
                  </a:lnTo>
                  <a:lnTo>
                    <a:pt x="968" y="1619"/>
                  </a:lnTo>
                  <a:lnTo>
                    <a:pt x="971" y="1617"/>
                  </a:lnTo>
                  <a:lnTo>
                    <a:pt x="972" y="1619"/>
                  </a:lnTo>
                  <a:lnTo>
                    <a:pt x="975" y="1619"/>
                  </a:lnTo>
                  <a:lnTo>
                    <a:pt x="977" y="1620"/>
                  </a:lnTo>
                  <a:lnTo>
                    <a:pt x="980" y="1622"/>
                  </a:lnTo>
                  <a:lnTo>
                    <a:pt x="982" y="1626"/>
                  </a:lnTo>
                  <a:lnTo>
                    <a:pt x="985" y="1630"/>
                  </a:lnTo>
                  <a:lnTo>
                    <a:pt x="987" y="1633"/>
                  </a:lnTo>
                  <a:lnTo>
                    <a:pt x="987" y="1630"/>
                  </a:lnTo>
                  <a:lnTo>
                    <a:pt x="985" y="1629"/>
                  </a:lnTo>
                  <a:lnTo>
                    <a:pt x="982" y="1625"/>
                  </a:lnTo>
                  <a:lnTo>
                    <a:pt x="981" y="1623"/>
                  </a:lnTo>
                  <a:lnTo>
                    <a:pt x="981" y="1623"/>
                  </a:lnTo>
                  <a:lnTo>
                    <a:pt x="981" y="1622"/>
                  </a:lnTo>
                  <a:lnTo>
                    <a:pt x="981" y="1620"/>
                  </a:lnTo>
                  <a:lnTo>
                    <a:pt x="981" y="1617"/>
                  </a:lnTo>
                  <a:lnTo>
                    <a:pt x="982" y="1616"/>
                  </a:lnTo>
                  <a:lnTo>
                    <a:pt x="982" y="1615"/>
                  </a:lnTo>
                  <a:lnTo>
                    <a:pt x="984" y="1613"/>
                  </a:lnTo>
                  <a:lnTo>
                    <a:pt x="984" y="1613"/>
                  </a:lnTo>
                  <a:lnTo>
                    <a:pt x="984" y="1612"/>
                  </a:lnTo>
                  <a:lnTo>
                    <a:pt x="987" y="1610"/>
                  </a:lnTo>
                  <a:lnTo>
                    <a:pt x="988" y="1610"/>
                  </a:lnTo>
                  <a:lnTo>
                    <a:pt x="988" y="1612"/>
                  </a:lnTo>
                  <a:lnTo>
                    <a:pt x="988" y="1613"/>
                  </a:lnTo>
                  <a:lnTo>
                    <a:pt x="990" y="1613"/>
                  </a:lnTo>
                  <a:lnTo>
                    <a:pt x="991" y="1613"/>
                  </a:lnTo>
                  <a:lnTo>
                    <a:pt x="991" y="1615"/>
                  </a:lnTo>
                  <a:lnTo>
                    <a:pt x="992" y="1616"/>
                  </a:lnTo>
                  <a:lnTo>
                    <a:pt x="992" y="1616"/>
                  </a:lnTo>
                  <a:lnTo>
                    <a:pt x="994" y="1620"/>
                  </a:lnTo>
                  <a:lnTo>
                    <a:pt x="994" y="1622"/>
                  </a:lnTo>
                  <a:lnTo>
                    <a:pt x="994" y="1619"/>
                  </a:lnTo>
                  <a:lnTo>
                    <a:pt x="995" y="1616"/>
                  </a:lnTo>
                  <a:lnTo>
                    <a:pt x="995" y="1616"/>
                  </a:lnTo>
                  <a:lnTo>
                    <a:pt x="997" y="1613"/>
                  </a:lnTo>
                  <a:lnTo>
                    <a:pt x="997" y="1613"/>
                  </a:lnTo>
                  <a:lnTo>
                    <a:pt x="995" y="1612"/>
                  </a:lnTo>
                  <a:lnTo>
                    <a:pt x="992" y="1607"/>
                  </a:lnTo>
                  <a:lnTo>
                    <a:pt x="992" y="1606"/>
                  </a:lnTo>
                  <a:lnTo>
                    <a:pt x="994" y="1606"/>
                  </a:lnTo>
                  <a:lnTo>
                    <a:pt x="994" y="1605"/>
                  </a:lnTo>
                  <a:lnTo>
                    <a:pt x="994" y="1603"/>
                  </a:lnTo>
                  <a:lnTo>
                    <a:pt x="995" y="1602"/>
                  </a:lnTo>
                  <a:lnTo>
                    <a:pt x="997" y="1600"/>
                  </a:lnTo>
                  <a:lnTo>
                    <a:pt x="1000" y="1598"/>
                  </a:lnTo>
                  <a:lnTo>
                    <a:pt x="1000" y="1595"/>
                  </a:lnTo>
                  <a:lnTo>
                    <a:pt x="1001" y="1595"/>
                  </a:lnTo>
                  <a:lnTo>
                    <a:pt x="1001" y="1595"/>
                  </a:lnTo>
                  <a:lnTo>
                    <a:pt x="1000" y="1593"/>
                  </a:lnTo>
                  <a:lnTo>
                    <a:pt x="1000" y="1593"/>
                  </a:lnTo>
                  <a:lnTo>
                    <a:pt x="1000" y="1590"/>
                  </a:lnTo>
                  <a:lnTo>
                    <a:pt x="1000" y="1588"/>
                  </a:lnTo>
                  <a:lnTo>
                    <a:pt x="998" y="1588"/>
                  </a:lnTo>
                  <a:lnTo>
                    <a:pt x="997" y="1585"/>
                  </a:lnTo>
                  <a:lnTo>
                    <a:pt x="997" y="1583"/>
                  </a:lnTo>
                  <a:lnTo>
                    <a:pt x="997" y="1580"/>
                  </a:lnTo>
                  <a:lnTo>
                    <a:pt x="997" y="1579"/>
                  </a:lnTo>
                  <a:lnTo>
                    <a:pt x="997" y="1579"/>
                  </a:lnTo>
                  <a:lnTo>
                    <a:pt x="997" y="1578"/>
                  </a:lnTo>
                  <a:lnTo>
                    <a:pt x="995" y="1575"/>
                  </a:lnTo>
                  <a:lnTo>
                    <a:pt x="994" y="1573"/>
                  </a:lnTo>
                  <a:lnTo>
                    <a:pt x="994" y="1569"/>
                  </a:lnTo>
                  <a:lnTo>
                    <a:pt x="992" y="1563"/>
                  </a:lnTo>
                  <a:lnTo>
                    <a:pt x="991" y="1559"/>
                  </a:lnTo>
                  <a:lnTo>
                    <a:pt x="991" y="1558"/>
                  </a:lnTo>
                  <a:lnTo>
                    <a:pt x="991" y="1555"/>
                  </a:lnTo>
                  <a:lnTo>
                    <a:pt x="991" y="1555"/>
                  </a:lnTo>
                  <a:lnTo>
                    <a:pt x="991" y="1553"/>
                  </a:lnTo>
                  <a:lnTo>
                    <a:pt x="992" y="1552"/>
                  </a:lnTo>
                  <a:lnTo>
                    <a:pt x="994" y="1552"/>
                  </a:lnTo>
                  <a:lnTo>
                    <a:pt x="994" y="1552"/>
                  </a:lnTo>
                  <a:lnTo>
                    <a:pt x="992" y="1550"/>
                  </a:lnTo>
                  <a:lnTo>
                    <a:pt x="991" y="1549"/>
                  </a:lnTo>
                  <a:lnTo>
                    <a:pt x="991" y="1549"/>
                  </a:lnTo>
                  <a:lnTo>
                    <a:pt x="992" y="1548"/>
                  </a:lnTo>
                  <a:lnTo>
                    <a:pt x="992" y="1548"/>
                  </a:lnTo>
                  <a:lnTo>
                    <a:pt x="991" y="1546"/>
                  </a:lnTo>
                  <a:lnTo>
                    <a:pt x="988" y="1545"/>
                  </a:lnTo>
                  <a:lnTo>
                    <a:pt x="990" y="1545"/>
                  </a:lnTo>
                  <a:lnTo>
                    <a:pt x="990" y="1543"/>
                  </a:lnTo>
                  <a:lnTo>
                    <a:pt x="990" y="1543"/>
                  </a:lnTo>
                  <a:lnTo>
                    <a:pt x="990" y="1543"/>
                  </a:lnTo>
                  <a:lnTo>
                    <a:pt x="988" y="1542"/>
                  </a:lnTo>
                  <a:lnTo>
                    <a:pt x="987" y="1540"/>
                  </a:lnTo>
                  <a:lnTo>
                    <a:pt x="985" y="1539"/>
                  </a:lnTo>
                  <a:lnTo>
                    <a:pt x="985" y="1538"/>
                  </a:lnTo>
                  <a:lnTo>
                    <a:pt x="984" y="1535"/>
                  </a:lnTo>
                  <a:lnTo>
                    <a:pt x="982" y="1532"/>
                  </a:lnTo>
                  <a:lnTo>
                    <a:pt x="982" y="1530"/>
                  </a:lnTo>
                  <a:lnTo>
                    <a:pt x="981" y="1530"/>
                  </a:lnTo>
                  <a:lnTo>
                    <a:pt x="981" y="1529"/>
                  </a:lnTo>
                  <a:lnTo>
                    <a:pt x="981" y="1529"/>
                  </a:lnTo>
                  <a:lnTo>
                    <a:pt x="981" y="1529"/>
                  </a:lnTo>
                  <a:lnTo>
                    <a:pt x="994" y="1523"/>
                  </a:lnTo>
                  <a:lnTo>
                    <a:pt x="995" y="1523"/>
                  </a:lnTo>
                  <a:lnTo>
                    <a:pt x="1001" y="1520"/>
                  </a:lnTo>
                  <a:lnTo>
                    <a:pt x="1004" y="1518"/>
                  </a:lnTo>
                  <a:lnTo>
                    <a:pt x="1007" y="1516"/>
                  </a:lnTo>
                  <a:lnTo>
                    <a:pt x="1010" y="1513"/>
                  </a:lnTo>
                  <a:lnTo>
                    <a:pt x="1012" y="1512"/>
                  </a:lnTo>
                  <a:lnTo>
                    <a:pt x="1014" y="1510"/>
                  </a:lnTo>
                  <a:lnTo>
                    <a:pt x="1020" y="1505"/>
                  </a:lnTo>
                  <a:lnTo>
                    <a:pt x="1022" y="1502"/>
                  </a:lnTo>
                  <a:lnTo>
                    <a:pt x="1024" y="1499"/>
                  </a:lnTo>
                  <a:lnTo>
                    <a:pt x="1025" y="1496"/>
                  </a:lnTo>
                  <a:lnTo>
                    <a:pt x="1028" y="1492"/>
                  </a:lnTo>
                  <a:lnTo>
                    <a:pt x="1029" y="1489"/>
                  </a:lnTo>
                  <a:lnTo>
                    <a:pt x="1031" y="1486"/>
                  </a:lnTo>
                  <a:lnTo>
                    <a:pt x="1031" y="1482"/>
                  </a:lnTo>
                  <a:lnTo>
                    <a:pt x="1032" y="1478"/>
                  </a:lnTo>
                  <a:lnTo>
                    <a:pt x="1032" y="1472"/>
                  </a:lnTo>
                  <a:lnTo>
                    <a:pt x="1032" y="1466"/>
                  </a:lnTo>
                  <a:lnTo>
                    <a:pt x="1031" y="1458"/>
                  </a:lnTo>
                  <a:lnTo>
                    <a:pt x="1031" y="1455"/>
                  </a:lnTo>
                  <a:lnTo>
                    <a:pt x="1029" y="1452"/>
                  </a:lnTo>
                  <a:lnTo>
                    <a:pt x="1028" y="1445"/>
                  </a:lnTo>
                  <a:lnTo>
                    <a:pt x="1028" y="1443"/>
                  </a:lnTo>
                  <a:lnTo>
                    <a:pt x="1027" y="1440"/>
                  </a:lnTo>
                  <a:lnTo>
                    <a:pt x="1022" y="1432"/>
                  </a:lnTo>
                  <a:lnTo>
                    <a:pt x="1017" y="1428"/>
                  </a:lnTo>
                  <a:lnTo>
                    <a:pt x="1015" y="1426"/>
                  </a:lnTo>
                  <a:lnTo>
                    <a:pt x="1014" y="1425"/>
                  </a:lnTo>
                  <a:lnTo>
                    <a:pt x="1010" y="1422"/>
                  </a:lnTo>
                  <a:lnTo>
                    <a:pt x="1008" y="1420"/>
                  </a:lnTo>
                  <a:lnTo>
                    <a:pt x="1002" y="1415"/>
                  </a:lnTo>
                  <a:lnTo>
                    <a:pt x="1001" y="1415"/>
                  </a:lnTo>
                  <a:lnTo>
                    <a:pt x="1000" y="1413"/>
                  </a:lnTo>
                  <a:lnTo>
                    <a:pt x="1000" y="1412"/>
                  </a:lnTo>
                  <a:lnTo>
                    <a:pt x="1001" y="1409"/>
                  </a:lnTo>
                  <a:lnTo>
                    <a:pt x="1001" y="1408"/>
                  </a:lnTo>
                  <a:lnTo>
                    <a:pt x="1001" y="1406"/>
                  </a:lnTo>
                  <a:lnTo>
                    <a:pt x="1001" y="1406"/>
                  </a:lnTo>
                  <a:lnTo>
                    <a:pt x="1004" y="1402"/>
                  </a:lnTo>
                  <a:lnTo>
                    <a:pt x="1007" y="1398"/>
                  </a:lnTo>
                  <a:lnTo>
                    <a:pt x="1007" y="1396"/>
                  </a:lnTo>
                  <a:lnTo>
                    <a:pt x="1008" y="1395"/>
                  </a:lnTo>
                  <a:lnTo>
                    <a:pt x="1011" y="1393"/>
                  </a:lnTo>
                  <a:lnTo>
                    <a:pt x="1012" y="1391"/>
                  </a:lnTo>
                  <a:lnTo>
                    <a:pt x="1012" y="1389"/>
                  </a:lnTo>
                  <a:lnTo>
                    <a:pt x="1011" y="1389"/>
                  </a:lnTo>
                  <a:lnTo>
                    <a:pt x="1011" y="1388"/>
                  </a:lnTo>
                  <a:lnTo>
                    <a:pt x="1012" y="1385"/>
                  </a:lnTo>
                  <a:lnTo>
                    <a:pt x="1012" y="1385"/>
                  </a:lnTo>
                  <a:lnTo>
                    <a:pt x="1012" y="1382"/>
                  </a:lnTo>
                  <a:lnTo>
                    <a:pt x="1012" y="1382"/>
                  </a:lnTo>
                  <a:lnTo>
                    <a:pt x="1015" y="1381"/>
                  </a:lnTo>
                  <a:lnTo>
                    <a:pt x="1018" y="1385"/>
                  </a:lnTo>
                  <a:lnTo>
                    <a:pt x="1018" y="1385"/>
                  </a:lnTo>
                  <a:lnTo>
                    <a:pt x="1018" y="1383"/>
                  </a:lnTo>
                  <a:lnTo>
                    <a:pt x="1017" y="1381"/>
                  </a:lnTo>
                  <a:lnTo>
                    <a:pt x="1017" y="1381"/>
                  </a:lnTo>
                  <a:lnTo>
                    <a:pt x="1020" y="1378"/>
                  </a:lnTo>
                  <a:lnTo>
                    <a:pt x="1020" y="1376"/>
                  </a:lnTo>
                  <a:lnTo>
                    <a:pt x="1018" y="1375"/>
                  </a:lnTo>
                  <a:lnTo>
                    <a:pt x="1018" y="1373"/>
                  </a:lnTo>
                  <a:lnTo>
                    <a:pt x="1020" y="1371"/>
                  </a:lnTo>
                  <a:lnTo>
                    <a:pt x="1020" y="1369"/>
                  </a:lnTo>
                  <a:lnTo>
                    <a:pt x="1015" y="1369"/>
                  </a:lnTo>
                  <a:lnTo>
                    <a:pt x="1015" y="1368"/>
                  </a:lnTo>
                  <a:lnTo>
                    <a:pt x="1015" y="1368"/>
                  </a:lnTo>
                  <a:lnTo>
                    <a:pt x="1017" y="1366"/>
                  </a:lnTo>
                  <a:lnTo>
                    <a:pt x="1017" y="1366"/>
                  </a:lnTo>
                  <a:lnTo>
                    <a:pt x="1014" y="1359"/>
                  </a:lnTo>
                  <a:lnTo>
                    <a:pt x="1014" y="1358"/>
                  </a:lnTo>
                  <a:lnTo>
                    <a:pt x="1015" y="1355"/>
                  </a:lnTo>
                  <a:lnTo>
                    <a:pt x="1017" y="1353"/>
                  </a:lnTo>
                  <a:lnTo>
                    <a:pt x="1017" y="1353"/>
                  </a:lnTo>
                  <a:lnTo>
                    <a:pt x="1014" y="1353"/>
                  </a:lnTo>
                  <a:lnTo>
                    <a:pt x="1012" y="1352"/>
                  </a:lnTo>
                  <a:lnTo>
                    <a:pt x="1012" y="1351"/>
                  </a:lnTo>
                  <a:lnTo>
                    <a:pt x="1012" y="1349"/>
                  </a:lnTo>
                  <a:lnTo>
                    <a:pt x="1012" y="1349"/>
                  </a:lnTo>
                  <a:lnTo>
                    <a:pt x="1014" y="1345"/>
                  </a:lnTo>
                  <a:lnTo>
                    <a:pt x="1015" y="1345"/>
                  </a:lnTo>
                  <a:lnTo>
                    <a:pt x="1015" y="1345"/>
                  </a:lnTo>
                  <a:lnTo>
                    <a:pt x="1011" y="1345"/>
                  </a:lnTo>
                  <a:lnTo>
                    <a:pt x="1008" y="1345"/>
                  </a:lnTo>
                  <a:lnTo>
                    <a:pt x="1007" y="1345"/>
                  </a:lnTo>
                  <a:lnTo>
                    <a:pt x="1005" y="1345"/>
                  </a:lnTo>
                  <a:lnTo>
                    <a:pt x="1005" y="1343"/>
                  </a:lnTo>
                  <a:lnTo>
                    <a:pt x="1010" y="1338"/>
                  </a:lnTo>
                  <a:lnTo>
                    <a:pt x="1011" y="1336"/>
                  </a:lnTo>
                  <a:lnTo>
                    <a:pt x="1012" y="1333"/>
                  </a:lnTo>
                  <a:lnTo>
                    <a:pt x="1012" y="1332"/>
                  </a:lnTo>
                  <a:lnTo>
                    <a:pt x="1012" y="1331"/>
                  </a:lnTo>
                  <a:lnTo>
                    <a:pt x="1012" y="1325"/>
                  </a:lnTo>
                  <a:lnTo>
                    <a:pt x="1012" y="1323"/>
                  </a:lnTo>
                  <a:lnTo>
                    <a:pt x="1014" y="1322"/>
                  </a:lnTo>
                  <a:lnTo>
                    <a:pt x="1017" y="1321"/>
                  </a:lnTo>
                  <a:lnTo>
                    <a:pt x="1014" y="1318"/>
                  </a:lnTo>
                  <a:lnTo>
                    <a:pt x="1011" y="1315"/>
                  </a:lnTo>
                  <a:lnTo>
                    <a:pt x="1010" y="1315"/>
                  </a:lnTo>
                  <a:lnTo>
                    <a:pt x="1010" y="1313"/>
                  </a:lnTo>
                  <a:lnTo>
                    <a:pt x="1008" y="1311"/>
                  </a:lnTo>
                  <a:lnTo>
                    <a:pt x="1007" y="1308"/>
                  </a:lnTo>
                  <a:lnTo>
                    <a:pt x="1007" y="1301"/>
                  </a:lnTo>
                  <a:lnTo>
                    <a:pt x="1007" y="1298"/>
                  </a:lnTo>
                  <a:lnTo>
                    <a:pt x="1007" y="1295"/>
                  </a:lnTo>
                  <a:lnTo>
                    <a:pt x="1007" y="1293"/>
                  </a:lnTo>
                  <a:lnTo>
                    <a:pt x="1007" y="1293"/>
                  </a:lnTo>
                  <a:lnTo>
                    <a:pt x="1010" y="1291"/>
                  </a:lnTo>
                  <a:lnTo>
                    <a:pt x="1015" y="1286"/>
                  </a:lnTo>
                  <a:lnTo>
                    <a:pt x="1018" y="1285"/>
                  </a:lnTo>
                  <a:lnTo>
                    <a:pt x="1021" y="1286"/>
                  </a:lnTo>
                  <a:lnTo>
                    <a:pt x="1027" y="1286"/>
                  </a:lnTo>
                  <a:lnTo>
                    <a:pt x="1031" y="1289"/>
                  </a:lnTo>
                  <a:lnTo>
                    <a:pt x="1044" y="1293"/>
                  </a:lnTo>
                  <a:lnTo>
                    <a:pt x="1045" y="1296"/>
                  </a:lnTo>
                  <a:lnTo>
                    <a:pt x="1044" y="1298"/>
                  </a:lnTo>
                  <a:lnTo>
                    <a:pt x="1044" y="1299"/>
                  </a:lnTo>
                  <a:lnTo>
                    <a:pt x="1048" y="1295"/>
                  </a:lnTo>
                  <a:lnTo>
                    <a:pt x="1049" y="1295"/>
                  </a:lnTo>
                  <a:lnTo>
                    <a:pt x="1051" y="1295"/>
                  </a:lnTo>
                  <a:lnTo>
                    <a:pt x="1055" y="1296"/>
                  </a:lnTo>
                  <a:lnTo>
                    <a:pt x="1057" y="1296"/>
                  </a:lnTo>
                  <a:lnTo>
                    <a:pt x="1058" y="1298"/>
                  </a:lnTo>
                  <a:lnTo>
                    <a:pt x="1062" y="1301"/>
                  </a:lnTo>
                  <a:lnTo>
                    <a:pt x="1062" y="1301"/>
                  </a:lnTo>
                  <a:lnTo>
                    <a:pt x="1061" y="1299"/>
                  </a:lnTo>
                  <a:lnTo>
                    <a:pt x="1062" y="1298"/>
                  </a:lnTo>
                  <a:lnTo>
                    <a:pt x="1065" y="1296"/>
                  </a:lnTo>
                  <a:lnTo>
                    <a:pt x="1069" y="1293"/>
                  </a:lnTo>
                  <a:lnTo>
                    <a:pt x="1072" y="1292"/>
                  </a:lnTo>
                  <a:lnTo>
                    <a:pt x="1074" y="1291"/>
                  </a:lnTo>
                  <a:lnTo>
                    <a:pt x="1077" y="1289"/>
                  </a:lnTo>
                  <a:lnTo>
                    <a:pt x="1077" y="1289"/>
                  </a:lnTo>
                  <a:lnTo>
                    <a:pt x="1078" y="1289"/>
                  </a:lnTo>
                  <a:lnTo>
                    <a:pt x="1081" y="1292"/>
                  </a:lnTo>
                  <a:lnTo>
                    <a:pt x="1084" y="1293"/>
                  </a:lnTo>
                  <a:lnTo>
                    <a:pt x="1085" y="1295"/>
                  </a:lnTo>
                  <a:lnTo>
                    <a:pt x="1088" y="1298"/>
                  </a:lnTo>
                  <a:lnTo>
                    <a:pt x="1088" y="1299"/>
                  </a:lnTo>
                  <a:lnTo>
                    <a:pt x="1091" y="1301"/>
                  </a:lnTo>
                  <a:lnTo>
                    <a:pt x="1092" y="1301"/>
                  </a:lnTo>
                  <a:lnTo>
                    <a:pt x="1094" y="1301"/>
                  </a:lnTo>
                  <a:lnTo>
                    <a:pt x="1094" y="1301"/>
                  </a:lnTo>
                  <a:lnTo>
                    <a:pt x="1094" y="1302"/>
                  </a:lnTo>
                  <a:lnTo>
                    <a:pt x="1094" y="1303"/>
                  </a:lnTo>
                  <a:lnTo>
                    <a:pt x="1094" y="1303"/>
                  </a:lnTo>
                  <a:lnTo>
                    <a:pt x="1094" y="1306"/>
                  </a:lnTo>
                  <a:lnTo>
                    <a:pt x="1092" y="1311"/>
                  </a:lnTo>
                  <a:lnTo>
                    <a:pt x="1092" y="1311"/>
                  </a:lnTo>
                  <a:lnTo>
                    <a:pt x="1094" y="1309"/>
                  </a:lnTo>
                  <a:lnTo>
                    <a:pt x="1095" y="1308"/>
                  </a:lnTo>
                  <a:lnTo>
                    <a:pt x="1097" y="1308"/>
                  </a:lnTo>
                  <a:lnTo>
                    <a:pt x="1098" y="1309"/>
                  </a:lnTo>
                  <a:lnTo>
                    <a:pt x="1101" y="1311"/>
                  </a:lnTo>
                  <a:lnTo>
                    <a:pt x="1102" y="1312"/>
                  </a:lnTo>
                  <a:lnTo>
                    <a:pt x="1102" y="1313"/>
                  </a:lnTo>
                  <a:lnTo>
                    <a:pt x="1104" y="1315"/>
                  </a:lnTo>
                  <a:lnTo>
                    <a:pt x="1104" y="1316"/>
                  </a:lnTo>
                  <a:lnTo>
                    <a:pt x="1104" y="1316"/>
                  </a:lnTo>
                  <a:lnTo>
                    <a:pt x="1104" y="1318"/>
                  </a:lnTo>
                  <a:lnTo>
                    <a:pt x="1101" y="1319"/>
                  </a:lnTo>
                  <a:lnTo>
                    <a:pt x="1101" y="1319"/>
                  </a:lnTo>
                  <a:lnTo>
                    <a:pt x="1104" y="1318"/>
                  </a:lnTo>
                  <a:lnTo>
                    <a:pt x="1105" y="1318"/>
                  </a:lnTo>
                  <a:lnTo>
                    <a:pt x="1105" y="1316"/>
                  </a:lnTo>
                  <a:lnTo>
                    <a:pt x="1107" y="1315"/>
                  </a:lnTo>
                  <a:lnTo>
                    <a:pt x="1111" y="1318"/>
                  </a:lnTo>
                  <a:lnTo>
                    <a:pt x="1111" y="1319"/>
                  </a:lnTo>
                  <a:lnTo>
                    <a:pt x="1111" y="1319"/>
                  </a:lnTo>
                  <a:lnTo>
                    <a:pt x="1109" y="1321"/>
                  </a:lnTo>
                  <a:lnTo>
                    <a:pt x="1108" y="1321"/>
                  </a:lnTo>
                  <a:lnTo>
                    <a:pt x="1107" y="1323"/>
                  </a:lnTo>
                  <a:lnTo>
                    <a:pt x="1107" y="1323"/>
                  </a:lnTo>
                  <a:lnTo>
                    <a:pt x="1108" y="1325"/>
                  </a:lnTo>
                  <a:lnTo>
                    <a:pt x="1109" y="1325"/>
                  </a:lnTo>
                  <a:lnTo>
                    <a:pt x="1109" y="1325"/>
                  </a:lnTo>
                  <a:lnTo>
                    <a:pt x="1109" y="1326"/>
                  </a:lnTo>
                  <a:lnTo>
                    <a:pt x="1108" y="1328"/>
                  </a:lnTo>
                  <a:lnTo>
                    <a:pt x="1112" y="1332"/>
                  </a:lnTo>
                  <a:lnTo>
                    <a:pt x="1114" y="1333"/>
                  </a:lnTo>
                  <a:lnTo>
                    <a:pt x="1115" y="1333"/>
                  </a:lnTo>
                  <a:lnTo>
                    <a:pt x="1118" y="1333"/>
                  </a:lnTo>
                  <a:lnTo>
                    <a:pt x="1119" y="1335"/>
                  </a:lnTo>
                  <a:lnTo>
                    <a:pt x="1125" y="1336"/>
                  </a:lnTo>
                  <a:lnTo>
                    <a:pt x="1128" y="1338"/>
                  </a:lnTo>
                  <a:lnTo>
                    <a:pt x="1131" y="1336"/>
                  </a:lnTo>
                  <a:lnTo>
                    <a:pt x="1132" y="1336"/>
                  </a:lnTo>
                  <a:lnTo>
                    <a:pt x="1134" y="1338"/>
                  </a:lnTo>
                  <a:lnTo>
                    <a:pt x="1134" y="1338"/>
                  </a:lnTo>
                  <a:lnTo>
                    <a:pt x="1134" y="1339"/>
                  </a:lnTo>
                  <a:lnTo>
                    <a:pt x="1134" y="1341"/>
                  </a:lnTo>
                  <a:lnTo>
                    <a:pt x="1135" y="1342"/>
                  </a:lnTo>
                  <a:lnTo>
                    <a:pt x="1136" y="1343"/>
                  </a:lnTo>
                  <a:lnTo>
                    <a:pt x="1138" y="1343"/>
                  </a:lnTo>
                  <a:lnTo>
                    <a:pt x="1139" y="1342"/>
                  </a:lnTo>
                  <a:lnTo>
                    <a:pt x="1141" y="1342"/>
                  </a:lnTo>
                  <a:lnTo>
                    <a:pt x="1142" y="1341"/>
                  </a:lnTo>
                  <a:lnTo>
                    <a:pt x="1142" y="1338"/>
                  </a:lnTo>
                  <a:lnTo>
                    <a:pt x="1142" y="1336"/>
                  </a:lnTo>
                  <a:lnTo>
                    <a:pt x="1144" y="1336"/>
                  </a:lnTo>
                  <a:lnTo>
                    <a:pt x="1145" y="1338"/>
                  </a:lnTo>
                  <a:lnTo>
                    <a:pt x="1145" y="1338"/>
                  </a:lnTo>
                  <a:lnTo>
                    <a:pt x="1146" y="1341"/>
                  </a:lnTo>
                  <a:lnTo>
                    <a:pt x="1146" y="1342"/>
                  </a:lnTo>
                  <a:lnTo>
                    <a:pt x="1146" y="1343"/>
                  </a:lnTo>
                  <a:lnTo>
                    <a:pt x="1145" y="1345"/>
                  </a:lnTo>
                  <a:lnTo>
                    <a:pt x="1145" y="1346"/>
                  </a:lnTo>
                  <a:lnTo>
                    <a:pt x="1144" y="1346"/>
                  </a:lnTo>
                  <a:lnTo>
                    <a:pt x="1142" y="1349"/>
                  </a:lnTo>
                  <a:lnTo>
                    <a:pt x="1141" y="1352"/>
                  </a:lnTo>
                  <a:lnTo>
                    <a:pt x="1141" y="1355"/>
                  </a:lnTo>
                  <a:lnTo>
                    <a:pt x="1141" y="1356"/>
                  </a:lnTo>
                  <a:lnTo>
                    <a:pt x="1141" y="1359"/>
                  </a:lnTo>
                  <a:lnTo>
                    <a:pt x="1141" y="1361"/>
                  </a:lnTo>
                  <a:lnTo>
                    <a:pt x="1141" y="1362"/>
                  </a:lnTo>
                  <a:lnTo>
                    <a:pt x="1142" y="1363"/>
                  </a:lnTo>
                  <a:lnTo>
                    <a:pt x="1142" y="1365"/>
                  </a:lnTo>
                  <a:lnTo>
                    <a:pt x="1142" y="1366"/>
                  </a:lnTo>
                  <a:lnTo>
                    <a:pt x="1142" y="1368"/>
                  </a:lnTo>
                  <a:lnTo>
                    <a:pt x="1142" y="1369"/>
                  </a:lnTo>
                  <a:lnTo>
                    <a:pt x="1139" y="1371"/>
                  </a:lnTo>
                  <a:lnTo>
                    <a:pt x="1136" y="1371"/>
                  </a:lnTo>
                  <a:lnTo>
                    <a:pt x="1128" y="1371"/>
                  </a:lnTo>
                  <a:lnTo>
                    <a:pt x="1126" y="1371"/>
                  </a:lnTo>
                  <a:lnTo>
                    <a:pt x="1126" y="1372"/>
                  </a:lnTo>
                  <a:lnTo>
                    <a:pt x="1129" y="1372"/>
                  </a:lnTo>
                  <a:lnTo>
                    <a:pt x="1131" y="1372"/>
                  </a:lnTo>
                  <a:lnTo>
                    <a:pt x="1139" y="1373"/>
                  </a:lnTo>
                  <a:lnTo>
                    <a:pt x="1141" y="1373"/>
                  </a:lnTo>
                  <a:lnTo>
                    <a:pt x="1142" y="1375"/>
                  </a:lnTo>
                  <a:lnTo>
                    <a:pt x="1142" y="1376"/>
                  </a:lnTo>
                  <a:lnTo>
                    <a:pt x="1144" y="1381"/>
                  </a:lnTo>
                  <a:lnTo>
                    <a:pt x="1144" y="1382"/>
                  </a:lnTo>
                  <a:lnTo>
                    <a:pt x="1142" y="1383"/>
                  </a:lnTo>
                  <a:lnTo>
                    <a:pt x="1142" y="1385"/>
                  </a:lnTo>
                  <a:lnTo>
                    <a:pt x="1141" y="1388"/>
                  </a:lnTo>
                  <a:lnTo>
                    <a:pt x="1141" y="1391"/>
                  </a:lnTo>
                  <a:lnTo>
                    <a:pt x="1142" y="1392"/>
                  </a:lnTo>
                  <a:lnTo>
                    <a:pt x="1146" y="1392"/>
                  </a:lnTo>
                  <a:lnTo>
                    <a:pt x="1146" y="1393"/>
                  </a:lnTo>
                  <a:lnTo>
                    <a:pt x="1146" y="1393"/>
                  </a:lnTo>
                  <a:lnTo>
                    <a:pt x="1145" y="1396"/>
                  </a:lnTo>
                  <a:lnTo>
                    <a:pt x="1145" y="1398"/>
                  </a:lnTo>
                  <a:lnTo>
                    <a:pt x="1146" y="1400"/>
                  </a:lnTo>
                  <a:lnTo>
                    <a:pt x="1145" y="1400"/>
                  </a:lnTo>
                  <a:lnTo>
                    <a:pt x="1145" y="1400"/>
                  </a:lnTo>
                  <a:lnTo>
                    <a:pt x="1145" y="1402"/>
                  </a:lnTo>
                  <a:lnTo>
                    <a:pt x="1145" y="1405"/>
                  </a:lnTo>
                  <a:lnTo>
                    <a:pt x="1144" y="1406"/>
                  </a:lnTo>
                  <a:lnTo>
                    <a:pt x="1142" y="1408"/>
                  </a:lnTo>
                  <a:lnTo>
                    <a:pt x="1142" y="1408"/>
                  </a:lnTo>
                  <a:lnTo>
                    <a:pt x="1142" y="1408"/>
                  </a:lnTo>
                  <a:lnTo>
                    <a:pt x="1141" y="1405"/>
                  </a:lnTo>
                  <a:lnTo>
                    <a:pt x="1139" y="1403"/>
                  </a:lnTo>
                  <a:lnTo>
                    <a:pt x="1139" y="1405"/>
                  </a:lnTo>
                  <a:lnTo>
                    <a:pt x="1139" y="1405"/>
                  </a:lnTo>
                  <a:lnTo>
                    <a:pt x="1139" y="1405"/>
                  </a:lnTo>
                  <a:lnTo>
                    <a:pt x="1139" y="1406"/>
                  </a:lnTo>
                  <a:lnTo>
                    <a:pt x="1138" y="1408"/>
                  </a:lnTo>
                  <a:lnTo>
                    <a:pt x="1136" y="1408"/>
                  </a:lnTo>
                  <a:lnTo>
                    <a:pt x="1134" y="1409"/>
                  </a:lnTo>
                  <a:lnTo>
                    <a:pt x="1134" y="1410"/>
                  </a:lnTo>
                  <a:lnTo>
                    <a:pt x="1136" y="1410"/>
                  </a:lnTo>
                  <a:lnTo>
                    <a:pt x="1138" y="1412"/>
                  </a:lnTo>
                  <a:lnTo>
                    <a:pt x="1139" y="1412"/>
                  </a:lnTo>
                  <a:lnTo>
                    <a:pt x="1142" y="1410"/>
                  </a:lnTo>
                  <a:lnTo>
                    <a:pt x="1146" y="1408"/>
                  </a:lnTo>
                  <a:lnTo>
                    <a:pt x="1148" y="1406"/>
                  </a:lnTo>
                  <a:lnTo>
                    <a:pt x="1149" y="1406"/>
                  </a:lnTo>
                  <a:lnTo>
                    <a:pt x="1151" y="1406"/>
                  </a:lnTo>
                  <a:lnTo>
                    <a:pt x="1154" y="1406"/>
                  </a:lnTo>
                  <a:lnTo>
                    <a:pt x="1158" y="1405"/>
                  </a:lnTo>
                  <a:lnTo>
                    <a:pt x="1158" y="1406"/>
                  </a:lnTo>
                  <a:lnTo>
                    <a:pt x="1159" y="1406"/>
                  </a:lnTo>
                  <a:lnTo>
                    <a:pt x="1161" y="1408"/>
                  </a:lnTo>
                  <a:lnTo>
                    <a:pt x="1162" y="1409"/>
                  </a:lnTo>
                  <a:lnTo>
                    <a:pt x="1162" y="1410"/>
                  </a:lnTo>
                  <a:lnTo>
                    <a:pt x="1164" y="1415"/>
                  </a:lnTo>
                  <a:lnTo>
                    <a:pt x="1165" y="1416"/>
                  </a:lnTo>
                  <a:lnTo>
                    <a:pt x="1165" y="1418"/>
                  </a:lnTo>
                  <a:lnTo>
                    <a:pt x="1165" y="1419"/>
                  </a:lnTo>
                  <a:lnTo>
                    <a:pt x="1165" y="1420"/>
                  </a:lnTo>
                  <a:lnTo>
                    <a:pt x="1164" y="1426"/>
                  </a:lnTo>
                  <a:lnTo>
                    <a:pt x="1162" y="1428"/>
                  </a:lnTo>
                  <a:lnTo>
                    <a:pt x="1161" y="1430"/>
                  </a:lnTo>
                  <a:lnTo>
                    <a:pt x="1159" y="1432"/>
                  </a:lnTo>
                  <a:lnTo>
                    <a:pt x="1155" y="1433"/>
                  </a:lnTo>
                  <a:lnTo>
                    <a:pt x="1154" y="1433"/>
                  </a:lnTo>
                  <a:lnTo>
                    <a:pt x="1152" y="1435"/>
                  </a:lnTo>
                  <a:lnTo>
                    <a:pt x="1152" y="1436"/>
                  </a:lnTo>
                  <a:lnTo>
                    <a:pt x="1156" y="1433"/>
                  </a:lnTo>
                  <a:lnTo>
                    <a:pt x="1161" y="1433"/>
                  </a:lnTo>
                  <a:lnTo>
                    <a:pt x="1162" y="1432"/>
                  </a:lnTo>
                  <a:lnTo>
                    <a:pt x="1162" y="1430"/>
                  </a:lnTo>
                  <a:lnTo>
                    <a:pt x="1164" y="1428"/>
                  </a:lnTo>
                  <a:lnTo>
                    <a:pt x="1165" y="1420"/>
                  </a:lnTo>
                  <a:lnTo>
                    <a:pt x="1166" y="1419"/>
                  </a:lnTo>
                  <a:lnTo>
                    <a:pt x="1168" y="1419"/>
                  </a:lnTo>
                  <a:lnTo>
                    <a:pt x="1169" y="1419"/>
                  </a:lnTo>
                  <a:lnTo>
                    <a:pt x="1171" y="1423"/>
                  </a:lnTo>
                  <a:lnTo>
                    <a:pt x="1171" y="1425"/>
                  </a:lnTo>
                  <a:lnTo>
                    <a:pt x="1169" y="1425"/>
                  </a:lnTo>
                  <a:lnTo>
                    <a:pt x="1168" y="1429"/>
                  </a:lnTo>
                  <a:lnTo>
                    <a:pt x="1168" y="1429"/>
                  </a:lnTo>
                  <a:lnTo>
                    <a:pt x="1171" y="1425"/>
                  </a:lnTo>
                  <a:lnTo>
                    <a:pt x="1171" y="1423"/>
                  </a:lnTo>
                  <a:lnTo>
                    <a:pt x="1172" y="1422"/>
                  </a:lnTo>
                  <a:lnTo>
                    <a:pt x="1172" y="1420"/>
                  </a:lnTo>
                  <a:lnTo>
                    <a:pt x="1172" y="1422"/>
                  </a:lnTo>
                  <a:lnTo>
                    <a:pt x="1174" y="1426"/>
                  </a:lnTo>
                  <a:lnTo>
                    <a:pt x="1174" y="1429"/>
                  </a:lnTo>
                  <a:lnTo>
                    <a:pt x="1174" y="1430"/>
                  </a:lnTo>
                  <a:lnTo>
                    <a:pt x="1174" y="1433"/>
                  </a:lnTo>
                  <a:lnTo>
                    <a:pt x="1174" y="1433"/>
                  </a:lnTo>
                  <a:lnTo>
                    <a:pt x="1175" y="1430"/>
                  </a:lnTo>
                  <a:lnTo>
                    <a:pt x="1175" y="1429"/>
                  </a:lnTo>
                  <a:lnTo>
                    <a:pt x="1175" y="1428"/>
                  </a:lnTo>
                  <a:lnTo>
                    <a:pt x="1175" y="1426"/>
                  </a:lnTo>
                  <a:lnTo>
                    <a:pt x="1178" y="1423"/>
                  </a:lnTo>
                  <a:lnTo>
                    <a:pt x="1182" y="1422"/>
                  </a:lnTo>
                  <a:lnTo>
                    <a:pt x="1184" y="1420"/>
                  </a:lnTo>
                  <a:lnTo>
                    <a:pt x="1186" y="1419"/>
                  </a:lnTo>
                  <a:lnTo>
                    <a:pt x="1189" y="1418"/>
                  </a:lnTo>
                  <a:lnTo>
                    <a:pt x="1191" y="1416"/>
                  </a:lnTo>
                  <a:lnTo>
                    <a:pt x="1192" y="1413"/>
                  </a:lnTo>
                  <a:lnTo>
                    <a:pt x="1192" y="1412"/>
                  </a:lnTo>
                  <a:lnTo>
                    <a:pt x="1192" y="1410"/>
                  </a:lnTo>
                  <a:lnTo>
                    <a:pt x="1195" y="1409"/>
                  </a:lnTo>
                  <a:lnTo>
                    <a:pt x="1196" y="1409"/>
                  </a:lnTo>
                  <a:lnTo>
                    <a:pt x="1196" y="1409"/>
                  </a:lnTo>
                  <a:lnTo>
                    <a:pt x="1198" y="1410"/>
                  </a:lnTo>
                  <a:lnTo>
                    <a:pt x="1199" y="1413"/>
                  </a:lnTo>
                  <a:lnTo>
                    <a:pt x="1199" y="1415"/>
                  </a:lnTo>
                  <a:lnTo>
                    <a:pt x="1201" y="1416"/>
                  </a:lnTo>
                  <a:lnTo>
                    <a:pt x="1201" y="1420"/>
                  </a:lnTo>
                  <a:lnTo>
                    <a:pt x="1201" y="1420"/>
                  </a:lnTo>
                  <a:lnTo>
                    <a:pt x="1202" y="1416"/>
                  </a:lnTo>
                  <a:lnTo>
                    <a:pt x="1202" y="1416"/>
                  </a:lnTo>
                  <a:lnTo>
                    <a:pt x="1202" y="1415"/>
                  </a:lnTo>
                  <a:lnTo>
                    <a:pt x="1201" y="1413"/>
                  </a:lnTo>
                  <a:lnTo>
                    <a:pt x="1201" y="1410"/>
                  </a:lnTo>
                  <a:lnTo>
                    <a:pt x="1199" y="1409"/>
                  </a:lnTo>
                  <a:lnTo>
                    <a:pt x="1199" y="1408"/>
                  </a:lnTo>
                  <a:lnTo>
                    <a:pt x="1201" y="1408"/>
                  </a:lnTo>
                  <a:lnTo>
                    <a:pt x="1202" y="1408"/>
                  </a:lnTo>
                  <a:lnTo>
                    <a:pt x="1204" y="1406"/>
                  </a:lnTo>
                  <a:lnTo>
                    <a:pt x="1202" y="1406"/>
                  </a:lnTo>
                  <a:lnTo>
                    <a:pt x="1202" y="1405"/>
                  </a:lnTo>
                  <a:lnTo>
                    <a:pt x="1204" y="1403"/>
                  </a:lnTo>
                  <a:lnTo>
                    <a:pt x="1204" y="1403"/>
                  </a:lnTo>
                  <a:lnTo>
                    <a:pt x="1205" y="1403"/>
                  </a:lnTo>
                  <a:lnTo>
                    <a:pt x="1205" y="1402"/>
                  </a:lnTo>
                  <a:lnTo>
                    <a:pt x="1205" y="1402"/>
                  </a:lnTo>
                  <a:lnTo>
                    <a:pt x="1205" y="1402"/>
                  </a:lnTo>
                  <a:lnTo>
                    <a:pt x="1208" y="1402"/>
                  </a:lnTo>
                  <a:lnTo>
                    <a:pt x="1208" y="1402"/>
                  </a:lnTo>
                  <a:lnTo>
                    <a:pt x="1211" y="1402"/>
                  </a:lnTo>
                  <a:lnTo>
                    <a:pt x="1211" y="1400"/>
                  </a:lnTo>
                  <a:lnTo>
                    <a:pt x="1209" y="1399"/>
                  </a:lnTo>
                  <a:lnTo>
                    <a:pt x="1206" y="1399"/>
                  </a:lnTo>
                  <a:lnTo>
                    <a:pt x="1206" y="1399"/>
                  </a:lnTo>
                  <a:lnTo>
                    <a:pt x="1206" y="1398"/>
                  </a:lnTo>
                  <a:lnTo>
                    <a:pt x="1205" y="1396"/>
                  </a:lnTo>
                  <a:lnTo>
                    <a:pt x="1205" y="1395"/>
                  </a:lnTo>
                  <a:lnTo>
                    <a:pt x="1206" y="1395"/>
                  </a:lnTo>
                  <a:lnTo>
                    <a:pt x="1206" y="1396"/>
                  </a:lnTo>
                  <a:lnTo>
                    <a:pt x="1208" y="1395"/>
                  </a:lnTo>
                  <a:lnTo>
                    <a:pt x="1208" y="1392"/>
                  </a:lnTo>
                  <a:lnTo>
                    <a:pt x="1208" y="1392"/>
                  </a:lnTo>
                  <a:lnTo>
                    <a:pt x="1209" y="1393"/>
                  </a:lnTo>
                  <a:lnTo>
                    <a:pt x="1211" y="1392"/>
                  </a:lnTo>
                  <a:lnTo>
                    <a:pt x="1209" y="1389"/>
                  </a:lnTo>
                  <a:lnTo>
                    <a:pt x="1209" y="1388"/>
                  </a:lnTo>
                  <a:lnTo>
                    <a:pt x="1211" y="1388"/>
                  </a:lnTo>
                  <a:lnTo>
                    <a:pt x="1212" y="1388"/>
                  </a:lnTo>
                  <a:lnTo>
                    <a:pt x="1215" y="1391"/>
                  </a:lnTo>
                  <a:lnTo>
                    <a:pt x="1216" y="1391"/>
                  </a:lnTo>
                  <a:lnTo>
                    <a:pt x="1215" y="1389"/>
                  </a:lnTo>
                  <a:lnTo>
                    <a:pt x="1213" y="1388"/>
                  </a:lnTo>
                  <a:lnTo>
                    <a:pt x="1212" y="1388"/>
                  </a:lnTo>
                  <a:lnTo>
                    <a:pt x="1211" y="1386"/>
                  </a:lnTo>
                  <a:lnTo>
                    <a:pt x="1211" y="1386"/>
                  </a:lnTo>
                  <a:lnTo>
                    <a:pt x="1209" y="1383"/>
                  </a:lnTo>
                  <a:lnTo>
                    <a:pt x="1209" y="1382"/>
                  </a:lnTo>
                  <a:lnTo>
                    <a:pt x="1209" y="1381"/>
                  </a:lnTo>
                  <a:lnTo>
                    <a:pt x="1209" y="1378"/>
                  </a:lnTo>
                  <a:lnTo>
                    <a:pt x="1211" y="1378"/>
                  </a:lnTo>
                  <a:lnTo>
                    <a:pt x="1211" y="1378"/>
                  </a:lnTo>
                  <a:lnTo>
                    <a:pt x="1212" y="1376"/>
                  </a:lnTo>
                  <a:lnTo>
                    <a:pt x="1213" y="1378"/>
                  </a:lnTo>
                  <a:lnTo>
                    <a:pt x="1215" y="1379"/>
                  </a:lnTo>
                  <a:lnTo>
                    <a:pt x="1216" y="1378"/>
                  </a:lnTo>
                  <a:lnTo>
                    <a:pt x="1215" y="1378"/>
                  </a:lnTo>
                  <a:lnTo>
                    <a:pt x="1213" y="1376"/>
                  </a:lnTo>
                  <a:lnTo>
                    <a:pt x="1213" y="1375"/>
                  </a:lnTo>
                  <a:lnTo>
                    <a:pt x="1213" y="1373"/>
                  </a:lnTo>
                  <a:lnTo>
                    <a:pt x="1215" y="1371"/>
                  </a:lnTo>
                  <a:lnTo>
                    <a:pt x="1215" y="1369"/>
                  </a:lnTo>
                  <a:lnTo>
                    <a:pt x="1218" y="1363"/>
                  </a:lnTo>
                  <a:lnTo>
                    <a:pt x="1218" y="1362"/>
                  </a:lnTo>
                  <a:lnTo>
                    <a:pt x="1219" y="1361"/>
                  </a:lnTo>
                  <a:lnTo>
                    <a:pt x="1219" y="1361"/>
                  </a:lnTo>
                  <a:lnTo>
                    <a:pt x="1221" y="1361"/>
                  </a:lnTo>
                  <a:lnTo>
                    <a:pt x="1225" y="1362"/>
                  </a:lnTo>
                  <a:lnTo>
                    <a:pt x="1225" y="1363"/>
                  </a:lnTo>
                  <a:lnTo>
                    <a:pt x="1226" y="1365"/>
                  </a:lnTo>
                  <a:lnTo>
                    <a:pt x="1223" y="1368"/>
                  </a:lnTo>
                  <a:lnTo>
                    <a:pt x="1221" y="1369"/>
                  </a:lnTo>
                  <a:lnTo>
                    <a:pt x="1221" y="1371"/>
                  </a:lnTo>
                  <a:lnTo>
                    <a:pt x="1221" y="1371"/>
                  </a:lnTo>
                  <a:lnTo>
                    <a:pt x="1223" y="1369"/>
                  </a:lnTo>
                  <a:lnTo>
                    <a:pt x="1226" y="1369"/>
                  </a:lnTo>
                  <a:lnTo>
                    <a:pt x="1228" y="1369"/>
                  </a:lnTo>
                  <a:lnTo>
                    <a:pt x="1229" y="1372"/>
                  </a:lnTo>
                  <a:lnTo>
                    <a:pt x="1229" y="1376"/>
                  </a:lnTo>
                  <a:lnTo>
                    <a:pt x="1229" y="1379"/>
                  </a:lnTo>
                  <a:lnTo>
                    <a:pt x="1231" y="1378"/>
                  </a:lnTo>
                  <a:lnTo>
                    <a:pt x="1232" y="1376"/>
                  </a:lnTo>
                  <a:lnTo>
                    <a:pt x="1233" y="1379"/>
                  </a:lnTo>
                  <a:lnTo>
                    <a:pt x="1233" y="1381"/>
                  </a:lnTo>
                  <a:lnTo>
                    <a:pt x="1233" y="1382"/>
                  </a:lnTo>
                  <a:lnTo>
                    <a:pt x="1235" y="1385"/>
                  </a:lnTo>
                  <a:lnTo>
                    <a:pt x="1236" y="1386"/>
                  </a:lnTo>
                  <a:lnTo>
                    <a:pt x="1235" y="1389"/>
                  </a:lnTo>
                  <a:lnTo>
                    <a:pt x="1233" y="1389"/>
                  </a:lnTo>
                  <a:lnTo>
                    <a:pt x="1233" y="1391"/>
                  </a:lnTo>
                  <a:lnTo>
                    <a:pt x="1236" y="1392"/>
                  </a:lnTo>
                  <a:lnTo>
                    <a:pt x="1236" y="1392"/>
                  </a:lnTo>
                  <a:lnTo>
                    <a:pt x="1236" y="1393"/>
                  </a:lnTo>
                  <a:lnTo>
                    <a:pt x="1236" y="1393"/>
                  </a:lnTo>
                  <a:lnTo>
                    <a:pt x="1238" y="1392"/>
                  </a:lnTo>
                  <a:lnTo>
                    <a:pt x="1241" y="1392"/>
                  </a:lnTo>
                  <a:lnTo>
                    <a:pt x="1242" y="1396"/>
                  </a:lnTo>
                  <a:lnTo>
                    <a:pt x="1241" y="1399"/>
                  </a:lnTo>
                  <a:lnTo>
                    <a:pt x="1238" y="1400"/>
                  </a:lnTo>
                  <a:lnTo>
                    <a:pt x="1236" y="1400"/>
                  </a:lnTo>
                  <a:lnTo>
                    <a:pt x="1233" y="1400"/>
                  </a:lnTo>
                  <a:lnTo>
                    <a:pt x="1233" y="1400"/>
                  </a:lnTo>
                  <a:lnTo>
                    <a:pt x="1233" y="1402"/>
                  </a:lnTo>
                  <a:lnTo>
                    <a:pt x="1236" y="1402"/>
                  </a:lnTo>
                  <a:lnTo>
                    <a:pt x="1239" y="1400"/>
                  </a:lnTo>
                  <a:lnTo>
                    <a:pt x="1242" y="1400"/>
                  </a:lnTo>
                  <a:lnTo>
                    <a:pt x="1243" y="1400"/>
                  </a:lnTo>
                  <a:lnTo>
                    <a:pt x="1245" y="1400"/>
                  </a:lnTo>
                  <a:lnTo>
                    <a:pt x="1245" y="1400"/>
                  </a:lnTo>
                  <a:lnTo>
                    <a:pt x="1243" y="1402"/>
                  </a:lnTo>
                  <a:lnTo>
                    <a:pt x="1243" y="1402"/>
                  </a:lnTo>
                  <a:lnTo>
                    <a:pt x="1243" y="1402"/>
                  </a:lnTo>
                  <a:lnTo>
                    <a:pt x="1245" y="1405"/>
                  </a:lnTo>
                  <a:lnTo>
                    <a:pt x="1245" y="1405"/>
                  </a:lnTo>
                  <a:lnTo>
                    <a:pt x="1243" y="1406"/>
                  </a:lnTo>
                  <a:lnTo>
                    <a:pt x="1245" y="1406"/>
                  </a:lnTo>
                  <a:lnTo>
                    <a:pt x="1248" y="1406"/>
                  </a:lnTo>
                  <a:lnTo>
                    <a:pt x="1248" y="1408"/>
                  </a:lnTo>
                  <a:lnTo>
                    <a:pt x="1249" y="1409"/>
                  </a:lnTo>
                  <a:lnTo>
                    <a:pt x="1251" y="1412"/>
                  </a:lnTo>
                  <a:lnTo>
                    <a:pt x="1246" y="1416"/>
                  </a:lnTo>
                  <a:lnTo>
                    <a:pt x="1245" y="1418"/>
                  </a:lnTo>
                  <a:lnTo>
                    <a:pt x="1242" y="1419"/>
                  </a:lnTo>
                  <a:lnTo>
                    <a:pt x="1242" y="1420"/>
                  </a:lnTo>
                  <a:lnTo>
                    <a:pt x="1241" y="1423"/>
                  </a:lnTo>
                  <a:lnTo>
                    <a:pt x="1241" y="1423"/>
                  </a:lnTo>
                  <a:lnTo>
                    <a:pt x="1243" y="1419"/>
                  </a:lnTo>
                  <a:lnTo>
                    <a:pt x="1245" y="1419"/>
                  </a:lnTo>
                  <a:lnTo>
                    <a:pt x="1246" y="1419"/>
                  </a:lnTo>
                  <a:lnTo>
                    <a:pt x="1246" y="1419"/>
                  </a:lnTo>
                  <a:lnTo>
                    <a:pt x="1246" y="1420"/>
                  </a:lnTo>
                  <a:lnTo>
                    <a:pt x="1248" y="1420"/>
                  </a:lnTo>
                  <a:lnTo>
                    <a:pt x="1251" y="1419"/>
                  </a:lnTo>
                  <a:lnTo>
                    <a:pt x="1253" y="1418"/>
                  </a:lnTo>
                  <a:lnTo>
                    <a:pt x="1255" y="1418"/>
                  </a:lnTo>
                  <a:lnTo>
                    <a:pt x="1255" y="1419"/>
                  </a:lnTo>
                  <a:lnTo>
                    <a:pt x="1253" y="1423"/>
                  </a:lnTo>
                  <a:lnTo>
                    <a:pt x="1252" y="1428"/>
                  </a:lnTo>
                  <a:lnTo>
                    <a:pt x="1248" y="1429"/>
                  </a:lnTo>
                  <a:lnTo>
                    <a:pt x="1246" y="1430"/>
                  </a:lnTo>
                  <a:lnTo>
                    <a:pt x="1245" y="1433"/>
                  </a:lnTo>
                  <a:lnTo>
                    <a:pt x="1245" y="1433"/>
                  </a:lnTo>
                  <a:lnTo>
                    <a:pt x="1249" y="1430"/>
                  </a:lnTo>
                  <a:lnTo>
                    <a:pt x="1252" y="1429"/>
                  </a:lnTo>
                  <a:lnTo>
                    <a:pt x="1255" y="1429"/>
                  </a:lnTo>
                  <a:lnTo>
                    <a:pt x="1256" y="1429"/>
                  </a:lnTo>
                  <a:lnTo>
                    <a:pt x="1259" y="1433"/>
                  </a:lnTo>
                  <a:lnTo>
                    <a:pt x="1262" y="1435"/>
                  </a:lnTo>
                  <a:lnTo>
                    <a:pt x="1262" y="1435"/>
                  </a:lnTo>
                  <a:lnTo>
                    <a:pt x="1265" y="1436"/>
                  </a:lnTo>
                  <a:lnTo>
                    <a:pt x="1266" y="1438"/>
                  </a:lnTo>
                  <a:lnTo>
                    <a:pt x="1266" y="1439"/>
                  </a:lnTo>
                  <a:lnTo>
                    <a:pt x="1265" y="1439"/>
                  </a:lnTo>
                  <a:lnTo>
                    <a:pt x="1265" y="1440"/>
                  </a:lnTo>
                  <a:lnTo>
                    <a:pt x="1266" y="1443"/>
                  </a:lnTo>
                  <a:lnTo>
                    <a:pt x="1265" y="1445"/>
                  </a:lnTo>
                  <a:lnTo>
                    <a:pt x="1263" y="1446"/>
                  </a:lnTo>
                  <a:lnTo>
                    <a:pt x="1262" y="1448"/>
                  </a:lnTo>
                  <a:lnTo>
                    <a:pt x="1261" y="1448"/>
                  </a:lnTo>
                  <a:lnTo>
                    <a:pt x="1259" y="1449"/>
                  </a:lnTo>
                  <a:lnTo>
                    <a:pt x="1259" y="1449"/>
                  </a:lnTo>
                  <a:lnTo>
                    <a:pt x="1256" y="1449"/>
                  </a:lnTo>
                  <a:lnTo>
                    <a:pt x="1258" y="1449"/>
                  </a:lnTo>
                  <a:lnTo>
                    <a:pt x="1258" y="1449"/>
                  </a:lnTo>
                  <a:lnTo>
                    <a:pt x="1259" y="1450"/>
                  </a:lnTo>
                  <a:lnTo>
                    <a:pt x="1262" y="1449"/>
                  </a:lnTo>
                  <a:lnTo>
                    <a:pt x="1263" y="1449"/>
                  </a:lnTo>
                  <a:lnTo>
                    <a:pt x="1266" y="1450"/>
                  </a:lnTo>
                  <a:lnTo>
                    <a:pt x="1266" y="1452"/>
                  </a:lnTo>
                  <a:lnTo>
                    <a:pt x="1266" y="1452"/>
                  </a:lnTo>
                  <a:lnTo>
                    <a:pt x="1266" y="1453"/>
                  </a:lnTo>
                  <a:lnTo>
                    <a:pt x="1265" y="1455"/>
                  </a:lnTo>
                  <a:lnTo>
                    <a:pt x="1265" y="1456"/>
                  </a:lnTo>
                  <a:lnTo>
                    <a:pt x="1265" y="1456"/>
                  </a:lnTo>
                  <a:lnTo>
                    <a:pt x="1266" y="1458"/>
                  </a:lnTo>
                  <a:lnTo>
                    <a:pt x="1268" y="1458"/>
                  </a:lnTo>
                  <a:lnTo>
                    <a:pt x="1269" y="1458"/>
                  </a:lnTo>
                  <a:lnTo>
                    <a:pt x="1271" y="1458"/>
                  </a:lnTo>
                  <a:lnTo>
                    <a:pt x="1275" y="1462"/>
                  </a:lnTo>
                  <a:lnTo>
                    <a:pt x="1275" y="1465"/>
                  </a:lnTo>
                  <a:lnTo>
                    <a:pt x="1275" y="1468"/>
                  </a:lnTo>
                  <a:lnTo>
                    <a:pt x="1275" y="1469"/>
                  </a:lnTo>
                  <a:lnTo>
                    <a:pt x="1275" y="1472"/>
                  </a:lnTo>
                  <a:lnTo>
                    <a:pt x="1272" y="1473"/>
                  </a:lnTo>
                  <a:lnTo>
                    <a:pt x="1263" y="1472"/>
                  </a:lnTo>
                  <a:lnTo>
                    <a:pt x="1259" y="1469"/>
                  </a:lnTo>
                  <a:lnTo>
                    <a:pt x="1258" y="1469"/>
                  </a:lnTo>
                  <a:lnTo>
                    <a:pt x="1259" y="1468"/>
                  </a:lnTo>
                  <a:lnTo>
                    <a:pt x="1259" y="1468"/>
                  </a:lnTo>
                  <a:lnTo>
                    <a:pt x="1258" y="1468"/>
                  </a:lnTo>
                  <a:lnTo>
                    <a:pt x="1256" y="1469"/>
                  </a:lnTo>
                  <a:lnTo>
                    <a:pt x="1258" y="1470"/>
                  </a:lnTo>
                  <a:lnTo>
                    <a:pt x="1262" y="1473"/>
                  </a:lnTo>
                  <a:lnTo>
                    <a:pt x="1265" y="1475"/>
                  </a:lnTo>
                  <a:lnTo>
                    <a:pt x="1266" y="1475"/>
                  </a:lnTo>
                  <a:lnTo>
                    <a:pt x="1268" y="1475"/>
                  </a:lnTo>
                  <a:lnTo>
                    <a:pt x="1269" y="1476"/>
                  </a:lnTo>
                  <a:lnTo>
                    <a:pt x="1268" y="1478"/>
                  </a:lnTo>
                  <a:lnTo>
                    <a:pt x="1266" y="1478"/>
                  </a:lnTo>
                  <a:lnTo>
                    <a:pt x="1265" y="1479"/>
                  </a:lnTo>
                  <a:lnTo>
                    <a:pt x="1265" y="1479"/>
                  </a:lnTo>
                  <a:lnTo>
                    <a:pt x="1269" y="1480"/>
                  </a:lnTo>
                  <a:lnTo>
                    <a:pt x="1272" y="1480"/>
                  </a:lnTo>
                  <a:lnTo>
                    <a:pt x="1273" y="1482"/>
                  </a:lnTo>
                  <a:lnTo>
                    <a:pt x="1272" y="1482"/>
                  </a:lnTo>
                  <a:lnTo>
                    <a:pt x="1269" y="1483"/>
                  </a:lnTo>
                  <a:lnTo>
                    <a:pt x="1269" y="1485"/>
                  </a:lnTo>
                  <a:lnTo>
                    <a:pt x="1272" y="1486"/>
                  </a:lnTo>
                  <a:lnTo>
                    <a:pt x="1273" y="1486"/>
                  </a:lnTo>
                  <a:lnTo>
                    <a:pt x="1275" y="1486"/>
                  </a:lnTo>
                  <a:lnTo>
                    <a:pt x="1275" y="1489"/>
                  </a:lnTo>
                  <a:lnTo>
                    <a:pt x="1276" y="1490"/>
                  </a:lnTo>
                  <a:lnTo>
                    <a:pt x="1273" y="1492"/>
                  </a:lnTo>
                  <a:lnTo>
                    <a:pt x="1273" y="1492"/>
                  </a:lnTo>
                  <a:lnTo>
                    <a:pt x="1275" y="1493"/>
                  </a:lnTo>
                  <a:lnTo>
                    <a:pt x="1278" y="1493"/>
                  </a:lnTo>
                  <a:lnTo>
                    <a:pt x="1278" y="1493"/>
                  </a:lnTo>
                  <a:lnTo>
                    <a:pt x="1279" y="1495"/>
                  </a:lnTo>
                  <a:lnTo>
                    <a:pt x="1279" y="1496"/>
                  </a:lnTo>
                  <a:lnTo>
                    <a:pt x="1281" y="1496"/>
                  </a:lnTo>
                  <a:lnTo>
                    <a:pt x="1282" y="1495"/>
                  </a:lnTo>
                  <a:lnTo>
                    <a:pt x="1283" y="1493"/>
                  </a:lnTo>
                  <a:lnTo>
                    <a:pt x="1285" y="1493"/>
                  </a:lnTo>
                  <a:lnTo>
                    <a:pt x="1285" y="1495"/>
                  </a:lnTo>
                  <a:lnTo>
                    <a:pt x="1286" y="1498"/>
                  </a:lnTo>
                  <a:lnTo>
                    <a:pt x="1288" y="1498"/>
                  </a:lnTo>
                  <a:lnTo>
                    <a:pt x="1288" y="1499"/>
                  </a:lnTo>
                  <a:lnTo>
                    <a:pt x="1289" y="1498"/>
                  </a:lnTo>
                  <a:lnTo>
                    <a:pt x="1291" y="1498"/>
                  </a:lnTo>
                  <a:lnTo>
                    <a:pt x="1291" y="1498"/>
                  </a:lnTo>
                  <a:lnTo>
                    <a:pt x="1291" y="1500"/>
                  </a:lnTo>
                  <a:lnTo>
                    <a:pt x="1291" y="1502"/>
                  </a:lnTo>
                  <a:lnTo>
                    <a:pt x="1291" y="1503"/>
                  </a:lnTo>
                  <a:lnTo>
                    <a:pt x="1292" y="1505"/>
                  </a:lnTo>
                  <a:lnTo>
                    <a:pt x="1293" y="1506"/>
                  </a:lnTo>
                  <a:lnTo>
                    <a:pt x="1293" y="1508"/>
                  </a:lnTo>
                  <a:lnTo>
                    <a:pt x="1291" y="1510"/>
                  </a:lnTo>
                  <a:lnTo>
                    <a:pt x="1289" y="1513"/>
                  </a:lnTo>
                  <a:lnTo>
                    <a:pt x="1289" y="1515"/>
                  </a:lnTo>
                  <a:lnTo>
                    <a:pt x="1288" y="1516"/>
                  </a:lnTo>
                  <a:lnTo>
                    <a:pt x="1286" y="1519"/>
                  </a:lnTo>
                  <a:lnTo>
                    <a:pt x="1288" y="1518"/>
                  </a:lnTo>
                  <a:lnTo>
                    <a:pt x="1291" y="1515"/>
                  </a:lnTo>
                  <a:lnTo>
                    <a:pt x="1293" y="1513"/>
                  </a:lnTo>
                  <a:lnTo>
                    <a:pt x="1298" y="1513"/>
                  </a:lnTo>
                  <a:lnTo>
                    <a:pt x="1299" y="1512"/>
                  </a:lnTo>
                  <a:lnTo>
                    <a:pt x="1301" y="1512"/>
                  </a:lnTo>
                  <a:lnTo>
                    <a:pt x="1302" y="1513"/>
                  </a:lnTo>
                  <a:lnTo>
                    <a:pt x="1302" y="1515"/>
                  </a:lnTo>
                  <a:lnTo>
                    <a:pt x="1303" y="1515"/>
                  </a:lnTo>
                  <a:lnTo>
                    <a:pt x="1305" y="1515"/>
                  </a:lnTo>
                  <a:lnTo>
                    <a:pt x="1306" y="1515"/>
                  </a:lnTo>
                  <a:lnTo>
                    <a:pt x="1305" y="1516"/>
                  </a:lnTo>
                  <a:lnTo>
                    <a:pt x="1301" y="1522"/>
                  </a:lnTo>
                  <a:lnTo>
                    <a:pt x="1299" y="1523"/>
                  </a:lnTo>
                  <a:lnTo>
                    <a:pt x="1299" y="1525"/>
                  </a:lnTo>
                  <a:lnTo>
                    <a:pt x="1301" y="1523"/>
                  </a:lnTo>
                  <a:lnTo>
                    <a:pt x="1306" y="1519"/>
                  </a:lnTo>
                  <a:lnTo>
                    <a:pt x="1306" y="1518"/>
                  </a:lnTo>
                  <a:lnTo>
                    <a:pt x="1308" y="1516"/>
                  </a:lnTo>
                  <a:lnTo>
                    <a:pt x="1309" y="1515"/>
                  </a:lnTo>
                  <a:lnTo>
                    <a:pt x="1310" y="1515"/>
                  </a:lnTo>
                  <a:lnTo>
                    <a:pt x="1312" y="1516"/>
                  </a:lnTo>
                  <a:lnTo>
                    <a:pt x="1313" y="1519"/>
                  </a:lnTo>
                  <a:lnTo>
                    <a:pt x="1315" y="1522"/>
                  </a:lnTo>
                  <a:lnTo>
                    <a:pt x="1316" y="1525"/>
                  </a:lnTo>
                  <a:lnTo>
                    <a:pt x="1320" y="1526"/>
                  </a:lnTo>
                  <a:lnTo>
                    <a:pt x="1322" y="1526"/>
                  </a:lnTo>
                  <a:lnTo>
                    <a:pt x="1325" y="1525"/>
                  </a:lnTo>
                  <a:lnTo>
                    <a:pt x="1325" y="1523"/>
                  </a:lnTo>
                  <a:lnTo>
                    <a:pt x="1328" y="1523"/>
                  </a:lnTo>
                  <a:lnTo>
                    <a:pt x="1329" y="1523"/>
                  </a:lnTo>
                  <a:lnTo>
                    <a:pt x="1329" y="1526"/>
                  </a:lnTo>
                  <a:lnTo>
                    <a:pt x="1332" y="1528"/>
                  </a:lnTo>
                  <a:lnTo>
                    <a:pt x="1333" y="1529"/>
                  </a:lnTo>
                  <a:lnTo>
                    <a:pt x="1335" y="1530"/>
                  </a:lnTo>
                  <a:lnTo>
                    <a:pt x="1336" y="1530"/>
                  </a:lnTo>
                  <a:lnTo>
                    <a:pt x="1338" y="1532"/>
                  </a:lnTo>
                  <a:lnTo>
                    <a:pt x="1338" y="1532"/>
                  </a:lnTo>
                  <a:lnTo>
                    <a:pt x="1336" y="1533"/>
                  </a:lnTo>
                  <a:lnTo>
                    <a:pt x="1336" y="1536"/>
                  </a:lnTo>
                  <a:lnTo>
                    <a:pt x="1333" y="1538"/>
                  </a:lnTo>
                  <a:lnTo>
                    <a:pt x="1330" y="1538"/>
                  </a:lnTo>
                  <a:lnTo>
                    <a:pt x="1326" y="1538"/>
                  </a:lnTo>
                  <a:lnTo>
                    <a:pt x="1326" y="1539"/>
                  </a:lnTo>
                  <a:lnTo>
                    <a:pt x="1325" y="1540"/>
                  </a:lnTo>
                  <a:lnTo>
                    <a:pt x="1323" y="1540"/>
                  </a:lnTo>
                  <a:lnTo>
                    <a:pt x="1322" y="1542"/>
                  </a:lnTo>
                  <a:lnTo>
                    <a:pt x="1319" y="1545"/>
                  </a:lnTo>
                  <a:lnTo>
                    <a:pt x="1319" y="1546"/>
                  </a:lnTo>
                  <a:lnTo>
                    <a:pt x="1318" y="1546"/>
                  </a:lnTo>
                  <a:lnTo>
                    <a:pt x="1315" y="1546"/>
                  </a:lnTo>
                  <a:lnTo>
                    <a:pt x="1313" y="1546"/>
                  </a:lnTo>
                  <a:lnTo>
                    <a:pt x="1313" y="1548"/>
                  </a:lnTo>
                  <a:lnTo>
                    <a:pt x="1312" y="1549"/>
                  </a:lnTo>
                  <a:lnTo>
                    <a:pt x="1312" y="1549"/>
                  </a:lnTo>
                  <a:lnTo>
                    <a:pt x="1309" y="1549"/>
                  </a:lnTo>
                  <a:lnTo>
                    <a:pt x="1305" y="1552"/>
                  </a:lnTo>
                  <a:lnTo>
                    <a:pt x="1302" y="1552"/>
                  </a:lnTo>
                  <a:lnTo>
                    <a:pt x="1301" y="1552"/>
                  </a:lnTo>
                  <a:lnTo>
                    <a:pt x="1299" y="1552"/>
                  </a:lnTo>
                  <a:lnTo>
                    <a:pt x="1299" y="1553"/>
                  </a:lnTo>
                  <a:lnTo>
                    <a:pt x="1296" y="1555"/>
                  </a:lnTo>
                  <a:lnTo>
                    <a:pt x="1296" y="1555"/>
                  </a:lnTo>
                  <a:lnTo>
                    <a:pt x="1295" y="1556"/>
                  </a:lnTo>
                  <a:lnTo>
                    <a:pt x="1295" y="1558"/>
                  </a:lnTo>
                  <a:lnTo>
                    <a:pt x="1295" y="1558"/>
                  </a:lnTo>
                  <a:lnTo>
                    <a:pt x="1295" y="1559"/>
                  </a:lnTo>
                  <a:lnTo>
                    <a:pt x="1292" y="1558"/>
                  </a:lnTo>
                  <a:lnTo>
                    <a:pt x="1291" y="1558"/>
                  </a:lnTo>
                  <a:lnTo>
                    <a:pt x="1291" y="1559"/>
                  </a:lnTo>
                  <a:lnTo>
                    <a:pt x="1293" y="1560"/>
                  </a:lnTo>
                  <a:lnTo>
                    <a:pt x="1295" y="1562"/>
                  </a:lnTo>
                  <a:lnTo>
                    <a:pt x="1293" y="1562"/>
                  </a:lnTo>
                  <a:lnTo>
                    <a:pt x="1292" y="1565"/>
                  </a:lnTo>
                  <a:lnTo>
                    <a:pt x="1292" y="1565"/>
                  </a:lnTo>
                  <a:lnTo>
                    <a:pt x="1292" y="1565"/>
                  </a:lnTo>
                  <a:lnTo>
                    <a:pt x="1292" y="1566"/>
                  </a:lnTo>
                  <a:lnTo>
                    <a:pt x="1291" y="1568"/>
                  </a:lnTo>
                  <a:lnTo>
                    <a:pt x="1291" y="1568"/>
                  </a:lnTo>
                  <a:lnTo>
                    <a:pt x="1292" y="1568"/>
                  </a:lnTo>
                  <a:lnTo>
                    <a:pt x="1295" y="1566"/>
                  </a:lnTo>
                  <a:lnTo>
                    <a:pt x="1296" y="1565"/>
                  </a:lnTo>
                  <a:lnTo>
                    <a:pt x="1299" y="1562"/>
                  </a:lnTo>
                  <a:lnTo>
                    <a:pt x="1299" y="1560"/>
                  </a:lnTo>
                  <a:lnTo>
                    <a:pt x="1302" y="1560"/>
                  </a:lnTo>
                  <a:lnTo>
                    <a:pt x="1305" y="1559"/>
                  </a:lnTo>
                  <a:lnTo>
                    <a:pt x="1308" y="1558"/>
                  </a:lnTo>
                  <a:lnTo>
                    <a:pt x="1310" y="1555"/>
                  </a:lnTo>
                  <a:lnTo>
                    <a:pt x="1313" y="1550"/>
                  </a:lnTo>
                  <a:lnTo>
                    <a:pt x="1318" y="1548"/>
                  </a:lnTo>
                  <a:lnTo>
                    <a:pt x="1323" y="1546"/>
                  </a:lnTo>
                  <a:lnTo>
                    <a:pt x="1328" y="1545"/>
                  </a:lnTo>
                  <a:lnTo>
                    <a:pt x="1329" y="1545"/>
                  </a:lnTo>
                  <a:lnTo>
                    <a:pt x="1329" y="1545"/>
                  </a:lnTo>
                  <a:lnTo>
                    <a:pt x="1328" y="1545"/>
                  </a:lnTo>
                  <a:lnTo>
                    <a:pt x="1326" y="1545"/>
                  </a:lnTo>
                  <a:lnTo>
                    <a:pt x="1323" y="1545"/>
                  </a:lnTo>
                  <a:lnTo>
                    <a:pt x="1323" y="1543"/>
                  </a:lnTo>
                  <a:lnTo>
                    <a:pt x="1323" y="1543"/>
                  </a:lnTo>
                  <a:lnTo>
                    <a:pt x="1323" y="1542"/>
                  </a:lnTo>
                  <a:lnTo>
                    <a:pt x="1326" y="1542"/>
                  </a:lnTo>
                  <a:lnTo>
                    <a:pt x="1335" y="1542"/>
                  </a:lnTo>
                  <a:lnTo>
                    <a:pt x="1338" y="1543"/>
                  </a:lnTo>
                  <a:lnTo>
                    <a:pt x="1342" y="1550"/>
                  </a:lnTo>
                  <a:lnTo>
                    <a:pt x="1342" y="1552"/>
                  </a:lnTo>
                  <a:lnTo>
                    <a:pt x="1342" y="1553"/>
                  </a:lnTo>
                  <a:lnTo>
                    <a:pt x="1342" y="1555"/>
                  </a:lnTo>
                  <a:lnTo>
                    <a:pt x="1340" y="1555"/>
                  </a:lnTo>
                  <a:lnTo>
                    <a:pt x="1336" y="1558"/>
                  </a:lnTo>
                  <a:lnTo>
                    <a:pt x="1336" y="1558"/>
                  </a:lnTo>
                  <a:lnTo>
                    <a:pt x="1336" y="1559"/>
                  </a:lnTo>
                  <a:lnTo>
                    <a:pt x="1338" y="1559"/>
                  </a:lnTo>
                  <a:lnTo>
                    <a:pt x="1339" y="1559"/>
                  </a:lnTo>
                  <a:lnTo>
                    <a:pt x="1339" y="1562"/>
                  </a:lnTo>
                  <a:lnTo>
                    <a:pt x="1340" y="1560"/>
                  </a:lnTo>
                  <a:lnTo>
                    <a:pt x="1345" y="1556"/>
                  </a:lnTo>
                  <a:lnTo>
                    <a:pt x="1348" y="1555"/>
                  </a:lnTo>
                  <a:lnTo>
                    <a:pt x="1349" y="1555"/>
                  </a:lnTo>
                  <a:lnTo>
                    <a:pt x="1352" y="1555"/>
                  </a:lnTo>
                  <a:lnTo>
                    <a:pt x="1353" y="1555"/>
                  </a:lnTo>
                  <a:lnTo>
                    <a:pt x="1353" y="1555"/>
                  </a:lnTo>
                  <a:lnTo>
                    <a:pt x="1355" y="1558"/>
                  </a:lnTo>
                  <a:lnTo>
                    <a:pt x="1356" y="1559"/>
                  </a:lnTo>
                  <a:lnTo>
                    <a:pt x="1359" y="1559"/>
                  </a:lnTo>
                  <a:lnTo>
                    <a:pt x="1360" y="1562"/>
                  </a:lnTo>
                  <a:lnTo>
                    <a:pt x="1362" y="1565"/>
                  </a:lnTo>
                  <a:lnTo>
                    <a:pt x="1363" y="1565"/>
                  </a:lnTo>
                  <a:lnTo>
                    <a:pt x="1363" y="1566"/>
                  </a:lnTo>
                  <a:lnTo>
                    <a:pt x="1363" y="1568"/>
                  </a:lnTo>
                  <a:lnTo>
                    <a:pt x="1363" y="1568"/>
                  </a:lnTo>
                  <a:lnTo>
                    <a:pt x="1363" y="1569"/>
                  </a:lnTo>
                  <a:lnTo>
                    <a:pt x="1363" y="1570"/>
                  </a:lnTo>
                  <a:lnTo>
                    <a:pt x="1362" y="1575"/>
                  </a:lnTo>
                  <a:lnTo>
                    <a:pt x="1363" y="1578"/>
                  </a:lnTo>
                  <a:lnTo>
                    <a:pt x="1363" y="1579"/>
                  </a:lnTo>
                  <a:lnTo>
                    <a:pt x="1363" y="1582"/>
                  </a:lnTo>
                  <a:lnTo>
                    <a:pt x="1363" y="1583"/>
                  </a:lnTo>
                  <a:lnTo>
                    <a:pt x="1363" y="1585"/>
                  </a:lnTo>
                  <a:lnTo>
                    <a:pt x="1363" y="1585"/>
                  </a:lnTo>
                  <a:lnTo>
                    <a:pt x="1358" y="1586"/>
                  </a:lnTo>
                  <a:lnTo>
                    <a:pt x="1356" y="1586"/>
                  </a:lnTo>
                  <a:lnTo>
                    <a:pt x="1355" y="1586"/>
                  </a:lnTo>
                  <a:lnTo>
                    <a:pt x="1358" y="1586"/>
                  </a:lnTo>
                  <a:lnTo>
                    <a:pt x="1360" y="1586"/>
                  </a:lnTo>
                  <a:lnTo>
                    <a:pt x="1363" y="1588"/>
                  </a:lnTo>
                  <a:lnTo>
                    <a:pt x="1365" y="1589"/>
                  </a:lnTo>
                  <a:lnTo>
                    <a:pt x="1365" y="1589"/>
                  </a:lnTo>
                  <a:lnTo>
                    <a:pt x="1365" y="1590"/>
                  </a:lnTo>
                  <a:lnTo>
                    <a:pt x="1365" y="1592"/>
                  </a:lnTo>
                  <a:lnTo>
                    <a:pt x="1362" y="1592"/>
                  </a:lnTo>
                  <a:lnTo>
                    <a:pt x="1360" y="1590"/>
                  </a:lnTo>
                  <a:lnTo>
                    <a:pt x="1360" y="1592"/>
                  </a:lnTo>
                  <a:lnTo>
                    <a:pt x="1363" y="1593"/>
                  </a:lnTo>
                  <a:lnTo>
                    <a:pt x="1365" y="1593"/>
                  </a:lnTo>
                  <a:lnTo>
                    <a:pt x="1366" y="1595"/>
                  </a:lnTo>
                  <a:lnTo>
                    <a:pt x="1366" y="1596"/>
                  </a:lnTo>
                  <a:lnTo>
                    <a:pt x="1366" y="1598"/>
                  </a:lnTo>
                  <a:lnTo>
                    <a:pt x="1360" y="1603"/>
                  </a:lnTo>
                  <a:lnTo>
                    <a:pt x="1356" y="1606"/>
                  </a:lnTo>
                  <a:lnTo>
                    <a:pt x="1352" y="1609"/>
                  </a:lnTo>
                  <a:lnTo>
                    <a:pt x="1345" y="1615"/>
                  </a:lnTo>
                  <a:lnTo>
                    <a:pt x="1345" y="1615"/>
                  </a:lnTo>
                  <a:lnTo>
                    <a:pt x="1343" y="1615"/>
                  </a:lnTo>
                  <a:lnTo>
                    <a:pt x="1340" y="1615"/>
                  </a:lnTo>
                  <a:lnTo>
                    <a:pt x="1338" y="1615"/>
                  </a:lnTo>
                  <a:lnTo>
                    <a:pt x="1332" y="1616"/>
                  </a:lnTo>
                  <a:lnTo>
                    <a:pt x="1330" y="1616"/>
                  </a:lnTo>
                  <a:lnTo>
                    <a:pt x="1328" y="1619"/>
                  </a:lnTo>
                  <a:lnTo>
                    <a:pt x="1328" y="1619"/>
                  </a:lnTo>
                  <a:lnTo>
                    <a:pt x="1325" y="1619"/>
                  </a:lnTo>
                  <a:lnTo>
                    <a:pt x="1322" y="1619"/>
                  </a:lnTo>
                  <a:lnTo>
                    <a:pt x="1320" y="1619"/>
                  </a:lnTo>
                  <a:lnTo>
                    <a:pt x="1319" y="1620"/>
                  </a:lnTo>
                  <a:lnTo>
                    <a:pt x="1319" y="1620"/>
                  </a:lnTo>
                  <a:lnTo>
                    <a:pt x="1318" y="1622"/>
                  </a:lnTo>
                  <a:lnTo>
                    <a:pt x="1312" y="1629"/>
                  </a:lnTo>
                  <a:lnTo>
                    <a:pt x="1310" y="1632"/>
                  </a:lnTo>
                  <a:lnTo>
                    <a:pt x="1306" y="1635"/>
                  </a:lnTo>
                  <a:lnTo>
                    <a:pt x="1303" y="1639"/>
                  </a:lnTo>
                  <a:lnTo>
                    <a:pt x="1299" y="1642"/>
                  </a:lnTo>
                  <a:lnTo>
                    <a:pt x="1298" y="1643"/>
                  </a:lnTo>
                  <a:lnTo>
                    <a:pt x="1295" y="1645"/>
                  </a:lnTo>
                  <a:lnTo>
                    <a:pt x="1289" y="1646"/>
                  </a:lnTo>
                  <a:lnTo>
                    <a:pt x="1286" y="1646"/>
                  </a:lnTo>
                  <a:lnTo>
                    <a:pt x="1283" y="1646"/>
                  </a:lnTo>
                  <a:lnTo>
                    <a:pt x="1281" y="1646"/>
                  </a:lnTo>
                  <a:lnTo>
                    <a:pt x="1278" y="1647"/>
                  </a:lnTo>
                  <a:lnTo>
                    <a:pt x="1276" y="1646"/>
                  </a:lnTo>
                  <a:lnTo>
                    <a:pt x="1269" y="1649"/>
                  </a:lnTo>
                  <a:lnTo>
                    <a:pt x="1268" y="1646"/>
                  </a:lnTo>
                  <a:lnTo>
                    <a:pt x="1266" y="1646"/>
                  </a:lnTo>
                  <a:lnTo>
                    <a:pt x="1262" y="1646"/>
                  </a:lnTo>
                  <a:lnTo>
                    <a:pt x="1259" y="1645"/>
                  </a:lnTo>
                  <a:lnTo>
                    <a:pt x="1256" y="1645"/>
                  </a:lnTo>
                  <a:lnTo>
                    <a:pt x="1253" y="1645"/>
                  </a:lnTo>
                  <a:lnTo>
                    <a:pt x="1251" y="1645"/>
                  </a:lnTo>
                  <a:lnTo>
                    <a:pt x="1249" y="1645"/>
                  </a:lnTo>
                  <a:lnTo>
                    <a:pt x="1246" y="1645"/>
                  </a:lnTo>
                  <a:lnTo>
                    <a:pt x="1245" y="1646"/>
                  </a:lnTo>
                  <a:lnTo>
                    <a:pt x="1239" y="1645"/>
                  </a:lnTo>
                  <a:lnTo>
                    <a:pt x="1236" y="1645"/>
                  </a:lnTo>
                  <a:lnTo>
                    <a:pt x="1235" y="1643"/>
                  </a:lnTo>
                  <a:lnTo>
                    <a:pt x="1232" y="1645"/>
                  </a:lnTo>
                  <a:lnTo>
                    <a:pt x="1229" y="1645"/>
                  </a:lnTo>
                  <a:lnTo>
                    <a:pt x="1225" y="1645"/>
                  </a:lnTo>
                  <a:lnTo>
                    <a:pt x="1219" y="1645"/>
                  </a:lnTo>
                  <a:lnTo>
                    <a:pt x="1213" y="1645"/>
                  </a:lnTo>
                  <a:lnTo>
                    <a:pt x="1212" y="1643"/>
                  </a:lnTo>
                  <a:lnTo>
                    <a:pt x="1205" y="1645"/>
                  </a:lnTo>
                  <a:lnTo>
                    <a:pt x="1201" y="1645"/>
                  </a:lnTo>
                  <a:lnTo>
                    <a:pt x="1198" y="1646"/>
                  </a:lnTo>
                  <a:lnTo>
                    <a:pt x="1196" y="1646"/>
                  </a:lnTo>
                  <a:lnTo>
                    <a:pt x="1195" y="1646"/>
                  </a:lnTo>
                  <a:lnTo>
                    <a:pt x="1194" y="1646"/>
                  </a:lnTo>
                  <a:lnTo>
                    <a:pt x="1192" y="1646"/>
                  </a:lnTo>
                  <a:lnTo>
                    <a:pt x="1192" y="1647"/>
                  </a:lnTo>
                  <a:lnTo>
                    <a:pt x="1191" y="1647"/>
                  </a:lnTo>
                  <a:lnTo>
                    <a:pt x="1189" y="1650"/>
                  </a:lnTo>
                  <a:lnTo>
                    <a:pt x="1185" y="1652"/>
                  </a:lnTo>
                  <a:lnTo>
                    <a:pt x="1181" y="1662"/>
                  </a:lnTo>
                  <a:lnTo>
                    <a:pt x="1181" y="1665"/>
                  </a:lnTo>
                  <a:lnTo>
                    <a:pt x="1178" y="1667"/>
                  </a:lnTo>
                  <a:lnTo>
                    <a:pt x="1176" y="1667"/>
                  </a:lnTo>
                  <a:lnTo>
                    <a:pt x="1175" y="1667"/>
                  </a:lnTo>
                  <a:lnTo>
                    <a:pt x="1168" y="1670"/>
                  </a:lnTo>
                  <a:lnTo>
                    <a:pt x="1164" y="1672"/>
                  </a:lnTo>
                  <a:lnTo>
                    <a:pt x="1165" y="1673"/>
                  </a:lnTo>
                  <a:lnTo>
                    <a:pt x="1164" y="1673"/>
                  </a:lnTo>
                  <a:lnTo>
                    <a:pt x="1162" y="1673"/>
                  </a:lnTo>
                  <a:lnTo>
                    <a:pt x="1159" y="1675"/>
                  </a:lnTo>
                  <a:lnTo>
                    <a:pt x="1158" y="1676"/>
                  </a:lnTo>
                  <a:lnTo>
                    <a:pt x="1158" y="1677"/>
                  </a:lnTo>
                  <a:lnTo>
                    <a:pt x="1154" y="1680"/>
                  </a:lnTo>
                  <a:lnTo>
                    <a:pt x="1149" y="1686"/>
                  </a:lnTo>
                  <a:lnTo>
                    <a:pt x="1146" y="1692"/>
                  </a:lnTo>
                  <a:lnTo>
                    <a:pt x="1144" y="1695"/>
                  </a:lnTo>
                  <a:lnTo>
                    <a:pt x="1142" y="1696"/>
                  </a:lnTo>
                  <a:lnTo>
                    <a:pt x="1141" y="1696"/>
                  </a:lnTo>
                  <a:lnTo>
                    <a:pt x="1139" y="1696"/>
                  </a:lnTo>
                  <a:lnTo>
                    <a:pt x="1136" y="1695"/>
                  </a:lnTo>
                  <a:lnTo>
                    <a:pt x="1135" y="1693"/>
                  </a:lnTo>
                  <a:lnTo>
                    <a:pt x="1131" y="1692"/>
                  </a:lnTo>
                  <a:lnTo>
                    <a:pt x="1121" y="1689"/>
                  </a:lnTo>
                  <a:lnTo>
                    <a:pt x="1122" y="1690"/>
                  </a:lnTo>
                  <a:lnTo>
                    <a:pt x="1124" y="1692"/>
                  </a:lnTo>
                  <a:lnTo>
                    <a:pt x="1125" y="1692"/>
                  </a:lnTo>
                  <a:lnTo>
                    <a:pt x="1128" y="1692"/>
                  </a:lnTo>
                  <a:lnTo>
                    <a:pt x="1134" y="1695"/>
                  </a:lnTo>
                  <a:lnTo>
                    <a:pt x="1136" y="1696"/>
                  </a:lnTo>
                  <a:lnTo>
                    <a:pt x="1138" y="1696"/>
                  </a:lnTo>
                  <a:lnTo>
                    <a:pt x="1141" y="1697"/>
                  </a:lnTo>
                  <a:lnTo>
                    <a:pt x="1139" y="1702"/>
                  </a:lnTo>
                  <a:lnTo>
                    <a:pt x="1138" y="1705"/>
                  </a:lnTo>
                  <a:lnTo>
                    <a:pt x="1136" y="1706"/>
                  </a:lnTo>
                  <a:lnTo>
                    <a:pt x="1132" y="1712"/>
                  </a:lnTo>
                  <a:lnTo>
                    <a:pt x="1129" y="1715"/>
                  </a:lnTo>
                  <a:lnTo>
                    <a:pt x="1125" y="1720"/>
                  </a:lnTo>
                  <a:lnTo>
                    <a:pt x="1121" y="1723"/>
                  </a:lnTo>
                  <a:lnTo>
                    <a:pt x="1118" y="1726"/>
                  </a:lnTo>
                  <a:lnTo>
                    <a:pt x="1117" y="1729"/>
                  </a:lnTo>
                  <a:lnTo>
                    <a:pt x="1111" y="1732"/>
                  </a:lnTo>
                  <a:lnTo>
                    <a:pt x="1108" y="1732"/>
                  </a:lnTo>
                  <a:lnTo>
                    <a:pt x="1107" y="1732"/>
                  </a:lnTo>
                  <a:lnTo>
                    <a:pt x="1104" y="1733"/>
                  </a:lnTo>
                  <a:lnTo>
                    <a:pt x="1101" y="1735"/>
                  </a:lnTo>
                  <a:lnTo>
                    <a:pt x="1101" y="1736"/>
                  </a:lnTo>
                  <a:lnTo>
                    <a:pt x="1094" y="1740"/>
                  </a:lnTo>
                  <a:lnTo>
                    <a:pt x="1091" y="1742"/>
                  </a:lnTo>
                  <a:lnTo>
                    <a:pt x="1089" y="1742"/>
                  </a:lnTo>
                  <a:lnTo>
                    <a:pt x="1088" y="1745"/>
                  </a:lnTo>
                  <a:lnTo>
                    <a:pt x="1087" y="1746"/>
                  </a:lnTo>
                  <a:lnTo>
                    <a:pt x="1085" y="1746"/>
                  </a:lnTo>
                  <a:lnTo>
                    <a:pt x="1084" y="1749"/>
                  </a:lnTo>
                  <a:lnTo>
                    <a:pt x="1081" y="1753"/>
                  </a:lnTo>
                  <a:lnTo>
                    <a:pt x="1077" y="1753"/>
                  </a:lnTo>
                  <a:lnTo>
                    <a:pt x="1075" y="1755"/>
                  </a:lnTo>
                  <a:lnTo>
                    <a:pt x="1074" y="1757"/>
                  </a:lnTo>
                  <a:lnTo>
                    <a:pt x="1072" y="1759"/>
                  </a:lnTo>
                  <a:lnTo>
                    <a:pt x="1068" y="1757"/>
                  </a:lnTo>
                  <a:lnTo>
                    <a:pt x="1068" y="1759"/>
                  </a:lnTo>
                  <a:lnTo>
                    <a:pt x="1072" y="1760"/>
                  </a:lnTo>
                  <a:lnTo>
                    <a:pt x="1072" y="1762"/>
                  </a:lnTo>
                  <a:lnTo>
                    <a:pt x="1071" y="1763"/>
                  </a:lnTo>
                  <a:lnTo>
                    <a:pt x="1067" y="1766"/>
                  </a:lnTo>
                  <a:lnTo>
                    <a:pt x="1061" y="1770"/>
                  </a:lnTo>
                  <a:close/>
                  <a:moveTo>
                    <a:pt x="651" y="964"/>
                  </a:moveTo>
                  <a:lnTo>
                    <a:pt x="651" y="964"/>
                  </a:lnTo>
                  <a:lnTo>
                    <a:pt x="647" y="962"/>
                  </a:lnTo>
                  <a:lnTo>
                    <a:pt x="646" y="961"/>
                  </a:lnTo>
                  <a:lnTo>
                    <a:pt x="646" y="961"/>
                  </a:lnTo>
                  <a:lnTo>
                    <a:pt x="646" y="959"/>
                  </a:lnTo>
                  <a:lnTo>
                    <a:pt x="646" y="957"/>
                  </a:lnTo>
                  <a:lnTo>
                    <a:pt x="646" y="955"/>
                  </a:lnTo>
                  <a:lnTo>
                    <a:pt x="647" y="955"/>
                  </a:lnTo>
                  <a:lnTo>
                    <a:pt x="649" y="957"/>
                  </a:lnTo>
                  <a:lnTo>
                    <a:pt x="651" y="959"/>
                  </a:lnTo>
                  <a:lnTo>
                    <a:pt x="651" y="959"/>
                  </a:lnTo>
                  <a:lnTo>
                    <a:pt x="651" y="961"/>
                  </a:lnTo>
                  <a:lnTo>
                    <a:pt x="651" y="964"/>
                  </a:lnTo>
                  <a:lnTo>
                    <a:pt x="651" y="964"/>
                  </a:lnTo>
                  <a:close/>
                  <a:moveTo>
                    <a:pt x="865" y="982"/>
                  </a:moveTo>
                  <a:lnTo>
                    <a:pt x="867" y="982"/>
                  </a:lnTo>
                  <a:lnTo>
                    <a:pt x="870" y="982"/>
                  </a:lnTo>
                  <a:lnTo>
                    <a:pt x="870" y="982"/>
                  </a:lnTo>
                  <a:lnTo>
                    <a:pt x="871" y="984"/>
                  </a:lnTo>
                  <a:lnTo>
                    <a:pt x="871" y="985"/>
                  </a:lnTo>
                  <a:lnTo>
                    <a:pt x="873" y="986"/>
                  </a:lnTo>
                  <a:lnTo>
                    <a:pt x="871" y="988"/>
                  </a:lnTo>
                  <a:lnTo>
                    <a:pt x="868" y="988"/>
                  </a:lnTo>
                  <a:lnTo>
                    <a:pt x="867" y="988"/>
                  </a:lnTo>
                  <a:lnTo>
                    <a:pt x="864" y="986"/>
                  </a:lnTo>
                  <a:lnTo>
                    <a:pt x="864" y="988"/>
                  </a:lnTo>
                  <a:lnTo>
                    <a:pt x="861" y="986"/>
                  </a:lnTo>
                  <a:lnTo>
                    <a:pt x="860" y="985"/>
                  </a:lnTo>
                  <a:lnTo>
                    <a:pt x="860" y="984"/>
                  </a:lnTo>
                  <a:lnTo>
                    <a:pt x="860" y="982"/>
                  </a:lnTo>
                  <a:lnTo>
                    <a:pt x="861" y="981"/>
                  </a:lnTo>
                  <a:lnTo>
                    <a:pt x="863" y="981"/>
                  </a:lnTo>
                  <a:lnTo>
                    <a:pt x="865" y="982"/>
                  </a:lnTo>
                  <a:close/>
                  <a:moveTo>
                    <a:pt x="697" y="1004"/>
                  </a:moveTo>
                  <a:lnTo>
                    <a:pt x="697" y="1005"/>
                  </a:lnTo>
                  <a:lnTo>
                    <a:pt x="699" y="1004"/>
                  </a:lnTo>
                  <a:lnTo>
                    <a:pt x="699" y="1002"/>
                  </a:lnTo>
                  <a:lnTo>
                    <a:pt x="700" y="1002"/>
                  </a:lnTo>
                  <a:lnTo>
                    <a:pt x="700" y="1002"/>
                  </a:lnTo>
                  <a:lnTo>
                    <a:pt x="703" y="1005"/>
                  </a:lnTo>
                  <a:lnTo>
                    <a:pt x="704" y="1008"/>
                  </a:lnTo>
                  <a:lnTo>
                    <a:pt x="706" y="1009"/>
                  </a:lnTo>
                  <a:lnTo>
                    <a:pt x="709" y="1012"/>
                  </a:lnTo>
                  <a:lnTo>
                    <a:pt x="716" y="1018"/>
                  </a:lnTo>
                  <a:lnTo>
                    <a:pt x="717" y="1021"/>
                  </a:lnTo>
                  <a:lnTo>
                    <a:pt x="719" y="1028"/>
                  </a:lnTo>
                  <a:lnTo>
                    <a:pt x="721" y="1032"/>
                  </a:lnTo>
                  <a:lnTo>
                    <a:pt x="723" y="1035"/>
                  </a:lnTo>
                  <a:lnTo>
                    <a:pt x="724" y="1038"/>
                  </a:lnTo>
                  <a:lnTo>
                    <a:pt x="727" y="1041"/>
                  </a:lnTo>
                  <a:lnTo>
                    <a:pt x="729" y="1038"/>
                  </a:lnTo>
                  <a:lnTo>
                    <a:pt x="730" y="1038"/>
                  </a:lnTo>
                  <a:lnTo>
                    <a:pt x="731" y="1038"/>
                  </a:lnTo>
                  <a:lnTo>
                    <a:pt x="731" y="1041"/>
                  </a:lnTo>
                  <a:lnTo>
                    <a:pt x="731" y="1042"/>
                  </a:lnTo>
                  <a:lnTo>
                    <a:pt x="730" y="1042"/>
                  </a:lnTo>
                  <a:lnTo>
                    <a:pt x="729" y="1044"/>
                  </a:lnTo>
                  <a:lnTo>
                    <a:pt x="726" y="1044"/>
                  </a:lnTo>
                  <a:lnTo>
                    <a:pt x="726" y="1045"/>
                  </a:lnTo>
                  <a:lnTo>
                    <a:pt x="723" y="1046"/>
                  </a:lnTo>
                  <a:lnTo>
                    <a:pt x="721" y="1049"/>
                  </a:lnTo>
                  <a:lnTo>
                    <a:pt x="720" y="1051"/>
                  </a:lnTo>
                  <a:lnTo>
                    <a:pt x="716" y="1055"/>
                  </a:lnTo>
                  <a:lnTo>
                    <a:pt x="714" y="1056"/>
                  </a:lnTo>
                  <a:lnTo>
                    <a:pt x="710" y="1056"/>
                  </a:lnTo>
                  <a:lnTo>
                    <a:pt x="704" y="1054"/>
                  </a:lnTo>
                  <a:lnTo>
                    <a:pt x="700" y="1054"/>
                  </a:lnTo>
                  <a:lnTo>
                    <a:pt x="697" y="1054"/>
                  </a:lnTo>
                  <a:lnTo>
                    <a:pt x="693" y="1049"/>
                  </a:lnTo>
                  <a:lnTo>
                    <a:pt x="690" y="1048"/>
                  </a:lnTo>
                  <a:lnTo>
                    <a:pt x="684" y="1045"/>
                  </a:lnTo>
                  <a:lnTo>
                    <a:pt x="684" y="1044"/>
                  </a:lnTo>
                  <a:lnTo>
                    <a:pt x="684" y="1044"/>
                  </a:lnTo>
                  <a:lnTo>
                    <a:pt x="684" y="1042"/>
                  </a:lnTo>
                  <a:lnTo>
                    <a:pt x="683" y="1041"/>
                  </a:lnTo>
                  <a:lnTo>
                    <a:pt x="683" y="1039"/>
                  </a:lnTo>
                  <a:lnTo>
                    <a:pt x="681" y="1039"/>
                  </a:lnTo>
                  <a:lnTo>
                    <a:pt x="681" y="1041"/>
                  </a:lnTo>
                  <a:lnTo>
                    <a:pt x="680" y="1042"/>
                  </a:lnTo>
                  <a:lnTo>
                    <a:pt x="677" y="1042"/>
                  </a:lnTo>
                  <a:lnTo>
                    <a:pt x="676" y="1041"/>
                  </a:lnTo>
                  <a:lnTo>
                    <a:pt x="674" y="1041"/>
                  </a:lnTo>
                  <a:lnTo>
                    <a:pt x="674" y="1039"/>
                  </a:lnTo>
                  <a:lnTo>
                    <a:pt x="674" y="1038"/>
                  </a:lnTo>
                  <a:lnTo>
                    <a:pt x="674" y="1036"/>
                  </a:lnTo>
                  <a:lnTo>
                    <a:pt x="674" y="1036"/>
                  </a:lnTo>
                  <a:lnTo>
                    <a:pt x="673" y="1036"/>
                  </a:lnTo>
                  <a:lnTo>
                    <a:pt x="671" y="1036"/>
                  </a:lnTo>
                  <a:lnTo>
                    <a:pt x="670" y="1038"/>
                  </a:lnTo>
                  <a:lnTo>
                    <a:pt x="671" y="1038"/>
                  </a:lnTo>
                  <a:lnTo>
                    <a:pt x="670" y="1039"/>
                  </a:lnTo>
                  <a:lnTo>
                    <a:pt x="669" y="1039"/>
                  </a:lnTo>
                  <a:lnTo>
                    <a:pt x="667" y="1038"/>
                  </a:lnTo>
                  <a:lnTo>
                    <a:pt x="664" y="1036"/>
                  </a:lnTo>
                  <a:lnTo>
                    <a:pt x="664" y="1035"/>
                  </a:lnTo>
                  <a:lnTo>
                    <a:pt x="663" y="1031"/>
                  </a:lnTo>
                  <a:lnTo>
                    <a:pt x="663" y="1031"/>
                  </a:lnTo>
                  <a:lnTo>
                    <a:pt x="664" y="1028"/>
                  </a:lnTo>
                  <a:lnTo>
                    <a:pt x="664" y="1026"/>
                  </a:lnTo>
                  <a:lnTo>
                    <a:pt x="670" y="1026"/>
                  </a:lnTo>
                  <a:lnTo>
                    <a:pt x="673" y="1025"/>
                  </a:lnTo>
                  <a:lnTo>
                    <a:pt x="677" y="1024"/>
                  </a:lnTo>
                  <a:lnTo>
                    <a:pt x="680" y="1019"/>
                  </a:lnTo>
                  <a:lnTo>
                    <a:pt x="681" y="1018"/>
                  </a:lnTo>
                  <a:lnTo>
                    <a:pt x="681" y="1016"/>
                  </a:lnTo>
                  <a:lnTo>
                    <a:pt x="680" y="1016"/>
                  </a:lnTo>
                  <a:lnTo>
                    <a:pt x="680" y="1014"/>
                  </a:lnTo>
                  <a:lnTo>
                    <a:pt x="679" y="1012"/>
                  </a:lnTo>
                  <a:lnTo>
                    <a:pt x="680" y="1011"/>
                  </a:lnTo>
                  <a:lnTo>
                    <a:pt x="681" y="1011"/>
                  </a:lnTo>
                  <a:lnTo>
                    <a:pt x="680" y="1011"/>
                  </a:lnTo>
                  <a:lnTo>
                    <a:pt x="680" y="1009"/>
                  </a:lnTo>
                  <a:lnTo>
                    <a:pt x="680" y="1008"/>
                  </a:lnTo>
                  <a:lnTo>
                    <a:pt x="680" y="1006"/>
                  </a:lnTo>
                  <a:lnTo>
                    <a:pt x="680" y="1006"/>
                  </a:lnTo>
                  <a:lnTo>
                    <a:pt x="681" y="1008"/>
                  </a:lnTo>
                  <a:lnTo>
                    <a:pt x="684" y="1011"/>
                  </a:lnTo>
                  <a:lnTo>
                    <a:pt x="686" y="1012"/>
                  </a:lnTo>
                  <a:lnTo>
                    <a:pt x="687" y="1012"/>
                  </a:lnTo>
                  <a:lnTo>
                    <a:pt x="686" y="1009"/>
                  </a:lnTo>
                  <a:lnTo>
                    <a:pt x="683" y="1005"/>
                  </a:lnTo>
                  <a:lnTo>
                    <a:pt x="683" y="1002"/>
                  </a:lnTo>
                  <a:lnTo>
                    <a:pt x="683" y="1002"/>
                  </a:lnTo>
                  <a:lnTo>
                    <a:pt x="684" y="998"/>
                  </a:lnTo>
                  <a:lnTo>
                    <a:pt x="684" y="998"/>
                  </a:lnTo>
                  <a:lnTo>
                    <a:pt x="684" y="996"/>
                  </a:lnTo>
                  <a:lnTo>
                    <a:pt x="687" y="995"/>
                  </a:lnTo>
                  <a:lnTo>
                    <a:pt x="690" y="994"/>
                  </a:lnTo>
                  <a:lnTo>
                    <a:pt x="691" y="994"/>
                  </a:lnTo>
                  <a:lnTo>
                    <a:pt x="693" y="995"/>
                  </a:lnTo>
                  <a:lnTo>
                    <a:pt x="694" y="996"/>
                  </a:lnTo>
                  <a:lnTo>
                    <a:pt x="697" y="999"/>
                  </a:lnTo>
                  <a:lnTo>
                    <a:pt x="699" y="1001"/>
                  </a:lnTo>
                  <a:lnTo>
                    <a:pt x="699" y="1001"/>
                  </a:lnTo>
                  <a:lnTo>
                    <a:pt x="697" y="1002"/>
                  </a:lnTo>
                  <a:lnTo>
                    <a:pt x="697" y="1002"/>
                  </a:lnTo>
                  <a:lnTo>
                    <a:pt x="697" y="1004"/>
                  </a:lnTo>
                  <a:close/>
                  <a:moveTo>
                    <a:pt x="985" y="996"/>
                  </a:moveTo>
                  <a:lnTo>
                    <a:pt x="987" y="999"/>
                  </a:lnTo>
                  <a:lnTo>
                    <a:pt x="987" y="1001"/>
                  </a:lnTo>
                  <a:lnTo>
                    <a:pt x="985" y="1002"/>
                  </a:lnTo>
                  <a:lnTo>
                    <a:pt x="984" y="1005"/>
                  </a:lnTo>
                  <a:lnTo>
                    <a:pt x="978" y="1005"/>
                  </a:lnTo>
                  <a:lnTo>
                    <a:pt x="975" y="1004"/>
                  </a:lnTo>
                  <a:lnTo>
                    <a:pt x="977" y="1008"/>
                  </a:lnTo>
                  <a:lnTo>
                    <a:pt x="977" y="1009"/>
                  </a:lnTo>
                  <a:lnTo>
                    <a:pt x="977" y="1009"/>
                  </a:lnTo>
                  <a:lnTo>
                    <a:pt x="975" y="1009"/>
                  </a:lnTo>
                  <a:lnTo>
                    <a:pt x="974" y="1009"/>
                  </a:lnTo>
                  <a:lnTo>
                    <a:pt x="972" y="1008"/>
                  </a:lnTo>
                  <a:lnTo>
                    <a:pt x="972" y="1006"/>
                  </a:lnTo>
                  <a:lnTo>
                    <a:pt x="972" y="1006"/>
                  </a:lnTo>
                  <a:lnTo>
                    <a:pt x="971" y="1006"/>
                  </a:lnTo>
                  <a:lnTo>
                    <a:pt x="971" y="1006"/>
                  </a:lnTo>
                  <a:lnTo>
                    <a:pt x="970" y="1004"/>
                  </a:lnTo>
                  <a:lnTo>
                    <a:pt x="970" y="1004"/>
                  </a:lnTo>
                  <a:lnTo>
                    <a:pt x="964" y="1002"/>
                  </a:lnTo>
                  <a:lnTo>
                    <a:pt x="964" y="1002"/>
                  </a:lnTo>
                  <a:lnTo>
                    <a:pt x="964" y="1001"/>
                  </a:lnTo>
                  <a:lnTo>
                    <a:pt x="965" y="999"/>
                  </a:lnTo>
                  <a:lnTo>
                    <a:pt x="965" y="999"/>
                  </a:lnTo>
                  <a:lnTo>
                    <a:pt x="968" y="999"/>
                  </a:lnTo>
                  <a:lnTo>
                    <a:pt x="970" y="999"/>
                  </a:lnTo>
                  <a:lnTo>
                    <a:pt x="970" y="998"/>
                  </a:lnTo>
                  <a:lnTo>
                    <a:pt x="970" y="996"/>
                  </a:lnTo>
                  <a:lnTo>
                    <a:pt x="971" y="996"/>
                  </a:lnTo>
                  <a:lnTo>
                    <a:pt x="972" y="996"/>
                  </a:lnTo>
                  <a:lnTo>
                    <a:pt x="974" y="998"/>
                  </a:lnTo>
                  <a:lnTo>
                    <a:pt x="974" y="999"/>
                  </a:lnTo>
                  <a:lnTo>
                    <a:pt x="975" y="999"/>
                  </a:lnTo>
                  <a:lnTo>
                    <a:pt x="977" y="999"/>
                  </a:lnTo>
                  <a:lnTo>
                    <a:pt x="978" y="998"/>
                  </a:lnTo>
                  <a:lnTo>
                    <a:pt x="981" y="996"/>
                  </a:lnTo>
                  <a:lnTo>
                    <a:pt x="982" y="996"/>
                  </a:lnTo>
                  <a:lnTo>
                    <a:pt x="985" y="996"/>
                  </a:lnTo>
                  <a:close/>
                  <a:moveTo>
                    <a:pt x="1008" y="1001"/>
                  </a:moveTo>
                  <a:lnTo>
                    <a:pt x="1008" y="1002"/>
                  </a:lnTo>
                  <a:lnTo>
                    <a:pt x="1010" y="1004"/>
                  </a:lnTo>
                  <a:lnTo>
                    <a:pt x="1008" y="1005"/>
                  </a:lnTo>
                  <a:lnTo>
                    <a:pt x="1004" y="1008"/>
                  </a:lnTo>
                  <a:lnTo>
                    <a:pt x="1001" y="1011"/>
                  </a:lnTo>
                  <a:lnTo>
                    <a:pt x="1000" y="1011"/>
                  </a:lnTo>
                  <a:lnTo>
                    <a:pt x="998" y="1011"/>
                  </a:lnTo>
                  <a:lnTo>
                    <a:pt x="995" y="1011"/>
                  </a:lnTo>
                  <a:lnTo>
                    <a:pt x="995" y="1011"/>
                  </a:lnTo>
                  <a:lnTo>
                    <a:pt x="995" y="1009"/>
                  </a:lnTo>
                  <a:lnTo>
                    <a:pt x="1000" y="1004"/>
                  </a:lnTo>
                  <a:lnTo>
                    <a:pt x="1002" y="1004"/>
                  </a:lnTo>
                  <a:lnTo>
                    <a:pt x="1002" y="1002"/>
                  </a:lnTo>
                  <a:lnTo>
                    <a:pt x="1004" y="1002"/>
                  </a:lnTo>
                  <a:lnTo>
                    <a:pt x="1004" y="1002"/>
                  </a:lnTo>
                  <a:lnTo>
                    <a:pt x="1004" y="1001"/>
                  </a:lnTo>
                  <a:lnTo>
                    <a:pt x="1005" y="999"/>
                  </a:lnTo>
                  <a:lnTo>
                    <a:pt x="1007" y="999"/>
                  </a:lnTo>
                  <a:lnTo>
                    <a:pt x="1008" y="1001"/>
                  </a:lnTo>
                  <a:close/>
                  <a:moveTo>
                    <a:pt x="1169" y="1008"/>
                  </a:moveTo>
                  <a:lnTo>
                    <a:pt x="1169" y="1009"/>
                  </a:lnTo>
                  <a:lnTo>
                    <a:pt x="1165" y="1006"/>
                  </a:lnTo>
                  <a:lnTo>
                    <a:pt x="1165" y="1005"/>
                  </a:lnTo>
                  <a:lnTo>
                    <a:pt x="1166" y="1004"/>
                  </a:lnTo>
                  <a:lnTo>
                    <a:pt x="1169" y="1002"/>
                  </a:lnTo>
                  <a:lnTo>
                    <a:pt x="1169" y="1002"/>
                  </a:lnTo>
                  <a:lnTo>
                    <a:pt x="1171" y="1002"/>
                  </a:lnTo>
                  <a:lnTo>
                    <a:pt x="1172" y="1004"/>
                  </a:lnTo>
                  <a:lnTo>
                    <a:pt x="1171" y="1006"/>
                  </a:lnTo>
                  <a:lnTo>
                    <a:pt x="1169" y="1008"/>
                  </a:lnTo>
                  <a:close/>
                  <a:moveTo>
                    <a:pt x="31" y="1006"/>
                  </a:moveTo>
                  <a:lnTo>
                    <a:pt x="30" y="1008"/>
                  </a:lnTo>
                  <a:lnTo>
                    <a:pt x="28" y="1006"/>
                  </a:lnTo>
                  <a:lnTo>
                    <a:pt x="27" y="1006"/>
                  </a:lnTo>
                  <a:lnTo>
                    <a:pt x="30" y="1004"/>
                  </a:lnTo>
                  <a:lnTo>
                    <a:pt x="31" y="1004"/>
                  </a:lnTo>
                  <a:lnTo>
                    <a:pt x="32" y="1005"/>
                  </a:lnTo>
                  <a:lnTo>
                    <a:pt x="34" y="1006"/>
                  </a:lnTo>
                  <a:lnTo>
                    <a:pt x="31" y="1006"/>
                  </a:lnTo>
                  <a:close/>
                  <a:moveTo>
                    <a:pt x="729" y="1006"/>
                  </a:moveTo>
                  <a:lnTo>
                    <a:pt x="730" y="1011"/>
                  </a:lnTo>
                  <a:lnTo>
                    <a:pt x="730" y="1012"/>
                  </a:lnTo>
                  <a:lnTo>
                    <a:pt x="730" y="1014"/>
                  </a:lnTo>
                  <a:lnTo>
                    <a:pt x="729" y="1016"/>
                  </a:lnTo>
                  <a:lnTo>
                    <a:pt x="729" y="1018"/>
                  </a:lnTo>
                  <a:lnTo>
                    <a:pt x="727" y="1018"/>
                  </a:lnTo>
                  <a:lnTo>
                    <a:pt x="726" y="1018"/>
                  </a:lnTo>
                  <a:lnTo>
                    <a:pt x="724" y="1018"/>
                  </a:lnTo>
                  <a:lnTo>
                    <a:pt x="726" y="1015"/>
                  </a:lnTo>
                  <a:lnTo>
                    <a:pt x="726" y="1015"/>
                  </a:lnTo>
                  <a:lnTo>
                    <a:pt x="726" y="1014"/>
                  </a:lnTo>
                  <a:lnTo>
                    <a:pt x="726" y="1011"/>
                  </a:lnTo>
                  <a:lnTo>
                    <a:pt x="724" y="1009"/>
                  </a:lnTo>
                  <a:lnTo>
                    <a:pt x="724" y="1008"/>
                  </a:lnTo>
                  <a:lnTo>
                    <a:pt x="723" y="1008"/>
                  </a:lnTo>
                  <a:lnTo>
                    <a:pt x="723" y="1008"/>
                  </a:lnTo>
                  <a:lnTo>
                    <a:pt x="723" y="1011"/>
                  </a:lnTo>
                  <a:lnTo>
                    <a:pt x="723" y="1012"/>
                  </a:lnTo>
                  <a:lnTo>
                    <a:pt x="723" y="1015"/>
                  </a:lnTo>
                  <a:lnTo>
                    <a:pt x="721" y="1016"/>
                  </a:lnTo>
                  <a:lnTo>
                    <a:pt x="721" y="1016"/>
                  </a:lnTo>
                  <a:lnTo>
                    <a:pt x="720" y="1015"/>
                  </a:lnTo>
                  <a:lnTo>
                    <a:pt x="720" y="1014"/>
                  </a:lnTo>
                  <a:lnTo>
                    <a:pt x="720" y="1012"/>
                  </a:lnTo>
                  <a:lnTo>
                    <a:pt x="720" y="1009"/>
                  </a:lnTo>
                  <a:lnTo>
                    <a:pt x="721" y="1008"/>
                  </a:lnTo>
                  <a:lnTo>
                    <a:pt x="723" y="1005"/>
                  </a:lnTo>
                  <a:lnTo>
                    <a:pt x="723" y="1005"/>
                  </a:lnTo>
                  <a:lnTo>
                    <a:pt x="724" y="1005"/>
                  </a:lnTo>
                  <a:lnTo>
                    <a:pt x="727" y="1005"/>
                  </a:lnTo>
                  <a:lnTo>
                    <a:pt x="729" y="1006"/>
                  </a:lnTo>
                  <a:close/>
                  <a:moveTo>
                    <a:pt x="637" y="1015"/>
                  </a:moveTo>
                  <a:lnTo>
                    <a:pt x="636" y="1015"/>
                  </a:lnTo>
                  <a:lnTo>
                    <a:pt x="636" y="1015"/>
                  </a:lnTo>
                  <a:lnTo>
                    <a:pt x="636" y="1014"/>
                  </a:lnTo>
                  <a:lnTo>
                    <a:pt x="636" y="1014"/>
                  </a:lnTo>
                  <a:lnTo>
                    <a:pt x="636" y="1014"/>
                  </a:lnTo>
                  <a:lnTo>
                    <a:pt x="637" y="1012"/>
                  </a:lnTo>
                  <a:lnTo>
                    <a:pt x="637" y="1011"/>
                  </a:lnTo>
                  <a:lnTo>
                    <a:pt x="636" y="1011"/>
                  </a:lnTo>
                  <a:lnTo>
                    <a:pt x="634" y="1009"/>
                  </a:lnTo>
                  <a:lnTo>
                    <a:pt x="634" y="1008"/>
                  </a:lnTo>
                  <a:lnTo>
                    <a:pt x="634" y="1008"/>
                  </a:lnTo>
                  <a:lnTo>
                    <a:pt x="634" y="1006"/>
                  </a:lnTo>
                  <a:lnTo>
                    <a:pt x="636" y="1006"/>
                  </a:lnTo>
                  <a:lnTo>
                    <a:pt x="639" y="1008"/>
                  </a:lnTo>
                  <a:lnTo>
                    <a:pt x="640" y="1011"/>
                  </a:lnTo>
                  <a:lnTo>
                    <a:pt x="640" y="1012"/>
                  </a:lnTo>
                  <a:lnTo>
                    <a:pt x="639" y="1012"/>
                  </a:lnTo>
                  <a:lnTo>
                    <a:pt x="639" y="1014"/>
                  </a:lnTo>
                  <a:lnTo>
                    <a:pt x="639" y="1014"/>
                  </a:lnTo>
                  <a:lnTo>
                    <a:pt x="637" y="1015"/>
                  </a:lnTo>
                  <a:close/>
                  <a:moveTo>
                    <a:pt x="1024" y="1026"/>
                  </a:moveTo>
                  <a:lnTo>
                    <a:pt x="1022" y="1026"/>
                  </a:lnTo>
                  <a:lnTo>
                    <a:pt x="1021" y="1026"/>
                  </a:lnTo>
                  <a:lnTo>
                    <a:pt x="1020" y="1025"/>
                  </a:lnTo>
                  <a:lnTo>
                    <a:pt x="1020" y="1024"/>
                  </a:lnTo>
                  <a:lnTo>
                    <a:pt x="1018" y="1021"/>
                  </a:lnTo>
                  <a:lnTo>
                    <a:pt x="1018" y="1019"/>
                  </a:lnTo>
                  <a:lnTo>
                    <a:pt x="1018" y="1016"/>
                  </a:lnTo>
                  <a:lnTo>
                    <a:pt x="1020" y="1015"/>
                  </a:lnTo>
                  <a:lnTo>
                    <a:pt x="1020" y="1014"/>
                  </a:lnTo>
                  <a:lnTo>
                    <a:pt x="1021" y="1014"/>
                  </a:lnTo>
                  <a:lnTo>
                    <a:pt x="1022" y="1014"/>
                  </a:lnTo>
                  <a:lnTo>
                    <a:pt x="1024" y="1015"/>
                  </a:lnTo>
                  <a:lnTo>
                    <a:pt x="1028" y="1015"/>
                  </a:lnTo>
                  <a:lnTo>
                    <a:pt x="1029" y="1016"/>
                  </a:lnTo>
                  <a:lnTo>
                    <a:pt x="1029" y="1016"/>
                  </a:lnTo>
                  <a:lnTo>
                    <a:pt x="1029" y="1018"/>
                  </a:lnTo>
                  <a:lnTo>
                    <a:pt x="1029" y="1018"/>
                  </a:lnTo>
                  <a:lnTo>
                    <a:pt x="1028" y="1021"/>
                  </a:lnTo>
                  <a:lnTo>
                    <a:pt x="1027" y="1022"/>
                  </a:lnTo>
                  <a:lnTo>
                    <a:pt x="1025" y="1025"/>
                  </a:lnTo>
                  <a:lnTo>
                    <a:pt x="1024" y="1026"/>
                  </a:lnTo>
                  <a:close/>
                  <a:moveTo>
                    <a:pt x="813" y="1014"/>
                  </a:moveTo>
                  <a:lnTo>
                    <a:pt x="813" y="1016"/>
                  </a:lnTo>
                  <a:lnTo>
                    <a:pt x="811" y="1021"/>
                  </a:lnTo>
                  <a:lnTo>
                    <a:pt x="811" y="1021"/>
                  </a:lnTo>
                  <a:lnTo>
                    <a:pt x="811" y="1022"/>
                  </a:lnTo>
                  <a:lnTo>
                    <a:pt x="810" y="1021"/>
                  </a:lnTo>
                  <a:lnTo>
                    <a:pt x="808" y="1018"/>
                  </a:lnTo>
                  <a:lnTo>
                    <a:pt x="808" y="1016"/>
                  </a:lnTo>
                  <a:lnTo>
                    <a:pt x="808" y="1015"/>
                  </a:lnTo>
                  <a:lnTo>
                    <a:pt x="810" y="1014"/>
                  </a:lnTo>
                  <a:lnTo>
                    <a:pt x="811" y="1014"/>
                  </a:lnTo>
                  <a:lnTo>
                    <a:pt x="813" y="1014"/>
                  </a:lnTo>
                  <a:lnTo>
                    <a:pt x="813" y="1014"/>
                  </a:lnTo>
                  <a:lnTo>
                    <a:pt x="813" y="1014"/>
                  </a:lnTo>
                  <a:close/>
                  <a:moveTo>
                    <a:pt x="990" y="1039"/>
                  </a:moveTo>
                  <a:lnTo>
                    <a:pt x="988" y="1041"/>
                  </a:lnTo>
                  <a:lnTo>
                    <a:pt x="987" y="1039"/>
                  </a:lnTo>
                  <a:lnTo>
                    <a:pt x="987" y="1038"/>
                  </a:lnTo>
                  <a:lnTo>
                    <a:pt x="985" y="1036"/>
                  </a:lnTo>
                  <a:lnTo>
                    <a:pt x="987" y="1035"/>
                  </a:lnTo>
                  <a:lnTo>
                    <a:pt x="987" y="1035"/>
                  </a:lnTo>
                  <a:lnTo>
                    <a:pt x="988" y="1034"/>
                  </a:lnTo>
                  <a:lnTo>
                    <a:pt x="988" y="1031"/>
                  </a:lnTo>
                  <a:lnTo>
                    <a:pt x="990" y="1029"/>
                  </a:lnTo>
                  <a:lnTo>
                    <a:pt x="994" y="1028"/>
                  </a:lnTo>
                  <a:lnTo>
                    <a:pt x="994" y="1026"/>
                  </a:lnTo>
                  <a:lnTo>
                    <a:pt x="995" y="1022"/>
                  </a:lnTo>
                  <a:lnTo>
                    <a:pt x="997" y="1022"/>
                  </a:lnTo>
                  <a:lnTo>
                    <a:pt x="998" y="1021"/>
                  </a:lnTo>
                  <a:lnTo>
                    <a:pt x="998" y="1021"/>
                  </a:lnTo>
                  <a:lnTo>
                    <a:pt x="997" y="1019"/>
                  </a:lnTo>
                  <a:lnTo>
                    <a:pt x="997" y="1018"/>
                  </a:lnTo>
                  <a:lnTo>
                    <a:pt x="998" y="1016"/>
                  </a:lnTo>
                  <a:lnTo>
                    <a:pt x="998" y="1016"/>
                  </a:lnTo>
                  <a:lnTo>
                    <a:pt x="1001" y="1015"/>
                  </a:lnTo>
                  <a:lnTo>
                    <a:pt x="1002" y="1015"/>
                  </a:lnTo>
                  <a:lnTo>
                    <a:pt x="1004" y="1016"/>
                  </a:lnTo>
                  <a:lnTo>
                    <a:pt x="1004" y="1016"/>
                  </a:lnTo>
                  <a:lnTo>
                    <a:pt x="1005" y="1019"/>
                  </a:lnTo>
                  <a:lnTo>
                    <a:pt x="1005" y="1019"/>
                  </a:lnTo>
                  <a:lnTo>
                    <a:pt x="1004" y="1021"/>
                  </a:lnTo>
                  <a:lnTo>
                    <a:pt x="1001" y="1024"/>
                  </a:lnTo>
                  <a:lnTo>
                    <a:pt x="1000" y="1026"/>
                  </a:lnTo>
                  <a:lnTo>
                    <a:pt x="1000" y="1028"/>
                  </a:lnTo>
                  <a:lnTo>
                    <a:pt x="1000" y="1028"/>
                  </a:lnTo>
                  <a:lnTo>
                    <a:pt x="998" y="1029"/>
                  </a:lnTo>
                  <a:lnTo>
                    <a:pt x="997" y="1032"/>
                  </a:lnTo>
                  <a:lnTo>
                    <a:pt x="995" y="1035"/>
                  </a:lnTo>
                  <a:lnTo>
                    <a:pt x="995" y="1036"/>
                  </a:lnTo>
                  <a:lnTo>
                    <a:pt x="991" y="1038"/>
                  </a:lnTo>
                  <a:lnTo>
                    <a:pt x="990" y="1039"/>
                  </a:lnTo>
                  <a:close/>
                  <a:moveTo>
                    <a:pt x="808" y="1024"/>
                  </a:moveTo>
                  <a:lnTo>
                    <a:pt x="807" y="1024"/>
                  </a:lnTo>
                  <a:lnTo>
                    <a:pt x="806" y="1022"/>
                  </a:lnTo>
                  <a:lnTo>
                    <a:pt x="806" y="1021"/>
                  </a:lnTo>
                  <a:lnTo>
                    <a:pt x="806" y="1021"/>
                  </a:lnTo>
                  <a:lnTo>
                    <a:pt x="804" y="1019"/>
                  </a:lnTo>
                  <a:lnTo>
                    <a:pt x="804" y="1018"/>
                  </a:lnTo>
                  <a:lnTo>
                    <a:pt x="804" y="1016"/>
                  </a:lnTo>
                  <a:lnTo>
                    <a:pt x="806" y="1016"/>
                  </a:lnTo>
                  <a:lnTo>
                    <a:pt x="807" y="1016"/>
                  </a:lnTo>
                  <a:lnTo>
                    <a:pt x="807" y="1018"/>
                  </a:lnTo>
                  <a:lnTo>
                    <a:pt x="808" y="1019"/>
                  </a:lnTo>
                  <a:lnTo>
                    <a:pt x="808" y="1022"/>
                  </a:lnTo>
                  <a:lnTo>
                    <a:pt x="808" y="1024"/>
                  </a:lnTo>
                  <a:close/>
                  <a:moveTo>
                    <a:pt x="656" y="1032"/>
                  </a:moveTo>
                  <a:lnTo>
                    <a:pt x="656" y="1035"/>
                  </a:lnTo>
                  <a:lnTo>
                    <a:pt x="654" y="1034"/>
                  </a:lnTo>
                  <a:lnTo>
                    <a:pt x="653" y="1034"/>
                  </a:lnTo>
                  <a:lnTo>
                    <a:pt x="651" y="1031"/>
                  </a:lnTo>
                  <a:lnTo>
                    <a:pt x="651" y="1031"/>
                  </a:lnTo>
                  <a:lnTo>
                    <a:pt x="653" y="1029"/>
                  </a:lnTo>
                  <a:lnTo>
                    <a:pt x="653" y="1028"/>
                  </a:lnTo>
                  <a:lnTo>
                    <a:pt x="653" y="1026"/>
                  </a:lnTo>
                  <a:lnTo>
                    <a:pt x="654" y="1028"/>
                  </a:lnTo>
                  <a:lnTo>
                    <a:pt x="656" y="1029"/>
                  </a:lnTo>
                  <a:lnTo>
                    <a:pt x="656" y="1031"/>
                  </a:lnTo>
                  <a:lnTo>
                    <a:pt x="656" y="1032"/>
                  </a:lnTo>
                  <a:close/>
                  <a:moveTo>
                    <a:pt x="653" y="1042"/>
                  </a:moveTo>
                  <a:lnTo>
                    <a:pt x="651" y="1044"/>
                  </a:lnTo>
                  <a:lnTo>
                    <a:pt x="651" y="1044"/>
                  </a:lnTo>
                  <a:lnTo>
                    <a:pt x="650" y="1045"/>
                  </a:lnTo>
                  <a:lnTo>
                    <a:pt x="650" y="1045"/>
                  </a:lnTo>
                  <a:lnTo>
                    <a:pt x="649" y="1044"/>
                  </a:lnTo>
                  <a:lnTo>
                    <a:pt x="649" y="1042"/>
                  </a:lnTo>
                  <a:lnTo>
                    <a:pt x="649" y="1042"/>
                  </a:lnTo>
                  <a:lnTo>
                    <a:pt x="647" y="1042"/>
                  </a:lnTo>
                  <a:lnTo>
                    <a:pt x="647" y="1044"/>
                  </a:lnTo>
                  <a:lnTo>
                    <a:pt x="647" y="1044"/>
                  </a:lnTo>
                  <a:lnTo>
                    <a:pt x="646" y="1042"/>
                  </a:lnTo>
                  <a:lnTo>
                    <a:pt x="646" y="1041"/>
                  </a:lnTo>
                  <a:lnTo>
                    <a:pt x="646" y="1039"/>
                  </a:lnTo>
                  <a:lnTo>
                    <a:pt x="646" y="1035"/>
                  </a:lnTo>
                  <a:lnTo>
                    <a:pt x="646" y="1035"/>
                  </a:lnTo>
                  <a:lnTo>
                    <a:pt x="646" y="1034"/>
                  </a:lnTo>
                  <a:lnTo>
                    <a:pt x="646" y="1032"/>
                  </a:lnTo>
                  <a:lnTo>
                    <a:pt x="647" y="1032"/>
                  </a:lnTo>
                  <a:lnTo>
                    <a:pt x="647" y="1031"/>
                  </a:lnTo>
                  <a:lnTo>
                    <a:pt x="650" y="1032"/>
                  </a:lnTo>
                  <a:lnTo>
                    <a:pt x="651" y="1034"/>
                  </a:lnTo>
                  <a:lnTo>
                    <a:pt x="651" y="1035"/>
                  </a:lnTo>
                  <a:lnTo>
                    <a:pt x="653" y="1036"/>
                  </a:lnTo>
                  <a:lnTo>
                    <a:pt x="653" y="1038"/>
                  </a:lnTo>
                  <a:lnTo>
                    <a:pt x="653" y="1042"/>
                  </a:lnTo>
                  <a:close/>
                  <a:moveTo>
                    <a:pt x="626" y="1051"/>
                  </a:moveTo>
                  <a:lnTo>
                    <a:pt x="626" y="1051"/>
                  </a:lnTo>
                  <a:lnTo>
                    <a:pt x="624" y="1051"/>
                  </a:lnTo>
                  <a:lnTo>
                    <a:pt x="620" y="1048"/>
                  </a:lnTo>
                  <a:lnTo>
                    <a:pt x="619" y="1046"/>
                  </a:lnTo>
                  <a:lnTo>
                    <a:pt x="620" y="1046"/>
                  </a:lnTo>
                  <a:lnTo>
                    <a:pt x="622" y="1045"/>
                  </a:lnTo>
                  <a:lnTo>
                    <a:pt x="623" y="1044"/>
                  </a:lnTo>
                  <a:lnTo>
                    <a:pt x="624" y="1041"/>
                  </a:lnTo>
                  <a:lnTo>
                    <a:pt x="627" y="1042"/>
                  </a:lnTo>
                  <a:lnTo>
                    <a:pt x="627" y="1044"/>
                  </a:lnTo>
                  <a:lnTo>
                    <a:pt x="629" y="1044"/>
                  </a:lnTo>
                  <a:lnTo>
                    <a:pt x="629" y="1045"/>
                  </a:lnTo>
                  <a:lnTo>
                    <a:pt x="629" y="1048"/>
                  </a:lnTo>
                  <a:lnTo>
                    <a:pt x="627" y="1049"/>
                  </a:lnTo>
                  <a:lnTo>
                    <a:pt x="626" y="1051"/>
                  </a:lnTo>
                  <a:close/>
                  <a:moveTo>
                    <a:pt x="1058" y="1062"/>
                  </a:moveTo>
                  <a:lnTo>
                    <a:pt x="1057" y="1062"/>
                  </a:lnTo>
                  <a:lnTo>
                    <a:pt x="1055" y="1059"/>
                  </a:lnTo>
                  <a:lnTo>
                    <a:pt x="1051" y="1056"/>
                  </a:lnTo>
                  <a:lnTo>
                    <a:pt x="1049" y="1054"/>
                  </a:lnTo>
                  <a:lnTo>
                    <a:pt x="1049" y="1052"/>
                  </a:lnTo>
                  <a:lnTo>
                    <a:pt x="1049" y="1051"/>
                  </a:lnTo>
                  <a:lnTo>
                    <a:pt x="1051" y="1049"/>
                  </a:lnTo>
                  <a:lnTo>
                    <a:pt x="1052" y="1046"/>
                  </a:lnTo>
                  <a:lnTo>
                    <a:pt x="1054" y="1046"/>
                  </a:lnTo>
                  <a:lnTo>
                    <a:pt x="1055" y="1046"/>
                  </a:lnTo>
                  <a:lnTo>
                    <a:pt x="1057" y="1048"/>
                  </a:lnTo>
                  <a:lnTo>
                    <a:pt x="1058" y="1054"/>
                  </a:lnTo>
                  <a:lnTo>
                    <a:pt x="1059" y="1055"/>
                  </a:lnTo>
                  <a:lnTo>
                    <a:pt x="1059" y="1056"/>
                  </a:lnTo>
                  <a:lnTo>
                    <a:pt x="1059" y="1058"/>
                  </a:lnTo>
                  <a:lnTo>
                    <a:pt x="1059" y="1058"/>
                  </a:lnTo>
                  <a:lnTo>
                    <a:pt x="1059" y="1059"/>
                  </a:lnTo>
                  <a:lnTo>
                    <a:pt x="1059" y="1059"/>
                  </a:lnTo>
                  <a:lnTo>
                    <a:pt x="1059" y="1061"/>
                  </a:lnTo>
                  <a:lnTo>
                    <a:pt x="1058" y="1062"/>
                  </a:lnTo>
                  <a:close/>
                  <a:moveTo>
                    <a:pt x="583" y="1059"/>
                  </a:moveTo>
                  <a:lnTo>
                    <a:pt x="583" y="1059"/>
                  </a:lnTo>
                  <a:lnTo>
                    <a:pt x="580" y="1059"/>
                  </a:lnTo>
                  <a:lnTo>
                    <a:pt x="579" y="1056"/>
                  </a:lnTo>
                  <a:lnTo>
                    <a:pt x="576" y="1055"/>
                  </a:lnTo>
                  <a:lnTo>
                    <a:pt x="576" y="1054"/>
                  </a:lnTo>
                  <a:lnTo>
                    <a:pt x="576" y="1052"/>
                  </a:lnTo>
                  <a:lnTo>
                    <a:pt x="576" y="1052"/>
                  </a:lnTo>
                  <a:lnTo>
                    <a:pt x="577" y="1052"/>
                  </a:lnTo>
                  <a:lnTo>
                    <a:pt x="580" y="1052"/>
                  </a:lnTo>
                  <a:lnTo>
                    <a:pt x="583" y="1052"/>
                  </a:lnTo>
                  <a:lnTo>
                    <a:pt x="584" y="1055"/>
                  </a:lnTo>
                  <a:lnTo>
                    <a:pt x="584" y="1056"/>
                  </a:lnTo>
                  <a:lnTo>
                    <a:pt x="584" y="1058"/>
                  </a:lnTo>
                  <a:lnTo>
                    <a:pt x="584" y="1058"/>
                  </a:lnTo>
                  <a:lnTo>
                    <a:pt x="583" y="1059"/>
                  </a:lnTo>
                  <a:close/>
                  <a:moveTo>
                    <a:pt x="992" y="1068"/>
                  </a:moveTo>
                  <a:lnTo>
                    <a:pt x="991" y="1069"/>
                  </a:lnTo>
                  <a:lnTo>
                    <a:pt x="990" y="1066"/>
                  </a:lnTo>
                  <a:lnTo>
                    <a:pt x="990" y="1065"/>
                  </a:lnTo>
                  <a:lnTo>
                    <a:pt x="990" y="1062"/>
                  </a:lnTo>
                  <a:lnTo>
                    <a:pt x="992" y="1062"/>
                  </a:lnTo>
                  <a:lnTo>
                    <a:pt x="994" y="1064"/>
                  </a:lnTo>
                  <a:lnTo>
                    <a:pt x="995" y="1065"/>
                  </a:lnTo>
                  <a:lnTo>
                    <a:pt x="992" y="1068"/>
                  </a:lnTo>
                  <a:close/>
                  <a:moveTo>
                    <a:pt x="1045" y="1062"/>
                  </a:moveTo>
                  <a:lnTo>
                    <a:pt x="1054" y="1066"/>
                  </a:lnTo>
                  <a:lnTo>
                    <a:pt x="1055" y="1068"/>
                  </a:lnTo>
                  <a:lnTo>
                    <a:pt x="1055" y="1069"/>
                  </a:lnTo>
                  <a:lnTo>
                    <a:pt x="1055" y="1071"/>
                  </a:lnTo>
                  <a:lnTo>
                    <a:pt x="1055" y="1074"/>
                  </a:lnTo>
                  <a:lnTo>
                    <a:pt x="1055" y="1075"/>
                  </a:lnTo>
                  <a:lnTo>
                    <a:pt x="1054" y="1078"/>
                  </a:lnTo>
                  <a:lnTo>
                    <a:pt x="1054" y="1078"/>
                  </a:lnTo>
                  <a:lnTo>
                    <a:pt x="1055" y="1088"/>
                  </a:lnTo>
                  <a:lnTo>
                    <a:pt x="1055" y="1092"/>
                  </a:lnTo>
                  <a:lnTo>
                    <a:pt x="1054" y="1096"/>
                  </a:lnTo>
                  <a:lnTo>
                    <a:pt x="1054" y="1099"/>
                  </a:lnTo>
                  <a:lnTo>
                    <a:pt x="1051" y="1102"/>
                  </a:lnTo>
                  <a:lnTo>
                    <a:pt x="1049" y="1104"/>
                  </a:lnTo>
                  <a:lnTo>
                    <a:pt x="1044" y="1106"/>
                  </a:lnTo>
                  <a:lnTo>
                    <a:pt x="1039" y="1108"/>
                  </a:lnTo>
                  <a:lnTo>
                    <a:pt x="1035" y="1108"/>
                  </a:lnTo>
                  <a:lnTo>
                    <a:pt x="1029" y="1109"/>
                  </a:lnTo>
                  <a:lnTo>
                    <a:pt x="1027" y="1109"/>
                  </a:lnTo>
                  <a:lnTo>
                    <a:pt x="1025" y="1108"/>
                  </a:lnTo>
                  <a:lnTo>
                    <a:pt x="1024" y="1108"/>
                  </a:lnTo>
                  <a:lnTo>
                    <a:pt x="1024" y="1105"/>
                  </a:lnTo>
                  <a:lnTo>
                    <a:pt x="1022" y="1102"/>
                  </a:lnTo>
                  <a:lnTo>
                    <a:pt x="1021" y="1098"/>
                  </a:lnTo>
                  <a:lnTo>
                    <a:pt x="1020" y="1091"/>
                  </a:lnTo>
                  <a:lnTo>
                    <a:pt x="1020" y="1089"/>
                  </a:lnTo>
                  <a:lnTo>
                    <a:pt x="1021" y="1084"/>
                  </a:lnTo>
                  <a:lnTo>
                    <a:pt x="1022" y="1079"/>
                  </a:lnTo>
                  <a:lnTo>
                    <a:pt x="1025" y="1072"/>
                  </a:lnTo>
                  <a:lnTo>
                    <a:pt x="1028" y="1066"/>
                  </a:lnTo>
                  <a:lnTo>
                    <a:pt x="1029" y="1065"/>
                  </a:lnTo>
                  <a:lnTo>
                    <a:pt x="1031" y="1065"/>
                  </a:lnTo>
                  <a:lnTo>
                    <a:pt x="1035" y="1064"/>
                  </a:lnTo>
                  <a:lnTo>
                    <a:pt x="1038" y="1064"/>
                  </a:lnTo>
                  <a:lnTo>
                    <a:pt x="1039" y="1064"/>
                  </a:lnTo>
                  <a:lnTo>
                    <a:pt x="1041" y="1062"/>
                  </a:lnTo>
                  <a:lnTo>
                    <a:pt x="1042" y="1062"/>
                  </a:lnTo>
                  <a:lnTo>
                    <a:pt x="1045" y="1062"/>
                  </a:lnTo>
                  <a:close/>
                  <a:moveTo>
                    <a:pt x="871" y="1088"/>
                  </a:moveTo>
                  <a:lnTo>
                    <a:pt x="870" y="1088"/>
                  </a:lnTo>
                  <a:lnTo>
                    <a:pt x="868" y="1088"/>
                  </a:lnTo>
                  <a:lnTo>
                    <a:pt x="867" y="1085"/>
                  </a:lnTo>
                  <a:lnTo>
                    <a:pt x="865" y="1084"/>
                  </a:lnTo>
                  <a:lnTo>
                    <a:pt x="865" y="1082"/>
                  </a:lnTo>
                  <a:lnTo>
                    <a:pt x="865" y="1081"/>
                  </a:lnTo>
                  <a:lnTo>
                    <a:pt x="865" y="1079"/>
                  </a:lnTo>
                  <a:lnTo>
                    <a:pt x="867" y="1076"/>
                  </a:lnTo>
                  <a:lnTo>
                    <a:pt x="865" y="1074"/>
                  </a:lnTo>
                  <a:lnTo>
                    <a:pt x="865" y="1072"/>
                  </a:lnTo>
                  <a:lnTo>
                    <a:pt x="865" y="1072"/>
                  </a:lnTo>
                  <a:lnTo>
                    <a:pt x="865" y="1069"/>
                  </a:lnTo>
                  <a:lnTo>
                    <a:pt x="865" y="1068"/>
                  </a:lnTo>
                  <a:lnTo>
                    <a:pt x="867" y="1066"/>
                  </a:lnTo>
                  <a:lnTo>
                    <a:pt x="868" y="1064"/>
                  </a:lnTo>
                  <a:lnTo>
                    <a:pt x="871" y="1064"/>
                  </a:lnTo>
                  <a:lnTo>
                    <a:pt x="873" y="1066"/>
                  </a:lnTo>
                  <a:lnTo>
                    <a:pt x="874" y="1069"/>
                  </a:lnTo>
                  <a:lnTo>
                    <a:pt x="874" y="1071"/>
                  </a:lnTo>
                  <a:lnTo>
                    <a:pt x="874" y="1074"/>
                  </a:lnTo>
                  <a:lnTo>
                    <a:pt x="874" y="1076"/>
                  </a:lnTo>
                  <a:lnTo>
                    <a:pt x="874" y="1079"/>
                  </a:lnTo>
                  <a:lnTo>
                    <a:pt x="874" y="1081"/>
                  </a:lnTo>
                  <a:lnTo>
                    <a:pt x="873" y="1085"/>
                  </a:lnTo>
                  <a:lnTo>
                    <a:pt x="873" y="1086"/>
                  </a:lnTo>
                  <a:lnTo>
                    <a:pt x="871" y="1088"/>
                  </a:lnTo>
                  <a:lnTo>
                    <a:pt x="871" y="1088"/>
                  </a:lnTo>
                  <a:close/>
                  <a:moveTo>
                    <a:pt x="507" y="1076"/>
                  </a:moveTo>
                  <a:lnTo>
                    <a:pt x="506" y="1078"/>
                  </a:lnTo>
                  <a:lnTo>
                    <a:pt x="505" y="1075"/>
                  </a:lnTo>
                  <a:lnTo>
                    <a:pt x="505" y="1072"/>
                  </a:lnTo>
                  <a:lnTo>
                    <a:pt x="506" y="1075"/>
                  </a:lnTo>
                  <a:lnTo>
                    <a:pt x="507" y="1076"/>
                  </a:lnTo>
                  <a:lnTo>
                    <a:pt x="507" y="1076"/>
                  </a:lnTo>
                  <a:close/>
                  <a:moveTo>
                    <a:pt x="1078" y="1086"/>
                  </a:moveTo>
                  <a:lnTo>
                    <a:pt x="1071" y="1086"/>
                  </a:lnTo>
                  <a:lnTo>
                    <a:pt x="1067" y="1085"/>
                  </a:lnTo>
                  <a:lnTo>
                    <a:pt x="1065" y="1085"/>
                  </a:lnTo>
                  <a:lnTo>
                    <a:pt x="1064" y="1084"/>
                  </a:lnTo>
                  <a:lnTo>
                    <a:pt x="1061" y="1081"/>
                  </a:lnTo>
                  <a:lnTo>
                    <a:pt x="1061" y="1078"/>
                  </a:lnTo>
                  <a:lnTo>
                    <a:pt x="1061" y="1076"/>
                  </a:lnTo>
                  <a:lnTo>
                    <a:pt x="1061" y="1075"/>
                  </a:lnTo>
                  <a:lnTo>
                    <a:pt x="1061" y="1074"/>
                  </a:lnTo>
                  <a:lnTo>
                    <a:pt x="1067" y="1072"/>
                  </a:lnTo>
                  <a:lnTo>
                    <a:pt x="1071" y="1074"/>
                  </a:lnTo>
                  <a:lnTo>
                    <a:pt x="1074" y="1076"/>
                  </a:lnTo>
                  <a:lnTo>
                    <a:pt x="1079" y="1076"/>
                  </a:lnTo>
                  <a:lnTo>
                    <a:pt x="1081" y="1076"/>
                  </a:lnTo>
                  <a:lnTo>
                    <a:pt x="1081" y="1076"/>
                  </a:lnTo>
                  <a:lnTo>
                    <a:pt x="1081" y="1078"/>
                  </a:lnTo>
                  <a:lnTo>
                    <a:pt x="1082" y="1082"/>
                  </a:lnTo>
                  <a:lnTo>
                    <a:pt x="1082" y="1084"/>
                  </a:lnTo>
                  <a:lnTo>
                    <a:pt x="1082" y="1085"/>
                  </a:lnTo>
                  <a:lnTo>
                    <a:pt x="1078" y="1086"/>
                  </a:lnTo>
                  <a:close/>
                  <a:moveTo>
                    <a:pt x="509" y="1078"/>
                  </a:moveTo>
                  <a:lnTo>
                    <a:pt x="512" y="1078"/>
                  </a:lnTo>
                  <a:lnTo>
                    <a:pt x="513" y="1078"/>
                  </a:lnTo>
                  <a:lnTo>
                    <a:pt x="513" y="1079"/>
                  </a:lnTo>
                  <a:lnTo>
                    <a:pt x="513" y="1081"/>
                  </a:lnTo>
                  <a:lnTo>
                    <a:pt x="513" y="1082"/>
                  </a:lnTo>
                  <a:lnTo>
                    <a:pt x="513" y="1082"/>
                  </a:lnTo>
                  <a:lnTo>
                    <a:pt x="510" y="1079"/>
                  </a:lnTo>
                  <a:lnTo>
                    <a:pt x="509" y="1079"/>
                  </a:lnTo>
                  <a:lnTo>
                    <a:pt x="509" y="1078"/>
                  </a:lnTo>
                  <a:lnTo>
                    <a:pt x="509" y="1078"/>
                  </a:lnTo>
                  <a:close/>
                  <a:moveTo>
                    <a:pt x="530" y="1102"/>
                  </a:moveTo>
                  <a:lnTo>
                    <a:pt x="529" y="1105"/>
                  </a:lnTo>
                  <a:lnTo>
                    <a:pt x="529" y="1105"/>
                  </a:lnTo>
                  <a:lnTo>
                    <a:pt x="527" y="1104"/>
                  </a:lnTo>
                  <a:lnTo>
                    <a:pt x="527" y="1102"/>
                  </a:lnTo>
                  <a:lnTo>
                    <a:pt x="526" y="1101"/>
                  </a:lnTo>
                  <a:lnTo>
                    <a:pt x="526" y="1096"/>
                  </a:lnTo>
                  <a:lnTo>
                    <a:pt x="526" y="1095"/>
                  </a:lnTo>
                  <a:lnTo>
                    <a:pt x="526" y="1092"/>
                  </a:lnTo>
                  <a:lnTo>
                    <a:pt x="527" y="1091"/>
                  </a:lnTo>
                  <a:lnTo>
                    <a:pt x="527" y="1092"/>
                  </a:lnTo>
                  <a:lnTo>
                    <a:pt x="529" y="1096"/>
                  </a:lnTo>
                  <a:lnTo>
                    <a:pt x="529" y="1098"/>
                  </a:lnTo>
                  <a:lnTo>
                    <a:pt x="529" y="1099"/>
                  </a:lnTo>
                  <a:lnTo>
                    <a:pt x="529" y="1099"/>
                  </a:lnTo>
                  <a:lnTo>
                    <a:pt x="530" y="1101"/>
                  </a:lnTo>
                  <a:lnTo>
                    <a:pt x="530" y="1102"/>
                  </a:lnTo>
                  <a:close/>
                  <a:moveTo>
                    <a:pt x="1253" y="1116"/>
                  </a:moveTo>
                  <a:lnTo>
                    <a:pt x="1252" y="1118"/>
                  </a:lnTo>
                  <a:lnTo>
                    <a:pt x="1251" y="1116"/>
                  </a:lnTo>
                  <a:lnTo>
                    <a:pt x="1252" y="1115"/>
                  </a:lnTo>
                  <a:lnTo>
                    <a:pt x="1252" y="1114"/>
                  </a:lnTo>
                  <a:lnTo>
                    <a:pt x="1253" y="1112"/>
                  </a:lnTo>
                  <a:lnTo>
                    <a:pt x="1255" y="1111"/>
                  </a:lnTo>
                  <a:lnTo>
                    <a:pt x="1258" y="1111"/>
                  </a:lnTo>
                  <a:lnTo>
                    <a:pt x="1258" y="1111"/>
                  </a:lnTo>
                  <a:lnTo>
                    <a:pt x="1258" y="1111"/>
                  </a:lnTo>
                  <a:lnTo>
                    <a:pt x="1256" y="1114"/>
                  </a:lnTo>
                  <a:lnTo>
                    <a:pt x="1253" y="1116"/>
                  </a:lnTo>
                  <a:close/>
                  <a:moveTo>
                    <a:pt x="526" y="1118"/>
                  </a:moveTo>
                  <a:lnTo>
                    <a:pt x="529" y="1119"/>
                  </a:lnTo>
                  <a:lnTo>
                    <a:pt x="532" y="1119"/>
                  </a:lnTo>
                  <a:lnTo>
                    <a:pt x="530" y="1122"/>
                  </a:lnTo>
                  <a:lnTo>
                    <a:pt x="530" y="1124"/>
                  </a:lnTo>
                  <a:lnTo>
                    <a:pt x="529" y="1125"/>
                  </a:lnTo>
                  <a:lnTo>
                    <a:pt x="529" y="1124"/>
                  </a:lnTo>
                  <a:lnTo>
                    <a:pt x="527" y="1121"/>
                  </a:lnTo>
                  <a:lnTo>
                    <a:pt x="526" y="1118"/>
                  </a:lnTo>
                  <a:close/>
                  <a:moveTo>
                    <a:pt x="927" y="1148"/>
                  </a:moveTo>
                  <a:lnTo>
                    <a:pt x="928" y="1148"/>
                  </a:lnTo>
                  <a:lnTo>
                    <a:pt x="930" y="1148"/>
                  </a:lnTo>
                  <a:lnTo>
                    <a:pt x="930" y="1148"/>
                  </a:lnTo>
                  <a:lnTo>
                    <a:pt x="928" y="1151"/>
                  </a:lnTo>
                  <a:lnTo>
                    <a:pt x="927" y="1151"/>
                  </a:lnTo>
                  <a:lnTo>
                    <a:pt x="925" y="1149"/>
                  </a:lnTo>
                  <a:lnTo>
                    <a:pt x="925" y="1148"/>
                  </a:lnTo>
                  <a:lnTo>
                    <a:pt x="924" y="1146"/>
                  </a:lnTo>
                  <a:lnTo>
                    <a:pt x="924" y="1145"/>
                  </a:lnTo>
                  <a:lnTo>
                    <a:pt x="925" y="1145"/>
                  </a:lnTo>
                  <a:lnTo>
                    <a:pt x="927" y="1148"/>
                  </a:lnTo>
                  <a:close/>
                  <a:moveTo>
                    <a:pt x="917" y="1166"/>
                  </a:moveTo>
                  <a:lnTo>
                    <a:pt x="918" y="1168"/>
                  </a:lnTo>
                  <a:lnTo>
                    <a:pt x="921" y="1169"/>
                  </a:lnTo>
                  <a:lnTo>
                    <a:pt x="924" y="1169"/>
                  </a:lnTo>
                  <a:lnTo>
                    <a:pt x="924" y="1169"/>
                  </a:lnTo>
                  <a:lnTo>
                    <a:pt x="924" y="1171"/>
                  </a:lnTo>
                  <a:lnTo>
                    <a:pt x="924" y="1172"/>
                  </a:lnTo>
                  <a:lnTo>
                    <a:pt x="923" y="1174"/>
                  </a:lnTo>
                  <a:lnTo>
                    <a:pt x="923" y="1174"/>
                  </a:lnTo>
                  <a:lnTo>
                    <a:pt x="920" y="1172"/>
                  </a:lnTo>
                  <a:lnTo>
                    <a:pt x="920" y="1172"/>
                  </a:lnTo>
                  <a:lnTo>
                    <a:pt x="920" y="1171"/>
                  </a:lnTo>
                  <a:lnTo>
                    <a:pt x="918" y="1171"/>
                  </a:lnTo>
                  <a:lnTo>
                    <a:pt x="918" y="1171"/>
                  </a:lnTo>
                  <a:lnTo>
                    <a:pt x="918" y="1171"/>
                  </a:lnTo>
                  <a:lnTo>
                    <a:pt x="918" y="1172"/>
                  </a:lnTo>
                  <a:lnTo>
                    <a:pt x="918" y="1172"/>
                  </a:lnTo>
                  <a:lnTo>
                    <a:pt x="915" y="1172"/>
                  </a:lnTo>
                  <a:lnTo>
                    <a:pt x="915" y="1171"/>
                  </a:lnTo>
                  <a:lnTo>
                    <a:pt x="915" y="1171"/>
                  </a:lnTo>
                  <a:lnTo>
                    <a:pt x="917" y="1168"/>
                  </a:lnTo>
                  <a:lnTo>
                    <a:pt x="915" y="1168"/>
                  </a:lnTo>
                  <a:lnTo>
                    <a:pt x="915" y="1166"/>
                  </a:lnTo>
                  <a:lnTo>
                    <a:pt x="914" y="1168"/>
                  </a:lnTo>
                  <a:lnTo>
                    <a:pt x="913" y="1168"/>
                  </a:lnTo>
                  <a:lnTo>
                    <a:pt x="911" y="1168"/>
                  </a:lnTo>
                  <a:lnTo>
                    <a:pt x="910" y="1164"/>
                  </a:lnTo>
                  <a:lnTo>
                    <a:pt x="910" y="1162"/>
                  </a:lnTo>
                  <a:lnTo>
                    <a:pt x="910" y="1161"/>
                  </a:lnTo>
                  <a:lnTo>
                    <a:pt x="908" y="1159"/>
                  </a:lnTo>
                  <a:lnTo>
                    <a:pt x="908" y="1159"/>
                  </a:lnTo>
                  <a:lnTo>
                    <a:pt x="907" y="1158"/>
                  </a:lnTo>
                  <a:lnTo>
                    <a:pt x="905" y="1156"/>
                  </a:lnTo>
                  <a:lnTo>
                    <a:pt x="905" y="1155"/>
                  </a:lnTo>
                  <a:lnTo>
                    <a:pt x="905" y="1155"/>
                  </a:lnTo>
                  <a:lnTo>
                    <a:pt x="905" y="1154"/>
                  </a:lnTo>
                  <a:lnTo>
                    <a:pt x="910" y="1155"/>
                  </a:lnTo>
                  <a:lnTo>
                    <a:pt x="913" y="1158"/>
                  </a:lnTo>
                  <a:lnTo>
                    <a:pt x="915" y="1161"/>
                  </a:lnTo>
                  <a:lnTo>
                    <a:pt x="917" y="1162"/>
                  </a:lnTo>
                  <a:lnTo>
                    <a:pt x="917" y="1164"/>
                  </a:lnTo>
                  <a:lnTo>
                    <a:pt x="917" y="1164"/>
                  </a:lnTo>
                  <a:lnTo>
                    <a:pt x="915" y="1165"/>
                  </a:lnTo>
                  <a:lnTo>
                    <a:pt x="917" y="1166"/>
                  </a:lnTo>
                  <a:close/>
                  <a:moveTo>
                    <a:pt x="901" y="1175"/>
                  </a:moveTo>
                  <a:lnTo>
                    <a:pt x="901" y="1176"/>
                  </a:lnTo>
                  <a:lnTo>
                    <a:pt x="900" y="1175"/>
                  </a:lnTo>
                  <a:lnTo>
                    <a:pt x="900" y="1175"/>
                  </a:lnTo>
                  <a:lnTo>
                    <a:pt x="898" y="1172"/>
                  </a:lnTo>
                  <a:lnTo>
                    <a:pt x="897" y="1171"/>
                  </a:lnTo>
                  <a:lnTo>
                    <a:pt x="895" y="1169"/>
                  </a:lnTo>
                  <a:lnTo>
                    <a:pt x="895" y="1168"/>
                  </a:lnTo>
                  <a:lnTo>
                    <a:pt x="894" y="1166"/>
                  </a:lnTo>
                  <a:lnTo>
                    <a:pt x="894" y="1164"/>
                  </a:lnTo>
                  <a:lnTo>
                    <a:pt x="894" y="1161"/>
                  </a:lnTo>
                  <a:lnTo>
                    <a:pt x="894" y="1159"/>
                  </a:lnTo>
                  <a:lnTo>
                    <a:pt x="894" y="1158"/>
                  </a:lnTo>
                  <a:lnTo>
                    <a:pt x="895" y="1158"/>
                  </a:lnTo>
                  <a:lnTo>
                    <a:pt x="897" y="1158"/>
                  </a:lnTo>
                  <a:lnTo>
                    <a:pt x="898" y="1159"/>
                  </a:lnTo>
                  <a:lnTo>
                    <a:pt x="898" y="1159"/>
                  </a:lnTo>
                  <a:lnTo>
                    <a:pt x="898" y="1161"/>
                  </a:lnTo>
                  <a:lnTo>
                    <a:pt x="900" y="1164"/>
                  </a:lnTo>
                  <a:lnTo>
                    <a:pt x="901" y="1166"/>
                  </a:lnTo>
                  <a:lnTo>
                    <a:pt x="903" y="1172"/>
                  </a:lnTo>
                  <a:lnTo>
                    <a:pt x="903" y="1174"/>
                  </a:lnTo>
                  <a:lnTo>
                    <a:pt x="903" y="1174"/>
                  </a:lnTo>
                  <a:lnTo>
                    <a:pt x="901" y="1175"/>
                  </a:lnTo>
                  <a:close/>
                  <a:moveTo>
                    <a:pt x="897" y="1188"/>
                  </a:moveTo>
                  <a:lnTo>
                    <a:pt x="898" y="1188"/>
                  </a:lnTo>
                  <a:lnTo>
                    <a:pt x="898" y="1188"/>
                  </a:lnTo>
                  <a:lnTo>
                    <a:pt x="900" y="1185"/>
                  </a:lnTo>
                  <a:lnTo>
                    <a:pt x="903" y="1181"/>
                  </a:lnTo>
                  <a:lnTo>
                    <a:pt x="903" y="1179"/>
                  </a:lnTo>
                  <a:lnTo>
                    <a:pt x="904" y="1179"/>
                  </a:lnTo>
                  <a:lnTo>
                    <a:pt x="908" y="1183"/>
                  </a:lnTo>
                  <a:lnTo>
                    <a:pt x="910" y="1185"/>
                  </a:lnTo>
                  <a:lnTo>
                    <a:pt x="910" y="1188"/>
                  </a:lnTo>
                  <a:lnTo>
                    <a:pt x="911" y="1189"/>
                  </a:lnTo>
                  <a:lnTo>
                    <a:pt x="914" y="1191"/>
                  </a:lnTo>
                  <a:lnTo>
                    <a:pt x="917" y="1191"/>
                  </a:lnTo>
                  <a:lnTo>
                    <a:pt x="921" y="1192"/>
                  </a:lnTo>
                  <a:lnTo>
                    <a:pt x="921" y="1193"/>
                  </a:lnTo>
                  <a:lnTo>
                    <a:pt x="925" y="1198"/>
                  </a:lnTo>
                  <a:lnTo>
                    <a:pt x="925" y="1199"/>
                  </a:lnTo>
                  <a:lnTo>
                    <a:pt x="928" y="1201"/>
                  </a:lnTo>
                  <a:lnTo>
                    <a:pt x="934" y="1205"/>
                  </a:lnTo>
                  <a:lnTo>
                    <a:pt x="935" y="1206"/>
                  </a:lnTo>
                  <a:lnTo>
                    <a:pt x="940" y="1208"/>
                  </a:lnTo>
                  <a:lnTo>
                    <a:pt x="941" y="1209"/>
                  </a:lnTo>
                  <a:lnTo>
                    <a:pt x="944" y="1211"/>
                  </a:lnTo>
                  <a:lnTo>
                    <a:pt x="945" y="1213"/>
                  </a:lnTo>
                  <a:lnTo>
                    <a:pt x="948" y="1219"/>
                  </a:lnTo>
                  <a:lnTo>
                    <a:pt x="950" y="1226"/>
                  </a:lnTo>
                  <a:lnTo>
                    <a:pt x="950" y="1228"/>
                  </a:lnTo>
                  <a:lnTo>
                    <a:pt x="950" y="1229"/>
                  </a:lnTo>
                  <a:lnTo>
                    <a:pt x="948" y="1231"/>
                  </a:lnTo>
                  <a:lnTo>
                    <a:pt x="945" y="1233"/>
                  </a:lnTo>
                  <a:lnTo>
                    <a:pt x="947" y="1233"/>
                  </a:lnTo>
                  <a:lnTo>
                    <a:pt x="948" y="1233"/>
                  </a:lnTo>
                  <a:lnTo>
                    <a:pt x="955" y="1232"/>
                  </a:lnTo>
                  <a:lnTo>
                    <a:pt x="958" y="1233"/>
                  </a:lnTo>
                  <a:lnTo>
                    <a:pt x="960" y="1233"/>
                  </a:lnTo>
                  <a:lnTo>
                    <a:pt x="960" y="1233"/>
                  </a:lnTo>
                  <a:lnTo>
                    <a:pt x="961" y="1231"/>
                  </a:lnTo>
                  <a:lnTo>
                    <a:pt x="962" y="1231"/>
                  </a:lnTo>
                  <a:lnTo>
                    <a:pt x="965" y="1233"/>
                  </a:lnTo>
                  <a:lnTo>
                    <a:pt x="967" y="1235"/>
                  </a:lnTo>
                  <a:lnTo>
                    <a:pt x="967" y="1236"/>
                  </a:lnTo>
                  <a:lnTo>
                    <a:pt x="967" y="1238"/>
                  </a:lnTo>
                  <a:lnTo>
                    <a:pt x="965" y="1238"/>
                  </a:lnTo>
                  <a:lnTo>
                    <a:pt x="970" y="1239"/>
                  </a:lnTo>
                  <a:lnTo>
                    <a:pt x="972" y="1242"/>
                  </a:lnTo>
                  <a:lnTo>
                    <a:pt x="971" y="1243"/>
                  </a:lnTo>
                  <a:lnTo>
                    <a:pt x="968" y="1246"/>
                  </a:lnTo>
                  <a:lnTo>
                    <a:pt x="965" y="1249"/>
                  </a:lnTo>
                  <a:lnTo>
                    <a:pt x="961" y="1253"/>
                  </a:lnTo>
                  <a:lnTo>
                    <a:pt x="960" y="1253"/>
                  </a:lnTo>
                  <a:lnTo>
                    <a:pt x="960" y="1253"/>
                  </a:lnTo>
                  <a:lnTo>
                    <a:pt x="957" y="1253"/>
                  </a:lnTo>
                  <a:lnTo>
                    <a:pt x="954" y="1251"/>
                  </a:lnTo>
                  <a:lnTo>
                    <a:pt x="945" y="1246"/>
                  </a:lnTo>
                  <a:lnTo>
                    <a:pt x="942" y="1246"/>
                  </a:lnTo>
                  <a:lnTo>
                    <a:pt x="938" y="1245"/>
                  </a:lnTo>
                  <a:lnTo>
                    <a:pt x="938" y="1243"/>
                  </a:lnTo>
                  <a:lnTo>
                    <a:pt x="937" y="1238"/>
                  </a:lnTo>
                  <a:lnTo>
                    <a:pt x="935" y="1236"/>
                  </a:lnTo>
                  <a:lnTo>
                    <a:pt x="930" y="1235"/>
                  </a:lnTo>
                  <a:lnTo>
                    <a:pt x="928" y="1233"/>
                  </a:lnTo>
                  <a:lnTo>
                    <a:pt x="928" y="1232"/>
                  </a:lnTo>
                  <a:lnTo>
                    <a:pt x="928" y="1229"/>
                  </a:lnTo>
                  <a:lnTo>
                    <a:pt x="927" y="1229"/>
                  </a:lnTo>
                  <a:lnTo>
                    <a:pt x="925" y="1229"/>
                  </a:lnTo>
                  <a:lnTo>
                    <a:pt x="924" y="1229"/>
                  </a:lnTo>
                  <a:lnTo>
                    <a:pt x="920" y="1231"/>
                  </a:lnTo>
                  <a:lnTo>
                    <a:pt x="918" y="1232"/>
                  </a:lnTo>
                  <a:lnTo>
                    <a:pt x="918" y="1233"/>
                  </a:lnTo>
                  <a:lnTo>
                    <a:pt x="918" y="1238"/>
                  </a:lnTo>
                  <a:lnTo>
                    <a:pt x="918" y="1239"/>
                  </a:lnTo>
                  <a:lnTo>
                    <a:pt x="917" y="1241"/>
                  </a:lnTo>
                  <a:lnTo>
                    <a:pt x="913" y="1246"/>
                  </a:lnTo>
                  <a:lnTo>
                    <a:pt x="910" y="1248"/>
                  </a:lnTo>
                  <a:lnTo>
                    <a:pt x="908" y="1249"/>
                  </a:lnTo>
                  <a:lnTo>
                    <a:pt x="907" y="1249"/>
                  </a:lnTo>
                  <a:lnTo>
                    <a:pt x="905" y="1252"/>
                  </a:lnTo>
                  <a:lnTo>
                    <a:pt x="904" y="1256"/>
                  </a:lnTo>
                  <a:lnTo>
                    <a:pt x="904" y="1258"/>
                  </a:lnTo>
                  <a:lnTo>
                    <a:pt x="903" y="1259"/>
                  </a:lnTo>
                  <a:lnTo>
                    <a:pt x="900" y="1262"/>
                  </a:lnTo>
                  <a:lnTo>
                    <a:pt x="897" y="1263"/>
                  </a:lnTo>
                  <a:lnTo>
                    <a:pt x="893" y="1265"/>
                  </a:lnTo>
                  <a:lnTo>
                    <a:pt x="890" y="1266"/>
                  </a:lnTo>
                  <a:lnTo>
                    <a:pt x="888" y="1265"/>
                  </a:lnTo>
                  <a:lnTo>
                    <a:pt x="887" y="1261"/>
                  </a:lnTo>
                  <a:lnTo>
                    <a:pt x="885" y="1246"/>
                  </a:lnTo>
                  <a:lnTo>
                    <a:pt x="884" y="1246"/>
                  </a:lnTo>
                  <a:lnTo>
                    <a:pt x="884" y="1245"/>
                  </a:lnTo>
                  <a:lnTo>
                    <a:pt x="884" y="1245"/>
                  </a:lnTo>
                  <a:lnTo>
                    <a:pt x="875" y="1246"/>
                  </a:lnTo>
                  <a:lnTo>
                    <a:pt x="871" y="1246"/>
                  </a:lnTo>
                  <a:lnTo>
                    <a:pt x="867" y="1249"/>
                  </a:lnTo>
                  <a:lnTo>
                    <a:pt x="865" y="1251"/>
                  </a:lnTo>
                  <a:lnTo>
                    <a:pt x="864" y="1251"/>
                  </a:lnTo>
                  <a:lnTo>
                    <a:pt x="861" y="1249"/>
                  </a:lnTo>
                  <a:lnTo>
                    <a:pt x="861" y="1249"/>
                  </a:lnTo>
                  <a:lnTo>
                    <a:pt x="861" y="1248"/>
                  </a:lnTo>
                  <a:lnTo>
                    <a:pt x="861" y="1246"/>
                  </a:lnTo>
                  <a:lnTo>
                    <a:pt x="861" y="1245"/>
                  </a:lnTo>
                  <a:lnTo>
                    <a:pt x="864" y="1241"/>
                  </a:lnTo>
                  <a:lnTo>
                    <a:pt x="865" y="1238"/>
                  </a:lnTo>
                  <a:lnTo>
                    <a:pt x="865" y="1238"/>
                  </a:lnTo>
                  <a:lnTo>
                    <a:pt x="874" y="1232"/>
                  </a:lnTo>
                  <a:lnTo>
                    <a:pt x="875" y="1231"/>
                  </a:lnTo>
                  <a:lnTo>
                    <a:pt x="877" y="1229"/>
                  </a:lnTo>
                  <a:lnTo>
                    <a:pt x="877" y="1228"/>
                  </a:lnTo>
                  <a:lnTo>
                    <a:pt x="875" y="1226"/>
                  </a:lnTo>
                  <a:lnTo>
                    <a:pt x="874" y="1221"/>
                  </a:lnTo>
                  <a:lnTo>
                    <a:pt x="874" y="1216"/>
                  </a:lnTo>
                  <a:lnTo>
                    <a:pt x="874" y="1213"/>
                  </a:lnTo>
                  <a:lnTo>
                    <a:pt x="875" y="1211"/>
                  </a:lnTo>
                  <a:lnTo>
                    <a:pt x="877" y="1201"/>
                  </a:lnTo>
                  <a:lnTo>
                    <a:pt x="877" y="1196"/>
                  </a:lnTo>
                  <a:lnTo>
                    <a:pt x="878" y="1181"/>
                  </a:lnTo>
                  <a:lnTo>
                    <a:pt x="880" y="1176"/>
                  </a:lnTo>
                  <a:lnTo>
                    <a:pt x="880" y="1172"/>
                  </a:lnTo>
                  <a:lnTo>
                    <a:pt x="881" y="1171"/>
                  </a:lnTo>
                  <a:lnTo>
                    <a:pt x="883" y="1165"/>
                  </a:lnTo>
                  <a:lnTo>
                    <a:pt x="885" y="1164"/>
                  </a:lnTo>
                  <a:lnTo>
                    <a:pt x="887" y="1162"/>
                  </a:lnTo>
                  <a:lnTo>
                    <a:pt x="888" y="1162"/>
                  </a:lnTo>
                  <a:lnTo>
                    <a:pt x="888" y="1162"/>
                  </a:lnTo>
                  <a:lnTo>
                    <a:pt x="890" y="1165"/>
                  </a:lnTo>
                  <a:lnTo>
                    <a:pt x="893" y="1166"/>
                  </a:lnTo>
                  <a:lnTo>
                    <a:pt x="894" y="1169"/>
                  </a:lnTo>
                  <a:lnTo>
                    <a:pt x="894" y="1171"/>
                  </a:lnTo>
                  <a:lnTo>
                    <a:pt x="894" y="1174"/>
                  </a:lnTo>
                  <a:lnTo>
                    <a:pt x="894" y="1175"/>
                  </a:lnTo>
                  <a:lnTo>
                    <a:pt x="893" y="1176"/>
                  </a:lnTo>
                  <a:lnTo>
                    <a:pt x="893" y="1178"/>
                  </a:lnTo>
                  <a:lnTo>
                    <a:pt x="893" y="1178"/>
                  </a:lnTo>
                  <a:lnTo>
                    <a:pt x="895" y="1181"/>
                  </a:lnTo>
                  <a:lnTo>
                    <a:pt x="897" y="1188"/>
                  </a:lnTo>
                  <a:close/>
                  <a:moveTo>
                    <a:pt x="1014" y="1235"/>
                  </a:moveTo>
                  <a:lnTo>
                    <a:pt x="1012" y="1236"/>
                  </a:lnTo>
                  <a:lnTo>
                    <a:pt x="1010" y="1236"/>
                  </a:lnTo>
                  <a:lnTo>
                    <a:pt x="1010" y="1235"/>
                  </a:lnTo>
                  <a:lnTo>
                    <a:pt x="1010" y="1235"/>
                  </a:lnTo>
                  <a:lnTo>
                    <a:pt x="1010" y="1233"/>
                  </a:lnTo>
                  <a:lnTo>
                    <a:pt x="1012" y="1233"/>
                  </a:lnTo>
                  <a:lnTo>
                    <a:pt x="1014" y="1233"/>
                  </a:lnTo>
                  <a:lnTo>
                    <a:pt x="1015" y="1233"/>
                  </a:lnTo>
                  <a:lnTo>
                    <a:pt x="1015" y="1233"/>
                  </a:lnTo>
                  <a:lnTo>
                    <a:pt x="1014" y="1235"/>
                  </a:lnTo>
                  <a:close/>
                  <a:moveTo>
                    <a:pt x="1029" y="1256"/>
                  </a:moveTo>
                  <a:lnTo>
                    <a:pt x="1028" y="1256"/>
                  </a:lnTo>
                  <a:lnTo>
                    <a:pt x="1025" y="1256"/>
                  </a:lnTo>
                  <a:lnTo>
                    <a:pt x="1024" y="1255"/>
                  </a:lnTo>
                  <a:lnTo>
                    <a:pt x="1018" y="1249"/>
                  </a:lnTo>
                  <a:lnTo>
                    <a:pt x="1022" y="1246"/>
                  </a:lnTo>
                  <a:lnTo>
                    <a:pt x="1028" y="1251"/>
                  </a:lnTo>
                  <a:lnTo>
                    <a:pt x="1029" y="1252"/>
                  </a:lnTo>
                  <a:lnTo>
                    <a:pt x="1029" y="1256"/>
                  </a:lnTo>
                  <a:close/>
                  <a:moveTo>
                    <a:pt x="1011" y="1253"/>
                  </a:moveTo>
                  <a:lnTo>
                    <a:pt x="1012" y="1255"/>
                  </a:lnTo>
                  <a:lnTo>
                    <a:pt x="1014" y="1255"/>
                  </a:lnTo>
                  <a:lnTo>
                    <a:pt x="1014" y="1256"/>
                  </a:lnTo>
                  <a:lnTo>
                    <a:pt x="1015" y="1261"/>
                  </a:lnTo>
                  <a:lnTo>
                    <a:pt x="1015" y="1261"/>
                  </a:lnTo>
                  <a:lnTo>
                    <a:pt x="1015" y="1262"/>
                  </a:lnTo>
                  <a:lnTo>
                    <a:pt x="1015" y="1263"/>
                  </a:lnTo>
                  <a:lnTo>
                    <a:pt x="1014" y="1265"/>
                  </a:lnTo>
                  <a:lnTo>
                    <a:pt x="1012" y="1266"/>
                  </a:lnTo>
                  <a:lnTo>
                    <a:pt x="1010" y="1266"/>
                  </a:lnTo>
                  <a:lnTo>
                    <a:pt x="1008" y="1265"/>
                  </a:lnTo>
                  <a:lnTo>
                    <a:pt x="1004" y="1262"/>
                  </a:lnTo>
                  <a:lnTo>
                    <a:pt x="1001" y="1258"/>
                  </a:lnTo>
                  <a:lnTo>
                    <a:pt x="1000" y="1255"/>
                  </a:lnTo>
                  <a:lnTo>
                    <a:pt x="1000" y="1255"/>
                  </a:lnTo>
                  <a:lnTo>
                    <a:pt x="1001" y="1253"/>
                  </a:lnTo>
                  <a:lnTo>
                    <a:pt x="1005" y="1253"/>
                  </a:lnTo>
                  <a:lnTo>
                    <a:pt x="1010" y="1253"/>
                  </a:lnTo>
                  <a:lnTo>
                    <a:pt x="1011" y="1253"/>
                  </a:lnTo>
                  <a:close/>
                  <a:moveTo>
                    <a:pt x="944" y="1272"/>
                  </a:moveTo>
                  <a:lnTo>
                    <a:pt x="945" y="1273"/>
                  </a:lnTo>
                  <a:lnTo>
                    <a:pt x="945" y="1275"/>
                  </a:lnTo>
                  <a:lnTo>
                    <a:pt x="945" y="1276"/>
                  </a:lnTo>
                  <a:lnTo>
                    <a:pt x="944" y="1278"/>
                  </a:lnTo>
                  <a:lnTo>
                    <a:pt x="944" y="1279"/>
                  </a:lnTo>
                  <a:lnTo>
                    <a:pt x="942" y="1282"/>
                  </a:lnTo>
                  <a:lnTo>
                    <a:pt x="938" y="1288"/>
                  </a:lnTo>
                  <a:lnTo>
                    <a:pt x="937" y="1289"/>
                  </a:lnTo>
                  <a:lnTo>
                    <a:pt x="935" y="1291"/>
                  </a:lnTo>
                  <a:lnTo>
                    <a:pt x="928" y="1298"/>
                  </a:lnTo>
                  <a:lnTo>
                    <a:pt x="927" y="1298"/>
                  </a:lnTo>
                  <a:lnTo>
                    <a:pt x="927" y="1298"/>
                  </a:lnTo>
                  <a:lnTo>
                    <a:pt x="924" y="1298"/>
                  </a:lnTo>
                  <a:lnTo>
                    <a:pt x="923" y="1296"/>
                  </a:lnTo>
                  <a:lnTo>
                    <a:pt x="917" y="1299"/>
                  </a:lnTo>
                  <a:lnTo>
                    <a:pt x="917" y="1299"/>
                  </a:lnTo>
                  <a:lnTo>
                    <a:pt x="917" y="1296"/>
                  </a:lnTo>
                  <a:lnTo>
                    <a:pt x="917" y="1295"/>
                  </a:lnTo>
                  <a:lnTo>
                    <a:pt x="914" y="1291"/>
                  </a:lnTo>
                  <a:lnTo>
                    <a:pt x="914" y="1291"/>
                  </a:lnTo>
                  <a:lnTo>
                    <a:pt x="914" y="1289"/>
                  </a:lnTo>
                  <a:lnTo>
                    <a:pt x="914" y="1289"/>
                  </a:lnTo>
                  <a:lnTo>
                    <a:pt x="917" y="1285"/>
                  </a:lnTo>
                  <a:lnTo>
                    <a:pt x="923" y="1273"/>
                  </a:lnTo>
                  <a:lnTo>
                    <a:pt x="924" y="1273"/>
                  </a:lnTo>
                  <a:lnTo>
                    <a:pt x="927" y="1275"/>
                  </a:lnTo>
                  <a:lnTo>
                    <a:pt x="928" y="1275"/>
                  </a:lnTo>
                  <a:lnTo>
                    <a:pt x="928" y="1275"/>
                  </a:lnTo>
                  <a:lnTo>
                    <a:pt x="932" y="1272"/>
                  </a:lnTo>
                  <a:lnTo>
                    <a:pt x="937" y="1272"/>
                  </a:lnTo>
                  <a:lnTo>
                    <a:pt x="941" y="1271"/>
                  </a:lnTo>
                  <a:lnTo>
                    <a:pt x="942" y="1271"/>
                  </a:lnTo>
                  <a:lnTo>
                    <a:pt x="944" y="1272"/>
                  </a:lnTo>
                  <a:lnTo>
                    <a:pt x="944" y="1272"/>
                  </a:lnTo>
                  <a:close/>
                  <a:moveTo>
                    <a:pt x="1131" y="1286"/>
                  </a:moveTo>
                  <a:lnTo>
                    <a:pt x="1129" y="1286"/>
                  </a:lnTo>
                  <a:lnTo>
                    <a:pt x="1128" y="1286"/>
                  </a:lnTo>
                  <a:lnTo>
                    <a:pt x="1125" y="1285"/>
                  </a:lnTo>
                  <a:lnTo>
                    <a:pt x="1124" y="1285"/>
                  </a:lnTo>
                  <a:lnTo>
                    <a:pt x="1124" y="1282"/>
                  </a:lnTo>
                  <a:lnTo>
                    <a:pt x="1122" y="1281"/>
                  </a:lnTo>
                  <a:lnTo>
                    <a:pt x="1121" y="1278"/>
                  </a:lnTo>
                  <a:lnTo>
                    <a:pt x="1118" y="1276"/>
                  </a:lnTo>
                  <a:lnTo>
                    <a:pt x="1117" y="1275"/>
                  </a:lnTo>
                  <a:lnTo>
                    <a:pt x="1118" y="1275"/>
                  </a:lnTo>
                  <a:lnTo>
                    <a:pt x="1121" y="1275"/>
                  </a:lnTo>
                  <a:lnTo>
                    <a:pt x="1124" y="1276"/>
                  </a:lnTo>
                  <a:lnTo>
                    <a:pt x="1125" y="1278"/>
                  </a:lnTo>
                  <a:lnTo>
                    <a:pt x="1129" y="1279"/>
                  </a:lnTo>
                  <a:lnTo>
                    <a:pt x="1131" y="1282"/>
                  </a:lnTo>
                  <a:lnTo>
                    <a:pt x="1132" y="1283"/>
                  </a:lnTo>
                  <a:lnTo>
                    <a:pt x="1132" y="1285"/>
                  </a:lnTo>
                  <a:lnTo>
                    <a:pt x="1132" y="1286"/>
                  </a:lnTo>
                  <a:lnTo>
                    <a:pt x="1131" y="1286"/>
                  </a:lnTo>
                  <a:close/>
                  <a:moveTo>
                    <a:pt x="1072" y="1283"/>
                  </a:moveTo>
                  <a:lnTo>
                    <a:pt x="1071" y="1283"/>
                  </a:lnTo>
                  <a:lnTo>
                    <a:pt x="1068" y="1283"/>
                  </a:lnTo>
                  <a:lnTo>
                    <a:pt x="1064" y="1282"/>
                  </a:lnTo>
                  <a:lnTo>
                    <a:pt x="1062" y="1281"/>
                  </a:lnTo>
                  <a:lnTo>
                    <a:pt x="1062" y="1281"/>
                  </a:lnTo>
                  <a:lnTo>
                    <a:pt x="1064" y="1279"/>
                  </a:lnTo>
                  <a:lnTo>
                    <a:pt x="1064" y="1281"/>
                  </a:lnTo>
                  <a:lnTo>
                    <a:pt x="1067" y="1281"/>
                  </a:lnTo>
                  <a:lnTo>
                    <a:pt x="1071" y="1282"/>
                  </a:lnTo>
                  <a:lnTo>
                    <a:pt x="1072" y="1282"/>
                  </a:lnTo>
                  <a:lnTo>
                    <a:pt x="1072" y="1283"/>
                  </a:lnTo>
                  <a:lnTo>
                    <a:pt x="1072" y="1283"/>
                  </a:lnTo>
                  <a:close/>
                  <a:moveTo>
                    <a:pt x="1219" y="1286"/>
                  </a:moveTo>
                  <a:lnTo>
                    <a:pt x="1222" y="1286"/>
                  </a:lnTo>
                  <a:lnTo>
                    <a:pt x="1225" y="1286"/>
                  </a:lnTo>
                  <a:lnTo>
                    <a:pt x="1225" y="1286"/>
                  </a:lnTo>
                  <a:lnTo>
                    <a:pt x="1226" y="1288"/>
                  </a:lnTo>
                  <a:lnTo>
                    <a:pt x="1225" y="1291"/>
                  </a:lnTo>
                  <a:lnTo>
                    <a:pt x="1223" y="1292"/>
                  </a:lnTo>
                  <a:lnTo>
                    <a:pt x="1222" y="1292"/>
                  </a:lnTo>
                  <a:lnTo>
                    <a:pt x="1219" y="1291"/>
                  </a:lnTo>
                  <a:lnTo>
                    <a:pt x="1218" y="1291"/>
                  </a:lnTo>
                  <a:lnTo>
                    <a:pt x="1218" y="1289"/>
                  </a:lnTo>
                  <a:lnTo>
                    <a:pt x="1218" y="1288"/>
                  </a:lnTo>
                  <a:lnTo>
                    <a:pt x="1219" y="1288"/>
                  </a:lnTo>
                  <a:lnTo>
                    <a:pt x="1219" y="1288"/>
                  </a:lnTo>
                  <a:lnTo>
                    <a:pt x="1219" y="1286"/>
                  </a:lnTo>
                  <a:lnTo>
                    <a:pt x="1219" y="1286"/>
                  </a:lnTo>
                  <a:lnTo>
                    <a:pt x="1219" y="1286"/>
                  </a:lnTo>
                  <a:close/>
                  <a:moveTo>
                    <a:pt x="984" y="1291"/>
                  </a:moveTo>
                  <a:lnTo>
                    <a:pt x="985" y="1292"/>
                  </a:lnTo>
                  <a:lnTo>
                    <a:pt x="987" y="1295"/>
                  </a:lnTo>
                  <a:lnTo>
                    <a:pt x="988" y="1296"/>
                  </a:lnTo>
                  <a:lnTo>
                    <a:pt x="988" y="1299"/>
                  </a:lnTo>
                  <a:lnTo>
                    <a:pt x="988" y="1302"/>
                  </a:lnTo>
                  <a:lnTo>
                    <a:pt x="987" y="1303"/>
                  </a:lnTo>
                  <a:lnTo>
                    <a:pt x="987" y="1306"/>
                  </a:lnTo>
                  <a:lnTo>
                    <a:pt x="985" y="1309"/>
                  </a:lnTo>
                  <a:lnTo>
                    <a:pt x="984" y="1312"/>
                  </a:lnTo>
                  <a:lnTo>
                    <a:pt x="982" y="1315"/>
                  </a:lnTo>
                  <a:lnTo>
                    <a:pt x="981" y="1318"/>
                  </a:lnTo>
                  <a:lnTo>
                    <a:pt x="981" y="1318"/>
                  </a:lnTo>
                  <a:lnTo>
                    <a:pt x="980" y="1319"/>
                  </a:lnTo>
                  <a:lnTo>
                    <a:pt x="980" y="1319"/>
                  </a:lnTo>
                  <a:lnTo>
                    <a:pt x="978" y="1318"/>
                  </a:lnTo>
                  <a:lnTo>
                    <a:pt x="977" y="1315"/>
                  </a:lnTo>
                  <a:lnTo>
                    <a:pt x="975" y="1313"/>
                  </a:lnTo>
                  <a:lnTo>
                    <a:pt x="972" y="1312"/>
                  </a:lnTo>
                  <a:lnTo>
                    <a:pt x="972" y="1311"/>
                  </a:lnTo>
                  <a:lnTo>
                    <a:pt x="972" y="1309"/>
                  </a:lnTo>
                  <a:lnTo>
                    <a:pt x="972" y="1305"/>
                  </a:lnTo>
                  <a:lnTo>
                    <a:pt x="972" y="1303"/>
                  </a:lnTo>
                  <a:lnTo>
                    <a:pt x="972" y="1301"/>
                  </a:lnTo>
                  <a:lnTo>
                    <a:pt x="972" y="1299"/>
                  </a:lnTo>
                  <a:lnTo>
                    <a:pt x="974" y="1298"/>
                  </a:lnTo>
                  <a:lnTo>
                    <a:pt x="975" y="1293"/>
                  </a:lnTo>
                  <a:lnTo>
                    <a:pt x="978" y="1292"/>
                  </a:lnTo>
                  <a:lnTo>
                    <a:pt x="978" y="1291"/>
                  </a:lnTo>
                  <a:lnTo>
                    <a:pt x="981" y="1292"/>
                  </a:lnTo>
                  <a:lnTo>
                    <a:pt x="982" y="1292"/>
                  </a:lnTo>
                  <a:lnTo>
                    <a:pt x="982" y="1291"/>
                  </a:lnTo>
                  <a:lnTo>
                    <a:pt x="984" y="1291"/>
                  </a:lnTo>
                  <a:close/>
                  <a:moveTo>
                    <a:pt x="1216" y="1309"/>
                  </a:moveTo>
                  <a:lnTo>
                    <a:pt x="1216" y="1309"/>
                  </a:lnTo>
                  <a:lnTo>
                    <a:pt x="1216" y="1309"/>
                  </a:lnTo>
                  <a:lnTo>
                    <a:pt x="1218" y="1309"/>
                  </a:lnTo>
                  <a:lnTo>
                    <a:pt x="1218" y="1311"/>
                  </a:lnTo>
                  <a:lnTo>
                    <a:pt x="1218" y="1311"/>
                  </a:lnTo>
                  <a:lnTo>
                    <a:pt x="1219" y="1312"/>
                  </a:lnTo>
                  <a:lnTo>
                    <a:pt x="1219" y="1312"/>
                  </a:lnTo>
                  <a:lnTo>
                    <a:pt x="1219" y="1313"/>
                  </a:lnTo>
                  <a:lnTo>
                    <a:pt x="1218" y="1313"/>
                  </a:lnTo>
                  <a:lnTo>
                    <a:pt x="1218" y="1313"/>
                  </a:lnTo>
                  <a:lnTo>
                    <a:pt x="1213" y="1312"/>
                  </a:lnTo>
                  <a:lnTo>
                    <a:pt x="1213" y="1309"/>
                  </a:lnTo>
                  <a:lnTo>
                    <a:pt x="1212" y="1309"/>
                  </a:lnTo>
                  <a:lnTo>
                    <a:pt x="1213" y="1308"/>
                  </a:lnTo>
                  <a:lnTo>
                    <a:pt x="1213" y="1306"/>
                  </a:lnTo>
                  <a:lnTo>
                    <a:pt x="1215" y="1306"/>
                  </a:lnTo>
                  <a:lnTo>
                    <a:pt x="1215" y="1308"/>
                  </a:lnTo>
                  <a:lnTo>
                    <a:pt x="1216" y="1309"/>
                  </a:lnTo>
                  <a:close/>
                  <a:moveTo>
                    <a:pt x="767" y="1311"/>
                  </a:moveTo>
                  <a:lnTo>
                    <a:pt x="767" y="1311"/>
                  </a:lnTo>
                  <a:lnTo>
                    <a:pt x="766" y="1309"/>
                  </a:lnTo>
                  <a:lnTo>
                    <a:pt x="766" y="1308"/>
                  </a:lnTo>
                  <a:lnTo>
                    <a:pt x="767" y="1308"/>
                  </a:lnTo>
                  <a:lnTo>
                    <a:pt x="768" y="1309"/>
                  </a:lnTo>
                  <a:lnTo>
                    <a:pt x="768" y="1309"/>
                  </a:lnTo>
                  <a:lnTo>
                    <a:pt x="767" y="1311"/>
                  </a:lnTo>
                  <a:close/>
                  <a:moveTo>
                    <a:pt x="1219" y="1326"/>
                  </a:moveTo>
                  <a:lnTo>
                    <a:pt x="1219" y="1326"/>
                  </a:lnTo>
                  <a:lnTo>
                    <a:pt x="1218" y="1326"/>
                  </a:lnTo>
                  <a:lnTo>
                    <a:pt x="1218" y="1325"/>
                  </a:lnTo>
                  <a:lnTo>
                    <a:pt x="1216" y="1325"/>
                  </a:lnTo>
                  <a:lnTo>
                    <a:pt x="1215" y="1323"/>
                  </a:lnTo>
                  <a:lnTo>
                    <a:pt x="1211" y="1319"/>
                  </a:lnTo>
                  <a:lnTo>
                    <a:pt x="1209" y="1318"/>
                  </a:lnTo>
                  <a:lnTo>
                    <a:pt x="1209" y="1316"/>
                  </a:lnTo>
                  <a:lnTo>
                    <a:pt x="1211" y="1316"/>
                  </a:lnTo>
                  <a:lnTo>
                    <a:pt x="1215" y="1316"/>
                  </a:lnTo>
                  <a:lnTo>
                    <a:pt x="1218" y="1316"/>
                  </a:lnTo>
                  <a:lnTo>
                    <a:pt x="1219" y="1316"/>
                  </a:lnTo>
                  <a:lnTo>
                    <a:pt x="1221" y="1318"/>
                  </a:lnTo>
                  <a:lnTo>
                    <a:pt x="1222" y="1319"/>
                  </a:lnTo>
                  <a:lnTo>
                    <a:pt x="1222" y="1321"/>
                  </a:lnTo>
                  <a:lnTo>
                    <a:pt x="1222" y="1323"/>
                  </a:lnTo>
                  <a:lnTo>
                    <a:pt x="1221" y="1323"/>
                  </a:lnTo>
                  <a:lnTo>
                    <a:pt x="1219" y="1325"/>
                  </a:lnTo>
                  <a:lnTo>
                    <a:pt x="1219" y="1326"/>
                  </a:lnTo>
                  <a:close/>
                  <a:moveTo>
                    <a:pt x="1000" y="1348"/>
                  </a:moveTo>
                  <a:lnTo>
                    <a:pt x="998" y="1348"/>
                  </a:lnTo>
                  <a:lnTo>
                    <a:pt x="998" y="1348"/>
                  </a:lnTo>
                  <a:lnTo>
                    <a:pt x="998" y="1346"/>
                  </a:lnTo>
                  <a:lnTo>
                    <a:pt x="1002" y="1345"/>
                  </a:lnTo>
                  <a:lnTo>
                    <a:pt x="1004" y="1345"/>
                  </a:lnTo>
                  <a:lnTo>
                    <a:pt x="1004" y="1346"/>
                  </a:lnTo>
                  <a:lnTo>
                    <a:pt x="1002" y="1346"/>
                  </a:lnTo>
                  <a:lnTo>
                    <a:pt x="1000" y="1348"/>
                  </a:lnTo>
                  <a:close/>
                  <a:moveTo>
                    <a:pt x="1165" y="1363"/>
                  </a:moveTo>
                  <a:lnTo>
                    <a:pt x="1164" y="1363"/>
                  </a:lnTo>
                  <a:lnTo>
                    <a:pt x="1162" y="1363"/>
                  </a:lnTo>
                  <a:lnTo>
                    <a:pt x="1162" y="1361"/>
                  </a:lnTo>
                  <a:lnTo>
                    <a:pt x="1164" y="1359"/>
                  </a:lnTo>
                  <a:lnTo>
                    <a:pt x="1165" y="1356"/>
                  </a:lnTo>
                  <a:lnTo>
                    <a:pt x="1166" y="1353"/>
                  </a:lnTo>
                  <a:lnTo>
                    <a:pt x="1166" y="1352"/>
                  </a:lnTo>
                  <a:lnTo>
                    <a:pt x="1169" y="1352"/>
                  </a:lnTo>
                  <a:lnTo>
                    <a:pt x="1169" y="1353"/>
                  </a:lnTo>
                  <a:lnTo>
                    <a:pt x="1171" y="1355"/>
                  </a:lnTo>
                  <a:lnTo>
                    <a:pt x="1171" y="1356"/>
                  </a:lnTo>
                  <a:lnTo>
                    <a:pt x="1171" y="1359"/>
                  </a:lnTo>
                  <a:lnTo>
                    <a:pt x="1169" y="1361"/>
                  </a:lnTo>
                  <a:lnTo>
                    <a:pt x="1168" y="1361"/>
                  </a:lnTo>
                  <a:lnTo>
                    <a:pt x="1165" y="1363"/>
                  </a:lnTo>
                  <a:close/>
                  <a:moveTo>
                    <a:pt x="1226" y="1359"/>
                  </a:moveTo>
                  <a:lnTo>
                    <a:pt x="1225" y="1362"/>
                  </a:lnTo>
                  <a:lnTo>
                    <a:pt x="1223" y="1361"/>
                  </a:lnTo>
                  <a:lnTo>
                    <a:pt x="1221" y="1359"/>
                  </a:lnTo>
                  <a:lnTo>
                    <a:pt x="1219" y="1358"/>
                  </a:lnTo>
                  <a:lnTo>
                    <a:pt x="1219" y="1356"/>
                  </a:lnTo>
                  <a:lnTo>
                    <a:pt x="1219" y="1355"/>
                  </a:lnTo>
                  <a:lnTo>
                    <a:pt x="1221" y="1355"/>
                  </a:lnTo>
                  <a:lnTo>
                    <a:pt x="1222" y="1355"/>
                  </a:lnTo>
                  <a:lnTo>
                    <a:pt x="1223" y="1356"/>
                  </a:lnTo>
                  <a:lnTo>
                    <a:pt x="1225" y="1358"/>
                  </a:lnTo>
                  <a:lnTo>
                    <a:pt x="1226" y="1359"/>
                  </a:lnTo>
                  <a:close/>
                  <a:moveTo>
                    <a:pt x="975" y="1378"/>
                  </a:moveTo>
                  <a:lnTo>
                    <a:pt x="974" y="1379"/>
                  </a:lnTo>
                  <a:lnTo>
                    <a:pt x="974" y="1376"/>
                  </a:lnTo>
                  <a:lnTo>
                    <a:pt x="975" y="1376"/>
                  </a:lnTo>
                  <a:lnTo>
                    <a:pt x="975" y="1375"/>
                  </a:lnTo>
                  <a:lnTo>
                    <a:pt x="977" y="1375"/>
                  </a:lnTo>
                  <a:lnTo>
                    <a:pt x="978" y="1376"/>
                  </a:lnTo>
                  <a:lnTo>
                    <a:pt x="977" y="1378"/>
                  </a:lnTo>
                  <a:lnTo>
                    <a:pt x="975" y="1378"/>
                  </a:lnTo>
                  <a:close/>
                  <a:moveTo>
                    <a:pt x="972" y="1383"/>
                  </a:moveTo>
                  <a:lnTo>
                    <a:pt x="971" y="1383"/>
                  </a:lnTo>
                  <a:lnTo>
                    <a:pt x="971" y="1383"/>
                  </a:lnTo>
                  <a:lnTo>
                    <a:pt x="971" y="1382"/>
                  </a:lnTo>
                  <a:lnTo>
                    <a:pt x="972" y="1382"/>
                  </a:lnTo>
                  <a:lnTo>
                    <a:pt x="972" y="1379"/>
                  </a:lnTo>
                  <a:lnTo>
                    <a:pt x="974" y="1381"/>
                  </a:lnTo>
                  <a:lnTo>
                    <a:pt x="974" y="1381"/>
                  </a:lnTo>
                  <a:lnTo>
                    <a:pt x="972" y="1382"/>
                  </a:lnTo>
                  <a:lnTo>
                    <a:pt x="972" y="1383"/>
                  </a:lnTo>
                  <a:close/>
                  <a:moveTo>
                    <a:pt x="1149" y="1402"/>
                  </a:moveTo>
                  <a:lnTo>
                    <a:pt x="1149" y="1403"/>
                  </a:lnTo>
                  <a:lnTo>
                    <a:pt x="1148" y="1403"/>
                  </a:lnTo>
                  <a:lnTo>
                    <a:pt x="1146" y="1403"/>
                  </a:lnTo>
                  <a:lnTo>
                    <a:pt x="1146" y="1403"/>
                  </a:lnTo>
                  <a:lnTo>
                    <a:pt x="1148" y="1402"/>
                  </a:lnTo>
                  <a:lnTo>
                    <a:pt x="1148" y="1400"/>
                  </a:lnTo>
                  <a:lnTo>
                    <a:pt x="1148" y="1399"/>
                  </a:lnTo>
                  <a:lnTo>
                    <a:pt x="1148" y="1398"/>
                  </a:lnTo>
                  <a:lnTo>
                    <a:pt x="1149" y="1398"/>
                  </a:lnTo>
                  <a:lnTo>
                    <a:pt x="1149" y="1399"/>
                  </a:lnTo>
                  <a:lnTo>
                    <a:pt x="1149" y="1400"/>
                  </a:lnTo>
                  <a:lnTo>
                    <a:pt x="1149" y="1400"/>
                  </a:lnTo>
                  <a:lnTo>
                    <a:pt x="1149" y="1402"/>
                  </a:lnTo>
                  <a:close/>
                  <a:moveTo>
                    <a:pt x="981" y="1448"/>
                  </a:moveTo>
                  <a:lnTo>
                    <a:pt x="981" y="1448"/>
                  </a:lnTo>
                  <a:lnTo>
                    <a:pt x="980" y="1448"/>
                  </a:lnTo>
                  <a:lnTo>
                    <a:pt x="980" y="1449"/>
                  </a:lnTo>
                  <a:lnTo>
                    <a:pt x="980" y="1450"/>
                  </a:lnTo>
                  <a:lnTo>
                    <a:pt x="980" y="1449"/>
                  </a:lnTo>
                  <a:lnTo>
                    <a:pt x="980" y="1448"/>
                  </a:lnTo>
                  <a:lnTo>
                    <a:pt x="980" y="1448"/>
                  </a:lnTo>
                  <a:lnTo>
                    <a:pt x="980" y="1446"/>
                  </a:lnTo>
                  <a:lnTo>
                    <a:pt x="980" y="1445"/>
                  </a:lnTo>
                  <a:lnTo>
                    <a:pt x="981" y="1445"/>
                  </a:lnTo>
                  <a:lnTo>
                    <a:pt x="981" y="1445"/>
                  </a:lnTo>
                  <a:lnTo>
                    <a:pt x="981" y="1446"/>
                  </a:lnTo>
                  <a:lnTo>
                    <a:pt x="981" y="1448"/>
                  </a:lnTo>
                  <a:close/>
                  <a:moveTo>
                    <a:pt x="1269" y="1446"/>
                  </a:moveTo>
                  <a:lnTo>
                    <a:pt x="1271" y="1448"/>
                  </a:lnTo>
                  <a:lnTo>
                    <a:pt x="1271" y="1450"/>
                  </a:lnTo>
                  <a:lnTo>
                    <a:pt x="1268" y="1450"/>
                  </a:lnTo>
                  <a:lnTo>
                    <a:pt x="1265" y="1448"/>
                  </a:lnTo>
                  <a:lnTo>
                    <a:pt x="1265" y="1446"/>
                  </a:lnTo>
                  <a:lnTo>
                    <a:pt x="1265" y="1446"/>
                  </a:lnTo>
                  <a:lnTo>
                    <a:pt x="1265" y="1446"/>
                  </a:lnTo>
                  <a:lnTo>
                    <a:pt x="1265" y="1446"/>
                  </a:lnTo>
                  <a:lnTo>
                    <a:pt x="1266" y="1446"/>
                  </a:lnTo>
                  <a:lnTo>
                    <a:pt x="1266" y="1446"/>
                  </a:lnTo>
                  <a:lnTo>
                    <a:pt x="1269" y="1446"/>
                  </a:lnTo>
                  <a:close/>
                  <a:moveTo>
                    <a:pt x="978" y="1469"/>
                  </a:moveTo>
                  <a:lnTo>
                    <a:pt x="978" y="1470"/>
                  </a:lnTo>
                  <a:lnTo>
                    <a:pt x="977" y="1469"/>
                  </a:lnTo>
                  <a:lnTo>
                    <a:pt x="977" y="1468"/>
                  </a:lnTo>
                  <a:lnTo>
                    <a:pt x="978" y="1466"/>
                  </a:lnTo>
                  <a:lnTo>
                    <a:pt x="978" y="1468"/>
                  </a:lnTo>
                  <a:lnTo>
                    <a:pt x="980" y="1468"/>
                  </a:lnTo>
                  <a:lnTo>
                    <a:pt x="980" y="1469"/>
                  </a:lnTo>
                  <a:lnTo>
                    <a:pt x="978" y="1469"/>
                  </a:lnTo>
                  <a:close/>
                  <a:moveTo>
                    <a:pt x="984" y="1473"/>
                  </a:moveTo>
                  <a:lnTo>
                    <a:pt x="984" y="1473"/>
                  </a:lnTo>
                  <a:lnTo>
                    <a:pt x="982" y="1473"/>
                  </a:lnTo>
                  <a:lnTo>
                    <a:pt x="984" y="1470"/>
                  </a:lnTo>
                  <a:lnTo>
                    <a:pt x="982" y="1470"/>
                  </a:lnTo>
                  <a:lnTo>
                    <a:pt x="982" y="1469"/>
                  </a:lnTo>
                  <a:lnTo>
                    <a:pt x="984" y="1469"/>
                  </a:lnTo>
                  <a:lnTo>
                    <a:pt x="984" y="1469"/>
                  </a:lnTo>
                  <a:lnTo>
                    <a:pt x="984" y="1469"/>
                  </a:lnTo>
                  <a:lnTo>
                    <a:pt x="984" y="1470"/>
                  </a:lnTo>
                  <a:lnTo>
                    <a:pt x="985" y="1472"/>
                  </a:lnTo>
                  <a:lnTo>
                    <a:pt x="985" y="1472"/>
                  </a:lnTo>
                  <a:lnTo>
                    <a:pt x="984" y="1473"/>
                  </a:lnTo>
                  <a:lnTo>
                    <a:pt x="984" y="1473"/>
                  </a:lnTo>
                  <a:close/>
                  <a:moveTo>
                    <a:pt x="994" y="1485"/>
                  </a:moveTo>
                  <a:lnTo>
                    <a:pt x="992" y="1488"/>
                  </a:lnTo>
                  <a:lnTo>
                    <a:pt x="991" y="1490"/>
                  </a:lnTo>
                  <a:lnTo>
                    <a:pt x="990" y="1495"/>
                  </a:lnTo>
                  <a:lnTo>
                    <a:pt x="988" y="1495"/>
                  </a:lnTo>
                  <a:lnTo>
                    <a:pt x="988" y="1495"/>
                  </a:lnTo>
                  <a:lnTo>
                    <a:pt x="990" y="1488"/>
                  </a:lnTo>
                  <a:lnTo>
                    <a:pt x="990" y="1488"/>
                  </a:lnTo>
                  <a:lnTo>
                    <a:pt x="990" y="1486"/>
                  </a:lnTo>
                  <a:lnTo>
                    <a:pt x="990" y="1486"/>
                  </a:lnTo>
                  <a:lnTo>
                    <a:pt x="988" y="1486"/>
                  </a:lnTo>
                  <a:lnTo>
                    <a:pt x="985" y="1493"/>
                  </a:lnTo>
                  <a:lnTo>
                    <a:pt x="985" y="1495"/>
                  </a:lnTo>
                  <a:lnTo>
                    <a:pt x="984" y="1496"/>
                  </a:lnTo>
                  <a:lnTo>
                    <a:pt x="984" y="1496"/>
                  </a:lnTo>
                  <a:lnTo>
                    <a:pt x="982" y="1496"/>
                  </a:lnTo>
                  <a:lnTo>
                    <a:pt x="980" y="1498"/>
                  </a:lnTo>
                  <a:lnTo>
                    <a:pt x="984" y="1489"/>
                  </a:lnTo>
                  <a:lnTo>
                    <a:pt x="984" y="1489"/>
                  </a:lnTo>
                  <a:lnTo>
                    <a:pt x="984" y="1488"/>
                  </a:lnTo>
                  <a:lnTo>
                    <a:pt x="984" y="1489"/>
                  </a:lnTo>
                  <a:lnTo>
                    <a:pt x="980" y="1493"/>
                  </a:lnTo>
                  <a:lnTo>
                    <a:pt x="978" y="1496"/>
                  </a:lnTo>
                  <a:lnTo>
                    <a:pt x="977" y="1495"/>
                  </a:lnTo>
                  <a:lnTo>
                    <a:pt x="977" y="1495"/>
                  </a:lnTo>
                  <a:lnTo>
                    <a:pt x="977" y="1493"/>
                  </a:lnTo>
                  <a:lnTo>
                    <a:pt x="980" y="1489"/>
                  </a:lnTo>
                  <a:lnTo>
                    <a:pt x="982" y="1485"/>
                  </a:lnTo>
                  <a:lnTo>
                    <a:pt x="984" y="1482"/>
                  </a:lnTo>
                  <a:lnTo>
                    <a:pt x="985" y="1480"/>
                  </a:lnTo>
                  <a:lnTo>
                    <a:pt x="985" y="1479"/>
                  </a:lnTo>
                  <a:lnTo>
                    <a:pt x="985" y="1476"/>
                  </a:lnTo>
                  <a:lnTo>
                    <a:pt x="985" y="1476"/>
                  </a:lnTo>
                  <a:lnTo>
                    <a:pt x="985" y="1476"/>
                  </a:lnTo>
                  <a:lnTo>
                    <a:pt x="985" y="1478"/>
                  </a:lnTo>
                  <a:lnTo>
                    <a:pt x="985" y="1479"/>
                  </a:lnTo>
                  <a:lnTo>
                    <a:pt x="985" y="1483"/>
                  </a:lnTo>
                  <a:lnTo>
                    <a:pt x="984" y="1485"/>
                  </a:lnTo>
                  <a:lnTo>
                    <a:pt x="984" y="1486"/>
                  </a:lnTo>
                  <a:lnTo>
                    <a:pt x="984" y="1486"/>
                  </a:lnTo>
                  <a:lnTo>
                    <a:pt x="985" y="1486"/>
                  </a:lnTo>
                  <a:lnTo>
                    <a:pt x="987" y="1483"/>
                  </a:lnTo>
                  <a:lnTo>
                    <a:pt x="987" y="1480"/>
                  </a:lnTo>
                  <a:lnTo>
                    <a:pt x="988" y="1479"/>
                  </a:lnTo>
                  <a:lnTo>
                    <a:pt x="988" y="1475"/>
                  </a:lnTo>
                  <a:lnTo>
                    <a:pt x="988" y="1475"/>
                  </a:lnTo>
                  <a:lnTo>
                    <a:pt x="988" y="1476"/>
                  </a:lnTo>
                  <a:lnTo>
                    <a:pt x="990" y="1476"/>
                  </a:lnTo>
                  <a:lnTo>
                    <a:pt x="990" y="1476"/>
                  </a:lnTo>
                  <a:lnTo>
                    <a:pt x="991" y="1478"/>
                  </a:lnTo>
                  <a:lnTo>
                    <a:pt x="991" y="1478"/>
                  </a:lnTo>
                  <a:lnTo>
                    <a:pt x="991" y="1479"/>
                  </a:lnTo>
                  <a:lnTo>
                    <a:pt x="992" y="1479"/>
                  </a:lnTo>
                  <a:lnTo>
                    <a:pt x="992" y="1480"/>
                  </a:lnTo>
                  <a:lnTo>
                    <a:pt x="994" y="1482"/>
                  </a:lnTo>
                  <a:lnTo>
                    <a:pt x="994" y="1482"/>
                  </a:lnTo>
                  <a:lnTo>
                    <a:pt x="994" y="1482"/>
                  </a:lnTo>
                  <a:lnTo>
                    <a:pt x="994" y="1483"/>
                  </a:lnTo>
                  <a:lnTo>
                    <a:pt x="994" y="1485"/>
                  </a:lnTo>
                  <a:close/>
                  <a:moveTo>
                    <a:pt x="977" y="1486"/>
                  </a:moveTo>
                  <a:lnTo>
                    <a:pt x="975" y="1486"/>
                  </a:lnTo>
                  <a:lnTo>
                    <a:pt x="975" y="1486"/>
                  </a:lnTo>
                  <a:lnTo>
                    <a:pt x="975" y="1483"/>
                  </a:lnTo>
                  <a:lnTo>
                    <a:pt x="977" y="1483"/>
                  </a:lnTo>
                  <a:lnTo>
                    <a:pt x="978" y="1482"/>
                  </a:lnTo>
                  <a:lnTo>
                    <a:pt x="978" y="1482"/>
                  </a:lnTo>
                  <a:lnTo>
                    <a:pt x="980" y="1480"/>
                  </a:lnTo>
                  <a:lnTo>
                    <a:pt x="981" y="1480"/>
                  </a:lnTo>
                  <a:lnTo>
                    <a:pt x="981" y="1480"/>
                  </a:lnTo>
                  <a:lnTo>
                    <a:pt x="982" y="1479"/>
                  </a:lnTo>
                  <a:lnTo>
                    <a:pt x="982" y="1479"/>
                  </a:lnTo>
                  <a:lnTo>
                    <a:pt x="982" y="1480"/>
                  </a:lnTo>
                  <a:lnTo>
                    <a:pt x="981" y="1482"/>
                  </a:lnTo>
                  <a:lnTo>
                    <a:pt x="977" y="1486"/>
                  </a:lnTo>
                  <a:close/>
                  <a:moveTo>
                    <a:pt x="995" y="1488"/>
                  </a:moveTo>
                  <a:lnTo>
                    <a:pt x="994" y="1488"/>
                  </a:lnTo>
                  <a:lnTo>
                    <a:pt x="994" y="1488"/>
                  </a:lnTo>
                  <a:lnTo>
                    <a:pt x="994" y="1488"/>
                  </a:lnTo>
                  <a:lnTo>
                    <a:pt x="995" y="1485"/>
                  </a:lnTo>
                  <a:lnTo>
                    <a:pt x="995" y="1483"/>
                  </a:lnTo>
                  <a:lnTo>
                    <a:pt x="995" y="1482"/>
                  </a:lnTo>
                  <a:lnTo>
                    <a:pt x="995" y="1480"/>
                  </a:lnTo>
                  <a:lnTo>
                    <a:pt x="997" y="1480"/>
                  </a:lnTo>
                  <a:lnTo>
                    <a:pt x="997" y="1479"/>
                  </a:lnTo>
                  <a:lnTo>
                    <a:pt x="998" y="1479"/>
                  </a:lnTo>
                  <a:lnTo>
                    <a:pt x="998" y="1483"/>
                  </a:lnTo>
                  <a:lnTo>
                    <a:pt x="998" y="1485"/>
                  </a:lnTo>
                  <a:lnTo>
                    <a:pt x="997" y="1486"/>
                  </a:lnTo>
                  <a:lnTo>
                    <a:pt x="997" y="1488"/>
                  </a:lnTo>
                  <a:lnTo>
                    <a:pt x="995" y="1488"/>
                  </a:lnTo>
                  <a:close/>
                  <a:moveTo>
                    <a:pt x="1281" y="1490"/>
                  </a:moveTo>
                  <a:lnTo>
                    <a:pt x="1281" y="1492"/>
                  </a:lnTo>
                  <a:lnTo>
                    <a:pt x="1278" y="1490"/>
                  </a:lnTo>
                  <a:lnTo>
                    <a:pt x="1278" y="1490"/>
                  </a:lnTo>
                  <a:lnTo>
                    <a:pt x="1278" y="1490"/>
                  </a:lnTo>
                  <a:lnTo>
                    <a:pt x="1278" y="1489"/>
                  </a:lnTo>
                  <a:lnTo>
                    <a:pt x="1278" y="1489"/>
                  </a:lnTo>
                  <a:lnTo>
                    <a:pt x="1279" y="1488"/>
                  </a:lnTo>
                  <a:lnTo>
                    <a:pt x="1279" y="1488"/>
                  </a:lnTo>
                  <a:lnTo>
                    <a:pt x="1281" y="1489"/>
                  </a:lnTo>
                  <a:lnTo>
                    <a:pt x="1282" y="1489"/>
                  </a:lnTo>
                  <a:lnTo>
                    <a:pt x="1281" y="1490"/>
                  </a:lnTo>
                  <a:close/>
                  <a:moveTo>
                    <a:pt x="166" y="1526"/>
                  </a:moveTo>
                  <a:lnTo>
                    <a:pt x="168" y="1525"/>
                  </a:lnTo>
                  <a:lnTo>
                    <a:pt x="171" y="1522"/>
                  </a:lnTo>
                  <a:lnTo>
                    <a:pt x="172" y="1519"/>
                  </a:lnTo>
                  <a:lnTo>
                    <a:pt x="172" y="1522"/>
                  </a:lnTo>
                  <a:lnTo>
                    <a:pt x="171" y="1525"/>
                  </a:lnTo>
                  <a:lnTo>
                    <a:pt x="166" y="1528"/>
                  </a:lnTo>
                  <a:lnTo>
                    <a:pt x="166" y="1526"/>
                  </a:lnTo>
                  <a:close/>
                  <a:moveTo>
                    <a:pt x="161" y="1535"/>
                  </a:moveTo>
                  <a:lnTo>
                    <a:pt x="161" y="1535"/>
                  </a:lnTo>
                  <a:lnTo>
                    <a:pt x="161" y="1535"/>
                  </a:lnTo>
                  <a:lnTo>
                    <a:pt x="161" y="1533"/>
                  </a:lnTo>
                  <a:lnTo>
                    <a:pt x="161" y="1530"/>
                  </a:lnTo>
                  <a:lnTo>
                    <a:pt x="161" y="1530"/>
                  </a:lnTo>
                  <a:lnTo>
                    <a:pt x="164" y="1530"/>
                  </a:lnTo>
                  <a:lnTo>
                    <a:pt x="164" y="1530"/>
                  </a:lnTo>
                  <a:lnTo>
                    <a:pt x="164" y="1532"/>
                  </a:lnTo>
                  <a:lnTo>
                    <a:pt x="164" y="1532"/>
                  </a:lnTo>
                  <a:lnTo>
                    <a:pt x="162" y="1533"/>
                  </a:lnTo>
                  <a:lnTo>
                    <a:pt x="161" y="1535"/>
                  </a:lnTo>
                  <a:close/>
                  <a:moveTo>
                    <a:pt x="134" y="1545"/>
                  </a:moveTo>
                  <a:lnTo>
                    <a:pt x="135" y="1546"/>
                  </a:lnTo>
                  <a:lnTo>
                    <a:pt x="138" y="1545"/>
                  </a:lnTo>
                  <a:lnTo>
                    <a:pt x="139" y="1545"/>
                  </a:lnTo>
                  <a:lnTo>
                    <a:pt x="139" y="1546"/>
                  </a:lnTo>
                  <a:lnTo>
                    <a:pt x="141" y="1548"/>
                  </a:lnTo>
                  <a:lnTo>
                    <a:pt x="141" y="1549"/>
                  </a:lnTo>
                  <a:lnTo>
                    <a:pt x="141" y="1550"/>
                  </a:lnTo>
                  <a:lnTo>
                    <a:pt x="141" y="1552"/>
                  </a:lnTo>
                  <a:lnTo>
                    <a:pt x="141" y="1553"/>
                  </a:lnTo>
                  <a:lnTo>
                    <a:pt x="135" y="1556"/>
                  </a:lnTo>
                  <a:lnTo>
                    <a:pt x="135" y="1556"/>
                  </a:lnTo>
                  <a:lnTo>
                    <a:pt x="135" y="1556"/>
                  </a:lnTo>
                  <a:lnTo>
                    <a:pt x="135" y="1558"/>
                  </a:lnTo>
                  <a:lnTo>
                    <a:pt x="137" y="1558"/>
                  </a:lnTo>
                  <a:lnTo>
                    <a:pt x="141" y="1556"/>
                  </a:lnTo>
                  <a:lnTo>
                    <a:pt x="141" y="1556"/>
                  </a:lnTo>
                  <a:lnTo>
                    <a:pt x="141" y="1553"/>
                  </a:lnTo>
                  <a:lnTo>
                    <a:pt x="142" y="1552"/>
                  </a:lnTo>
                  <a:lnTo>
                    <a:pt x="142" y="1550"/>
                  </a:lnTo>
                  <a:lnTo>
                    <a:pt x="141" y="1548"/>
                  </a:lnTo>
                  <a:lnTo>
                    <a:pt x="141" y="1546"/>
                  </a:lnTo>
                  <a:lnTo>
                    <a:pt x="145" y="1546"/>
                  </a:lnTo>
                  <a:lnTo>
                    <a:pt x="147" y="1546"/>
                  </a:lnTo>
                  <a:lnTo>
                    <a:pt x="148" y="1543"/>
                  </a:lnTo>
                  <a:lnTo>
                    <a:pt x="149" y="1543"/>
                  </a:lnTo>
                  <a:lnTo>
                    <a:pt x="148" y="1548"/>
                  </a:lnTo>
                  <a:lnTo>
                    <a:pt x="148" y="1548"/>
                  </a:lnTo>
                  <a:lnTo>
                    <a:pt x="147" y="1552"/>
                  </a:lnTo>
                  <a:lnTo>
                    <a:pt x="145" y="1556"/>
                  </a:lnTo>
                  <a:lnTo>
                    <a:pt x="145" y="1559"/>
                  </a:lnTo>
                  <a:lnTo>
                    <a:pt x="145" y="1565"/>
                  </a:lnTo>
                  <a:lnTo>
                    <a:pt x="144" y="1566"/>
                  </a:lnTo>
                  <a:lnTo>
                    <a:pt x="144" y="1568"/>
                  </a:lnTo>
                  <a:lnTo>
                    <a:pt x="138" y="1569"/>
                  </a:lnTo>
                  <a:lnTo>
                    <a:pt x="135" y="1569"/>
                  </a:lnTo>
                  <a:lnTo>
                    <a:pt x="132" y="1568"/>
                  </a:lnTo>
                  <a:lnTo>
                    <a:pt x="132" y="1566"/>
                  </a:lnTo>
                  <a:lnTo>
                    <a:pt x="132" y="1565"/>
                  </a:lnTo>
                  <a:lnTo>
                    <a:pt x="134" y="1565"/>
                  </a:lnTo>
                  <a:lnTo>
                    <a:pt x="135" y="1565"/>
                  </a:lnTo>
                  <a:lnTo>
                    <a:pt x="137" y="1566"/>
                  </a:lnTo>
                  <a:lnTo>
                    <a:pt x="137" y="1566"/>
                  </a:lnTo>
                  <a:lnTo>
                    <a:pt x="137" y="1565"/>
                  </a:lnTo>
                  <a:lnTo>
                    <a:pt x="132" y="1562"/>
                  </a:lnTo>
                  <a:lnTo>
                    <a:pt x="129" y="1560"/>
                  </a:lnTo>
                  <a:lnTo>
                    <a:pt x="129" y="1559"/>
                  </a:lnTo>
                  <a:lnTo>
                    <a:pt x="129" y="1559"/>
                  </a:lnTo>
                  <a:lnTo>
                    <a:pt x="129" y="1558"/>
                  </a:lnTo>
                  <a:lnTo>
                    <a:pt x="127" y="1553"/>
                  </a:lnTo>
                  <a:lnTo>
                    <a:pt x="127" y="1552"/>
                  </a:lnTo>
                  <a:lnTo>
                    <a:pt x="127" y="1550"/>
                  </a:lnTo>
                  <a:lnTo>
                    <a:pt x="127" y="1548"/>
                  </a:lnTo>
                  <a:lnTo>
                    <a:pt x="127" y="1543"/>
                  </a:lnTo>
                  <a:lnTo>
                    <a:pt x="127" y="1543"/>
                  </a:lnTo>
                  <a:lnTo>
                    <a:pt x="128" y="1543"/>
                  </a:lnTo>
                  <a:lnTo>
                    <a:pt x="129" y="1543"/>
                  </a:lnTo>
                  <a:lnTo>
                    <a:pt x="134" y="1545"/>
                  </a:lnTo>
                  <a:close/>
                  <a:moveTo>
                    <a:pt x="172" y="1549"/>
                  </a:moveTo>
                  <a:lnTo>
                    <a:pt x="171" y="1550"/>
                  </a:lnTo>
                  <a:lnTo>
                    <a:pt x="171" y="1552"/>
                  </a:lnTo>
                  <a:lnTo>
                    <a:pt x="169" y="1552"/>
                  </a:lnTo>
                  <a:lnTo>
                    <a:pt x="169" y="1552"/>
                  </a:lnTo>
                  <a:lnTo>
                    <a:pt x="168" y="1552"/>
                  </a:lnTo>
                  <a:lnTo>
                    <a:pt x="166" y="1550"/>
                  </a:lnTo>
                  <a:lnTo>
                    <a:pt x="166" y="1549"/>
                  </a:lnTo>
                  <a:lnTo>
                    <a:pt x="165" y="1549"/>
                  </a:lnTo>
                  <a:lnTo>
                    <a:pt x="165" y="1550"/>
                  </a:lnTo>
                  <a:lnTo>
                    <a:pt x="165" y="1550"/>
                  </a:lnTo>
                  <a:lnTo>
                    <a:pt x="165" y="1552"/>
                  </a:lnTo>
                  <a:lnTo>
                    <a:pt x="165" y="1552"/>
                  </a:lnTo>
                  <a:lnTo>
                    <a:pt x="165" y="1552"/>
                  </a:lnTo>
                  <a:lnTo>
                    <a:pt x="165" y="1552"/>
                  </a:lnTo>
                  <a:lnTo>
                    <a:pt x="165" y="1550"/>
                  </a:lnTo>
                  <a:lnTo>
                    <a:pt x="164" y="1550"/>
                  </a:lnTo>
                  <a:lnTo>
                    <a:pt x="165" y="1549"/>
                  </a:lnTo>
                  <a:lnTo>
                    <a:pt x="165" y="1548"/>
                  </a:lnTo>
                  <a:lnTo>
                    <a:pt x="168" y="1546"/>
                  </a:lnTo>
                  <a:lnTo>
                    <a:pt x="168" y="1545"/>
                  </a:lnTo>
                  <a:lnTo>
                    <a:pt x="169" y="1545"/>
                  </a:lnTo>
                  <a:lnTo>
                    <a:pt x="171" y="1546"/>
                  </a:lnTo>
                  <a:lnTo>
                    <a:pt x="171" y="1546"/>
                  </a:lnTo>
                  <a:lnTo>
                    <a:pt x="172" y="1549"/>
                  </a:lnTo>
                  <a:close/>
                  <a:moveTo>
                    <a:pt x="178" y="1570"/>
                  </a:moveTo>
                  <a:lnTo>
                    <a:pt x="178" y="1570"/>
                  </a:lnTo>
                  <a:lnTo>
                    <a:pt x="176" y="1570"/>
                  </a:lnTo>
                  <a:lnTo>
                    <a:pt x="174" y="1565"/>
                  </a:lnTo>
                  <a:lnTo>
                    <a:pt x="171" y="1563"/>
                  </a:lnTo>
                  <a:lnTo>
                    <a:pt x="169" y="1562"/>
                  </a:lnTo>
                  <a:lnTo>
                    <a:pt x="168" y="1560"/>
                  </a:lnTo>
                  <a:lnTo>
                    <a:pt x="168" y="1558"/>
                  </a:lnTo>
                  <a:lnTo>
                    <a:pt x="169" y="1558"/>
                  </a:lnTo>
                  <a:lnTo>
                    <a:pt x="172" y="1560"/>
                  </a:lnTo>
                  <a:lnTo>
                    <a:pt x="175" y="1562"/>
                  </a:lnTo>
                  <a:lnTo>
                    <a:pt x="176" y="1563"/>
                  </a:lnTo>
                  <a:lnTo>
                    <a:pt x="179" y="1568"/>
                  </a:lnTo>
                  <a:lnTo>
                    <a:pt x="179" y="1569"/>
                  </a:lnTo>
                  <a:lnTo>
                    <a:pt x="178" y="1570"/>
                  </a:lnTo>
                  <a:close/>
                  <a:moveTo>
                    <a:pt x="977" y="1566"/>
                  </a:moveTo>
                  <a:lnTo>
                    <a:pt x="977" y="1568"/>
                  </a:lnTo>
                  <a:lnTo>
                    <a:pt x="977" y="1568"/>
                  </a:lnTo>
                  <a:lnTo>
                    <a:pt x="975" y="1566"/>
                  </a:lnTo>
                  <a:lnTo>
                    <a:pt x="975" y="1566"/>
                  </a:lnTo>
                  <a:lnTo>
                    <a:pt x="975" y="1565"/>
                  </a:lnTo>
                  <a:lnTo>
                    <a:pt x="975" y="1565"/>
                  </a:lnTo>
                  <a:lnTo>
                    <a:pt x="977" y="1565"/>
                  </a:lnTo>
                  <a:lnTo>
                    <a:pt x="977" y="1566"/>
                  </a:lnTo>
                  <a:close/>
                  <a:moveTo>
                    <a:pt x="189" y="1572"/>
                  </a:moveTo>
                  <a:lnTo>
                    <a:pt x="189" y="1572"/>
                  </a:lnTo>
                  <a:lnTo>
                    <a:pt x="188" y="1572"/>
                  </a:lnTo>
                  <a:lnTo>
                    <a:pt x="186" y="1572"/>
                  </a:lnTo>
                  <a:lnTo>
                    <a:pt x="186" y="1570"/>
                  </a:lnTo>
                  <a:lnTo>
                    <a:pt x="186" y="1570"/>
                  </a:lnTo>
                  <a:lnTo>
                    <a:pt x="186" y="1569"/>
                  </a:lnTo>
                  <a:lnTo>
                    <a:pt x="188" y="1568"/>
                  </a:lnTo>
                  <a:lnTo>
                    <a:pt x="188" y="1566"/>
                  </a:lnTo>
                  <a:lnTo>
                    <a:pt x="188" y="1566"/>
                  </a:lnTo>
                  <a:lnTo>
                    <a:pt x="188" y="1566"/>
                  </a:lnTo>
                  <a:lnTo>
                    <a:pt x="189" y="1568"/>
                  </a:lnTo>
                  <a:lnTo>
                    <a:pt x="189" y="1572"/>
                  </a:lnTo>
                  <a:close/>
                  <a:moveTo>
                    <a:pt x="199" y="1576"/>
                  </a:moveTo>
                  <a:lnTo>
                    <a:pt x="199" y="1585"/>
                  </a:lnTo>
                  <a:lnTo>
                    <a:pt x="199" y="1588"/>
                  </a:lnTo>
                  <a:lnTo>
                    <a:pt x="198" y="1589"/>
                  </a:lnTo>
                  <a:lnTo>
                    <a:pt x="198" y="1592"/>
                  </a:lnTo>
                  <a:lnTo>
                    <a:pt x="196" y="1593"/>
                  </a:lnTo>
                  <a:lnTo>
                    <a:pt x="196" y="1592"/>
                  </a:lnTo>
                  <a:lnTo>
                    <a:pt x="196" y="1589"/>
                  </a:lnTo>
                  <a:lnTo>
                    <a:pt x="195" y="1586"/>
                  </a:lnTo>
                  <a:lnTo>
                    <a:pt x="195" y="1585"/>
                  </a:lnTo>
                  <a:lnTo>
                    <a:pt x="195" y="1580"/>
                  </a:lnTo>
                  <a:lnTo>
                    <a:pt x="195" y="1582"/>
                  </a:lnTo>
                  <a:lnTo>
                    <a:pt x="195" y="1583"/>
                  </a:lnTo>
                  <a:lnTo>
                    <a:pt x="194" y="1583"/>
                  </a:lnTo>
                  <a:lnTo>
                    <a:pt x="191" y="1580"/>
                  </a:lnTo>
                  <a:lnTo>
                    <a:pt x="191" y="1579"/>
                  </a:lnTo>
                  <a:lnTo>
                    <a:pt x="191" y="1578"/>
                  </a:lnTo>
                  <a:lnTo>
                    <a:pt x="189" y="1576"/>
                  </a:lnTo>
                  <a:lnTo>
                    <a:pt x="189" y="1575"/>
                  </a:lnTo>
                  <a:lnTo>
                    <a:pt x="189" y="1575"/>
                  </a:lnTo>
                  <a:lnTo>
                    <a:pt x="189" y="1572"/>
                  </a:lnTo>
                  <a:lnTo>
                    <a:pt x="191" y="1570"/>
                  </a:lnTo>
                  <a:lnTo>
                    <a:pt x="191" y="1568"/>
                  </a:lnTo>
                  <a:lnTo>
                    <a:pt x="191" y="1568"/>
                  </a:lnTo>
                  <a:lnTo>
                    <a:pt x="192" y="1568"/>
                  </a:lnTo>
                  <a:lnTo>
                    <a:pt x="194" y="1569"/>
                  </a:lnTo>
                  <a:lnTo>
                    <a:pt x="196" y="1570"/>
                  </a:lnTo>
                  <a:lnTo>
                    <a:pt x="198" y="1572"/>
                  </a:lnTo>
                  <a:lnTo>
                    <a:pt x="199" y="1576"/>
                  </a:lnTo>
                  <a:close/>
                  <a:moveTo>
                    <a:pt x="148" y="1569"/>
                  </a:moveTo>
                  <a:lnTo>
                    <a:pt x="149" y="1572"/>
                  </a:lnTo>
                  <a:lnTo>
                    <a:pt x="149" y="1575"/>
                  </a:lnTo>
                  <a:lnTo>
                    <a:pt x="149" y="1576"/>
                  </a:lnTo>
                  <a:lnTo>
                    <a:pt x="147" y="1578"/>
                  </a:lnTo>
                  <a:lnTo>
                    <a:pt x="145" y="1578"/>
                  </a:lnTo>
                  <a:lnTo>
                    <a:pt x="145" y="1578"/>
                  </a:lnTo>
                  <a:lnTo>
                    <a:pt x="144" y="1578"/>
                  </a:lnTo>
                  <a:lnTo>
                    <a:pt x="145" y="1578"/>
                  </a:lnTo>
                  <a:lnTo>
                    <a:pt x="147" y="1579"/>
                  </a:lnTo>
                  <a:lnTo>
                    <a:pt x="148" y="1580"/>
                  </a:lnTo>
                  <a:lnTo>
                    <a:pt x="149" y="1582"/>
                  </a:lnTo>
                  <a:lnTo>
                    <a:pt x="152" y="1582"/>
                  </a:lnTo>
                  <a:lnTo>
                    <a:pt x="151" y="1585"/>
                  </a:lnTo>
                  <a:lnTo>
                    <a:pt x="151" y="1586"/>
                  </a:lnTo>
                  <a:lnTo>
                    <a:pt x="152" y="1589"/>
                  </a:lnTo>
                  <a:lnTo>
                    <a:pt x="152" y="1590"/>
                  </a:lnTo>
                  <a:lnTo>
                    <a:pt x="154" y="1590"/>
                  </a:lnTo>
                  <a:lnTo>
                    <a:pt x="155" y="1590"/>
                  </a:lnTo>
                  <a:lnTo>
                    <a:pt x="155" y="1590"/>
                  </a:lnTo>
                  <a:lnTo>
                    <a:pt x="155" y="1590"/>
                  </a:lnTo>
                  <a:lnTo>
                    <a:pt x="155" y="1593"/>
                  </a:lnTo>
                  <a:lnTo>
                    <a:pt x="155" y="1593"/>
                  </a:lnTo>
                  <a:lnTo>
                    <a:pt x="155" y="1593"/>
                  </a:lnTo>
                  <a:lnTo>
                    <a:pt x="158" y="1593"/>
                  </a:lnTo>
                  <a:lnTo>
                    <a:pt x="158" y="1595"/>
                  </a:lnTo>
                  <a:lnTo>
                    <a:pt x="157" y="1598"/>
                  </a:lnTo>
                  <a:lnTo>
                    <a:pt x="152" y="1595"/>
                  </a:lnTo>
                  <a:lnTo>
                    <a:pt x="151" y="1592"/>
                  </a:lnTo>
                  <a:lnTo>
                    <a:pt x="151" y="1590"/>
                  </a:lnTo>
                  <a:lnTo>
                    <a:pt x="149" y="1589"/>
                  </a:lnTo>
                  <a:lnTo>
                    <a:pt x="147" y="1586"/>
                  </a:lnTo>
                  <a:lnTo>
                    <a:pt x="142" y="1582"/>
                  </a:lnTo>
                  <a:lnTo>
                    <a:pt x="141" y="1580"/>
                  </a:lnTo>
                  <a:lnTo>
                    <a:pt x="139" y="1578"/>
                  </a:lnTo>
                  <a:lnTo>
                    <a:pt x="139" y="1578"/>
                  </a:lnTo>
                  <a:lnTo>
                    <a:pt x="139" y="1576"/>
                  </a:lnTo>
                  <a:lnTo>
                    <a:pt x="139" y="1576"/>
                  </a:lnTo>
                  <a:lnTo>
                    <a:pt x="141" y="1576"/>
                  </a:lnTo>
                  <a:lnTo>
                    <a:pt x="141" y="1575"/>
                  </a:lnTo>
                  <a:lnTo>
                    <a:pt x="137" y="1573"/>
                  </a:lnTo>
                  <a:lnTo>
                    <a:pt x="135" y="1572"/>
                  </a:lnTo>
                  <a:lnTo>
                    <a:pt x="135" y="1570"/>
                  </a:lnTo>
                  <a:lnTo>
                    <a:pt x="135" y="1570"/>
                  </a:lnTo>
                  <a:lnTo>
                    <a:pt x="138" y="1570"/>
                  </a:lnTo>
                  <a:lnTo>
                    <a:pt x="141" y="1570"/>
                  </a:lnTo>
                  <a:lnTo>
                    <a:pt x="144" y="1570"/>
                  </a:lnTo>
                  <a:lnTo>
                    <a:pt x="144" y="1569"/>
                  </a:lnTo>
                  <a:lnTo>
                    <a:pt x="145" y="1569"/>
                  </a:lnTo>
                  <a:lnTo>
                    <a:pt x="147" y="1569"/>
                  </a:lnTo>
                  <a:lnTo>
                    <a:pt x="148" y="1569"/>
                  </a:lnTo>
                  <a:close/>
                  <a:moveTo>
                    <a:pt x="965" y="1582"/>
                  </a:moveTo>
                  <a:lnTo>
                    <a:pt x="964" y="1582"/>
                  </a:lnTo>
                  <a:lnTo>
                    <a:pt x="960" y="1580"/>
                  </a:lnTo>
                  <a:lnTo>
                    <a:pt x="958" y="1580"/>
                  </a:lnTo>
                  <a:lnTo>
                    <a:pt x="955" y="1579"/>
                  </a:lnTo>
                  <a:lnTo>
                    <a:pt x="947" y="1576"/>
                  </a:lnTo>
                  <a:lnTo>
                    <a:pt x="944" y="1575"/>
                  </a:lnTo>
                  <a:lnTo>
                    <a:pt x="944" y="1573"/>
                  </a:lnTo>
                  <a:lnTo>
                    <a:pt x="945" y="1570"/>
                  </a:lnTo>
                  <a:lnTo>
                    <a:pt x="945" y="1570"/>
                  </a:lnTo>
                  <a:lnTo>
                    <a:pt x="947" y="1569"/>
                  </a:lnTo>
                  <a:lnTo>
                    <a:pt x="955" y="1569"/>
                  </a:lnTo>
                  <a:lnTo>
                    <a:pt x="958" y="1569"/>
                  </a:lnTo>
                  <a:lnTo>
                    <a:pt x="962" y="1573"/>
                  </a:lnTo>
                  <a:lnTo>
                    <a:pt x="964" y="1576"/>
                  </a:lnTo>
                  <a:lnTo>
                    <a:pt x="965" y="1579"/>
                  </a:lnTo>
                  <a:lnTo>
                    <a:pt x="965" y="1580"/>
                  </a:lnTo>
                  <a:lnTo>
                    <a:pt x="965" y="1582"/>
                  </a:lnTo>
                  <a:close/>
                  <a:moveTo>
                    <a:pt x="186" y="1575"/>
                  </a:moveTo>
                  <a:lnTo>
                    <a:pt x="186" y="1575"/>
                  </a:lnTo>
                  <a:lnTo>
                    <a:pt x="185" y="1575"/>
                  </a:lnTo>
                  <a:lnTo>
                    <a:pt x="185" y="1573"/>
                  </a:lnTo>
                  <a:lnTo>
                    <a:pt x="184" y="1572"/>
                  </a:lnTo>
                  <a:lnTo>
                    <a:pt x="184" y="1572"/>
                  </a:lnTo>
                  <a:lnTo>
                    <a:pt x="184" y="1570"/>
                  </a:lnTo>
                  <a:lnTo>
                    <a:pt x="184" y="1569"/>
                  </a:lnTo>
                  <a:lnTo>
                    <a:pt x="184" y="1570"/>
                  </a:lnTo>
                  <a:lnTo>
                    <a:pt x="185" y="1570"/>
                  </a:lnTo>
                  <a:lnTo>
                    <a:pt x="186" y="1573"/>
                  </a:lnTo>
                  <a:lnTo>
                    <a:pt x="186" y="1575"/>
                  </a:lnTo>
                  <a:close/>
                  <a:moveTo>
                    <a:pt x="192" y="1588"/>
                  </a:moveTo>
                  <a:lnTo>
                    <a:pt x="192" y="1589"/>
                  </a:lnTo>
                  <a:lnTo>
                    <a:pt x="191" y="1586"/>
                  </a:lnTo>
                  <a:lnTo>
                    <a:pt x="189" y="1585"/>
                  </a:lnTo>
                  <a:lnTo>
                    <a:pt x="188" y="1582"/>
                  </a:lnTo>
                  <a:lnTo>
                    <a:pt x="188" y="1580"/>
                  </a:lnTo>
                  <a:lnTo>
                    <a:pt x="188" y="1580"/>
                  </a:lnTo>
                  <a:lnTo>
                    <a:pt x="188" y="1579"/>
                  </a:lnTo>
                  <a:lnTo>
                    <a:pt x="188" y="1580"/>
                  </a:lnTo>
                  <a:lnTo>
                    <a:pt x="189" y="1580"/>
                  </a:lnTo>
                  <a:lnTo>
                    <a:pt x="192" y="1583"/>
                  </a:lnTo>
                  <a:lnTo>
                    <a:pt x="192" y="1585"/>
                  </a:lnTo>
                  <a:lnTo>
                    <a:pt x="192" y="1588"/>
                  </a:lnTo>
                  <a:close/>
                  <a:moveTo>
                    <a:pt x="202" y="1590"/>
                  </a:moveTo>
                  <a:lnTo>
                    <a:pt x="201" y="1590"/>
                  </a:lnTo>
                  <a:lnTo>
                    <a:pt x="201" y="1589"/>
                  </a:lnTo>
                  <a:lnTo>
                    <a:pt x="201" y="1589"/>
                  </a:lnTo>
                  <a:lnTo>
                    <a:pt x="201" y="1588"/>
                  </a:lnTo>
                  <a:lnTo>
                    <a:pt x="201" y="1586"/>
                  </a:lnTo>
                  <a:lnTo>
                    <a:pt x="201" y="1583"/>
                  </a:lnTo>
                  <a:lnTo>
                    <a:pt x="202" y="1580"/>
                  </a:lnTo>
                  <a:lnTo>
                    <a:pt x="204" y="1580"/>
                  </a:lnTo>
                  <a:lnTo>
                    <a:pt x="204" y="1582"/>
                  </a:lnTo>
                  <a:lnTo>
                    <a:pt x="204" y="1586"/>
                  </a:lnTo>
                  <a:lnTo>
                    <a:pt x="202" y="1589"/>
                  </a:lnTo>
                  <a:lnTo>
                    <a:pt x="202" y="1590"/>
                  </a:lnTo>
                  <a:lnTo>
                    <a:pt x="202" y="1590"/>
                  </a:lnTo>
                  <a:close/>
                  <a:moveTo>
                    <a:pt x="159" y="1602"/>
                  </a:moveTo>
                  <a:lnTo>
                    <a:pt x="159" y="1602"/>
                  </a:lnTo>
                  <a:lnTo>
                    <a:pt x="158" y="1602"/>
                  </a:lnTo>
                  <a:lnTo>
                    <a:pt x="158" y="1600"/>
                  </a:lnTo>
                  <a:lnTo>
                    <a:pt x="158" y="1598"/>
                  </a:lnTo>
                  <a:lnTo>
                    <a:pt x="158" y="1598"/>
                  </a:lnTo>
                  <a:lnTo>
                    <a:pt x="158" y="1598"/>
                  </a:lnTo>
                  <a:lnTo>
                    <a:pt x="159" y="1599"/>
                  </a:lnTo>
                  <a:lnTo>
                    <a:pt x="159" y="1602"/>
                  </a:lnTo>
                  <a:close/>
                  <a:moveTo>
                    <a:pt x="987" y="1602"/>
                  </a:moveTo>
                  <a:lnTo>
                    <a:pt x="985" y="1602"/>
                  </a:lnTo>
                  <a:lnTo>
                    <a:pt x="984" y="1602"/>
                  </a:lnTo>
                  <a:lnTo>
                    <a:pt x="982" y="1602"/>
                  </a:lnTo>
                  <a:lnTo>
                    <a:pt x="982" y="1600"/>
                  </a:lnTo>
                  <a:lnTo>
                    <a:pt x="987" y="1599"/>
                  </a:lnTo>
                  <a:lnTo>
                    <a:pt x="988" y="1599"/>
                  </a:lnTo>
                  <a:lnTo>
                    <a:pt x="988" y="1599"/>
                  </a:lnTo>
                  <a:lnTo>
                    <a:pt x="987" y="1600"/>
                  </a:lnTo>
                  <a:lnTo>
                    <a:pt x="987" y="1600"/>
                  </a:lnTo>
                  <a:lnTo>
                    <a:pt x="987" y="1602"/>
                  </a:lnTo>
                  <a:lnTo>
                    <a:pt x="987" y="1602"/>
                  </a:lnTo>
                  <a:close/>
                  <a:moveTo>
                    <a:pt x="1370" y="1603"/>
                  </a:moveTo>
                  <a:lnTo>
                    <a:pt x="1370" y="1603"/>
                  </a:lnTo>
                  <a:lnTo>
                    <a:pt x="1370" y="1603"/>
                  </a:lnTo>
                  <a:lnTo>
                    <a:pt x="1370" y="1602"/>
                  </a:lnTo>
                  <a:lnTo>
                    <a:pt x="1370" y="1602"/>
                  </a:lnTo>
                  <a:lnTo>
                    <a:pt x="1372" y="1600"/>
                  </a:lnTo>
                  <a:lnTo>
                    <a:pt x="1372" y="1603"/>
                  </a:lnTo>
                  <a:lnTo>
                    <a:pt x="1370" y="1603"/>
                  </a:lnTo>
                  <a:close/>
                  <a:moveTo>
                    <a:pt x="209" y="1615"/>
                  </a:moveTo>
                  <a:lnTo>
                    <a:pt x="209" y="1615"/>
                  </a:lnTo>
                  <a:lnTo>
                    <a:pt x="208" y="1615"/>
                  </a:lnTo>
                  <a:lnTo>
                    <a:pt x="206" y="1615"/>
                  </a:lnTo>
                  <a:lnTo>
                    <a:pt x="206" y="1613"/>
                  </a:lnTo>
                  <a:lnTo>
                    <a:pt x="205" y="1610"/>
                  </a:lnTo>
                  <a:lnTo>
                    <a:pt x="205" y="1610"/>
                  </a:lnTo>
                  <a:lnTo>
                    <a:pt x="205" y="1609"/>
                  </a:lnTo>
                  <a:lnTo>
                    <a:pt x="208" y="1609"/>
                  </a:lnTo>
                  <a:lnTo>
                    <a:pt x="208" y="1609"/>
                  </a:lnTo>
                  <a:lnTo>
                    <a:pt x="208" y="1609"/>
                  </a:lnTo>
                  <a:lnTo>
                    <a:pt x="209" y="1610"/>
                  </a:lnTo>
                  <a:lnTo>
                    <a:pt x="209" y="1612"/>
                  </a:lnTo>
                  <a:lnTo>
                    <a:pt x="209" y="1613"/>
                  </a:lnTo>
                  <a:lnTo>
                    <a:pt x="209" y="1615"/>
                  </a:lnTo>
                  <a:close/>
                  <a:moveTo>
                    <a:pt x="1369" y="1613"/>
                  </a:moveTo>
                  <a:lnTo>
                    <a:pt x="1368" y="1615"/>
                  </a:lnTo>
                  <a:lnTo>
                    <a:pt x="1368" y="1616"/>
                  </a:lnTo>
                  <a:lnTo>
                    <a:pt x="1366" y="1617"/>
                  </a:lnTo>
                  <a:lnTo>
                    <a:pt x="1365" y="1617"/>
                  </a:lnTo>
                  <a:lnTo>
                    <a:pt x="1362" y="1617"/>
                  </a:lnTo>
                  <a:lnTo>
                    <a:pt x="1360" y="1617"/>
                  </a:lnTo>
                  <a:lnTo>
                    <a:pt x="1360" y="1620"/>
                  </a:lnTo>
                  <a:lnTo>
                    <a:pt x="1360" y="1620"/>
                  </a:lnTo>
                  <a:lnTo>
                    <a:pt x="1360" y="1622"/>
                  </a:lnTo>
                  <a:lnTo>
                    <a:pt x="1362" y="1622"/>
                  </a:lnTo>
                  <a:lnTo>
                    <a:pt x="1363" y="1622"/>
                  </a:lnTo>
                  <a:lnTo>
                    <a:pt x="1363" y="1622"/>
                  </a:lnTo>
                  <a:lnTo>
                    <a:pt x="1363" y="1622"/>
                  </a:lnTo>
                  <a:lnTo>
                    <a:pt x="1363" y="1622"/>
                  </a:lnTo>
                  <a:lnTo>
                    <a:pt x="1365" y="1623"/>
                  </a:lnTo>
                  <a:lnTo>
                    <a:pt x="1365" y="1625"/>
                  </a:lnTo>
                  <a:lnTo>
                    <a:pt x="1363" y="1626"/>
                  </a:lnTo>
                  <a:lnTo>
                    <a:pt x="1363" y="1629"/>
                  </a:lnTo>
                  <a:lnTo>
                    <a:pt x="1362" y="1630"/>
                  </a:lnTo>
                  <a:lnTo>
                    <a:pt x="1359" y="1632"/>
                  </a:lnTo>
                  <a:lnTo>
                    <a:pt x="1359" y="1633"/>
                  </a:lnTo>
                  <a:lnTo>
                    <a:pt x="1359" y="1633"/>
                  </a:lnTo>
                  <a:lnTo>
                    <a:pt x="1359" y="1635"/>
                  </a:lnTo>
                  <a:lnTo>
                    <a:pt x="1358" y="1637"/>
                  </a:lnTo>
                  <a:lnTo>
                    <a:pt x="1355" y="1642"/>
                  </a:lnTo>
                  <a:lnTo>
                    <a:pt x="1353" y="1642"/>
                  </a:lnTo>
                  <a:lnTo>
                    <a:pt x="1353" y="1643"/>
                  </a:lnTo>
                  <a:lnTo>
                    <a:pt x="1353" y="1645"/>
                  </a:lnTo>
                  <a:lnTo>
                    <a:pt x="1352" y="1646"/>
                  </a:lnTo>
                  <a:lnTo>
                    <a:pt x="1349" y="1650"/>
                  </a:lnTo>
                  <a:lnTo>
                    <a:pt x="1349" y="1652"/>
                  </a:lnTo>
                  <a:lnTo>
                    <a:pt x="1349" y="1652"/>
                  </a:lnTo>
                  <a:lnTo>
                    <a:pt x="1349" y="1655"/>
                  </a:lnTo>
                  <a:lnTo>
                    <a:pt x="1349" y="1655"/>
                  </a:lnTo>
                  <a:lnTo>
                    <a:pt x="1348" y="1656"/>
                  </a:lnTo>
                  <a:lnTo>
                    <a:pt x="1348" y="1657"/>
                  </a:lnTo>
                  <a:lnTo>
                    <a:pt x="1348" y="1657"/>
                  </a:lnTo>
                  <a:lnTo>
                    <a:pt x="1348" y="1659"/>
                  </a:lnTo>
                  <a:lnTo>
                    <a:pt x="1348" y="1659"/>
                  </a:lnTo>
                  <a:lnTo>
                    <a:pt x="1348" y="1660"/>
                  </a:lnTo>
                  <a:lnTo>
                    <a:pt x="1348" y="1662"/>
                  </a:lnTo>
                  <a:lnTo>
                    <a:pt x="1349" y="1660"/>
                  </a:lnTo>
                  <a:lnTo>
                    <a:pt x="1350" y="1657"/>
                  </a:lnTo>
                  <a:lnTo>
                    <a:pt x="1353" y="1655"/>
                  </a:lnTo>
                  <a:lnTo>
                    <a:pt x="1353" y="1655"/>
                  </a:lnTo>
                  <a:lnTo>
                    <a:pt x="1355" y="1653"/>
                  </a:lnTo>
                  <a:lnTo>
                    <a:pt x="1356" y="1652"/>
                  </a:lnTo>
                  <a:lnTo>
                    <a:pt x="1356" y="1649"/>
                  </a:lnTo>
                  <a:lnTo>
                    <a:pt x="1358" y="1649"/>
                  </a:lnTo>
                  <a:lnTo>
                    <a:pt x="1358" y="1649"/>
                  </a:lnTo>
                  <a:lnTo>
                    <a:pt x="1359" y="1650"/>
                  </a:lnTo>
                  <a:lnTo>
                    <a:pt x="1359" y="1652"/>
                  </a:lnTo>
                  <a:lnTo>
                    <a:pt x="1358" y="1653"/>
                  </a:lnTo>
                  <a:lnTo>
                    <a:pt x="1358" y="1653"/>
                  </a:lnTo>
                  <a:lnTo>
                    <a:pt x="1359" y="1652"/>
                  </a:lnTo>
                  <a:lnTo>
                    <a:pt x="1362" y="1652"/>
                  </a:lnTo>
                  <a:lnTo>
                    <a:pt x="1363" y="1652"/>
                  </a:lnTo>
                  <a:lnTo>
                    <a:pt x="1365" y="1653"/>
                  </a:lnTo>
                  <a:lnTo>
                    <a:pt x="1366" y="1652"/>
                  </a:lnTo>
                  <a:lnTo>
                    <a:pt x="1368" y="1652"/>
                  </a:lnTo>
                  <a:lnTo>
                    <a:pt x="1369" y="1652"/>
                  </a:lnTo>
                  <a:lnTo>
                    <a:pt x="1368" y="1653"/>
                  </a:lnTo>
                  <a:lnTo>
                    <a:pt x="1368" y="1655"/>
                  </a:lnTo>
                  <a:lnTo>
                    <a:pt x="1365" y="1656"/>
                  </a:lnTo>
                  <a:lnTo>
                    <a:pt x="1360" y="1659"/>
                  </a:lnTo>
                  <a:lnTo>
                    <a:pt x="1359" y="1662"/>
                  </a:lnTo>
                  <a:lnTo>
                    <a:pt x="1359" y="1660"/>
                  </a:lnTo>
                  <a:lnTo>
                    <a:pt x="1360" y="1660"/>
                  </a:lnTo>
                  <a:lnTo>
                    <a:pt x="1360" y="1659"/>
                  </a:lnTo>
                  <a:lnTo>
                    <a:pt x="1362" y="1659"/>
                  </a:lnTo>
                  <a:lnTo>
                    <a:pt x="1363" y="1660"/>
                  </a:lnTo>
                  <a:lnTo>
                    <a:pt x="1362" y="1660"/>
                  </a:lnTo>
                  <a:lnTo>
                    <a:pt x="1362" y="1662"/>
                  </a:lnTo>
                  <a:lnTo>
                    <a:pt x="1359" y="1665"/>
                  </a:lnTo>
                  <a:lnTo>
                    <a:pt x="1360" y="1665"/>
                  </a:lnTo>
                  <a:lnTo>
                    <a:pt x="1363" y="1663"/>
                  </a:lnTo>
                  <a:lnTo>
                    <a:pt x="1366" y="1666"/>
                  </a:lnTo>
                  <a:lnTo>
                    <a:pt x="1369" y="1665"/>
                  </a:lnTo>
                  <a:lnTo>
                    <a:pt x="1370" y="1665"/>
                  </a:lnTo>
                  <a:lnTo>
                    <a:pt x="1370" y="1665"/>
                  </a:lnTo>
                  <a:lnTo>
                    <a:pt x="1370" y="1666"/>
                  </a:lnTo>
                  <a:lnTo>
                    <a:pt x="1370" y="1667"/>
                  </a:lnTo>
                  <a:lnTo>
                    <a:pt x="1370" y="1667"/>
                  </a:lnTo>
                  <a:lnTo>
                    <a:pt x="1372" y="1666"/>
                  </a:lnTo>
                  <a:lnTo>
                    <a:pt x="1372" y="1666"/>
                  </a:lnTo>
                  <a:lnTo>
                    <a:pt x="1372" y="1663"/>
                  </a:lnTo>
                  <a:lnTo>
                    <a:pt x="1372" y="1663"/>
                  </a:lnTo>
                  <a:lnTo>
                    <a:pt x="1373" y="1663"/>
                  </a:lnTo>
                  <a:lnTo>
                    <a:pt x="1373" y="1665"/>
                  </a:lnTo>
                  <a:lnTo>
                    <a:pt x="1373" y="1666"/>
                  </a:lnTo>
                  <a:lnTo>
                    <a:pt x="1373" y="1667"/>
                  </a:lnTo>
                  <a:lnTo>
                    <a:pt x="1372" y="1670"/>
                  </a:lnTo>
                  <a:lnTo>
                    <a:pt x="1372" y="1672"/>
                  </a:lnTo>
                  <a:lnTo>
                    <a:pt x="1372" y="1673"/>
                  </a:lnTo>
                  <a:lnTo>
                    <a:pt x="1370" y="1675"/>
                  </a:lnTo>
                  <a:lnTo>
                    <a:pt x="1372" y="1675"/>
                  </a:lnTo>
                  <a:lnTo>
                    <a:pt x="1373" y="1673"/>
                  </a:lnTo>
                  <a:lnTo>
                    <a:pt x="1373" y="1673"/>
                  </a:lnTo>
                  <a:lnTo>
                    <a:pt x="1373" y="1672"/>
                  </a:lnTo>
                  <a:lnTo>
                    <a:pt x="1373" y="1672"/>
                  </a:lnTo>
                  <a:lnTo>
                    <a:pt x="1373" y="1670"/>
                  </a:lnTo>
                  <a:lnTo>
                    <a:pt x="1376" y="1669"/>
                  </a:lnTo>
                  <a:lnTo>
                    <a:pt x="1376" y="1669"/>
                  </a:lnTo>
                  <a:lnTo>
                    <a:pt x="1376" y="1669"/>
                  </a:lnTo>
                  <a:lnTo>
                    <a:pt x="1376" y="1670"/>
                  </a:lnTo>
                  <a:lnTo>
                    <a:pt x="1378" y="1670"/>
                  </a:lnTo>
                  <a:lnTo>
                    <a:pt x="1378" y="1669"/>
                  </a:lnTo>
                  <a:lnTo>
                    <a:pt x="1379" y="1667"/>
                  </a:lnTo>
                  <a:lnTo>
                    <a:pt x="1380" y="1667"/>
                  </a:lnTo>
                  <a:lnTo>
                    <a:pt x="1382" y="1666"/>
                  </a:lnTo>
                  <a:lnTo>
                    <a:pt x="1382" y="1666"/>
                  </a:lnTo>
                  <a:lnTo>
                    <a:pt x="1383" y="1665"/>
                  </a:lnTo>
                  <a:lnTo>
                    <a:pt x="1385" y="1663"/>
                  </a:lnTo>
                  <a:lnTo>
                    <a:pt x="1385" y="1663"/>
                  </a:lnTo>
                  <a:lnTo>
                    <a:pt x="1385" y="1665"/>
                  </a:lnTo>
                  <a:lnTo>
                    <a:pt x="1385" y="1666"/>
                  </a:lnTo>
                  <a:lnTo>
                    <a:pt x="1385" y="1667"/>
                  </a:lnTo>
                  <a:lnTo>
                    <a:pt x="1386" y="1669"/>
                  </a:lnTo>
                  <a:lnTo>
                    <a:pt x="1386" y="1666"/>
                  </a:lnTo>
                  <a:lnTo>
                    <a:pt x="1388" y="1666"/>
                  </a:lnTo>
                  <a:lnTo>
                    <a:pt x="1388" y="1666"/>
                  </a:lnTo>
                  <a:lnTo>
                    <a:pt x="1389" y="1666"/>
                  </a:lnTo>
                  <a:lnTo>
                    <a:pt x="1393" y="1666"/>
                  </a:lnTo>
                  <a:lnTo>
                    <a:pt x="1395" y="1666"/>
                  </a:lnTo>
                  <a:lnTo>
                    <a:pt x="1396" y="1667"/>
                  </a:lnTo>
                  <a:lnTo>
                    <a:pt x="1399" y="1669"/>
                  </a:lnTo>
                  <a:lnTo>
                    <a:pt x="1399" y="1670"/>
                  </a:lnTo>
                  <a:lnTo>
                    <a:pt x="1400" y="1672"/>
                  </a:lnTo>
                  <a:lnTo>
                    <a:pt x="1399" y="1673"/>
                  </a:lnTo>
                  <a:lnTo>
                    <a:pt x="1398" y="1675"/>
                  </a:lnTo>
                  <a:lnTo>
                    <a:pt x="1396" y="1676"/>
                  </a:lnTo>
                  <a:lnTo>
                    <a:pt x="1396" y="1676"/>
                  </a:lnTo>
                  <a:lnTo>
                    <a:pt x="1396" y="1677"/>
                  </a:lnTo>
                  <a:lnTo>
                    <a:pt x="1395" y="1677"/>
                  </a:lnTo>
                  <a:lnTo>
                    <a:pt x="1395" y="1679"/>
                  </a:lnTo>
                  <a:lnTo>
                    <a:pt x="1390" y="1682"/>
                  </a:lnTo>
                  <a:lnTo>
                    <a:pt x="1390" y="1682"/>
                  </a:lnTo>
                  <a:lnTo>
                    <a:pt x="1393" y="1680"/>
                  </a:lnTo>
                  <a:lnTo>
                    <a:pt x="1395" y="1680"/>
                  </a:lnTo>
                  <a:lnTo>
                    <a:pt x="1395" y="1682"/>
                  </a:lnTo>
                  <a:lnTo>
                    <a:pt x="1395" y="1682"/>
                  </a:lnTo>
                  <a:lnTo>
                    <a:pt x="1393" y="1683"/>
                  </a:lnTo>
                  <a:lnTo>
                    <a:pt x="1393" y="1683"/>
                  </a:lnTo>
                  <a:lnTo>
                    <a:pt x="1393" y="1683"/>
                  </a:lnTo>
                  <a:lnTo>
                    <a:pt x="1395" y="1685"/>
                  </a:lnTo>
                  <a:lnTo>
                    <a:pt x="1396" y="1683"/>
                  </a:lnTo>
                  <a:lnTo>
                    <a:pt x="1398" y="1685"/>
                  </a:lnTo>
                  <a:lnTo>
                    <a:pt x="1398" y="1685"/>
                  </a:lnTo>
                  <a:lnTo>
                    <a:pt x="1396" y="1686"/>
                  </a:lnTo>
                  <a:lnTo>
                    <a:pt x="1396" y="1687"/>
                  </a:lnTo>
                  <a:lnTo>
                    <a:pt x="1395" y="1689"/>
                  </a:lnTo>
                  <a:lnTo>
                    <a:pt x="1392" y="1690"/>
                  </a:lnTo>
                  <a:lnTo>
                    <a:pt x="1390" y="1690"/>
                  </a:lnTo>
                  <a:lnTo>
                    <a:pt x="1390" y="1692"/>
                  </a:lnTo>
                  <a:lnTo>
                    <a:pt x="1393" y="1690"/>
                  </a:lnTo>
                  <a:lnTo>
                    <a:pt x="1395" y="1689"/>
                  </a:lnTo>
                  <a:lnTo>
                    <a:pt x="1396" y="1689"/>
                  </a:lnTo>
                  <a:lnTo>
                    <a:pt x="1398" y="1689"/>
                  </a:lnTo>
                  <a:lnTo>
                    <a:pt x="1399" y="1687"/>
                  </a:lnTo>
                  <a:lnTo>
                    <a:pt x="1400" y="1689"/>
                  </a:lnTo>
                  <a:lnTo>
                    <a:pt x="1402" y="1687"/>
                  </a:lnTo>
                  <a:lnTo>
                    <a:pt x="1403" y="1686"/>
                  </a:lnTo>
                  <a:lnTo>
                    <a:pt x="1405" y="1687"/>
                  </a:lnTo>
                  <a:lnTo>
                    <a:pt x="1405" y="1686"/>
                  </a:lnTo>
                  <a:lnTo>
                    <a:pt x="1406" y="1685"/>
                  </a:lnTo>
                  <a:lnTo>
                    <a:pt x="1407" y="1685"/>
                  </a:lnTo>
                  <a:lnTo>
                    <a:pt x="1407" y="1685"/>
                  </a:lnTo>
                  <a:lnTo>
                    <a:pt x="1407" y="1685"/>
                  </a:lnTo>
                  <a:lnTo>
                    <a:pt x="1409" y="1686"/>
                  </a:lnTo>
                  <a:lnTo>
                    <a:pt x="1407" y="1687"/>
                  </a:lnTo>
                  <a:lnTo>
                    <a:pt x="1407" y="1689"/>
                  </a:lnTo>
                  <a:lnTo>
                    <a:pt x="1406" y="1690"/>
                  </a:lnTo>
                  <a:lnTo>
                    <a:pt x="1406" y="1692"/>
                  </a:lnTo>
                  <a:lnTo>
                    <a:pt x="1405" y="1692"/>
                  </a:lnTo>
                  <a:lnTo>
                    <a:pt x="1403" y="1692"/>
                  </a:lnTo>
                  <a:lnTo>
                    <a:pt x="1403" y="1692"/>
                  </a:lnTo>
                  <a:lnTo>
                    <a:pt x="1402" y="1693"/>
                  </a:lnTo>
                  <a:lnTo>
                    <a:pt x="1400" y="1695"/>
                  </a:lnTo>
                  <a:lnTo>
                    <a:pt x="1399" y="1696"/>
                  </a:lnTo>
                  <a:lnTo>
                    <a:pt x="1400" y="1696"/>
                  </a:lnTo>
                  <a:lnTo>
                    <a:pt x="1400" y="1697"/>
                  </a:lnTo>
                  <a:lnTo>
                    <a:pt x="1399" y="1699"/>
                  </a:lnTo>
                  <a:lnTo>
                    <a:pt x="1398" y="1699"/>
                  </a:lnTo>
                  <a:lnTo>
                    <a:pt x="1398" y="1699"/>
                  </a:lnTo>
                  <a:lnTo>
                    <a:pt x="1396" y="1699"/>
                  </a:lnTo>
                  <a:lnTo>
                    <a:pt x="1395" y="1700"/>
                  </a:lnTo>
                  <a:lnTo>
                    <a:pt x="1396" y="1700"/>
                  </a:lnTo>
                  <a:lnTo>
                    <a:pt x="1398" y="1700"/>
                  </a:lnTo>
                  <a:lnTo>
                    <a:pt x="1399" y="1700"/>
                  </a:lnTo>
                  <a:lnTo>
                    <a:pt x="1398" y="1702"/>
                  </a:lnTo>
                  <a:lnTo>
                    <a:pt x="1398" y="1702"/>
                  </a:lnTo>
                  <a:lnTo>
                    <a:pt x="1395" y="1705"/>
                  </a:lnTo>
                  <a:lnTo>
                    <a:pt x="1395" y="1706"/>
                  </a:lnTo>
                  <a:lnTo>
                    <a:pt x="1395" y="1707"/>
                  </a:lnTo>
                  <a:lnTo>
                    <a:pt x="1396" y="1707"/>
                  </a:lnTo>
                  <a:lnTo>
                    <a:pt x="1396" y="1709"/>
                  </a:lnTo>
                  <a:lnTo>
                    <a:pt x="1398" y="1709"/>
                  </a:lnTo>
                  <a:lnTo>
                    <a:pt x="1399" y="1709"/>
                  </a:lnTo>
                  <a:lnTo>
                    <a:pt x="1400" y="1706"/>
                  </a:lnTo>
                  <a:lnTo>
                    <a:pt x="1405" y="1700"/>
                  </a:lnTo>
                  <a:lnTo>
                    <a:pt x="1407" y="1699"/>
                  </a:lnTo>
                  <a:lnTo>
                    <a:pt x="1410" y="1697"/>
                  </a:lnTo>
                  <a:lnTo>
                    <a:pt x="1410" y="1697"/>
                  </a:lnTo>
                  <a:lnTo>
                    <a:pt x="1410" y="1697"/>
                  </a:lnTo>
                  <a:lnTo>
                    <a:pt x="1410" y="1697"/>
                  </a:lnTo>
                  <a:lnTo>
                    <a:pt x="1409" y="1700"/>
                  </a:lnTo>
                  <a:lnTo>
                    <a:pt x="1409" y="1700"/>
                  </a:lnTo>
                  <a:lnTo>
                    <a:pt x="1407" y="1705"/>
                  </a:lnTo>
                  <a:lnTo>
                    <a:pt x="1406" y="1706"/>
                  </a:lnTo>
                  <a:lnTo>
                    <a:pt x="1406" y="1709"/>
                  </a:lnTo>
                  <a:lnTo>
                    <a:pt x="1406" y="1712"/>
                  </a:lnTo>
                  <a:lnTo>
                    <a:pt x="1406" y="1713"/>
                  </a:lnTo>
                  <a:lnTo>
                    <a:pt x="1406" y="1713"/>
                  </a:lnTo>
                  <a:lnTo>
                    <a:pt x="1407" y="1713"/>
                  </a:lnTo>
                  <a:lnTo>
                    <a:pt x="1409" y="1710"/>
                  </a:lnTo>
                  <a:lnTo>
                    <a:pt x="1410" y="1709"/>
                  </a:lnTo>
                  <a:lnTo>
                    <a:pt x="1412" y="1707"/>
                  </a:lnTo>
                  <a:lnTo>
                    <a:pt x="1412" y="1706"/>
                  </a:lnTo>
                  <a:lnTo>
                    <a:pt x="1413" y="1706"/>
                  </a:lnTo>
                  <a:lnTo>
                    <a:pt x="1413" y="1706"/>
                  </a:lnTo>
                  <a:lnTo>
                    <a:pt x="1413" y="1707"/>
                  </a:lnTo>
                  <a:lnTo>
                    <a:pt x="1413" y="1709"/>
                  </a:lnTo>
                  <a:lnTo>
                    <a:pt x="1415" y="1712"/>
                  </a:lnTo>
                  <a:lnTo>
                    <a:pt x="1415" y="1713"/>
                  </a:lnTo>
                  <a:lnTo>
                    <a:pt x="1413" y="1715"/>
                  </a:lnTo>
                  <a:lnTo>
                    <a:pt x="1410" y="1722"/>
                  </a:lnTo>
                  <a:lnTo>
                    <a:pt x="1410" y="1723"/>
                  </a:lnTo>
                  <a:lnTo>
                    <a:pt x="1410" y="1723"/>
                  </a:lnTo>
                  <a:lnTo>
                    <a:pt x="1410" y="1725"/>
                  </a:lnTo>
                  <a:lnTo>
                    <a:pt x="1409" y="1729"/>
                  </a:lnTo>
                  <a:lnTo>
                    <a:pt x="1407" y="1730"/>
                  </a:lnTo>
                  <a:lnTo>
                    <a:pt x="1407" y="1732"/>
                  </a:lnTo>
                  <a:lnTo>
                    <a:pt x="1407" y="1732"/>
                  </a:lnTo>
                  <a:lnTo>
                    <a:pt x="1406" y="1732"/>
                  </a:lnTo>
                  <a:lnTo>
                    <a:pt x="1405" y="1732"/>
                  </a:lnTo>
                  <a:lnTo>
                    <a:pt x="1405" y="1732"/>
                  </a:lnTo>
                  <a:lnTo>
                    <a:pt x="1405" y="1730"/>
                  </a:lnTo>
                  <a:lnTo>
                    <a:pt x="1403" y="1730"/>
                  </a:lnTo>
                  <a:lnTo>
                    <a:pt x="1403" y="1730"/>
                  </a:lnTo>
                  <a:lnTo>
                    <a:pt x="1400" y="1733"/>
                  </a:lnTo>
                  <a:lnTo>
                    <a:pt x="1399" y="1733"/>
                  </a:lnTo>
                  <a:lnTo>
                    <a:pt x="1399" y="1733"/>
                  </a:lnTo>
                  <a:lnTo>
                    <a:pt x="1399" y="1732"/>
                  </a:lnTo>
                  <a:lnTo>
                    <a:pt x="1399" y="1726"/>
                  </a:lnTo>
                  <a:lnTo>
                    <a:pt x="1399" y="1725"/>
                  </a:lnTo>
                  <a:lnTo>
                    <a:pt x="1399" y="1723"/>
                  </a:lnTo>
                  <a:lnTo>
                    <a:pt x="1399" y="1722"/>
                  </a:lnTo>
                  <a:lnTo>
                    <a:pt x="1399" y="1720"/>
                  </a:lnTo>
                  <a:lnTo>
                    <a:pt x="1399" y="1720"/>
                  </a:lnTo>
                  <a:lnTo>
                    <a:pt x="1399" y="1720"/>
                  </a:lnTo>
                  <a:lnTo>
                    <a:pt x="1398" y="1722"/>
                  </a:lnTo>
                  <a:lnTo>
                    <a:pt x="1396" y="1723"/>
                  </a:lnTo>
                  <a:lnTo>
                    <a:pt x="1395" y="1726"/>
                  </a:lnTo>
                  <a:lnTo>
                    <a:pt x="1392" y="1727"/>
                  </a:lnTo>
                  <a:lnTo>
                    <a:pt x="1392" y="1729"/>
                  </a:lnTo>
                  <a:lnTo>
                    <a:pt x="1390" y="1727"/>
                  </a:lnTo>
                  <a:lnTo>
                    <a:pt x="1390" y="1727"/>
                  </a:lnTo>
                  <a:lnTo>
                    <a:pt x="1390" y="1727"/>
                  </a:lnTo>
                  <a:lnTo>
                    <a:pt x="1390" y="1726"/>
                  </a:lnTo>
                  <a:lnTo>
                    <a:pt x="1390" y="1725"/>
                  </a:lnTo>
                  <a:lnTo>
                    <a:pt x="1392" y="1722"/>
                  </a:lnTo>
                  <a:lnTo>
                    <a:pt x="1393" y="1717"/>
                  </a:lnTo>
                  <a:lnTo>
                    <a:pt x="1395" y="1715"/>
                  </a:lnTo>
                  <a:lnTo>
                    <a:pt x="1395" y="1713"/>
                  </a:lnTo>
                  <a:lnTo>
                    <a:pt x="1395" y="1713"/>
                  </a:lnTo>
                  <a:lnTo>
                    <a:pt x="1395" y="1712"/>
                  </a:lnTo>
                  <a:lnTo>
                    <a:pt x="1393" y="1709"/>
                  </a:lnTo>
                  <a:lnTo>
                    <a:pt x="1393" y="1706"/>
                  </a:lnTo>
                  <a:lnTo>
                    <a:pt x="1392" y="1705"/>
                  </a:lnTo>
                  <a:lnTo>
                    <a:pt x="1389" y="1703"/>
                  </a:lnTo>
                  <a:lnTo>
                    <a:pt x="1389" y="1705"/>
                  </a:lnTo>
                  <a:lnTo>
                    <a:pt x="1389" y="1706"/>
                  </a:lnTo>
                  <a:lnTo>
                    <a:pt x="1386" y="1710"/>
                  </a:lnTo>
                  <a:lnTo>
                    <a:pt x="1386" y="1713"/>
                  </a:lnTo>
                  <a:lnTo>
                    <a:pt x="1385" y="1715"/>
                  </a:lnTo>
                  <a:lnTo>
                    <a:pt x="1385" y="1715"/>
                  </a:lnTo>
                  <a:lnTo>
                    <a:pt x="1383" y="1715"/>
                  </a:lnTo>
                  <a:lnTo>
                    <a:pt x="1383" y="1715"/>
                  </a:lnTo>
                  <a:lnTo>
                    <a:pt x="1385" y="1712"/>
                  </a:lnTo>
                  <a:lnTo>
                    <a:pt x="1385" y="1712"/>
                  </a:lnTo>
                  <a:lnTo>
                    <a:pt x="1383" y="1713"/>
                  </a:lnTo>
                  <a:lnTo>
                    <a:pt x="1382" y="1715"/>
                  </a:lnTo>
                  <a:lnTo>
                    <a:pt x="1380" y="1715"/>
                  </a:lnTo>
                  <a:lnTo>
                    <a:pt x="1380" y="1715"/>
                  </a:lnTo>
                  <a:lnTo>
                    <a:pt x="1379" y="1715"/>
                  </a:lnTo>
                  <a:lnTo>
                    <a:pt x="1375" y="1720"/>
                  </a:lnTo>
                  <a:lnTo>
                    <a:pt x="1375" y="1722"/>
                  </a:lnTo>
                  <a:lnTo>
                    <a:pt x="1375" y="1723"/>
                  </a:lnTo>
                  <a:lnTo>
                    <a:pt x="1372" y="1726"/>
                  </a:lnTo>
                  <a:lnTo>
                    <a:pt x="1372" y="1726"/>
                  </a:lnTo>
                  <a:lnTo>
                    <a:pt x="1370" y="1726"/>
                  </a:lnTo>
                  <a:lnTo>
                    <a:pt x="1369" y="1726"/>
                  </a:lnTo>
                  <a:lnTo>
                    <a:pt x="1368" y="1726"/>
                  </a:lnTo>
                  <a:lnTo>
                    <a:pt x="1366" y="1727"/>
                  </a:lnTo>
                  <a:lnTo>
                    <a:pt x="1363" y="1727"/>
                  </a:lnTo>
                  <a:lnTo>
                    <a:pt x="1363" y="1727"/>
                  </a:lnTo>
                  <a:lnTo>
                    <a:pt x="1362" y="1726"/>
                  </a:lnTo>
                  <a:lnTo>
                    <a:pt x="1362" y="1726"/>
                  </a:lnTo>
                  <a:lnTo>
                    <a:pt x="1362" y="1725"/>
                  </a:lnTo>
                  <a:lnTo>
                    <a:pt x="1362" y="1725"/>
                  </a:lnTo>
                  <a:lnTo>
                    <a:pt x="1362" y="1723"/>
                  </a:lnTo>
                  <a:lnTo>
                    <a:pt x="1363" y="1722"/>
                  </a:lnTo>
                  <a:lnTo>
                    <a:pt x="1365" y="1722"/>
                  </a:lnTo>
                  <a:lnTo>
                    <a:pt x="1368" y="1722"/>
                  </a:lnTo>
                  <a:lnTo>
                    <a:pt x="1369" y="1720"/>
                  </a:lnTo>
                  <a:lnTo>
                    <a:pt x="1370" y="1719"/>
                  </a:lnTo>
                  <a:lnTo>
                    <a:pt x="1370" y="1717"/>
                  </a:lnTo>
                  <a:lnTo>
                    <a:pt x="1373" y="1713"/>
                  </a:lnTo>
                  <a:lnTo>
                    <a:pt x="1378" y="1712"/>
                  </a:lnTo>
                  <a:lnTo>
                    <a:pt x="1379" y="1710"/>
                  </a:lnTo>
                  <a:lnTo>
                    <a:pt x="1380" y="1709"/>
                  </a:lnTo>
                  <a:lnTo>
                    <a:pt x="1380" y="1709"/>
                  </a:lnTo>
                  <a:lnTo>
                    <a:pt x="1379" y="1709"/>
                  </a:lnTo>
                  <a:lnTo>
                    <a:pt x="1378" y="1709"/>
                  </a:lnTo>
                  <a:lnTo>
                    <a:pt x="1376" y="1709"/>
                  </a:lnTo>
                  <a:lnTo>
                    <a:pt x="1376" y="1709"/>
                  </a:lnTo>
                  <a:lnTo>
                    <a:pt x="1373" y="1709"/>
                  </a:lnTo>
                  <a:lnTo>
                    <a:pt x="1370" y="1709"/>
                  </a:lnTo>
                  <a:lnTo>
                    <a:pt x="1370" y="1709"/>
                  </a:lnTo>
                  <a:lnTo>
                    <a:pt x="1370" y="1712"/>
                  </a:lnTo>
                  <a:lnTo>
                    <a:pt x="1369" y="1712"/>
                  </a:lnTo>
                  <a:lnTo>
                    <a:pt x="1369" y="1713"/>
                  </a:lnTo>
                  <a:lnTo>
                    <a:pt x="1369" y="1713"/>
                  </a:lnTo>
                  <a:lnTo>
                    <a:pt x="1368" y="1713"/>
                  </a:lnTo>
                  <a:lnTo>
                    <a:pt x="1365" y="1712"/>
                  </a:lnTo>
                  <a:lnTo>
                    <a:pt x="1363" y="1712"/>
                  </a:lnTo>
                  <a:lnTo>
                    <a:pt x="1363" y="1712"/>
                  </a:lnTo>
                  <a:lnTo>
                    <a:pt x="1359" y="1712"/>
                  </a:lnTo>
                  <a:lnTo>
                    <a:pt x="1359" y="1712"/>
                  </a:lnTo>
                  <a:lnTo>
                    <a:pt x="1359" y="1712"/>
                  </a:lnTo>
                  <a:lnTo>
                    <a:pt x="1363" y="1710"/>
                  </a:lnTo>
                  <a:lnTo>
                    <a:pt x="1363" y="1706"/>
                  </a:lnTo>
                  <a:lnTo>
                    <a:pt x="1363" y="1705"/>
                  </a:lnTo>
                  <a:lnTo>
                    <a:pt x="1362" y="1706"/>
                  </a:lnTo>
                  <a:lnTo>
                    <a:pt x="1360" y="1706"/>
                  </a:lnTo>
                  <a:lnTo>
                    <a:pt x="1359" y="1706"/>
                  </a:lnTo>
                  <a:lnTo>
                    <a:pt x="1359" y="1706"/>
                  </a:lnTo>
                  <a:lnTo>
                    <a:pt x="1358" y="1706"/>
                  </a:lnTo>
                  <a:lnTo>
                    <a:pt x="1358" y="1709"/>
                  </a:lnTo>
                  <a:lnTo>
                    <a:pt x="1356" y="1709"/>
                  </a:lnTo>
                  <a:lnTo>
                    <a:pt x="1355" y="1709"/>
                  </a:lnTo>
                  <a:lnTo>
                    <a:pt x="1353" y="1709"/>
                  </a:lnTo>
                  <a:lnTo>
                    <a:pt x="1349" y="1710"/>
                  </a:lnTo>
                  <a:lnTo>
                    <a:pt x="1348" y="1710"/>
                  </a:lnTo>
                  <a:lnTo>
                    <a:pt x="1345" y="1710"/>
                  </a:lnTo>
                  <a:lnTo>
                    <a:pt x="1338" y="1709"/>
                  </a:lnTo>
                  <a:lnTo>
                    <a:pt x="1333" y="1709"/>
                  </a:lnTo>
                  <a:lnTo>
                    <a:pt x="1330" y="1709"/>
                  </a:lnTo>
                  <a:lnTo>
                    <a:pt x="1330" y="1707"/>
                  </a:lnTo>
                  <a:lnTo>
                    <a:pt x="1325" y="1709"/>
                  </a:lnTo>
                  <a:lnTo>
                    <a:pt x="1323" y="1707"/>
                  </a:lnTo>
                  <a:lnTo>
                    <a:pt x="1323" y="1707"/>
                  </a:lnTo>
                  <a:lnTo>
                    <a:pt x="1323" y="1707"/>
                  </a:lnTo>
                  <a:lnTo>
                    <a:pt x="1322" y="1707"/>
                  </a:lnTo>
                  <a:lnTo>
                    <a:pt x="1320" y="1709"/>
                  </a:lnTo>
                  <a:lnTo>
                    <a:pt x="1319" y="1709"/>
                  </a:lnTo>
                  <a:lnTo>
                    <a:pt x="1313" y="1710"/>
                  </a:lnTo>
                  <a:lnTo>
                    <a:pt x="1310" y="1710"/>
                  </a:lnTo>
                  <a:lnTo>
                    <a:pt x="1309" y="1710"/>
                  </a:lnTo>
                  <a:lnTo>
                    <a:pt x="1309" y="1709"/>
                  </a:lnTo>
                  <a:lnTo>
                    <a:pt x="1308" y="1706"/>
                  </a:lnTo>
                  <a:lnTo>
                    <a:pt x="1306" y="1703"/>
                  </a:lnTo>
                  <a:lnTo>
                    <a:pt x="1306" y="1703"/>
                  </a:lnTo>
                  <a:lnTo>
                    <a:pt x="1308" y="1702"/>
                  </a:lnTo>
                  <a:lnTo>
                    <a:pt x="1308" y="1700"/>
                  </a:lnTo>
                  <a:lnTo>
                    <a:pt x="1313" y="1696"/>
                  </a:lnTo>
                  <a:lnTo>
                    <a:pt x="1318" y="1693"/>
                  </a:lnTo>
                  <a:lnTo>
                    <a:pt x="1319" y="1690"/>
                  </a:lnTo>
                  <a:lnTo>
                    <a:pt x="1320" y="1690"/>
                  </a:lnTo>
                  <a:lnTo>
                    <a:pt x="1323" y="1687"/>
                  </a:lnTo>
                  <a:lnTo>
                    <a:pt x="1323" y="1687"/>
                  </a:lnTo>
                  <a:lnTo>
                    <a:pt x="1320" y="1687"/>
                  </a:lnTo>
                  <a:lnTo>
                    <a:pt x="1319" y="1687"/>
                  </a:lnTo>
                  <a:lnTo>
                    <a:pt x="1318" y="1687"/>
                  </a:lnTo>
                  <a:lnTo>
                    <a:pt x="1313" y="1687"/>
                  </a:lnTo>
                  <a:lnTo>
                    <a:pt x="1310" y="1687"/>
                  </a:lnTo>
                  <a:lnTo>
                    <a:pt x="1310" y="1687"/>
                  </a:lnTo>
                  <a:lnTo>
                    <a:pt x="1312" y="1685"/>
                  </a:lnTo>
                  <a:lnTo>
                    <a:pt x="1315" y="1682"/>
                  </a:lnTo>
                  <a:lnTo>
                    <a:pt x="1315" y="1682"/>
                  </a:lnTo>
                  <a:lnTo>
                    <a:pt x="1315" y="1683"/>
                  </a:lnTo>
                  <a:lnTo>
                    <a:pt x="1315" y="1685"/>
                  </a:lnTo>
                  <a:lnTo>
                    <a:pt x="1315" y="1686"/>
                  </a:lnTo>
                  <a:lnTo>
                    <a:pt x="1315" y="1686"/>
                  </a:lnTo>
                  <a:lnTo>
                    <a:pt x="1318" y="1686"/>
                  </a:lnTo>
                  <a:lnTo>
                    <a:pt x="1318" y="1686"/>
                  </a:lnTo>
                  <a:lnTo>
                    <a:pt x="1318" y="1682"/>
                  </a:lnTo>
                  <a:lnTo>
                    <a:pt x="1320" y="1679"/>
                  </a:lnTo>
                  <a:lnTo>
                    <a:pt x="1320" y="1676"/>
                  </a:lnTo>
                  <a:lnTo>
                    <a:pt x="1322" y="1675"/>
                  </a:lnTo>
                  <a:lnTo>
                    <a:pt x="1323" y="1673"/>
                  </a:lnTo>
                  <a:lnTo>
                    <a:pt x="1323" y="1675"/>
                  </a:lnTo>
                  <a:lnTo>
                    <a:pt x="1326" y="1675"/>
                  </a:lnTo>
                  <a:lnTo>
                    <a:pt x="1328" y="1676"/>
                  </a:lnTo>
                  <a:lnTo>
                    <a:pt x="1329" y="1676"/>
                  </a:lnTo>
                  <a:lnTo>
                    <a:pt x="1329" y="1676"/>
                  </a:lnTo>
                  <a:lnTo>
                    <a:pt x="1328" y="1676"/>
                  </a:lnTo>
                  <a:lnTo>
                    <a:pt x="1328" y="1675"/>
                  </a:lnTo>
                  <a:lnTo>
                    <a:pt x="1328" y="1675"/>
                  </a:lnTo>
                  <a:lnTo>
                    <a:pt x="1328" y="1672"/>
                  </a:lnTo>
                  <a:lnTo>
                    <a:pt x="1329" y="1672"/>
                  </a:lnTo>
                  <a:lnTo>
                    <a:pt x="1329" y="1670"/>
                  </a:lnTo>
                  <a:lnTo>
                    <a:pt x="1328" y="1670"/>
                  </a:lnTo>
                  <a:lnTo>
                    <a:pt x="1326" y="1670"/>
                  </a:lnTo>
                  <a:lnTo>
                    <a:pt x="1325" y="1669"/>
                  </a:lnTo>
                  <a:lnTo>
                    <a:pt x="1325" y="1667"/>
                  </a:lnTo>
                  <a:lnTo>
                    <a:pt x="1326" y="1666"/>
                  </a:lnTo>
                  <a:lnTo>
                    <a:pt x="1326" y="1665"/>
                  </a:lnTo>
                  <a:lnTo>
                    <a:pt x="1328" y="1663"/>
                  </a:lnTo>
                  <a:lnTo>
                    <a:pt x="1329" y="1663"/>
                  </a:lnTo>
                  <a:lnTo>
                    <a:pt x="1330" y="1665"/>
                  </a:lnTo>
                  <a:lnTo>
                    <a:pt x="1332" y="1665"/>
                  </a:lnTo>
                  <a:lnTo>
                    <a:pt x="1332" y="1663"/>
                  </a:lnTo>
                  <a:lnTo>
                    <a:pt x="1330" y="1662"/>
                  </a:lnTo>
                  <a:lnTo>
                    <a:pt x="1329" y="1660"/>
                  </a:lnTo>
                  <a:lnTo>
                    <a:pt x="1330" y="1659"/>
                  </a:lnTo>
                  <a:lnTo>
                    <a:pt x="1333" y="1650"/>
                  </a:lnTo>
                  <a:lnTo>
                    <a:pt x="1335" y="1646"/>
                  </a:lnTo>
                  <a:lnTo>
                    <a:pt x="1338" y="1640"/>
                  </a:lnTo>
                  <a:lnTo>
                    <a:pt x="1338" y="1639"/>
                  </a:lnTo>
                  <a:lnTo>
                    <a:pt x="1339" y="1637"/>
                  </a:lnTo>
                  <a:lnTo>
                    <a:pt x="1339" y="1636"/>
                  </a:lnTo>
                  <a:lnTo>
                    <a:pt x="1340" y="1636"/>
                  </a:lnTo>
                  <a:lnTo>
                    <a:pt x="1342" y="1636"/>
                  </a:lnTo>
                  <a:lnTo>
                    <a:pt x="1340" y="1636"/>
                  </a:lnTo>
                  <a:lnTo>
                    <a:pt x="1340" y="1635"/>
                  </a:lnTo>
                  <a:lnTo>
                    <a:pt x="1340" y="1635"/>
                  </a:lnTo>
                  <a:lnTo>
                    <a:pt x="1340" y="1633"/>
                  </a:lnTo>
                  <a:lnTo>
                    <a:pt x="1340" y="1633"/>
                  </a:lnTo>
                  <a:lnTo>
                    <a:pt x="1342" y="1632"/>
                  </a:lnTo>
                  <a:lnTo>
                    <a:pt x="1343" y="1630"/>
                  </a:lnTo>
                  <a:lnTo>
                    <a:pt x="1345" y="1627"/>
                  </a:lnTo>
                  <a:lnTo>
                    <a:pt x="1345" y="1627"/>
                  </a:lnTo>
                  <a:lnTo>
                    <a:pt x="1343" y="1626"/>
                  </a:lnTo>
                  <a:lnTo>
                    <a:pt x="1345" y="1626"/>
                  </a:lnTo>
                  <a:lnTo>
                    <a:pt x="1345" y="1626"/>
                  </a:lnTo>
                  <a:lnTo>
                    <a:pt x="1348" y="1623"/>
                  </a:lnTo>
                  <a:lnTo>
                    <a:pt x="1348" y="1623"/>
                  </a:lnTo>
                  <a:lnTo>
                    <a:pt x="1349" y="1619"/>
                  </a:lnTo>
                  <a:lnTo>
                    <a:pt x="1349" y="1617"/>
                  </a:lnTo>
                  <a:lnTo>
                    <a:pt x="1350" y="1617"/>
                  </a:lnTo>
                  <a:lnTo>
                    <a:pt x="1352" y="1616"/>
                  </a:lnTo>
                  <a:lnTo>
                    <a:pt x="1358" y="1615"/>
                  </a:lnTo>
                  <a:lnTo>
                    <a:pt x="1360" y="1612"/>
                  </a:lnTo>
                  <a:lnTo>
                    <a:pt x="1362" y="1612"/>
                  </a:lnTo>
                  <a:lnTo>
                    <a:pt x="1363" y="1613"/>
                  </a:lnTo>
                  <a:lnTo>
                    <a:pt x="1366" y="1615"/>
                  </a:lnTo>
                  <a:lnTo>
                    <a:pt x="1366" y="1613"/>
                  </a:lnTo>
                  <a:lnTo>
                    <a:pt x="1365" y="1612"/>
                  </a:lnTo>
                  <a:lnTo>
                    <a:pt x="1366" y="1612"/>
                  </a:lnTo>
                  <a:lnTo>
                    <a:pt x="1369" y="1612"/>
                  </a:lnTo>
                  <a:lnTo>
                    <a:pt x="1369" y="1612"/>
                  </a:lnTo>
                  <a:lnTo>
                    <a:pt x="1369" y="1612"/>
                  </a:lnTo>
                  <a:lnTo>
                    <a:pt x="1369" y="1613"/>
                  </a:lnTo>
                  <a:close/>
                  <a:moveTo>
                    <a:pt x="221" y="1636"/>
                  </a:moveTo>
                  <a:lnTo>
                    <a:pt x="228" y="1639"/>
                  </a:lnTo>
                  <a:lnTo>
                    <a:pt x="236" y="1640"/>
                  </a:lnTo>
                  <a:lnTo>
                    <a:pt x="242" y="1642"/>
                  </a:lnTo>
                  <a:lnTo>
                    <a:pt x="246" y="1643"/>
                  </a:lnTo>
                  <a:lnTo>
                    <a:pt x="248" y="1643"/>
                  </a:lnTo>
                  <a:lnTo>
                    <a:pt x="248" y="1643"/>
                  </a:lnTo>
                  <a:lnTo>
                    <a:pt x="249" y="1645"/>
                  </a:lnTo>
                  <a:lnTo>
                    <a:pt x="251" y="1649"/>
                  </a:lnTo>
                  <a:lnTo>
                    <a:pt x="252" y="1652"/>
                  </a:lnTo>
                  <a:lnTo>
                    <a:pt x="255" y="1656"/>
                  </a:lnTo>
                  <a:lnTo>
                    <a:pt x="256" y="1659"/>
                  </a:lnTo>
                  <a:lnTo>
                    <a:pt x="258" y="1659"/>
                  </a:lnTo>
                  <a:lnTo>
                    <a:pt x="256" y="1660"/>
                  </a:lnTo>
                  <a:lnTo>
                    <a:pt x="256" y="1660"/>
                  </a:lnTo>
                  <a:lnTo>
                    <a:pt x="258" y="1663"/>
                  </a:lnTo>
                  <a:lnTo>
                    <a:pt x="262" y="1666"/>
                  </a:lnTo>
                  <a:lnTo>
                    <a:pt x="263" y="1667"/>
                  </a:lnTo>
                  <a:lnTo>
                    <a:pt x="269" y="1669"/>
                  </a:lnTo>
                  <a:lnTo>
                    <a:pt x="272" y="1670"/>
                  </a:lnTo>
                  <a:lnTo>
                    <a:pt x="272" y="1672"/>
                  </a:lnTo>
                  <a:lnTo>
                    <a:pt x="273" y="1673"/>
                  </a:lnTo>
                  <a:lnTo>
                    <a:pt x="275" y="1675"/>
                  </a:lnTo>
                  <a:lnTo>
                    <a:pt x="276" y="1677"/>
                  </a:lnTo>
                  <a:lnTo>
                    <a:pt x="278" y="1680"/>
                  </a:lnTo>
                  <a:lnTo>
                    <a:pt x="279" y="1686"/>
                  </a:lnTo>
                  <a:lnTo>
                    <a:pt x="281" y="1686"/>
                  </a:lnTo>
                  <a:lnTo>
                    <a:pt x="281" y="1685"/>
                  </a:lnTo>
                  <a:lnTo>
                    <a:pt x="281" y="1683"/>
                  </a:lnTo>
                  <a:lnTo>
                    <a:pt x="281" y="1683"/>
                  </a:lnTo>
                  <a:lnTo>
                    <a:pt x="282" y="1685"/>
                  </a:lnTo>
                  <a:lnTo>
                    <a:pt x="282" y="1686"/>
                  </a:lnTo>
                  <a:lnTo>
                    <a:pt x="283" y="1689"/>
                  </a:lnTo>
                  <a:lnTo>
                    <a:pt x="283" y="1690"/>
                  </a:lnTo>
                  <a:lnTo>
                    <a:pt x="282" y="1690"/>
                  </a:lnTo>
                  <a:lnTo>
                    <a:pt x="281" y="1690"/>
                  </a:lnTo>
                  <a:lnTo>
                    <a:pt x="281" y="1690"/>
                  </a:lnTo>
                  <a:lnTo>
                    <a:pt x="279" y="1692"/>
                  </a:lnTo>
                  <a:lnTo>
                    <a:pt x="279" y="1693"/>
                  </a:lnTo>
                  <a:lnTo>
                    <a:pt x="278" y="1692"/>
                  </a:lnTo>
                  <a:lnTo>
                    <a:pt x="273" y="1692"/>
                  </a:lnTo>
                  <a:lnTo>
                    <a:pt x="269" y="1690"/>
                  </a:lnTo>
                  <a:lnTo>
                    <a:pt x="266" y="1687"/>
                  </a:lnTo>
                  <a:lnTo>
                    <a:pt x="261" y="1686"/>
                  </a:lnTo>
                  <a:lnTo>
                    <a:pt x="258" y="1685"/>
                  </a:lnTo>
                  <a:lnTo>
                    <a:pt x="255" y="1683"/>
                  </a:lnTo>
                  <a:lnTo>
                    <a:pt x="254" y="1682"/>
                  </a:lnTo>
                  <a:lnTo>
                    <a:pt x="254" y="1682"/>
                  </a:lnTo>
                  <a:lnTo>
                    <a:pt x="254" y="1680"/>
                  </a:lnTo>
                  <a:lnTo>
                    <a:pt x="256" y="1677"/>
                  </a:lnTo>
                  <a:lnTo>
                    <a:pt x="258" y="1676"/>
                  </a:lnTo>
                  <a:lnTo>
                    <a:pt x="259" y="1675"/>
                  </a:lnTo>
                  <a:lnTo>
                    <a:pt x="259" y="1673"/>
                  </a:lnTo>
                  <a:lnTo>
                    <a:pt x="259" y="1672"/>
                  </a:lnTo>
                  <a:lnTo>
                    <a:pt x="259" y="1672"/>
                  </a:lnTo>
                  <a:lnTo>
                    <a:pt x="258" y="1673"/>
                  </a:lnTo>
                  <a:lnTo>
                    <a:pt x="258" y="1675"/>
                  </a:lnTo>
                  <a:lnTo>
                    <a:pt x="258" y="1676"/>
                  </a:lnTo>
                  <a:lnTo>
                    <a:pt x="256" y="1676"/>
                  </a:lnTo>
                  <a:lnTo>
                    <a:pt x="254" y="1676"/>
                  </a:lnTo>
                  <a:lnTo>
                    <a:pt x="249" y="1676"/>
                  </a:lnTo>
                  <a:lnTo>
                    <a:pt x="248" y="1677"/>
                  </a:lnTo>
                  <a:lnTo>
                    <a:pt x="248" y="1677"/>
                  </a:lnTo>
                  <a:lnTo>
                    <a:pt x="246" y="1677"/>
                  </a:lnTo>
                  <a:lnTo>
                    <a:pt x="245" y="1676"/>
                  </a:lnTo>
                  <a:lnTo>
                    <a:pt x="242" y="1675"/>
                  </a:lnTo>
                  <a:lnTo>
                    <a:pt x="242" y="1673"/>
                  </a:lnTo>
                  <a:lnTo>
                    <a:pt x="245" y="1673"/>
                  </a:lnTo>
                  <a:lnTo>
                    <a:pt x="245" y="1672"/>
                  </a:lnTo>
                  <a:lnTo>
                    <a:pt x="245" y="1672"/>
                  </a:lnTo>
                  <a:lnTo>
                    <a:pt x="245" y="1672"/>
                  </a:lnTo>
                  <a:lnTo>
                    <a:pt x="244" y="1672"/>
                  </a:lnTo>
                  <a:lnTo>
                    <a:pt x="244" y="1670"/>
                  </a:lnTo>
                  <a:lnTo>
                    <a:pt x="242" y="1669"/>
                  </a:lnTo>
                  <a:lnTo>
                    <a:pt x="241" y="1670"/>
                  </a:lnTo>
                  <a:lnTo>
                    <a:pt x="241" y="1670"/>
                  </a:lnTo>
                  <a:lnTo>
                    <a:pt x="241" y="1669"/>
                  </a:lnTo>
                  <a:lnTo>
                    <a:pt x="241" y="1667"/>
                  </a:lnTo>
                  <a:lnTo>
                    <a:pt x="241" y="1666"/>
                  </a:lnTo>
                  <a:lnTo>
                    <a:pt x="239" y="1667"/>
                  </a:lnTo>
                  <a:lnTo>
                    <a:pt x="239" y="1667"/>
                  </a:lnTo>
                  <a:lnTo>
                    <a:pt x="238" y="1666"/>
                  </a:lnTo>
                  <a:lnTo>
                    <a:pt x="238" y="1666"/>
                  </a:lnTo>
                  <a:lnTo>
                    <a:pt x="236" y="1666"/>
                  </a:lnTo>
                  <a:lnTo>
                    <a:pt x="236" y="1666"/>
                  </a:lnTo>
                  <a:lnTo>
                    <a:pt x="235" y="1666"/>
                  </a:lnTo>
                  <a:lnTo>
                    <a:pt x="235" y="1666"/>
                  </a:lnTo>
                  <a:lnTo>
                    <a:pt x="235" y="1667"/>
                  </a:lnTo>
                  <a:lnTo>
                    <a:pt x="234" y="1665"/>
                  </a:lnTo>
                  <a:lnTo>
                    <a:pt x="232" y="1665"/>
                  </a:lnTo>
                  <a:lnTo>
                    <a:pt x="232" y="1666"/>
                  </a:lnTo>
                  <a:lnTo>
                    <a:pt x="232" y="1666"/>
                  </a:lnTo>
                  <a:lnTo>
                    <a:pt x="231" y="1666"/>
                  </a:lnTo>
                  <a:lnTo>
                    <a:pt x="231" y="1663"/>
                  </a:lnTo>
                  <a:lnTo>
                    <a:pt x="231" y="1662"/>
                  </a:lnTo>
                  <a:lnTo>
                    <a:pt x="231" y="1662"/>
                  </a:lnTo>
                  <a:lnTo>
                    <a:pt x="232" y="1662"/>
                  </a:lnTo>
                  <a:lnTo>
                    <a:pt x="238" y="1660"/>
                  </a:lnTo>
                  <a:lnTo>
                    <a:pt x="238" y="1660"/>
                  </a:lnTo>
                  <a:lnTo>
                    <a:pt x="234" y="1660"/>
                  </a:lnTo>
                  <a:lnTo>
                    <a:pt x="234" y="1659"/>
                  </a:lnTo>
                  <a:lnTo>
                    <a:pt x="232" y="1659"/>
                  </a:lnTo>
                  <a:lnTo>
                    <a:pt x="231" y="1659"/>
                  </a:lnTo>
                  <a:lnTo>
                    <a:pt x="231" y="1659"/>
                  </a:lnTo>
                  <a:lnTo>
                    <a:pt x="231" y="1657"/>
                  </a:lnTo>
                  <a:lnTo>
                    <a:pt x="229" y="1655"/>
                  </a:lnTo>
                  <a:lnTo>
                    <a:pt x="228" y="1655"/>
                  </a:lnTo>
                  <a:lnTo>
                    <a:pt x="226" y="1653"/>
                  </a:lnTo>
                  <a:lnTo>
                    <a:pt x="225" y="1653"/>
                  </a:lnTo>
                  <a:lnTo>
                    <a:pt x="225" y="1653"/>
                  </a:lnTo>
                  <a:lnTo>
                    <a:pt x="225" y="1655"/>
                  </a:lnTo>
                  <a:lnTo>
                    <a:pt x="224" y="1655"/>
                  </a:lnTo>
                  <a:lnTo>
                    <a:pt x="224" y="1655"/>
                  </a:lnTo>
                  <a:lnTo>
                    <a:pt x="222" y="1655"/>
                  </a:lnTo>
                  <a:lnTo>
                    <a:pt x="221" y="1653"/>
                  </a:lnTo>
                  <a:lnTo>
                    <a:pt x="221" y="1653"/>
                  </a:lnTo>
                  <a:lnTo>
                    <a:pt x="221" y="1652"/>
                  </a:lnTo>
                  <a:lnTo>
                    <a:pt x="221" y="1650"/>
                  </a:lnTo>
                  <a:lnTo>
                    <a:pt x="221" y="1650"/>
                  </a:lnTo>
                  <a:lnTo>
                    <a:pt x="221" y="1649"/>
                  </a:lnTo>
                  <a:lnTo>
                    <a:pt x="221" y="1649"/>
                  </a:lnTo>
                  <a:lnTo>
                    <a:pt x="219" y="1647"/>
                  </a:lnTo>
                  <a:lnTo>
                    <a:pt x="219" y="1649"/>
                  </a:lnTo>
                  <a:lnTo>
                    <a:pt x="219" y="1649"/>
                  </a:lnTo>
                  <a:lnTo>
                    <a:pt x="219" y="1650"/>
                  </a:lnTo>
                  <a:lnTo>
                    <a:pt x="218" y="1650"/>
                  </a:lnTo>
                  <a:lnTo>
                    <a:pt x="218" y="1649"/>
                  </a:lnTo>
                  <a:lnTo>
                    <a:pt x="216" y="1649"/>
                  </a:lnTo>
                  <a:lnTo>
                    <a:pt x="216" y="1647"/>
                  </a:lnTo>
                  <a:lnTo>
                    <a:pt x="214" y="1647"/>
                  </a:lnTo>
                  <a:lnTo>
                    <a:pt x="211" y="1649"/>
                  </a:lnTo>
                  <a:lnTo>
                    <a:pt x="211" y="1649"/>
                  </a:lnTo>
                  <a:lnTo>
                    <a:pt x="209" y="1649"/>
                  </a:lnTo>
                  <a:lnTo>
                    <a:pt x="209" y="1647"/>
                  </a:lnTo>
                  <a:lnTo>
                    <a:pt x="211" y="1646"/>
                  </a:lnTo>
                  <a:lnTo>
                    <a:pt x="211" y="1645"/>
                  </a:lnTo>
                  <a:lnTo>
                    <a:pt x="211" y="1643"/>
                  </a:lnTo>
                  <a:lnTo>
                    <a:pt x="208" y="1643"/>
                  </a:lnTo>
                  <a:lnTo>
                    <a:pt x="208" y="1643"/>
                  </a:lnTo>
                  <a:lnTo>
                    <a:pt x="209" y="1640"/>
                  </a:lnTo>
                  <a:lnTo>
                    <a:pt x="209" y="1640"/>
                  </a:lnTo>
                  <a:lnTo>
                    <a:pt x="211" y="1640"/>
                  </a:lnTo>
                  <a:lnTo>
                    <a:pt x="214" y="1640"/>
                  </a:lnTo>
                  <a:lnTo>
                    <a:pt x="215" y="1640"/>
                  </a:lnTo>
                  <a:lnTo>
                    <a:pt x="216" y="1642"/>
                  </a:lnTo>
                  <a:lnTo>
                    <a:pt x="216" y="1640"/>
                  </a:lnTo>
                  <a:lnTo>
                    <a:pt x="215" y="1639"/>
                  </a:lnTo>
                  <a:lnTo>
                    <a:pt x="215" y="1637"/>
                  </a:lnTo>
                  <a:lnTo>
                    <a:pt x="216" y="1637"/>
                  </a:lnTo>
                  <a:lnTo>
                    <a:pt x="215" y="1636"/>
                  </a:lnTo>
                  <a:lnTo>
                    <a:pt x="212" y="1636"/>
                  </a:lnTo>
                  <a:lnTo>
                    <a:pt x="212" y="1637"/>
                  </a:lnTo>
                  <a:lnTo>
                    <a:pt x="212" y="1639"/>
                  </a:lnTo>
                  <a:lnTo>
                    <a:pt x="209" y="1639"/>
                  </a:lnTo>
                  <a:lnTo>
                    <a:pt x="208" y="1639"/>
                  </a:lnTo>
                  <a:lnTo>
                    <a:pt x="206" y="1639"/>
                  </a:lnTo>
                  <a:lnTo>
                    <a:pt x="205" y="1639"/>
                  </a:lnTo>
                  <a:lnTo>
                    <a:pt x="204" y="1636"/>
                  </a:lnTo>
                  <a:lnTo>
                    <a:pt x="202" y="1635"/>
                  </a:lnTo>
                  <a:lnTo>
                    <a:pt x="202" y="1633"/>
                  </a:lnTo>
                  <a:lnTo>
                    <a:pt x="204" y="1632"/>
                  </a:lnTo>
                  <a:lnTo>
                    <a:pt x="204" y="1630"/>
                  </a:lnTo>
                  <a:lnTo>
                    <a:pt x="206" y="1630"/>
                  </a:lnTo>
                  <a:lnTo>
                    <a:pt x="209" y="1630"/>
                  </a:lnTo>
                  <a:lnTo>
                    <a:pt x="212" y="1630"/>
                  </a:lnTo>
                  <a:lnTo>
                    <a:pt x="221" y="1636"/>
                  </a:lnTo>
                  <a:close/>
                  <a:moveTo>
                    <a:pt x="1368" y="1633"/>
                  </a:moveTo>
                  <a:lnTo>
                    <a:pt x="1368" y="1633"/>
                  </a:lnTo>
                  <a:lnTo>
                    <a:pt x="1368" y="1633"/>
                  </a:lnTo>
                  <a:lnTo>
                    <a:pt x="1366" y="1633"/>
                  </a:lnTo>
                  <a:lnTo>
                    <a:pt x="1366" y="1633"/>
                  </a:lnTo>
                  <a:lnTo>
                    <a:pt x="1368" y="1632"/>
                  </a:lnTo>
                  <a:lnTo>
                    <a:pt x="1368" y="1632"/>
                  </a:lnTo>
                  <a:lnTo>
                    <a:pt x="1369" y="1632"/>
                  </a:lnTo>
                  <a:lnTo>
                    <a:pt x="1369" y="1632"/>
                  </a:lnTo>
                  <a:lnTo>
                    <a:pt x="1369" y="1633"/>
                  </a:lnTo>
                  <a:lnTo>
                    <a:pt x="1368" y="1633"/>
                  </a:lnTo>
                  <a:close/>
                  <a:moveTo>
                    <a:pt x="252" y="1649"/>
                  </a:moveTo>
                  <a:lnTo>
                    <a:pt x="252" y="1650"/>
                  </a:lnTo>
                  <a:lnTo>
                    <a:pt x="252" y="1649"/>
                  </a:lnTo>
                  <a:lnTo>
                    <a:pt x="251" y="1643"/>
                  </a:lnTo>
                  <a:lnTo>
                    <a:pt x="251" y="1643"/>
                  </a:lnTo>
                  <a:lnTo>
                    <a:pt x="251" y="1642"/>
                  </a:lnTo>
                  <a:lnTo>
                    <a:pt x="252" y="1642"/>
                  </a:lnTo>
                  <a:lnTo>
                    <a:pt x="252" y="1642"/>
                  </a:lnTo>
                  <a:lnTo>
                    <a:pt x="254" y="1643"/>
                  </a:lnTo>
                  <a:lnTo>
                    <a:pt x="254" y="1643"/>
                  </a:lnTo>
                  <a:lnTo>
                    <a:pt x="255" y="1645"/>
                  </a:lnTo>
                  <a:lnTo>
                    <a:pt x="255" y="1646"/>
                  </a:lnTo>
                  <a:lnTo>
                    <a:pt x="254" y="1647"/>
                  </a:lnTo>
                  <a:lnTo>
                    <a:pt x="252" y="1649"/>
                  </a:lnTo>
                  <a:close/>
                  <a:moveTo>
                    <a:pt x="256" y="1650"/>
                  </a:moveTo>
                  <a:lnTo>
                    <a:pt x="256" y="1652"/>
                  </a:lnTo>
                  <a:lnTo>
                    <a:pt x="255" y="1649"/>
                  </a:lnTo>
                  <a:lnTo>
                    <a:pt x="256" y="1647"/>
                  </a:lnTo>
                  <a:lnTo>
                    <a:pt x="256" y="1646"/>
                  </a:lnTo>
                  <a:lnTo>
                    <a:pt x="256" y="1646"/>
                  </a:lnTo>
                  <a:lnTo>
                    <a:pt x="256" y="1647"/>
                  </a:lnTo>
                  <a:lnTo>
                    <a:pt x="256" y="1649"/>
                  </a:lnTo>
                  <a:lnTo>
                    <a:pt x="258" y="1649"/>
                  </a:lnTo>
                  <a:lnTo>
                    <a:pt x="258" y="1650"/>
                  </a:lnTo>
                  <a:lnTo>
                    <a:pt x="256" y="1650"/>
                  </a:lnTo>
                  <a:close/>
                  <a:moveTo>
                    <a:pt x="1268" y="1675"/>
                  </a:moveTo>
                  <a:lnTo>
                    <a:pt x="1261" y="1675"/>
                  </a:lnTo>
                  <a:lnTo>
                    <a:pt x="1256" y="1673"/>
                  </a:lnTo>
                  <a:lnTo>
                    <a:pt x="1252" y="1672"/>
                  </a:lnTo>
                  <a:lnTo>
                    <a:pt x="1248" y="1670"/>
                  </a:lnTo>
                  <a:lnTo>
                    <a:pt x="1239" y="1666"/>
                  </a:lnTo>
                  <a:lnTo>
                    <a:pt x="1239" y="1665"/>
                  </a:lnTo>
                  <a:lnTo>
                    <a:pt x="1238" y="1663"/>
                  </a:lnTo>
                  <a:lnTo>
                    <a:pt x="1236" y="1662"/>
                  </a:lnTo>
                  <a:lnTo>
                    <a:pt x="1235" y="1660"/>
                  </a:lnTo>
                  <a:lnTo>
                    <a:pt x="1225" y="1656"/>
                  </a:lnTo>
                  <a:lnTo>
                    <a:pt x="1225" y="1655"/>
                  </a:lnTo>
                  <a:lnTo>
                    <a:pt x="1226" y="1653"/>
                  </a:lnTo>
                  <a:lnTo>
                    <a:pt x="1229" y="1653"/>
                  </a:lnTo>
                  <a:lnTo>
                    <a:pt x="1231" y="1653"/>
                  </a:lnTo>
                  <a:lnTo>
                    <a:pt x="1236" y="1655"/>
                  </a:lnTo>
                  <a:lnTo>
                    <a:pt x="1243" y="1656"/>
                  </a:lnTo>
                  <a:lnTo>
                    <a:pt x="1248" y="1657"/>
                  </a:lnTo>
                  <a:lnTo>
                    <a:pt x="1251" y="1659"/>
                  </a:lnTo>
                  <a:lnTo>
                    <a:pt x="1255" y="1660"/>
                  </a:lnTo>
                  <a:lnTo>
                    <a:pt x="1262" y="1666"/>
                  </a:lnTo>
                  <a:lnTo>
                    <a:pt x="1263" y="1666"/>
                  </a:lnTo>
                  <a:lnTo>
                    <a:pt x="1268" y="1669"/>
                  </a:lnTo>
                  <a:lnTo>
                    <a:pt x="1269" y="1672"/>
                  </a:lnTo>
                  <a:lnTo>
                    <a:pt x="1269" y="1673"/>
                  </a:lnTo>
                  <a:lnTo>
                    <a:pt x="1269" y="1673"/>
                  </a:lnTo>
                  <a:lnTo>
                    <a:pt x="1268" y="1675"/>
                  </a:lnTo>
                  <a:close/>
                  <a:moveTo>
                    <a:pt x="229" y="1662"/>
                  </a:moveTo>
                  <a:lnTo>
                    <a:pt x="229" y="1662"/>
                  </a:lnTo>
                  <a:lnTo>
                    <a:pt x="228" y="1662"/>
                  </a:lnTo>
                  <a:lnTo>
                    <a:pt x="226" y="1660"/>
                  </a:lnTo>
                  <a:lnTo>
                    <a:pt x="225" y="1659"/>
                  </a:lnTo>
                  <a:lnTo>
                    <a:pt x="225" y="1659"/>
                  </a:lnTo>
                  <a:lnTo>
                    <a:pt x="225" y="1657"/>
                  </a:lnTo>
                  <a:lnTo>
                    <a:pt x="225" y="1657"/>
                  </a:lnTo>
                  <a:lnTo>
                    <a:pt x="225" y="1657"/>
                  </a:lnTo>
                  <a:lnTo>
                    <a:pt x="225" y="1656"/>
                  </a:lnTo>
                  <a:lnTo>
                    <a:pt x="226" y="1655"/>
                  </a:lnTo>
                  <a:lnTo>
                    <a:pt x="228" y="1656"/>
                  </a:lnTo>
                  <a:lnTo>
                    <a:pt x="228" y="1656"/>
                  </a:lnTo>
                  <a:lnTo>
                    <a:pt x="229" y="1657"/>
                  </a:lnTo>
                  <a:lnTo>
                    <a:pt x="229" y="1660"/>
                  </a:lnTo>
                  <a:lnTo>
                    <a:pt x="229" y="1660"/>
                  </a:lnTo>
                  <a:lnTo>
                    <a:pt x="229" y="1662"/>
                  </a:lnTo>
                  <a:close/>
                  <a:moveTo>
                    <a:pt x="269" y="1663"/>
                  </a:moveTo>
                  <a:lnTo>
                    <a:pt x="269" y="1663"/>
                  </a:lnTo>
                  <a:lnTo>
                    <a:pt x="266" y="1662"/>
                  </a:lnTo>
                  <a:lnTo>
                    <a:pt x="265" y="1660"/>
                  </a:lnTo>
                  <a:lnTo>
                    <a:pt x="263" y="1660"/>
                  </a:lnTo>
                  <a:lnTo>
                    <a:pt x="263" y="1659"/>
                  </a:lnTo>
                  <a:lnTo>
                    <a:pt x="262" y="1657"/>
                  </a:lnTo>
                  <a:lnTo>
                    <a:pt x="261" y="1657"/>
                  </a:lnTo>
                  <a:lnTo>
                    <a:pt x="262" y="1657"/>
                  </a:lnTo>
                  <a:lnTo>
                    <a:pt x="263" y="1657"/>
                  </a:lnTo>
                  <a:lnTo>
                    <a:pt x="265" y="1659"/>
                  </a:lnTo>
                  <a:lnTo>
                    <a:pt x="266" y="1660"/>
                  </a:lnTo>
                  <a:lnTo>
                    <a:pt x="269" y="1663"/>
                  </a:lnTo>
                  <a:close/>
                  <a:moveTo>
                    <a:pt x="1392" y="1657"/>
                  </a:moveTo>
                  <a:lnTo>
                    <a:pt x="1392" y="1659"/>
                  </a:lnTo>
                  <a:lnTo>
                    <a:pt x="1393" y="1660"/>
                  </a:lnTo>
                  <a:lnTo>
                    <a:pt x="1389" y="1662"/>
                  </a:lnTo>
                  <a:lnTo>
                    <a:pt x="1389" y="1662"/>
                  </a:lnTo>
                  <a:lnTo>
                    <a:pt x="1388" y="1662"/>
                  </a:lnTo>
                  <a:lnTo>
                    <a:pt x="1388" y="1660"/>
                  </a:lnTo>
                  <a:lnTo>
                    <a:pt x="1388" y="1659"/>
                  </a:lnTo>
                  <a:lnTo>
                    <a:pt x="1389" y="1659"/>
                  </a:lnTo>
                  <a:lnTo>
                    <a:pt x="1389" y="1659"/>
                  </a:lnTo>
                  <a:lnTo>
                    <a:pt x="1390" y="1657"/>
                  </a:lnTo>
                  <a:lnTo>
                    <a:pt x="1392" y="1657"/>
                  </a:lnTo>
                  <a:close/>
                  <a:moveTo>
                    <a:pt x="1383" y="1662"/>
                  </a:moveTo>
                  <a:lnTo>
                    <a:pt x="1382" y="1663"/>
                  </a:lnTo>
                  <a:lnTo>
                    <a:pt x="1380" y="1663"/>
                  </a:lnTo>
                  <a:lnTo>
                    <a:pt x="1380" y="1665"/>
                  </a:lnTo>
                  <a:lnTo>
                    <a:pt x="1379" y="1663"/>
                  </a:lnTo>
                  <a:lnTo>
                    <a:pt x="1379" y="1662"/>
                  </a:lnTo>
                  <a:lnTo>
                    <a:pt x="1379" y="1662"/>
                  </a:lnTo>
                  <a:lnTo>
                    <a:pt x="1379" y="1662"/>
                  </a:lnTo>
                  <a:lnTo>
                    <a:pt x="1380" y="1662"/>
                  </a:lnTo>
                  <a:lnTo>
                    <a:pt x="1380" y="1662"/>
                  </a:lnTo>
                  <a:lnTo>
                    <a:pt x="1380" y="1663"/>
                  </a:lnTo>
                  <a:lnTo>
                    <a:pt x="1380" y="1663"/>
                  </a:lnTo>
                  <a:lnTo>
                    <a:pt x="1383" y="1660"/>
                  </a:lnTo>
                  <a:lnTo>
                    <a:pt x="1383" y="1660"/>
                  </a:lnTo>
                  <a:lnTo>
                    <a:pt x="1385" y="1662"/>
                  </a:lnTo>
                  <a:lnTo>
                    <a:pt x="1383" y="1662"/>
                  </a:lnTo>
                  <a:close/>
                  <a:moveTo>
                    <a:pt x="238" y="1667"/>
                  </a:moveTo>
                  <a:lnTo>
                    <a:pt x="239" y="1670"/>
                  </a:lnTo>
                  <a:lnTo>
                    <a:pt x="236" y="1669"/>
                  </a:lnTo>
                  <a:lnTo>
                    <a:pt x="236" y="1669"/>
                  </a:lnTo>
                  <a:lnTo>
                    <a:pt x="236" y="1667"/>
                  </a:lnTo>
                  <a:lnTo>
                    <a:pt x="236" y="1667"/>
                  </a:lnTo>
                  <a:lnTo>
                    <a:pt x="238" y="1667"/>
                  </a:lnTo>
                  <a:lnTo>
                    <a:pt x="238" y="1667"/>
                  </a:lnTo>
                  <a:close/>
                  <a:moveTo>
                    <a:pt x="1182" y="1766"/>
                  </a:moveTo>
                  <a:lnTo>
                    <a:pt x="1182" y="1766"/>
                  </a:lnTo>
                  <a:lnTo>
                    <a:pt x="1181" y="1766"/>
                  </a:lnTo>
                  <a:lnTo>
                    <a:pt x="1181" y="1766"/>
                  </a:lnTo>
                  <a:lnTo>
                    <a:pt x="1181" y="1766"/>
                  </a:lnTo>
                  <a:lnTo>
                    <a:pt x="1179" y="1766"/>
                  </a:lnTo>
                  <a:lnTo>
                    <a:pt x="1179" y="1766"/>
                  </a:lnTo>
                  <a:lnTo>
                    <a:pt x="1179" y="1766"/>
                  </a:lnTo>
                  <a:lnTo>
                    <a:pt x="1178" y="1766"/>
                  </a:lnTo>
                  <a:lnTo>
                    <a:pt x="1178" y="1765"/>
                  </a:lnTo>
                  <a:lnTo>
                    <a:pt x="1176" y="1763"/>
                  </a:lnTo>
                  <a:lnTo>
                    <a:pt x="1176" y="1763"/>
                  </a:lnTo>
                  <a:lnTo>
                    <a:pt x="1178" y="1762"/>
                  </a:lnTo>
                  <a:lnTo>
                    <a:pt x="1178" y="1762"/>
                  </a:lnTo>
                  <a:lnTo>
                    <a:pt x="1178" y="1760"/>
                  </a:lnTo>
                  <a:lnTo>
                    <a:pt x="1176" y="1760"/>
                  </a:lnTo>
                  <a:lnTo>
                    <a:pt x="1176" y="1759"/>
                  </a:lnTo>
                  <a:lnTo>
                    <a:pt x="1176" y="1759"/>
                  </a:lnTo>
                  <a:lnTo>
                    <a:pt x="1178" y="1759"/>
                  </a:lnTo>
                  <a:lnTo>
                    <a:pt x="1178" y="1757"/>
                  </a:lnTo>
                  <a:lnTo>
                    <a:pt x="1178" y="1757"/>
                  </a:lnTo>
                  <a:lnTo>
                    <a:pt x="1178" y="1756"/>
                  </a:lnTo>
                  <a:lnTo>
                    <a:pt x="1176" y="1756"/>
                  </a:lnTo>
                  <a:lnTo>
                    <a:pt x="1176" y="1756"/>
                  </a:lnTo>
                  <a:lnTo>
                    <a:pt x="1175" y="1756"/>
                  </a:lnTo>
                  <a:lnTo>
                    <a:pt x="1174" y="1756"/>
                  </a:lnTo>
                  <a:lnTo>
                    <a:pt x="1174" y="1755"/>
                  </a:lnTo>
                  <a:lnTo>
                    <a:pt x="1172" y="1755"/>
                  </a:lnTo>
                  <a:lnTo>
                    <a:pt x="1172" y="1755"/>
                  </a:lnTo>
                  <a:lnTo>
                    <a:pt x="1172" y="1755"/>
                  </a:lnTo>
                  <a:lnTo>
                    <a:pt x="1172" y="1753"/>
                  </a:lnTo>
                  <a:lnTo>
                    <a:pt x="1172" y="1753"/>
                  </a:lnTo>
                  <a:lnTo>
                    <a:pt x="1172" y="1752"/>
                  </a:lnTo>
                  <a:lnTo>
                    <a:pt x="1172" y="1752"/>
                  </a:lnTo>
                  <a:lnTo>
                    <a:pt x="1172" y="1750"/>
                  </a:lnTo>
                  <a:lnTo>
                    <a:pt x="1172" y="1750"/>
                  </a:lnTo>
                  <a:lnTo>
                    <a:pt x="1172" y="1750"/>
                  </a:lnTo>
                  <a:lnTo>
                    <a:pt x="1172" y="1750"/>
                  </a:lnTo>
                  <a:lnTo>
                    <a:pt x="1172" y="1749"/>
                  </a:lnTo>
                  <a:lnTo>
                    <a:pt x="1172" y="1749"/>
                  </a:lnTo>
                  <a:lnTo>
                    <a:pt x="1172" y="1746"/>
                  </a:lnTo>
                  <a:lnTo>
                    <a:pt x="1172" y="1742"/>
                  </a:lnTo>
                  <a:lnTo>
                    <a:pt x="1172" y="1739"/>
                  </a:lnTo>
                  <a:lnTo>
                    <a:pt x="1172" y="1736"/>
                  </a:lnTo>
                  <a:lnTo>
                    <a:pt x="1172" y="1733"/>
                  </a:lnTo>
                  <a:lnTo>
                    <a:pt x="1172" y="1729"/>
                  </a:lnTo>
                  <a:lnTo>
                    <a:pt x="1172" y="1726"/>
                  </a:lnTo>
                  <a:lnTo>
                    <a:pt x="1172" y="1722"/>
                  </a:lnTo>
                  <a:lnTo>
                    <a:pt x="1169" y="1720"/>
                  </a:lnTo>
                  <a:lnTo>
                    <a:pt x="1166" y="1717"/>
                  </a:lnTo>
                  <a:lnTo>
                    <a:pt x="1165" y="1716"/>
                  </a:lnTo>
                  <a:lnTo>
                    <a:pt x="1164" y="1716"/>
                  </a:lnTo>
                  <a:lnTo>
                    <a:pt x="1162" y="1716"/>
                  </a:lnTo>
                  <a:lnTo>
                    <a:pt x="1162" y="1716"/>
                  </a:lnTo>
                  <a:lnTo>
                    <a:pt x="1161" y="1717"/>
                  </a:lnTo>
                  <a:lnTo>
                    <a:pt x="1158" y="1717"/>
                  </a:lnTo>
                  <a:lnTo>
                    <a:pt x="1155" y="1719"/>
                  </a:lnTo>
                  <a:lnTo>
                    <a:pt x="1154" y="1719"/>
                  </a:lnTo>
                  <a:lnTo>
                    <a:pt x="1154" y="1719"/>
                  </a:lnTo>
                  <a:lnTo>
                    <a:pt x="1152" y="1719"/>
                  </a:lnTo>
                  <a:lnTo>
                    <a:pt x="1152" y="1717"/>
                  </a:lnTo>
                  <a:lnTo>
                    <a:pt x="1151" y="1716"/>
                  </a:lnTo>
                  <a:lnTo>
                    <a:pt x="1152" y="1715"/>
                  </a:lnTo>
                  <a:lnTo>
                    <a:pt x="1151" y="1713"/>
                  </a:lnTo>
                  <a:lnTo>
                    <a:pt x="1148" y="1713"/>
                  </a:lnTo>
                  <a:lnTo>
                    <a:pt x="1148" y="1715"/>
                  </a:lnTo>
                  <a:lnTo>
                    <a:pt x="1146" y="1716"/>
                  </a:lnTo>
                  <a:lnTo>
                    <a:pt x="1145" y="1719"/>
                  </a:lnTo>
                  <a:lnTo>
                    <a:pt x="1142" y="1722"/>
                  </a:lnTo>
                  <a:lnTo>
                    <a:pt x="1141" y="1725"/>
                  </a:lnTo>
                  <a:lnTo>
                    <a:pt x="1138" y="1727"/>
                  </a:lnTo>
                  <a:lnTo>
                    <a:pt x="1136" y="1730"/>
                  </a:lnTo>
                  <a:lnTo>
                    <a:pt x="1136" y="1735"/>
                  </a:lnTo>
                  <a:lnTo>
                    <a:pt x="1135" y="1737"/>
                  </a:lnTo>
                  <a:lnTo>
                    <a:pt x="1134" y="1739"/>
                  </a:lnTo>
                  <a:lnTo>
                    <a:pt x="1132" y="1742"/>
                  </a:lnTo>
                  <a:lnTo>
                    <a:pt x="1132" y="1743"/>
                  </a:lnTo>
                  <a:lnTo>
                    <a:pt x="1132" y="1746"/>
                  </a:lnTo>
                  <a:lnTo>
                    <a:pt x="1132" y="1747"/>
                  </a:lnTo>
                  <a:lnTo>
                    <a:pt x="1132" y="1749"/>
                  </a:lnTo>
                  <a:lnTo>
                    <a:pt x="1132" y="1749"/>
                  </a:lnTo>
                  <a:lnTo>
                    <a:pt x="1131" y="1750"/>
                  </a:lnTo>
                  <a:lnTo>
                    <a:pt x="1129" y="1752"/>
                  </a:lnTo>
                  <a:lnTo>
                    <a:pt x="1129" y="1753"/>
                  </a:lnTo>
                  <a:lnTo>
                    <a:pt x="1129" y="1755"/>
                  </a:lnTo>
                  <a:lnTo>
                    <a:pt x="1126" y="1756"/>
                  </a:lnTo>
                  <a:lnTo>
                    <a:pt x="1125" y="1757"/>
                  </a:lnTo>
                  <a:lnTo>
                    <a:pt x="1125" y="1759"/>
                  </a:lnTo>
                  <a:lnTo>
                    <a:pt x="1125" y="1760"/>
                  </a:lnTo>
                  <a:lnTo>
                    <a:pt x="1125" y="1760"/>
                  </a:lnTo>
                  <a:lnTo>
                    <a:pt x="1125" y="1760"/>
                  </a:lnTo>
                  <a:lnTo>
                    <a:pt x="1125" y="1760"/>
                  </a:lnTo>
                  <a:lnTo>
                    <a:pt x="1124" y="1760"/>
                  </a:lnTo>
                  <a:lnTo>
                    <a:pt x="1124" y="1762"/>
                  </a:lnTo>
                  <a:lnTo>
                    <a:pt x="1124" y="1763"/>
                  </a:lnTo>
                  <a:lnTo>
                    <a:pt x="1122" y="1765"/>
                  </a:lnTo>
                  <a:lnTo>
                    <a:pt x="1122" y="1765"/>
                  </a:lnTo>
                  <a:lnTo>
                    <a:pt x="1122" y="1763"/>
                  </a:lnTo>
                  <a:lnTo>
                    <a:pt x="1121" y="1763"/>
                  </a:lnTo>
                  <a:lnTo>
                    <a:pt x="1121" y="1762"/>
                  </a:lnTo>
                  <a:lnTo>
                    <a:pt x="1119" y="1763"/>
                  </a:lnTo>
                  <a:lnTo>
                    <a:pt x="1118" y="1765"/>
                  </a:lnTo>
                  <a:lnTo>
                    <a:pt x="1118" y="1765"/>
                  </a:lnTo>
                  <a:lnTo>
                    <a:pt x="1115" y="1763"/>
                  </a:lnTo>
                  <a:lnTo>
                    <a:pt x="1114" y="1766"/>
                  </a:lnTo>
                  <a:lnTo>
                    <a:pt x="1112" y="1770"/>
                  </a:lnTo>
                  <a:lnTo>
                    <a:pt x="1105" y="1770"/>
                  </a:lnTo>
                  <a:lnTo>
                    <a:pt x="1099" y="1770"/>
                  </a:lnTo>
                  <a:lnTo>
                    <a:pt x="1092" y="1770"/>
                  </a:lnTo>
                  <a:lnTo>
                    <a:pt x="1085" y="1770"/>
                  </a:lnTo>
                  <a:lnTo>
                    <a:pt x="1079" y="1770"/>
                  </a:lnTo>
                  <a:lnTo>
                    <a:pt x="1072" y="1770"/>
                  </a:lnTo>
                  <a:lnTo>
                    <a:pt x="1065" y="1770"/>
                  </a:lnTo>
                  <a:lnTo>
                    <a:pt x="1062" y="1770"/>
                  </a:lnTo>
                  <a:lnTo>
                    <a:pt x="1061" y="1770"/>
                  </a:lnTo>
                  <a:lnTo>
                    <a:pt x="1064" y="1769"/>
                  </a:lnTo>
                  <a:lnTo>
                    <a:pt x="1068" y="1766"/>
                  </a:lnTo>
                  <a:lnTo>
                    <a:pt x="1072" y="1765"/>
                  </a:lnTo>
                  <a:lnTo>
                    <a:pt x="1077" y="1762"/>
                  </a:lnTo>
                  <a:lnTo>
                    <a:pt x="1079" y="1760"/>
                  </a:lnTo>
                  <a:lnTo>
                    <a:pt x="1079" y="1760"/>
                  </a:lnTo>
                  <a:lnTo>
                    <a:pt x="1081" y="1756"/>
                  </a:lnTo>
                  <a:lnTo>
                    <a:pt x="1081" y="1756"/>
                  </a:lnTo>
                  <a:lnTo>
                    <a:pt x="1082" y="1753"/>
                  </a:lnTo>
                  <a:lnTo>
                    <a:pt x="1084" y="1750"/>
                  </a:lnTo>
                  <a:lnTo>
                    <a:pt x="1087" y="1747"/>
                  </a:lnTo>
                  <a:lnTo>
                    <a:pt x="1088" y="1745"/>
                  </a:lnTo>
                  <a:lnTo>
                    <a:pt x="1092" y="1743"/>
                  </a:lnTo>
                  <a:lnTo>
                    <a:pt x="1097" y="1739"/>
                  </a:lnTo>
                  <a:lnTo>
                    <a:pt x="1098" y="1737"/>
                  </a:lnTo>
                  <a:lnTo>
                    <a:pt x="1101" y="1737"/>
                  </a:lnTo>
                  <a:lnTo>
                    <a:pt x="1101" y="1736"/>
                  </a:lnTo>
                  <a:lnTo>
                    <a:pt x="1102" y="1735"/>
                  </a:lnTo>
                  <a:lnTo>
                    <a:pt x="1107" y="1733"/>
                  </a:lnTo>
                  <a:lnTo>
                    <a:pt x="1109" y="1732"/>
                  </a:lnTo>
                  <a:lnTo>
                    <a:pt x="1114" y="1730"/>
                  </a:lnTo>
                  <a:lnTo>
                    <a:pt x="1117" y="1730"/>
                  </a:lnTo>
                  <a:lnTo>
                    <a:pt x="1118" y="1729"/>
                  </a:lnTo>
                  <a:lnTo>
                    <a:pt x="1121" y="1727"/>
                  </a:lnTo>
                  <a:lnTo>
                    <a:pt x="1128" y="1723"/>
                  </a:lnTo>
                  <a:lnTo>
                    <a:pt x="1131" y="1722"/>
                  </a:lnTo>
                  <a:lnTo>
                    <a:pt x="1134" y="1717"/>
                  </a:lnTo>
                  <a:lnTo>
                    <a:pt x="1135" y="1715"/>
                  </a:lnTo>
                  <a:lnTo>
                    <a:pt x="1136" y="1713"/>
                  </a:lnTo>
                  <a:lnTo>
                    <a:pt x="1139" y="1709"/>
                  </a:lnTo>
                  <a:lnTo>
                    <a:pt x="1144" y="1705"/>
                  </a:lnTo>
                  <a:lnTo>
                    <a:pt x="1145" y="1702"/>
                  </a:lnTo>
                  <a:lnTo>
                    <a:pt x="1148" y="1699"/>
                  </a:lnTo>
                  <a:lnTo>
                    <a:pt x="1152" y="1693"/>
                  </a:lnTo>
                  <a:lnTo>
                    <a:pt x="1155" y="1692"/>
                  </a:lnTo>
                  <a:lnTo>
                    <a:pt x="1156" y="1692"/>
                  </a:lnTo>
                  <a:lnTo>
                    <a:pt x="1159" y="1689"/>
                  </a:lnTo>
                  <a:lnTo>
                    <a:pt x="1162" y="1687"/>
                  </a:lnTo>
                  <a:lnTo>
                    <a:pt x="1165" y="1685"/>
                  </a:lnTo>
                  <a:lnTo>
                    <a:pt x="1171" y="1683"/>
                  </a:lnTo>
                  <a:lnTo>
                    <a:pt x="1175" y="1680"/>
                  </a:lnTo>
                  <a:lnTo>
                    <a:pt x="1182" y="1677"/>
                  </a:lnTo>
                  <a:lnTo>
                    <a:pt x="1191" y="1673"/>
                  </a:lnTo>
                  <a:lnTo>
                    <a:pt x="1198" y="1672"/>
                  </a:lnTo>
                  <a:lnTo>
                    <a:pt x="1202" y="1670"/>
                  </a:lnTo>
                  <a:lnTo>
                    <a:pt x="1208" y="1670"/>
                  </a:lnTo>
                  <a:lnTo>
                    <a:pt x="1211" y="1670"/>
                  </a:lnTo>
                  <a:lnTo>
                    <a:pt x="1219" y="1672"/>
                  </a:lnTo>
                  <a:lnTo>
                    <a:pt x="1223" y="1673"/>
                  </a:lnTo>
                  <a:lnTo>
                    <a:pt x="1228" y="1677"/>
                  </a:lnTo>
                  <a:lnTo>
                    <a:pt x="1229" y="1679"/>
                  </a:lnTo>
                  <a:lnTo>
                    <a:pt x="1229" y="1680"/>
                  </a:lnTo>
                  <a:lnTo>
                    <a:pt x="1226" y="1680"/>
                  </a:lnTo>
                  <a:lnTo>
                    <a:pt x="1225" y="1680"/>
                  </a:lnTo>
                  <a:lnTo>
                    <a:pt x="1226" y="1680"/>
                  </a:lnTo>
                  <a:lnTo>
                    <a:pt x="1229" y="1683"/>
                  </a:lnTo>
                  <a:lnTo>
                    <a:pt x="1229" y="1687"/>
                  </a:lnTo>
                  <a:lnTo>
                    <a:pt x="1226" y="1690"/>
                  </a:lnTo>
                  <a:lnTo>
                    <a:pt x="1222" y="1692"/>
                  </a:lnTo>
                  <a:lnTo>
                    <a:pt x="1221" y="1693"/>
                  </a:lnTo>
                  <a:lnTo>
                    <a:pt x="1221" y="1695"/>
                  </a:lnTo>
                  <a:lnTo>
                    <a:pt x="1219" y="1696"/>
                  </a:lnTo>
                  <a:lnTo>
                    <a:pt x="1218" y="1696"/>
                  </a:lnTo>
                  <a:lnTo>
                    <a:pt x="1216" y="1697"/>
                  </a:lnTo>
                  <a:lnTo>
                    <a:pt x="1212" y="1700"/>
                  </a:lnTo>
                  <a:lnTo>
                    <a:pt x="1211" y="1700"/>
                  </a:lnTo>
                  <a:lnTo>
                    <a:pt x="1209" y="1700"/>
                  </a:lnTo>
                  <a:lnTo>
                    <a:pt x="1205" y="1697"/>
                  </a:lnTo>
                  <a:lnTo>
                    <a:pt x="1202" y="1696"/>
                  </a:lnTo>
                  <a:lnTo>
                    <a:pt x="1201" y="1697"/>
                  </a:lnTo>
                  <a:lnTo>
                    <a:pt x="1199" y="1697"/>
                  </a:lnTo>
                  <a:lnTo>
                    <a:pt x="1196" y="1697"/>
                  </a:lnTo>
                  <a:lnTo>
                    <a:pt x="1195" y="1697"/>
                  </a:lnTo>
                  <a:lnTo>
                    <a:pt x="1194" y="1697"/>
                  </a:lnTo>
                  <a:lnTo>
                    <a:pt x="1189" y="1700"/>
                  </a:lnTo>
                  <a:lnTo>
                    <a:pt x="1191" y="1700"/>
                  </a:lnTo>
                  <a:lnTo>
                    <a:pt x="1194" y="1699"/>
                  </a:lnTo>
                  <a:lnTo>
                    <a:pt x="1195" y="1699"/>
                  </a:lnTo>
                  <a:lnTo>
                    <a:pt x="1198" y="1700"/>
                  </a:lnTo>
                  <a:lnTo>
                    <a:pt x="1204" y="1703"/>
                  </a:lnTo>
                  <a:lnTo>
                    <a:pt x="1205" y="1703"/>
                  </a:lnTo>
                  <a:lnTo>
                    <a:pt x="1206" y="1707"/>
                  </a:lnTo>
                  <a:lnTo>
                    <a:pt x="1206" y="1709"/>
                  </a:lnTo>
                  <a:lnTo>
                    <a:pt x="1209" y="1707"/>
                  </a:lnTo>
                  <a:lnTo>
                    <a:pt x="1211" y="1706"/>
                  </a:lnTo>
                  <a:lnTo>
                    <a:pt x="1213" y="1705"/>
                  </a:lnTo>
                  <a:lnTo>
                    <a:pt x="1216" y="1705"/>
                  </a:lnTo>
                  <a:lnTo>
                    <a:pt x="1216" y="1706"/>
                  </a:lnTo>
                  <a:lnTo>
                    <a:pt x="1219" y="1705"/>
                  </a:lnTo>
                  <a:lnTo>
                    <a:pt x="1221" y="1707"/>
                  </a:lnTo>
                  <a:lnTo>
                    <a:pt x="1221" y="1709"/>
                  </a:lnTo>
                  <a:lnTo>
                    <a:pt x="1219" y="1710"/>
                  </a:lnTo>
                  <a:lnTo>
                    <a:pt x="1218" y="1716"/>
                  </a:lnTo>
                  <a:lnTo>
                    <a:pt x="1215" y="1719"/>
                  </a:lnTo>
                  <a:lnTo>
                    <a:pt x="1212" y="1722"/>
                  </a:lnTo>
                  <a:lnTo>
                    <a:pt x="1212" y="1722"/>
                  </a:lnTo>
                  <a:lnTo>
                    <a:pt x="1213" y="1723"/>
                  </a:lnTo>
                  <a:lnTo>
                    <a:pt x="1216" y="1722"/>
                  </a:lnTo>
                  <a:lnTo>
                    <a:pt x="1218" y="1722"/>
                  </a:lnTo>
                  <a:lnTo>
                    <a:pt x="1219" y="1723"/>
                  </a:lnTo>
                  <a:lnTo>
                    <a:pt x="1219" y="1725"/>
                  </a:lnTo>
                  <a:lnTo>
                    <a:pt x="1218" y="1726"/>
                  </a:lnTo>
                  <a:lnTo>
                    <a:pt x="1218" y="1729"/>
                  </a:lnTo>
                  <a:lnTo>
                    <a:pt x="1219" y="1732"/>
                  </a:lnTo>
                  <a:lnTo>
                    <a:pt x="1221" y="1732"/>
                  </a:lnTo>
                  <a:lnTo>
                    <a:pt x="1222" y="1736"/>
                  </a:lnTo>
                  <a:lnTo>
                    <a:pt x="1222" y="1737"/>
                  </a:lnTo>
                  <a:lnTo>
                    <a:pt x="1222" y="1739"/>
                  </a:lnTo>
                  <a:lnTo>
                    <a:pt x="1223" y="1740"/>
                  </a:lnTo>
                  <a:lnTo>
                    <a:pt x="1223" y="1742"/>
                  </a:lnTo>
                  <a:lnTo>
                    <a:pt x="1229" y="1742"/>
                  </a:lnTo>
                  <a:lnTo>
                    <a:pt x="1231" y="1743"/>
                  </a:lnTo>
                  <a:lnTo>
                    <a:pt x="1233" y="1743"/>
                  </a:lnTo>
                  <a:lnTo>
                    <a:pt x="1235" y="1745"/>
                  </a:lnTo>
                  <a:lnTo>
                    <a:pt x="1235" y="1745"/>
                  </a:lnTo>
                  <a:lnTo>
                    <a:pt x="1232" y="1747"/>
                  </a:lnTo>
                  <a:lnTo>
                    <a:pt x="1235" y="1749"/>
                  </a:lnTo>
                  <a:lnTo>
                    <a:pt x="1238" y="1750"/>
                  </a:lnTo>
                  <a:lnTo>
                    <a:pt x="1239" y="1750"/>
                  </a:lnTo>
                  <a:lnTo>
                    <a:pt x="1241" y="1750"/>
                  </a:lnTo>
                  <a:lnTo>
                    <a:pt x="1243" y="1752"/>
                  </a:lnTo>
                  <a:lnTo>
                    <a:pt x="1243" y="1752"/>
                  </a:lnTo>
                  <a:lnTo>
                    <a:pt x="1243" y="1753"/>
                  </a:lnTo>
                  <a:lnTo>
                    <a:pt x="1245" y="1753"/>
                  </a:lnTo>
                  <a:lnTo>
                    <a:pt x="1246" y="1752"/>
                  </a:lnTo>
                  <a:lnTo>
                    <a:pt x="1251" y="1752"/>
                  </a:lnTo>
                  <a:lnTo>
                    <a:pt x="1253" y="1753"/>
                  </a:lnTo>
                  <a:lnTo>
                    <a:pt x="1253" y="1755"/>
                  </a:lnTo>
                  <a:lnTo>
                    <a:pt x="1252" y="1756"/>
                  </a:lnTo>
                  <a:lnTo>
                    <a:pt x="1255" y="1755"/>
                  </a:lnTo>
                  <a:lnTo>
                    <a:pt x="1256" y="1756"/>
                  </a:lnTo>
                  <a:lnTo>
                    <a:pt x="1258" y="1756"/>
                  </a:lnTo>
                  <a:lnTo>
                    <a:pt x="1258" y="1755"/>
                  </a:lnTo>
                  <a:lnTo>
                    <a:pt x="1261" y="1753"/>
                  </a:lnTo>
                  <a:lnTo>
                    <a:pt x="1265" y="1750"/>
                  </a:lnTo>
                  <a:lnTo>
                    <a:pt x="1266" y="1750"/>
                  </a:lnTo>
                  <a:lnTo>
                    <a:pt x="1266" y="1752"/>
                  </a:lnTo>
                  <a:lnTo>
                    <a:pt x="1266" y="1753"/>
                  </a:lnTo>
                  <a:lnTo>
                    <a:pt x="1268" y="1755"/>
                  </a:lnTo>
                  <a:lnTo>
                    <a:pt x="1271" y="1756"/>
                  </a:lnTo>
                  <a:lnTo>
                    <a:pt x="1272" y="1755"/>
                  </a:lnTo>
                  <a:lnTo>
                    <a:pt x="1273" y="1756"/>
                  </a:lnTo>
                  <a:lnTo>
                    <a:pt x="1275" y="1757"/>
                  </a:lnTo>
                  <a:lnTo>
                    <a:pt x="1276" y="1759"/>
                  </a:lnTo>
                  <a:lnTo>
                    <a:pt x="1276" y="1760"/>
                  </a:lnTo>
                  <a:lnTo>
                    <a:pt x="1275" y="1760"/>
                  </a:lnTo>
                  <a:lnTo>
                    <a:pt x="1273" y="1762"/>
                  </a:lnTo>
                  <a:lnTo>
                    <a:pt x="1279" y="1762"/>
                  </a:lnTo>
                  <a:lnTo>
                    <a:pt x="1279" y="1763"/>
                  </a:lnTo>
                  <a:lnTo>
                    <a:pt x="1281" y="1763"/>
                  </a:lnTo>
                  <a:lnTo>
                    <a:pt x="1279" y="1765"/>
                  </a:lnTo>
                  <a:lnTo>
                    <a:pt x="1279" y="1765"/>
                  </a:lnTo>
                  <a:lnTo>
                    <a:pt x="1278" y="1765"/>
                  </a:lnTo>
                  <a:lnTo>
                    <a:pt x="1276" y="1765"/>
                  </a:lnTo>
                  <a:lnTo>
                    <a:pt x="1275" y="1766"/>
                  </a:lnTo>
                  <a:lnTo>
                    <a:pt x="1272" y="1766"/>
                  </a:lnTo>
                  <a:lnTo>
                    <a:pt x="1272" y="1766"/>
                  </a:lnTo>
                  <a:lnTo>
                    <a:pt x="1271" y="1767"/>
                  </a:lnTo>
                  <a:lnTo>
                    <a:pt x="1269" y="1767"/>
                  </a:lnTo>
                  <a:lnTo>
                    <a:pt x="1268" y="1769"/>
                  </a:lnTo>
                  <a:lnTo>
                    <a:pt x="1263" y="1770"/>
                  </a:lnTo>
                  <a:lnTo>
                    <a:pt x="1261" y="1772"/>
                  </a:lnTo>
                  <a:lnTo>
                    <a:pt x="1256" y="1773"/>
                  </a:lnTo>
                  <a:lnTo>
                    <a:pt x="1252" y="1775"/>
                  </a:lnTo>
                  <a:lnTo>
                    <a:pt x="1248" y="1776"/>
                  </a:lnTo>
                  <a:lnTo>
                    <a:pt x="1248" y="1776"/>
                  </a:lnTo>
                  <a:lnTo>
                    <a:pt x="1246" y="1776"/>
                  </a:lnTo>
                  <a:lnTo>
                    <a:pt x="1243" y="1777"/>
                  </a:lnTo>
                  <a:lnTo>
                    <a:pt x="1242" y="1777"/>
                  </a:lnTo>
                  <a:lnTo>
                    <a:pt x="1241" y="1779"/>
                  </a:lnTo>
                  <a:lnTo>
                    <a:pt x="1239" y="1777"/>
                  </a:lnTo>
                  <a:lnTo>
                    <a:pt x="1239" y="1777"/>
                  </a:lnTo>
                  <a:lnTo>
                    <a:pt x="1239" y="1779"/>
                  </a:lnTo>
                  <a:lnTo>
                    <a:pt x="1239" y="1780"/>
                  </a:lnTo>
                  <a:lnTo>
                    <a:pt x="1239" y="1780"/>
                  </a:lnTo>
                  <a:lnTo>
                    <a:pt x="1239" y="1782"/>
                  </a:lnTo>
                  <a:lnTo>
                    <a:pt x="1236" y="1782"/>
                  </a:lnTo>
                  <a:lnTo>
                    <a:pt x="1235" y="1782"/>
                  </a:lnTo>
                  <a:lnTo>
                    <a:pt x="1235" y="1780"/>
                  </a:lnTo>
                  <a:lnTo>
                    <a:pt x="1233" y="1779"/>
                  </a:lnTo>
                  <a:lnTo>
                    <a:pt x="1232" y="1777"/>
                  </a:lnTo>
                  <a:lnTo>
                    <a:pt x="1232" y="1779"/>
                  </a:lnTo>
                  <a:lnTo>
                    <a:pt x="1232" y="1780"/>
                  </a:lnTo>
                  <a:lnTo>
                    <a:pt x="1231" y="1782"/>
                  </a:lnTo>
                  <a:lnTo>
                    <a:pt x="1229" y="1779"/>
                  </a:lnTo>
                  <a:lnTo>
                    <a:pt x="1228" y="1780"/>
                  </a:lnTo>
                  <a:lnTo>
                    <a:pt x="1228" y="1783"/>
                  </a:lnTo>
                  <a:lnTo>
                    <a:pt x="1228" y="1783"/>
                  </a:lnTo>
                  <a:lnTo>
                    <a:pt x="1228" y="1785"/>
                  </a:lnTo>
                  <a:lnTo>
                    <a:pt x="1228" y="1786"/>
                  </a:lnTo>
                  <a:lnTo>
                    <a:pt x="1226" y="1786"/>
                  </a:lnTo>
                  <a:lnTo>
                    <a:pt x="1225" y="1789"/>
                  </a:lnTo>
                  <a:lnTo>
                    <a:pt x="1223" y="1789"/>
                  </a:lnTo>
                  <a:lnTo>
                    <a:pt x="1222" y="1792"/>
                  </a:lnTo>
                  <a:lnTo>
                    <a:pt x="1219" y="1795"/>
                  </a:lnTo>
                  <a:lnTo>
                    <a:pt x="1219" y="1796"/>
                  </a:lnTo>
                  <a:lnTo>
                    <a:pt x="1215" y="1799"/>
                  </a:lnTo>
                  <a:lnTo>
                    <a:pt x="1213" y="1799"/>
                  </a:lnTo>
                  <a:lnTo>
                    <a:pt x="1212" y="1799"/>
                  </a:lnTo>
                  <a:lnTo>
                    <a:pt x="1211" y="1800"/>
                  </a:lnTo>
                  <a:lnTo>
                    <a:pt x="1211" y="1802"/>
                  </a:lnTo>
                  <a:lnTo>
                    <a:pt x="1211" y="1802"/>
                  </a:lnTo>
                  <a:lnTo>
                    <a:pt x="1209" y="1802"/>
                  </a:lnTo>
                  <a:lnTo>
                    <a:pt x="1209" y="1803"/>
                  </a:lnTo>
                  <a:lnTo>
                    <a:pt x="1209" y="1803"/>
                  </a:lnTo>
                  <a:lnTo>
                    <a:pt x="1208" y="1802"/>
                  </a:lnTo>
                  <a:lnTo>
                    <a:pt x="1206" y="1803"/>
                  </a:lnTo>
                  <a:lnTo>
                    <a:pt x="1205" y="1802"/>
                  </a:lnTo>
                  <a:lnTo>
                    <a:pt x="1204" y="1799"/>
                  </a:lnTo>
                  <a:lnTo>
                    <a:pt x="1202" y="1797"/>
                  </a:lnTo>
                  <a:lnTo>
                    <a:pt x="1201" y="1796"/>
                  </a:lnTo>
                  <a:lnTo>
                    <a:pt x="1201" y="1797"/>
                  </a:lnTo>
                  <a:lnTo>
                    <a:pt x="1199" y="1799"/>
                  </a:lnTo>
                  <a:lnTo>
                    <a:pt x="1198" y="1796"/>
                  </a:lnTo>
                  <a:lnTo>
                    <a:pt x="1198" y="1790"/>
                  </a:lnTo>
                  <a:lnTo>
                    <a:pt x="1198" y="1789"/>
                  </a:lnTo>
                  <a:lnTo>
                    <a:pt x="1199" y="1785"/>
                  </a:lnTo>
                  <a:lnTo>
                    <a:pt x="1202" y="1780"/>
                  </a:lnTo>
                  <a:lnTo>
                    <a:pt x="1202" y="1780"/>
                  </a:lnTo>
                  <a:lnTo>
                    <a:pt x="1198" y="1783"/>
                  </a:lnTo>
                  <a:lnTo>
                    <a:pt x="1198" y="1782"/>
                  </a:lnTo>
                  <a:lnTo>
                    <a:pt x="1199" y="1782"/>
                  </a:lnTo>
                  <a:lnTo>
                    <a:pt x="1201" y="1780"/>
                  </a:lnTo>
                  <a:lnTo>
                    <a:pt x="1202" y="1779"/>
                  </a:lnTo>
                  <a:lnTo>
                    <a:pt x="1204" y="1777"/>
                  </a:lnTo>
                  <a:lnTo>
                    <a:pt x="1205" y="1777"/>
                  </a:lnTo>
                  <a:lnTo>
                    <a:pt x="1206" y="1777"/>
                  </a:lnTo>
                  <a:lnTo>
                    <a:pt x="1208" y="1776"/>
                  </a:lnTo>
                  <a:lnTo>
                    <a:pt x="1208" y="1776"/>
                  </a:lnTo>
                  <a:lnTo>
                    <a:pt x="1208" y="1776"/>
                  </a:lnTo>
                  <a:lnTo>
                    <a:pt x="1205" y="1777"/>
                  </a:lnTo>
                  <a:lnTo>
                    <a:pt x="1205" y="1776"/>
                  </a:lnTo>
                  <a:lnTo>
                    <a:pt x="1206" y="1776"/>
                  </a:lnTo>
                  <a:lnTo>
                    <a:pt x="1218" y="1767"/>
                  </a:lnTo>
                  <a:lnTo>
                    <a:pt x="1221" y="1766"/>
                  </a:lnTo>
                  <a:lnTo>
                    <a:pt x="1225" y="1765"/>
                  </a:lnTo>
                  <a:lnTo>
                    <a:pt x="1226" y="1763"/>
                  </a:lnTo>
                  <a:lnTo>
                    <a:pt x="1225" y="1762"/>
                  </a:lnTo>
                  <a:lnTo>
                    <a:pt x="1228" y="1763"/>
                  </a:lnTo>
                  <a:lnTo>
                    <a:pt x="1228" y="1765"/>
                  </a:lnTo>
                  <a:lnTo>
                    <a:pt x="1226" y="1765"/>
                  </a:lnTo>
                  <a:lnTo>
                    <a:pt x="1226" y="1766"/>
                  </a:lnTo>
                  <a:lnTo>
                    <a:pt x="1226" y="1767"/>
                  </a:lnTo>
                  <a:lnTo>
                    <a:pt x="1229" y="1767"/>
                  </a:lnTo>
                  <a:lnTo>
                    <a:pt x="1231" y="1769"/>
                  </a:lnTo>
                  <a:lnTo>
                    <a:pt x="1229" y="1767"/>
                  </a:lnTo>
                  <a:lnTo>
                    <a:pt x="1231" y="1765"/>
                  </a:lnTo>
                  <a:lnTo>
                    <a:pt x="1236" y="1763"/>
                  </a:lnTo>
                  <a:lnTo>
                    <a:pt x="1241" y="1763"/>
                  </a:lnTo>
                  <a:lnTo>
                    <a:pt x="1242" y="1762"/>
                  </a:lnTo>
                  <a:lnTo>
                    <a:pt x="1239" y="1762"/>
                  </a:lnTo>
                  <a:lnTo>
                    <a:pt x="1233" y="1762"/>
                  </a:lnTo>
                  <a:lnTo>
                    <a:pt x="1231" y="1760"/>
                  </a:lnTo>
                  <a:lnTo>
                    <a:pt x="1228" y="1762"/>
                  </a:lnTo>
                  <a:lnTo>
                    <a:pt x="1223" y="1760"/>
                  </a:lnTo>
                  <a:lnTo>
                    <a:pt x="1222" y="1762"/>
                  </a:lnTo>
                  <a:lnTo>
                    <a:pt x="1221" y="1763"/>
                  </a:lnTo>
                  <a:lnTo>
                    <a:pt x="1219" y="1762"/>
                  </a:lnTo>
                  <a:lnTo>
                    <a:pt x="1219" y="1762"/>
                  </a:lnTo>
                  <a:lnTo>
                    <a:pt x="1218" y="1762"/>
                  </a:lnTo>
                  <a:lnTo>
                    <a:pt x="1219" y="1759"/>
                  </a:lnTo>
                  <a:lnTo>
                    <a:pt x="1223" y="1756"/>
                  </a:lnTo>
                  <a:lnTo>
                    <a:pt x="1226" y="1753"/>
                  </a:lnTo>
                  <a:lnTo>
                    <a:pt x="1226" y="1752"/>
                  </a:lnTo>
                  <a:lnTo>
                    <a:pt x="1228" y="1752"/>
                  </a:lnTo>
                  <a:lnTo>
                    <a:pt x="1226" y="1752"/>
                  </a:lnTo>
                  <a:lnTo>
                    <a:pt x="1225" y="1752"/>
                  </a:lnTo>
                  <a:lnTo>
                    <a:pt x="1223" y="1750"/>
                  </a:lnTo>
                  <a:lnTo>
                    <a:pt x="1222" y="1749"/>
                  </a:lnTo>
                  <a:lnTo>
                    <a:pt x="1222" y="1749"/>
                  </a:lnTo>
                  <a:lnTo>
                    <a:pt x="1223" y="1752"/>
                  </a:lnTo>
                  <a:lnTo>
                    <a:pt x="1221" y="1756"/>
                  </a:lnTo>
                  <a:lnTo>
                    <a:pt x="1218" y="1756"/>
                  </a:lnTo>
                  <a:lnTo>
                    <a:pt x="1215" y="1757"/>
                  </a:lnTo>
                  <a:lnTo>
                    <a:pt x="1212" y="1759"/>
                  </a:lnTo>
                  <a:lnTo>
                    <a:pt x="1208" y="1762"/>
                  </a:lnTo>
                  <a:lnTo>
                    <a:pt x="1202" y="1765"/>
                  </a:lnTo>
                  <a:lnTo>
                    <a:pt x="1201" y="1765"/>
                  </a:lnTo>
                  <a:lnTo>
                    <a:pt x="1199" y="1763"/>
                  </a:lnTo>
                  <a:lnTo>
                    <a:pt x="1199" y="1762"/>
                  </a:lnTo>
                  <a:lnTo>
                    <a:pt x="1201" y="1760"/>
                  </a:lnTo>
                  <a:lnTo>
                    <a:pt x="1199" y="1760"/>
                  </a:lnTo>
                  <a:lnTo>
                    <a:pt x="1199" y="1762"/>
                  </a:lnTo>
                  <a:lnTo>
                    <a:pt x="1198" y="1763"/>
                  </a:lnTo>
                  <a:lnTo>
                    <a:pt x="1199" y="1765"/>
                  </a:lnTo>
                  <a:lnTo>
                    <a:pt x="1198" y="1765"/>
                  </a:lnTo>
                  <a:lnTo>
                    <a:pt x="1196" y="1766"/>
                  </a:lnTo>
                  <a:lnTo>
                    <a:pt x="1195" y="1767"/>
                  </a:lnTo>
                  <a:lnTo>
                    <a:pt x="1194" y="1767"/>
                  </a:lnTo>
                  <a:lnTo>
                    <a:pt x="1192" y="1767"/>
                  </a:lnTo>
                  <a:lnTo>
                    <a:pt x="1189" y="1769"/>
                  </a:lnTo>
                  <a:lnTo>
                    <a:pt x="1186" y="1769"/>
                  </a:lnTo>
                  <a:lnTo>
                    <a:pt x="1186" y="1767"/>
                  </a:lnTo>
                  <a:lnTo>
                    <a:pt x="1186" y="1767"/>
                  </a:lnTo>
                  <a:lnTo>
                    <a:pt x="1185" y="1766"/>
                  </a:lnTo>
                  <a:lnTo>
                    <a:pt x="1184" y="1767"/>
                  </a:lnTo>
                  <a:lnTo>
                    <a:pt x="1182" y="1766"/>
                  </a:lnTo>
                  <a:close/>
                  <a:moveTo>
                    <a:pt x="282" y="1679"/>
                  </a:moveTo>
                  <a:lnTo>
                    <a:pt x="282" y="1679"/>
                  </a:lnTo>
                  <a:lnTo>
                    <a:pt x="279" y="1677"/>
                  </a:lnTo>
                  <a:lnTo>
                    <a:pt x="278" y="1675"/>
                  </a:lnTo>
                  <a:lnTo>
                    <a:pt x="276" y="1675"/>
                  </a:lnTo>
                  <a:lnTo>
                    <a:pt x="281" y="1677"/>
                  </a:lnTo>
                  <a:lnTo>
                    <a:pt x="282" y="1679"/>
                  </a:lnTo>
                  <a:lnTo>
                    <a:pt x="282" y="1679"/>
                  </a:lnTo>
                  <a:close/>
                  <a:moveTo>
                    <a:pt x="281" y="1682"/>
                  </a:moveTo>
                  <a:lnTo>
                    <a:pt x="281" y="1683"/>
                  </a:lnTo>
                  <a:lnTo>
                    <a:pt x="279" y="1683"/>
                  </a:lnTo>
                  <a:lnTo>
                    <a:pt x="279" y="1682"/>
                  </a:lnTo>
                  <a:lnTo>
                    <a:pt x="278" y="1677"/>
                  </a:lnTo>
                  <a:lnTo>
                    <a:pt x="279" y="1677"/>
                  </a:lnTo>
                  <a:lnTo>
                    <a:pt x="281" y="1679"/>
                  </a:lnTo>
                  <a:lnTo>
                    <a:pt x="281" y="1680"/>
                  </a:lnTo>
                  <a:lnTo>
                    <a:pt x="281" y="1682"/>
                  </a:lnTo>
                  <a:lnTo>
                    <a:pt x="281" y="1682"/>
                  </a:lnTo>
                  <a:lnTo>
                    <a:pt x="281" y="1682"/>
                  </a:lnTo>
                  <a:close/>
                  <a:moveTo>
                    <a:pt x="848" y="1683"/>
                  </a:moveTo>
                  <a:lnTo>
                    <a:pt x="847" y="1683"/>
                  </a:lnTo>
                  <a:lnTo>
                    <a:pt x="847" y="1683"/>
                  </a:lnTo>
                  <a:lnTo>
                    <a:pt x="847" y="1680"/>
                  </a:lnTo>
                  <a:lnTo>
                    <a:pt x="847" y="1680"/>
                  </a:lnTo>
                  <a:lnTo>
                    <a:pt x="848" y="1680"/>
                  </a:lnTo>
                  <a:lnTo>
                    <a:pt x="850" y="1679"/>
                  </a:lnTo>
                  <a:lnTo>
                    <a:pt x="851" y="1680"/>
                  </a:lnTo>
                  <a:lnTo>
                    <a:pt x="853" y="1680"/>
                  </a:lnTo>
                  <a:lnTo>
                    <a:pt x="851" y="1680"/>
                  </a:lnTo>
                  <a:lnTo>
                    <a:pt x="851" y="1682"/>
                  </a:lnTo>
                  <a:lnTo>
                    <a:pt x="851" y="1682"/>
                  </a:lnTo>
                  <a:lnTo>
                    <a:pt x="851" y="1682"/>
                  </a:lnTo>
                  <a:lnTo>
                    <a:pt x="850" y="1682"/>
                  </a:lnTo>
                  <a:lnTo>
                    <a:pt x="850" y="1682"/>
                  </a:lnTo>
                  <a:lnTo>
                    <a:pt x="848" y="1683"/>
                  </a:lnTo>
                  <a:lnTo>
                    <a:pt x="848" y="1683"/>
                  </a:lnTo>
                  <a:close/>
                  <a:moveTo>
                    <a:pt x="854" y="1682"/>
                  </a:moveTo>
                  <a:lnTo>
                    <a:pt x="853" y="1682"/>
                  </a:lnTo>
                  <a:lnTo>
                    <a:pt x="853" y="1682"/>
                  </a:lnTo>
                  <a:lnTo>
                    <a:pt x="853" y="1682"/>
                  </a:lnTo>
                  <a:lnTo>
                    <a:pt x="853" y="1682"/>
                  </a:lnTo>
                  <a:lnTo>
                    <a:pt x="853" y="1682"/>
                  </a:lnTo>
                  <a:lnTo>
                    <a:pt x="853" y="1680"/>
                  </a:lnTo>
                  <a:lnTo>
                    <a:pt x="853" y="1680"/>
                  </a:lnTo>
                  <a:lnTo>
                    <a:pt x="853" y="1680"/>
                  </a:lnTo>
                  <a:lnTo>
                    <a:pt x="853" y="1680"/>
                  </a:lnTo>
                  <a:lnTo>
                    <a:pt x="854" y="1680"/>
                  </a:lnTo>
                  <a:lnTo>
                    <a:pt x="854" y="1682"/>
                  </a:lnTo>
                  <a:lnTo>
                    <a:pt x="854" y="1682"/>
                  </a:lnTo>
                  <a:close/>
                  <a:moveTo>
                    <a:pt x="1225" y="1702"/>
                  </a:moveTo>
                  <a:lnTo>
                    <a:pt x="1223" y="1703"/>
                  </a:lnTo>
                  <a:lnTo>
                    <a:pt x="1223" y="1700"/>
                  </a:lnTo>
                  <a:lnTo>
                    <a:pt x="1225" y="1700"/>
                  </a:lnTo>
                  <a:lnTo>
                    <a:pt x="1225" y="1700"/>
                  </a:lnTo>
                  <a:lnTo>
                    <a:pt x="1225" y="1700"/>
                  </a:lnTo>
                  <a:lnTo>
                    <a:pt x="1225" y="1702"/>
                  </a:lnTo>
                  <a:close/>
                  <a:moveTo>
                    <a:pt x="1225" y="1703"/>
                  </a:moveTo>
                  <a:lnTo>
                    <a:pt x="1223" y="1705"/>
                  </a:lnTo>
                  <a:lnTo>
                    <a:pt x="1222" y="1706"/>
                  </a:lnTo>
                  <a:lnTo>
                    <a:pt x="1222" y="1706"/>
                  </a:lnTo>
                  <a:lnTo>
                    <a:pt x="1222" y="1706"/>
                  </a:lnTo>
                  <a:lnTo>
                    <a:pt x="1222" y="1705"/>
                  </a:lnTo>
                  <a:lnTo>
                    <a:pt x="1222" y="1703"/>
                  </a:lnTo>
                  <a:lnTo>
                    <a:pt x="1223" y="1703"/>
                  </a:lnTo>
                  <a:lnTo>
                    <a:pt x="1223" y="1703"/>
                  </a:lnTo>
                  <a:lnTo>
                    <a:pt x="1225" y="1703"/>
                  </a:lnTo>
                  <a:close/>
                  <a:moveTo>
                    <a:pt x="885" y="1706"/>
                  </a:moveTo>
                  <a:lnTo>
                    <a:pt x="883" y="1707"/>
                  </a:lnTo>
                  <a:lnTo>
                    <a:pt x="881" y="1706"/>
                  </a:lnTo>
                  <a:lnTo>
                    <a:pt x="881" y="1706"/>
                  </a:lnTo>
                  <a:lnTo>
                    <a:pt x="881" y="1706"/>
                  </a:lnTo>
                  <a:lnTo>
                    <a:pt x="883" y="1706"/>
                  </a:lnTo>
                  <a:lnTo>
                    <a:pt x="883" y="1705"/>
                  </a:lnTo>
                  <a:lnTo>
                    <a:pt x="884" y="1705"/>
                  </a:lnTo>
                  <a:lnTo>
                    <a:pt x="885" y="1706"/>
                  </a:lnTo>
                  <a:lnTo>
                    <a:pt x="887" y="1706"/>
                  </a:lnTo>
                  <a:lnTo>
                    <a:pt x="887" y="1706"/>
                  </a:lnTo>
                  <a:lnTo>
                    <a:pt x="885" y="1706"/>
                  </a:lnTo>
                  <a:close/>
                  <a:moveTo>
                    <a:pt x="1389" y="1713"/>
                  </a:moveTo>
                  <a:lnTo>
                    <a:pt x="1389" y="1715"/>
                  </a:lnTo>
                  <a:lnTo>
                    <a:pt x="1388" y="1715"/>
                  </a:lnTo>
                  <a:lnTo>
                    <a:pt x="1388" y="1713"/>
                  </a:lnTo>
                  <a:lnTo>
                    <a:pt x="1389" y="1712"/>
                  </a:lnTo>
                  <a:lnTo>
                    <a:pt x="1389" y="1712"/>
                  </a:lnTo>
                  <a:lnTo>
                    <a:pt x="1389" y="1710"/>
                  </a:lnTo>
                  <a:lnTo>
                    <a:pt x="1389" y="1710"/>
                  </a:lnTo>
                  <a:lnTo>
                    <a:pt x="1390" y="1710"/>
                  </a:lnTo>
                  <a:lnTo>
                    <a:pt x="1390" y="1709"/>
                  </a:lnTo>
                  <a:lnTo>
                    <a:pt x="1390" y="1710"/>
                  </a:lnTo>
                  <a:lnTo>
                    <a:pt x="1389" y="1713"/>
                  </a:lnTo>
                  <a:close/>
                  <a:moveTo>
                    <a:pt x="1266" y="1717"/>
                  </a:moveTo>
                  <a:lnTo>
                    <a:pt x="1266" y="1717"/>
                  </a:lnTo>
                  <a:lnTo>
                    <a:pt x="1268" y="1717"/>
                  </a:lnTo>
                  <a:lnTo>
                    <a:pt x="1268" y="1717"/>
                  </a:lnTo>
                  <a:lnTo>
                    <a:pt x="1268" y="1719"/>
                  </a:lnTo>
                  <a:lnTo>
                    <a:pt x="1265" y="1719"/>
                  </a:lnTo>
                  <a:lnTo>
                    <a:pt x="1265" y="1719"/>
                  </a:lnTo>
                  <a:lnTo>
                    <a:pt x="1266" y="1715"/>
                  </a:lnTo>
                  <a:lnTo>
                    <a:pt x="1268" y="1713"/>
                  </a:lnTo>
                  <a:lnTo>
                    <a:pt x="1271" y="1710"/>
                  </a:lnTo>
                  <a:lnTo>
                    <a:pt x="1272" y="1709"/>
                  </a:lnTo>
                  <a:lnTo>
                    <a:pt x="1273" y="1709"/>
                  </a:lnTo>
                  <a:lnTo>
                    <a:pt x="1275" y="1709"/>
                  </a:lnTo>
                  <a:lnTo>
                    <a:pt x="1273" y="1710"/>
                  </a:lnTo>
                  <a:lnTo>
                    <a:pt x="1271" y="1710"/>
                  </a:lnTo>
                  <a:lnTo>
                    <a:pt x="1269" y="1712"/>
                  </a:lnTo>
                  <a:lnTo>
                    <a:pt x="1269" y="1715"/>
                  </a:lnTo>
                  <a:lnTo>
                    <a:pt x="1268" y="1715"/>
                  </a:lnTo>
                  <a:lnTo>
                    <a:pt x="1266" y="1716"/>
                  </a:lnTo>
                  <a:lnTo>
                    <a:pt x="1266" y="1717"/>
                  </a:lnTo>
                  <a:close/>
                  <a:moveTo>
                    <a:pt x="1235" y="1736"/>
                  </a:moveTo>
                  <a:lnTo>
                    <a:pt x="1236" y="1737"/>
                  </a:lnTo>
                  <a:lnTo>
                    <a:pt x="1236" y="1736"/>
                  </a:lnTo>
                  <a:lnTo>
                    <a:pt x="1238" y="1735"/>
                  </a:lnTo>
                  <a:lnTo>
                    <a:pt x="1241" y="1735"/>
                  </a:lnTo>
                  <a:lnTo>
                    <a:pt x="1241" y="1736"/>
                  </a:lnTo>
                  <a:lnTo>
                    <a:pt x="1242" y="1736"/>
                  </a:lnTo>
                  <a:lnTo>
                    <a:pt x="1242" y="1736"/>
                  </a:lnTo>
                  <a:lnTo>
                    <a:pt x="1243" y="1736"/>
                  </a:lnTo>
                  <a:lnTo>
                    <a:pt x="1246" y="1737"/>
                  </a:lnTo>
                  <a:lnTo>
                    <a:pt x="1249" y="1737"/>
                  </a:lnTo>
                  <a:lnTo>
                    <a:pt x="1253" y="1737"/>
                  </a:lnTo>
                  <a:lnTo>
                    <a:pt x="1253" y="1736"/>
                  </a:lnTo>
                  <a:lnTo>
                    <a:pt x="1258" y="1736"/>
                  </a:lnTo>
                  <a:lnTo>
                    <a:pt x="1262" y="1736"/>
                  </a:lnTo>
                  <a:lnTo>
                    <a:pt x="1263" y="1736"/>
                  </a:lnTo>
                  <a:lnTo>
                    <a:pt x="1263" y="1737"/>
                  </a:lnTo>
                  <a:lnTo>
                    <a:pt x="1265" y="1737"/>
                  </a:lnTo>
                  <a:lnTo>
                    <a:pt x="1262" y="1739"/>
                  </a:lnTo>
                  <a:lnTo>
                    <a:pt x="1259" y="1740"/>
                  </a:lnTo>
                  <a:lnTo>
                    <a:pt x="1256" y="1743"/>
                  </a:lnTo>
                  <a:lnTo>
                    <a:pt x="1256" y="1743"/>
                  </a:lnTo>
                  <a:lnTo>
                    <a:pt x="1256" y="1745"/>
                  </a:lnTo>
                  <a:lnTo>
                    <a:pt x="1256" y="1746"/>
                  </a:lnTo>
                  <a:lnTo>
                    <a:pt x="1256" y="1746"/>
                  </a:lnTo>
                  <a:lnTo>
                    <a:pt x="1256" y="1747"/>
                  </a:lnTo>
                  <a:lnTo>
                    <a:pt x="1256" y="1747"/>
                  </a:lnTo>
                  <a:lnTo>
                    <a:pt x="1252" y="1747"/>
                  </a:lnTo>
                  <a:lnTo>
                    <a:pt x="1252" y="1747"/>
                  </a:lnTo>
                  <a:lnTo>
                    <a:pt x="1251" y="1747"/>
                  </a:lnTo>
                  <a:lnTo>
                    <a:pt x="1251" y="1746"/>
                  </a:lnTo>
                  <a:lnTo>
                    <a:pt x="1249" y="1746"/>
                  </a:lnTo>
                  <a:lnTo>
                    <a:pt x="1248" y="1746"/>
                  </a:lnTo>
                  <a:lnTo>
                    <a:pt x="1251" y="1745"/>
                  </a:lnTo>
                  <a:lnTo>
                    <a:pt x="1249" y="1743"/>
                  </a:lnTo>
                  <a:lnTo>
                    <a:pt x="1248" y="1743"/>
                  </a:lnTo>
                  <a:lnTo>
                    <a:pt x="1248" y="1742"/>
                  </a:lnTo>
                  <a:lnTo>
                    <a:pt x="1248" y="1742"/>
                  </a:lnTo>
                  <a:lnTo>
                    <a:pt x="1249" y="1740"/>
                  </a:lnTo>
                  <a:lnTo>
                    <a:pt x="1249" y="1740"/>
                  </a:lnTo>
                  <a:lnTo>
                    <a:pt x="1248" y="1740"/>
                  </a:lnTo>
                  <a:lnTo>
                    <a:pt x="1246" y="1742"/>
                  </a:lnTo>
                  <a:lnTo>
                    <a:pt x="1245" y="1742"/>
                  </a:lnTo>
                  <a:lnTo>
                    <a:pt x="1245" y="1743"/>
                  </a:lnTo>
                  <a:lnTo>
                    <a:pt x="1246" y="1743"/>
                  </a:lnTo>
                  <a:lnTo>
                    <a:pt x="1245" y="1743"/>
                  </a:lnTo>
                  <a:lnTo>
                    <a:pt x="1243" y="1743"/>
                  </a:lnTo>
                  <a:lnTo>
                    <a:pt x="1239" y="1742"/>
                  </a:lnTo>
                  <a:lnTo>
                    <a:pt x="1238" y="1742"/>
                  </a:lnTo>
                  <a:lnTo>
                    <a:pt x="1236" y="1740"/>
                  </a:lnTo>
                  <a:lnTo>
                    <a:pt x="1236" y="1739"/>
                  </a:lnTo>
                  <a:lnTo>
                    <a:pt x="1236" y="1739"/>
                  </a:lnTo>
                  <a:lnTo>
                    <a:pt x="1236" y="1739"/>
                  </a:lnTo>
                  <a:lnTo>
                    <a:pt x="1236" y="1737"/>
                  </a:lnTo>
                  <a:lnTo>
                    <a:pt x="1235" y="1737"/>
                  </a:lnTo>
                  <a:lnTo>
                    <a:pt x="1232" y="1737"/>
                  </a:lnTo>
                  <a:lnTo>
                    <a:pt x="1231" y="1737"/>
                  </a:lnTo>
                  <a:lnTo>
                    <a:pt x="1231" y="1735"/>
                  </a:lnTo>
                  <a:lnTo>
                    <a:pt x="1231" y="1733"/>
                  </a:lnTo>
                  <a:lnTo>
                    <a:pt x="1229" y="1733"/>
                  </a:lnTo>
                  <a:lnTo>
                    <a:pt x="1226" y="1732"/>
                  </a:lnTo>
                  <a:lnTo>
                    <a:pt x="1226" y="1732"/>
                  </a:lnTo>
                  <a:lnTo>
                    <a:pt x="1226" y="1729"/>
                  </a:lnTo>
                  <a:lnTo>
                    <a:pt x="1228" y="1727"/>
                  </a:lnTo>
                  <a:lnTo>
                    <a:pt x="1229" y="1726"/>
                  </a:lnTo>
                  <a:lnTo>
                    <a:pt x="1231" y="1725"/>
                  </a:lnTo>
                  <a:lnTo>
                    <a:pt x="1232" y="1723"/>
                  </a:lnTo>
                  <a:lnTo>
                    <a:pt x="1232" y="1725"/>
                  </a:lnTo>
                  <a:lnTo>
                    <a:pt x="1233" y="1726"/>
                  </a:lnTo>
                  <a:lnTo>
                    <a:pt x="1231" y="1729"/>
                  </a:lnTo>
                  <a:lnTo>
                    <a:pt x="1233" y="1732"/>
                  </a:lnTo>
                  <a:lnTo>
                    <a:pt x="1235" y="1733"/>
                  </a:lnTo>
                  <a:lnTo>
                    <a:pt x="1235" y="1735"/>
                  </a:lnTo>
                  <a:lnTo>
                    <a:pt x="1235" y="1735"/>
                  </a:lnTo>
                  <a:lnTo>
                    <a:pt x="1233" y="1736"/>
                  </a:lnTo>
                  <a:lnTo>
                    <a:pt x="1235" y="1736"/>
                  </a:lnTo>
                  <a:lnTo>
                    <a:pt x="1235" y="1736"/>
                  </a:lnTo>
                  <a:close/>
                  <a:moveTo>
                    <a:pt x="1279" y="1749"/>
                  </a:moveTo>
                  <a:lnTo>
                    <a:pt x="1279" y="1749"/>
                  </a:lnTo>
                  <a:lnTo>
                    <a:pt x="1282" y="1747"/>
                  </a:lnTo>
                  <a:lnTo>
                    <a:pt x="1283" y="1747"/>
                  </a:lnTo>
                  <a:lnTo>
                    <a:pt x="1282" y="1749"/>
                  </a:lnTo>
                  <a:lnTo>
                    <a:pt x="1281" y="1749"/>
                  </a:lnTo>
                  <a:lnTo>
                    <a:pt x="1281" y="1750"/>
                  </a:lnTo>
                  <a:lnTo>
                    <a:pt x="1281" y="1750"/>
                  </a:lnTo>
                  <a:lnTo>
                    <a:pt x="1281" y="1750"/>
                  </a:lnTo>
                  <a:lnTo>
                    <a:pt x="1279" y="1752"/>
                  </a:lnTo>
                  <a:lnTo>
                    <a:pt x="1279" y="1753"/>
                  </a:lnTo>
                  <a:lnTo>
                    <a:pt x="1279" y="1755"/>
                  </a:lnTo>
                  <a:lnTo>
                    <a:pt x="1282" y="1753"/>
                  </a:lnTo>
                  <a:lnTo>
                    <a:pt x="1282" y="1753"/>
                  </a:lnTo>
                  <a:lnTo>
                    <a:pt x="1283" y="1753"/>
                  </a:lnTo>
                  <a:lnTo>
                    <a:pt x="1285" y="1753"/>
                  </a:lnTo>
                  <a:lnTo>
                    <a:pt x="1285" y="1753"/>
                  </a:lnTo>
                  <a:lnTo>
                    <a:pt x="1289" y="1749"/>
                  </a:lnTo>
                  <a:lnTo>
                    <a:pt x="1289" y="1747"/>
                  </a:lnTo>
                  <a:lnTo>
                    <a:pt x="1285" y="1749"/>
                  </a:lnTo>
                  <a:lnTo>
                    <a:pt x="1285" y="1749"/>
                  </a:lnTo>
                  <a:lnTo>
                    <a:pt x="1288" y="1746"/>
                  </a:lnTo>
                  <a:lnTo>
                    <a:pt x="1288" y="1745"/>
                  </a:lnTo>
                  <a:lnTo>
                    <a:pt x="1289" y="1743"/>
                  </a:lnTo>
                  <a:lnTo>
                    <a:pt x="1289" y="1742"/>
                  </a:lnTo>
                  <a:lnTo>
                    <a:pt x="1291" y="1740"/>
                  </a:lnTo>
                  <a:lnTo>
                    <a:pt x="1292" y="1740"/>
                  </a:lnTo>
                  <a:lnTo>
                    <a:pt x="1292" y="1742"/>
                  </a:lnTo>
                  <a:lnTo>
                    <a:pt x="1293" y="1743"/>
                  </a:lnTo>
                  <a:lnTo>
                    <a:pt x="1295" y="1743"/>
                  </a:lnTo>
                  <a:lnTo>
                    <a:pt x="1298" y="1743"/>
                  </a:lnTo>
                  <a:lnTo>
                    <a:pt x="1299" y="1743"/>
                  </a:lnTo>
                  <a:lnTo>
                    <a:pt x="1299" y="1745"/>
                  </a:lnTo>
                  <a:lnTo>
                    <a:pt x="1299" y="1745"/>
                  </a:lnTo>
                  <a:lnTo>
                    <a:pt x="1299" y="1746"/>
                  </a:lnTo>
                  <a:lnTo>
                    <a:pt x="1298" y="1747"/>
                  </a:lnTo>
                  <a:lnTo>
                    <a:pt x="1299" y="1747"/>
                  </a:lnTo>
                  <a:lnTo>
                    <a:pt x="1299" y="1749"/>
                  </a:lnTo>
                  <a:lnTo>
                    <a:pt x="1296" y="1750"/>
                  </a:lnTo>
                  <a:lnTo>
                    <a:pt x="1295" y="1752"/>
                  </a:lnTo>
                  <a:lnTo>
                    <a:pt x="1293" y="1753"/>
                  </a:lnTo>
                  <a:lnTo>
                    <a:pt x="1291" y="1755"/>
                  </a:lnTo>
                  <a:lnTo>
                    <a:pt x="1286" y="1756"/>
                  </a:lnTo>
                  <a:lnTo>
                    <a:pt x="1285" y="1756"/>
                  </a:lnTo>
                  <a:lnTo>
                    <a:pt x="1282" y="1756"/>
                  </a:lnTo>
                  <a:lnTo>
                    <a:pt x="1281" y="1756"/>
                  </a:lnTo>
                  <a:lnTo>
                    <a:pt x="1279" y="1757"/>
                  </a:lnTo>
                  <a:lnTo>
                    <a:pt x="1278" y="1757"/>
                  </a:lnTo>
                  <a:lnTo>
                    <a:pt x="1276" y="1757"/>
                  </a:lnTo>
                  <a:lnTo>
                    <a:pt x="1276" y="1757"/>
                  </a:lnTo>
                  <a:lnTo>
                    <a:pt x="1275" y="1756"/>
                  </a:lnTo>
                  <a:lnTo>
                    <a:pt x="1273" y="1755"/>
                  </a:lnTo>
                  <a:lnTo>
                    <a:pt x="1273" y="1753"/>
                  </a:lnTo>
                  <a:lnTo>
                    <a:pt x="1272" y="1749"/>
                  </a:lnTo>
                  <a:lnTo>
                    <a:pt x="1273" y="1746"/>
                  </a:lnTo>
                  <a:lnTo>
                    <a:pt x="1273" y="1743"/>
                  </a:lnTo>
                  <a:lnTo>
                    <a:pt x="1276" y="1742"/>
                  </a:lnTo>
                  <a:lnTo>
                    <a:pt x="1276" y="1740"/>
                  </a:lnTo>
                  <a:lnTo>
                    <a:pt x="1281" y="1732"/>
                  </a:lnTo>
                  <a:lnTo>
                    <a:pt x="1282" y="1730"/>
                  </a:lnTo>
                  <a:lnTo>
                    <a:pt x="1282" y="1729"/>
                  </a:lnTo>
                  <a:lnTo>
                    <a:pt x="1285" y="1727"/>
                  </a:lnTo>
                  <a:lnTo>
                    <a:pt x="1286" y="1725"/>
                  </a:lnTo>
                  <a:lnTo>
                    <a:pt x="1288" y="1725"/>
                  </a:lnTo>
                  <a:lnTo>
                    <a:pt x="1289" y="1723"/>
                  </a:lnTo>
                  <a:lnTo>
                    <a:pt x="1291" y="1725"/>
                  </a:lnTo>
                  <a:lnTo>
                    <a:pt x="1289" y="1725"/>
                  </a:lnTo>
                  <a:lnTo>
                    <a:pt x="1289" y="1726"/>
                  </a:lnTo>
                  <a:lnTo>
                    <a:pt x="1292" y="1729"/>
                  </a:lnTo>
                  <a:lnTo>
                    <a:pt x="1291" y="1730"/>
                  </a:lnTo>
                  <a:lnTo>
                    <a:pt x="1291" y="1733"/>
                  </a:lnTo>
                  <a:lnTo>
                    <a:pt x="1289" y="1737"/>
                  </a:lnTo>
                  <a:lnTo>
                    <a:pt x="1289" y="1740"/>
                  </a:lnTo>
                  <a:lnTo>
                    <a:pt x="1289" y="1742"/>
                  </a:lnTo>
                  <a:lnTo>
                    <a:pt x="1288" y="1742"/>
                  </a:lnTo>
                  <a:lnTo>
                    <a:pt x="1288" y="1743"/>
                  </a:lnTo>
                  <a:lnTo>
                    <a:pt x="1285" y="1745"/>
                  </a:lnTo>
                  <a:lnTo>
                    <a:pt x="1283" y="1746"/>
                  </a:lnTo>
                  <a:lnTo>
                    <a:pt x="1282" y="1746"/>
                  </a:lnTo>
                  <a:lnTo>
                    <a:pt x="1279" y="1749"/>
                  </a:lnTo>
                  <a:close/>
                  <a:moveTo>
                    <a:pt x="1119" y="1727"/>
                  </a:moveTo>
                  <a:lnTo>
                    <a:pt x="1118" y="1727"/>
                  </a:lnTo>
                  <a:lnTo>
                    <a:pt x="1119" y="1726"/>
                  </a:lnTo>
                  <a:lnTo>
                    <a:pt x="1121" y="1725"/>
                  </a:lnTo>
                  <a:lnTo>
                    <a:pt x="1122" y="1725"/>
                  </a:lnTo>
                  <a:lnTo>
                    <a:pt x="1124" y="1725"/>
                  </a:lnTo>
                  <a:lnTo>
                    <a:pt x="1122" y="1726"/>
                  </a:lnTo>
                  <a:lnTo>
                    <a:pt x="1119" y="1727"/>
                  </a:lnTo>
                  <a:close/>
                  <a:moveTo>
                    <a:pt x="915" y="1743"/>
                  </a:moveTo>
                  <a:lnTo>
                    <a:pt x="915" y="1743"/>
                  </a:lnTo>
                  <a:lnTo>
                    <a:pt x="914" y="1743"/>
                  </a:lnTo>
                  <a:lnTo>
                    <a:pt x="914" y="1743"/>
                  </a:lnTo>
                  <a:lnTo>
                    <a:pt x="914" y="1745"/>
                  </a:lnTo>
                  <a:lnTo>
                    <a:pt x="914" y="1745"/>
                  </a:lnTo>
                  <a:lnTo>
                    <a:pt x="914" y="1745"/>
                  </a:lnTo>
                  <a:lnTo>
                    <a:pt x="913" y="1745"/>
                  </a:lnTo>
                  <a:lnTo>
                    <a:pt x="911" y="1743"/>
                  </a:lnTo>
                  <a:lnTo>
                    <a:pt x="911" y="1742"/>
                  </a:lnTo>
                  <a:lnTo>
                    <a:pt x="911" y="1740"/>
                  </a:lnTo>
                  <a:lnTo>
                    <a:pt x="911" y="1740"/>
                  </a:lnTo>
                  <a:lnTo>
                    <a:pt x="913" y="1740"/>
                  </a:lnTo>
                  <a:lnTo>
                    <a:pt x="914" y="1740"/>
                  </a:lnTo>
                  <a:lnTo>
                    <a:pt x="915" y="1742"/>
                  </a:lnTo>
                  <a:lnTo>
                    <a:pt x="915" y="1742"/>
                  </a:lnTo>
                  <a:lnTo>
                    <a:pt x="915" y="1743"/>
                  </a:lnTo>
                  <a:close/>
                  <a:moveTo>
                    <a:pt x="923" y="1750"/>
                  </a:moveTo>
                  <a:lnTo>
                    <a:pt x="923" y="1750"/>
                  </a:lnTo>
                  <a:lnTo>
                    <a:pt x="921" y="1750"/>
                  </a:lnTo>
                  <a:lnTo>
                    <a:pt x="921" y="1749"/>
                  </a:lnTo>
                  <a:lnTo>
                    <a:pt x="921" y="1749"/>
                  </a:lnTo>
                  <a:lnTo>
                    <a:pt x="921" y="1747"/>
                  </a:lnTo>
                  <a:lnTo>
                    <a:pt x="923" y="1747"/>
                  </a:lnTo>
                  <a:lnTo>
                    <a:pt x="923" y="1747"/>
                  </a:lnTo>
                  <a:lnTo>
                    <a:pt x="924" y="1747"/>
                  </a:lnTo>
                  <a:lnTo>
                    <a:pt x="924" y="1747"/>
                  </a:lnTo>
                  <a:lnTo>
                    <a:pt x="924" y="1749"/>
                  </a:lnTo>
                  <a:lnTo>
                    <a:pt x="923" y="1750"/>
                  </a:lnTo>
                  <a:close/>
                  <a:moveTo>
                    <a:pt x="931" y="1747"/>
                  </a:moveTo>
                  <a:lnTo>
                    <a:pt x="931" y="1749"/>
                  </a:lnTo>
                  <a:lnTo>
                    <a:pt x="931" y="1749"/>
                  </a:lnTo>
                  <a:lnTo>
                    <a:pt x="931" y="1750"/>
                  </a:lnTo>
                  <a:lnTo>
                    <a:pt x="932" y="1750"/>
                  </a:lnTo>
                  <a:lnTo>
                    <a:pt x="932" y="1750"/>
                  </a:lnTo>
                  <a:lnTo>
                    <a:pt x="932" y="1750"/>
                  </a:lnTo>
                  <a:lnTo>
                    <a:pt x="934" y="1750"/>
                  </a:lnTo>
                  <a:lnTo>
                    <a:pt x="934" y="1750"/>
                  </a:lnTo>
                  <a:lnTo>
                    <a:pt x="934" y="1750"/>
                  </a:lnTo>
                  <a:lnTo>
                    <a:pt x="934" y="1750"/>
                  </a:lnTo>
                  <a:lnTo>
                    <a:pt x="934" y="1750"/>
                  </a:lnTo>
                  <a:lnTo>
                    <a:pt x="935" y="1750"/>
                  </a:lnTo>
                  <a:lnTo>
                    <a:pt x="935" y="1752"/>
                  </a:lnTo>
                  <a:lnTo>
                    <a:pt x="935" y="1752"/>
                  </a:lnTo>
                  <a:lnTo>
                    <a:pt x="935" y="1752"/>
                  </a:lnTo>
                  <a:lnTo>
                    <a:pt x="935" y="1750"/>
                  </a:lnTo>
                  <a:lnTo>
                    <a:pt x="935" y="1750"/>
                  </a:lnTo>
                  <a:lnTo>
                    <a:pt x="935" y="1750"/>
                  </a:lnTo>
                  <a:lnTo>
                    <a:pt x="935" y="1750"/>
                  </a:lnTo>
                  <a:lnTo>
                    <a:pt x="935" y="1749"/>
                  </a:lnTo>
                  <a:lnTo>
                    <a:pt x="935" y="1749"/>
                  </a:lnTo>
                  <a:lnTo>
                    <a:pt x="937" y="1749"/>
                  </a:lnTo>
                  <a:lnTo>
                    <a:pt x="937" y="1749"/>
                  </a:lnTo>
                  <a:lnTo>
                    <a:pt x="937" y="1749"/>
                  </a:lnTo>
                  <a:lnTo>
                    <a:pt x="937" y="1749"/>
                  </a:lnTo>
                  <a:lnTo>
                    <a:pt x="938" y="1747"/>
                  </a:lnTo>
                  <a:lnTo>
                    <a:pt x="940" y="1747"/>
                  </a:lnTo>
                  <a:lnTo>
                    <a:pt x="940" y="1747"/>
                  </a:lnTo>
                  <a:lnTo>
                    <a:pt x="940" y="1749"/>
                  </a:lnTo>
                  <a:lnTo>
                    <a:pt x="940" y="1749"/>
                  </a:lnTo>
                  <a:lnTo>
                    <a:pt x="941" y="1749"/>
                  </a:lnTo>
                  <a:lnTo>
                    <a:pt x="941" y="1749"/>
                  </a:lnTo>
                  <a:lnTo>
                    <a:pt x="941" y="1750"/>
                  </a:lnTo>
                  <a:lnTo>
                    <a:pt x="942" y="1750"/>
                  </a:lnTo>
                  <a:lnTo>
                    <a:pt x="942" y="1749"/>
                  </a:lnTo>
                  <a:lnTo>
                    <a:pt x="944" y="1749"/>
                  </a:lnTo>
                  <a:lnTo>
                    <a:pt x="944" y="1747"/>
                  </a:lnTo>
                  <a:lnTo>
                    <a:pt x="945" y="1747"/>
                  </a:lnTo>
                  <a:lnTo>
                    <a:pt x="945" y="1747"/>
                  </a:lnTo>
                  <a:lnTo>
                    <a:pt x="945" y="1749"/>
                  </a:lnTo>
                  <a:lnTo>
                    <a:pt x="945" y="1749"/>
                  </a:lnTo>
                  <a:lnTo>
                    <a:pt x="947" y="1750"/>
                  </a:lnTo>
                  <a:lnTo>
                    <a:pt x="947" y="1750"/>
                  </a:lnTo>
                  <a:lnTo>
                    <a:pt x="947" y="1750"/>
                  </a:lnTo>
                  <a:lnTo>
                    <a:pt x="947" y="1752"/>
                  </a:lnTo>
                  <a:lnTo>
                    <a:pt x="947" y="1752"/>
                  </a:lnTo>
                  <a:lnTo>
                    <a:pt x="947" y="1753"/>
                  </a:lnTo>
                  <a:lnTo>
                    <a:pt x="948" y="1753"/>
                  </a:lnTo>
                  <a:lnTo>
                    <a:pt x="948" y="1752"/>
                  </a:lnTo>
                  <a:lnTo>
                    <a:pt x="948" y="1750"/>
                  </a:lnTo>
                  <a:lnTo>
                    <a:pt x="950" y="1750"/>
                  </a:lnTo>
                  <a:lnTo>
                    <a:pt x="950" y="1750"/>
                  </a:lnTo>
                  <a:lnTo>
                    <a:pt x="950" y="1750"/>
                  </a:lnTo>
                  <a:lnTo>
                    <a:pt x="950" y="1750"/>
                  </a:lnTo>
                  <a:lnTo>
                    <a:pt x="950" y="1752"/>
                  </a:lnTo>
                  <a:lnTo>
                    <a:pt x="950" y="1752"/>
                  </a:lnTo>
                  <a:lnTo>
                    <a:pt x="951" y="1752"/>
                  </a:lnTo>
                  <a:lnTo>
                    <a:pt x="951" y="1752"/>
                  </a:lnTo>
                  <a:lnTo>
                    <a:pt x="950" y="1755"/>
                  </a:lnTo>
                  <a:lnTo>
                    <a:pt x="948" y="1756"/>
                  </a:lnTo>
                  <a:lnTo>
                    <a:pt x="947" y="1757"/>
                  </a:lnTo>
                  <a:lnTo>
                    <a:pt x="947" y="1757"/>
                  </a:lnTo>
                  <a:lnTo>
                    <a:pt x="945" y="1757"/>
                  </a:lnTo>
                  <a:lnTo>
                    <a:pt x="945" y="1757"/>
                  </a:lnTo>
                  <a:lnTo>
                    <a:pt x="945" y="1757"/>
                  </a:lnTo>
                  <a:lnTo>
                    <a:pt x="945" y="1757"/>
                  </a:lnTo>
                  <a:lnTo>
                    <a:pt x="945" y="1756"/>
                  </a:lnTo>
                  <a:lnTo>
                    <a:pt x="945" y="1756"/>
                  </a:lnTo>
                  <a:lnTo>
                    <a:pt x="947" y="1756"/>
                  </a:lnTo>
                  <a:lnTo>
                    <a:pt x="948" y="1755"/>
                  </a:lnTo>
                  <a:lnTo>
                    <a:pt x="948" y="1755"/>
                  </a:lnTo>
                  <a:lnTo>
                    <a:pt x="947" y="1755"/>
                  </a:lnTo>
                  <a:lnTo>
                    <a:pt x="944" y="1757"/>
                  </a:lnTo>
                  <a:lnTo>
                    <a:pt x="944" y="1757"/>
                  </a:lnTo>
                  <a:lnTo>
                    <a:pt x="942" y="1757"/>
                  </a:lnTo>
                  <a:lnTo>
                    <a:pt x="942" y="1756"/>
                  </a:lnTo>
                  <a:lnTo>
                    <a:pt x="941" y="1756"/>
                  </a:lnTo>
                  <a:lnTo>
                    <a:pt x="940" y="1755"/>
                  </a:lnTo>
                  <a:lnTo>
                    <a:pt x="940" y="1755"/>
                  </a:lnTo>
                  <a:lnTo>
                    <a:pt x="938" y="1755"/>
                  </a:lnTo>
                  <a:lnTo>
                    <a:pt x="937" y="1753"/>
                  </a:lnTo>
                  <a:lnTo>
                    <a:pt x="934" y="1753"/>
                  </a:lnTo>
                  <a:lnTo>
                    <a:pt x="932" y="1752"/>
                  </a:lnTo>
                  <a:lnTo>
                    <a:pt x="930" y="1752"/>
                  </a:lnTo>
                  <a:lnTo>
                    <a:pt x="928" y="1752"/>
                  </a:lnTo>
                  <a:lnTo>
                    <a:pt x="925" y="1750"/>
                  </a:lnTo>
                  <a:lnTo>
                    <a:pt x="925" y="1749"/>
                  </a:lnTo>
                  <a:lnTo>
                    <a:pt x="925" y="1749"/>
                  </a:lnTo>
                  <a:lnTo>
                    <a:pt x="925" y="1749"/>
                  </a:lnTo>
                  <a:lnTo>
                    <a:pt x="925" y="1747"/>
                  </a:lnTo>
                  <a:lnTo>
                    <a:pt x="925" y="1747"/>
                  </a:lnTo>
                  <a:lnTo>
                    <a:pt x="927" y="1749"/>
                  </a:lnTo>
                  <a:lnTo>
                    <a:pt x="927" y="1749"/>
                  </a:lnTo>
                  <a:lnTo>
                    <a:pt x="927" y="1749"/>
                  </a:lnTo>
                  <a:lnTo>
                    <a:pt x="928" y="1749"/>
                  </a:lnTo>
                  <a:lnTo>
                    <a:pt x="928" y="1749"/>
                  </a:lnTo>
                  <a:lnTo>
                    <a:pt x="928" y="1749"/>
                  </a:lnTo>
                  <a:lnTo>
                    <a:pt x="930" y="1747"/>
                  </a:lnTo>
                  <a:lnTo>
                    <a:pt x="930" y="1747"/>
                  </a:lnTo>
                  <a:lnTo>
                    <a:pt x="931" y="1747"/>
                  </a:lnTo>
                  <a:lnTo>
                    <a:pt x="931" y="1747"/>
                  </a:lnTo>
                  <a:close/>
                  <a:moveTo>
                    <a:pt x="1079" y="1759"/>
                  </a:moveTo>
                  <a:lnTo>
                    <a:pt x="1078" y="1760"/>
                  </a:lnTo>
                  <a:lnTo>
                    <a:pt x="1077" y="1759"/>
                  </a:lnTo>
                  <a:lnTo>
                    <a:pt x="1074" y="1760"/>
                  </a:lnTo>
                  <a:lnTo>
                    <a:pt x="1074" y="1760"/>
                  </a:lnTo>
                  <a:lnTo>
                    <a:pt x="1075" y="1759"/>
                  </a:lnTo>
                  <a:lnTo>
                    <a:pt x="1078" y="1757"/>
                  </a:lnTo>
                  <a:lnTo>
                    <a:pt x="1079" y="1755"/>
                  </a:lnTo>
                  <a:lnTo>
                    <a:pt x="1081" y="1755"/>
                  </a:lnTo>
                  <a:lnTo>
                    <a:pt x="1079" y="1757"/>
                  </a:lnTo>
                  <a:lnTo>
                    <a:pt x="1079" y="1759"/>
                  </a:lnTo>
                  <a:lnTo>
                    <a:pt x="1079" y="1759"/>
                  </a:lnTo>
                  <a:close/>
                  <a:moveTo>
                    <a:pt x="1078" y="1757"/>
                  </a:moveTo>
                  <a:lnTo>
                    <a:pt x="1075" y="1757"/>
                  </a:lnTo>
                  <a:lnTo>
                    <a:pt x="1075" y="1757"/>
                  </a:lnTo>
                  <a:lnTo>
                    <a:pt x="1077" y="1755"/>
                  </a:lnTo>
                  <a:lnTo>
                    <a:pt x="1079" y="1755"/>
                  </a:lnTo>
                  <a:lnTo>
                    <a:pt x="1078" y="1757"/>
                  </a:lnTo>
                  <a:close/>
                  <a:moveTo>
                    <a:pt x="1281" y="1759"/>
                  </a:moveTo>
                  <a:lnTo>
                    <a:pt x="1281" y="1759"/>
                  </a:lnTo>
                  <a:lnTo>
                    <a:pt x="1281" y="1759"/>
                  </a:lnTo>
                  <a:lnTo>
                    <a:pt x="1279" y="1757"/>
                  </a:lnTo>
                  <a:lnTo>
                    <a:pt x="1279" y="1757"/>
                  </a:lnTo>
                  <a:lnTo>
                    <a:pt x="1281" y="1757"/>
                  </a:lnTo>
                  <a:lnTo>
                    <a:pt x="1282" y="1757"/>
                  </a:lnTo>
                  <a:lnTo>
                    <a:pt x="1282" y="1759"/>
                  </a:lnTo>
                  <a:lnTo>
                    <a:pt x="1281" y="1759"/>
                  </a:lnTo>
                  <a:close/>
                  <a:moveTo>
                    <a:pt x="948" y="1759"/>
                  </a:moveTo>
                  <a:lnTo>
                    <a:pt x="947" y="1759"/>
                  </a:lnTo>
                  <a:lnTo>
                    <a:pt x="947" y="1759"/>
                  </a:lnTo>
                  <a:lnTo>
                    <a:pt x="947" y="1759"/>
                  </a:lnTo>
                  <a:lnTo>
                    <a:pt x="947" y="1759"/>
                  </a:lnTo>
                  <a:lnTo>
                    <a:pt x="948" y="1757"/>
                  </a:lnTo>
                  <a:lnTo>
                    <a:pt x="948" y="1757"/>
                  </a:lnTo>
                  <a:lnTo>
                    <a:pt x="948" y="1759"/>
                  </a:lnTo>
                  <a:lnTo>
                    <a:pt x="948" y="1759"/>
                  </a:lnTo>
                  <a:close/>
                  <a:moveTo>
                    <a:pt x="974" y="1775"/>
                  </a:moveTo>
                  <a:lnTo>
                    <a:pt x="974" y="1775"/>
                  </a:lnTo>
                  <a:lnTo>
                    <a:pt x="972" y="1775"/>
                  </a:lnTo>
                  <a:lnTo>
                    <a:pt x="972" y="1773"/>
                  </a:lnTo>
                  <a:lnTo>
                    <a:pt x="972" y="1773"/>
                  </a:lnTo>
                  <a:lnTo>
                    <a:pt x="972" y="1773"/>
                  </a:lnTo>
                  <a:lnTo>
                    <a:pt x="974" y="1773"/>
                  </a:lnTo>
                  <a:lnTo>
                    <a:pt x="974" y="1773"/>
                  </a:lnTo>
                  <a:lnTo>
                    <a:pt x="974" y="1775"/>
                  </a:lnTo>
                  <a:close/>
                  <a:moveTo>
                    <a:pt x="1188" y="1777"/>
                  </a:moveTo>
                  <a:lnTo>
                    <a:pt x="1186" y="1779"/>
                  </a:lnTo>
                  <a:lnTo>
                    <a:pt x="1186" y="1776"/>
                  </a:lnTo>
                  <a:lnTo>
                    <a:pt x="1188" y="1775"/>
                  </a:lnTo>
                  <a:lnTo>
                    <a:pt x="1189" y="1775"/>
                  </a:lnTo>
                  <a:lnTo>
                    <a:pt x="1188" y="1776"/>
                  </a:lnTo>
                  <a:lnTo>
                    <a:pt x="1188" y="1777"/>
                  </a:lnTo>
                  <a:close/>
                  <a:moveTo>
                    <a:pt x="1196" y="1786"/>
                  </a:moveTo>
                  <a:lnTo>
                    <a:pt x="1195" y="1787"/>
                  </a:lnTo>
                  <a:lnTo>
                    <a:pt x="1195" y="1786"/>
                  </a:lnTo>
                  <a:lnTo>
                    <a:pt x="1196" y="1785"/>
                  </a:lnTo>
                  <a:lnTo>
                    <a:pt x="1198" y="1783"/>
                  </a:lnTo>
                  <a:lnTo>
                    <a:pt x="1196" y="1786"/>
                  </a:lnTo>
                  <a:close/>
                  <a:moveTo>
                    <a:pt x="1035" y="1789"/>
                  </a:moveTo>
                  <a:lnTo>
                    <a:pt x="1034" y="1790"/>
                  </a:lnTo>
                  <a:lnTo>
                    <a:pt x="1032" y="1790"/>
                  </a:lnTo>
                  <a:lnTo>
                    <a:pt x="1032" y="1790"/>
                  </a:lnTo>
                  <a:lnTo>
                    <a:pt x="1032" y="1789"/>
                  </a:lnTo>
                  <a:lnTo>
                    <a:pt x="1032" y="1789"/>
                  </a:lnTo>
                  <a:lnTo>
                    <a:pt x="1032" y="1789"/>
                  </a:lnTo>
                  <a:lnTo>
                    <a:pt x="1032" y="1789"/>
                  </a:lnTo>
                  <a:lnTo>
                    <a:pt x="1034" y="1787"/>
                  </a:lnTo>
                  <a:lnTo>
                    <a:pt x="1034" y="1787"/>
                  </a:lnTo>
                  <a:lnTo>
                    <a:pt x="1035" y="1787"/>
                  </a:lnTo>
                  <a:lnTo>
                    <a:pt x="1035" y="1787"/>
                  </a:lnTo>
                  <a:lnTo>
                    <a:pt x="1037" y="1787"/>
                  </a:lnTo>
                  <a:lnTo>
                    <a:pt x="1037" y="1787"/>
                  </a:lnTo>
                  <a:lnTo>
                    <a:pt x="1035" y="1787"/>
                  </a:lnTo>
                  <a:lnTo>
                    <a:pt x="1035" y="1789"/>
                  </a:lnTo>
                  <a:lnTo>
                    <a:pt x="1035" y="1789"/>
                  </a:lnTo>
                  <a:close/>
                  <a:moveTo>
                    <a:pt x="1029" y="1789"/>
                  </a:moveTo>
                  <a:lnTo>
                    <a:pt x="1028" y="1790"/>
                  </a:lnTo>
                  <a:lnTo>
                    <a:pt x="1028" y="1789"/>
                  </a:lnTo>
                  <a:lnTo>
                    <a:pt x="1028" y="1789"/>
                  </a:lnTo>
                  <a:lnTo>
                    <a:pt x="1028" y="1789"/>
                  </a:lnTo>
                  <a:lnTo>
                    <a:pt x="1028" y="1789"/>
                  </a:lnTo>
                  <a:lnTo>
                    <a:pt x="1029" y="1787"/>
                  </a:lnTo>
                  <a:lnTo>
                    <a:pt x="1029" y="1789"/>
                  </a:lnTo>
                  <a:lnTo>
                    <a:pt x="1029" y="1789"/>
                  </a:lnTo>
                  <a:close/>
                  <a:moveTo>
                    <a:pt x="1301" y="1793"/>
                  </a:moveTo>
                  <a:lnTo>
                    <a:pt x="1298" y="1795"/>
                  </a:lnTo>
                  <a:lnTo>
                    <a:pt x="1296" y="1795"/>
                  </a:lnTo>
                  <a:lnTo>
                    <a:pt x="1295" y="1793"/>
                  </a:lnTo>
                  <a:lnTo>
                    <a:pt x="1295" y="1793"/>
                  </a:lnTo>
                  <a:lnTo>
                    <a:pt x="1298" y="1793"/>
                  </a:lnTo>
                  <a:lnTo>
                    <a:pt x="1299" y="1793"/>
                  </a:lnTo>
                  <a:lnTo>
                    <a:pt x="1301" y="1792"/>
                  </a:lnTo>
                  <a:lnTo>
                    <a:pt x="1301" y="1793"/>
                  </a:lnTo>
                  <a:close/>
                  <a:moveTo>
                    <a:pt x="934" y="1842"/>
                  </a:moveTo>
                  <a:lnTo>
                    <a:pt x="934" y="1842"/>
                  </a:lnTo>
                  <a:lnTo>
                    <a:pt x="934" y="1842"/>
                  </a:lnTo>
                  <a:lnTo>
                    <a:pt x="934" y="1840"/>
                  </a:lnTo>
                  <a:lnTo>
                    <a:pt x="934" y="1840"/>
                  </a:lnTo>
                  <a:lnTo>
                    <a:pt x="934" y="1840"/>
                  </a:lnTo>
                  <a:lnTo>
                    <a:pt x="934" y="1842"/>
                  </a:lnTo>
                  <a:lnTo>
                    <a:pt x="934" y="184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Google Shape;178;p3"/>
            <p:cNvSpPr/>
            <p:nvPr/>
          </p:nvSpPr>
          <p:spPr>
            <a:xfrm>
              <a:off x="4088885" y="4319573"/>
              <a:ext cx="213896" cy="188963"/>
            </a:xfrm>
            <a:custGeom>
              <a:rect b="b" l="l" r="r" t="t"/>
              <a:pathLst>
                <a:path extrusionOk="0" h="301" w="305">
                  <a:moveTo>
                    <a:pt x="243" y="4"/>
                  </a:moveTo>
                  <a:lnTo>
                    <a:pt x="244" y="4"/>
                  </a:lnTo>
                  <a:lnTo>
                    <a:pt x="244" y="5"/>
                  </a:lnTo>
                  <a:lnTo>
                    <a:pt x="247" y="8"/>
                  </a:lnTo>
                  <a:lnTo>
                    <a:pt x="248" y="8"/>
                  </a:lnTo>
                  <a:lnTo>
                    <a:pt x="248" y="10"/>
                  </a:lnTo>
                  <a:lnTo>
                    <a:pt x="250" y="11"/>
                  </a:lnTo>
                  <a:lnTo>
                    <a:pt x="250" y="11"/>
                  </a:lnTo>
                  <a:lnTo>
                    <a:pt x="251" y="13"/>
                  </a:lnTo>
                  <a:lnTo>
                    <a:pt x="253" y="13"/>
                  </a:lnTo>
                  <a:lnTo>
                    <a:pt x="253" y="14"/>
                  </a:lnTo>
                  <a:lnTo>
                    <a:pt x="254" y="14"/>
                  </a:lnTo>
                  <a:lnTo>
                    <a:pt x="255" y="15"/>
                  </a:lnTo>
                  <a:lnTo>
                    <a:pt x="257" y="15"/>
                  </a:lnTo>
                  <a:lnTo>
                    <a:pt x="258" y="15"/>
                  </a:lnTo>
                  <a:lnTo>
                    <a:pt x="258" y="15"/>
                  </a:lnTo>
                  <a:lnTo>
                    <a:pt x="260" y="15"/>
                  </a:lnTo>
                  <a:lnTo>
                    <a:pt x="261" y="15"/>
                  </a:lnTo>
                  <a:lnTo>
                    <a:pt x="263" y="14"/>
                  </a:lnTo>
                  <a:lnTo>
                    <a:pt x="264" y="13"/>
                  </a:lnTo>
                  <a:lnTo>
                    <a:pt x="268" y="14"/>
                  </a:lnTo>
                  <a:lnTo>
                    <a:pt x="270" y="14"/>
                  </a:lnTo>
                  <a:lnTo>
                    <a:pt x="271" y="15"/>
                  </a:lnTo>
                  <a:lnTo>
                    <a:pt x="273" y="15"/>
                  </a:lnTo>
                  <a:lnTo>
                    <a:pt x="275" y="13"/>
                  </a:lnTo>
                  <a:lnTo>
                    <a:pt x="277" y="11"/>
                  </a:lnTo>
                  <a:lnTo>
                    <a:pt x="278" y="11"/>
                  </a:lnTo>
                  <a:lnTo>
                    <a:pt x="280" y="11"/>
                  </a:lnTo>
                  <a:lnTo>
                    <a:pt x="281" y="14"/>
                  </a:lnTo>
                  <a:lnTo>
                    <a:pt x="283" y="15"/>
                  </a:lnTo>
                  <a:lnTo>
                    <a:pt x="284" y="17"/>
                  </a:lnTo>
                  <a:lnTo>
                    <a:pt x="285" y="18"/>
                  </a:lnTo>
                  <a:lnTo>
                    <a:pt x="288" y="21"/>
                  </a:lnTo>
                  <a:lnTo>
                    <a:pt x="291" y="23"/>
                  </a:lnTo>
                  <a:lnTo>
                    <a:pt x="292" y="24"/>
                  </a:lnTo>
                  <a:lnTo>
                    <a:pt x="294" y="24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7"/>
                  </a:lnTo>
                  <a:lnTo>
                    <a:pt x="295" y="27"/>
                  </a:lnTo>
                  <a:lnTo>
                    <a:pt x="295" y="27"/>
                  </a:lnTo>
                  <a:lnTo>
                    <a:pt x="297" y="27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0"/>
                  </a:lnTo>
                  <a:lnTo>
                    <a:pt x="300" y="30"/>
                  </a:lnTo>
                  <a:lnTo>
                    <a:pt x="300" y="31"/>
                  </a:lnTo>
                  <a:lnTo>
                    <a:pt x="298" y="31"/>
                  </a:lnTo>
                  <a:lnTo>
                    <a:pt x="298" y="33"/>
                  </a:lnTo>
                  <a:lnTo>
                    <a:pt x="297" y="34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8" y="38"/>
                  </a:lnTo>
                  <a:lnTo>
                    <a:pt x="298" y="38"/>
                  </a:lnTo>
                  <a:lnTo>
                    <a:pt x="298" y="38"/>
                  </a:lnTo>
                  <a:lnTo>
                    <a:pt x="298" y="40"/>
                  </a:lnTo>
                  <a:lnTo>
                    <a:pt x="297" y="43"/>
                  </a:lnTo>
                  <a:lnTo>
                    <a:pt x="297" y="44"/>
                  </a:lnTo>
                  <a:lnTo>
                    <a:pt x="297" y="45"/>
                  </a:lnTo>
                  <a:lnTo>
                    <a:pt x="298" y="47"/>
                  </a:lnTo>
                  <a:lnTo>
                    <a:pt x="300" y="47"/>
                  </a:lnTo>
                  <a:lnTo>
                    <a:pt x="301" y="47"/>
                  </a:lnTo>
                  <a:lnTo>
                    <a:pt x="301" y="48"/>
                  </a:lnTo>
                  <a:lnTo>
                    <a:pt x="302" y="48"/>
                  </a:lnTo>
                  <a:lnTo>
                    <a:pt x="302" y="48"/>
                  </a:lnTo>
                  <a:lnTo>
                    <a:pt x="304" y="48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5" y="51"/>
                  </a:lnTo>
                  <a:lnTo>
                    <a:pt x="305" y="51"/>
                  </a:lnTo>
                  <a:lnTo>
                    <a:pt x="305" y="53"/>
                  </a:lnTo>
                  <a:lnTo>
                    <a:pt x="304" y="54"/>
                  </a:lnTo>
                  <a:lnTo>
                    <a:pt x="300" y="58"/>
                  </a:lnTo>
                  <a:lnTo>
                    <a:pt x="292" y="65"/>
                  </a:lnTo>
                  <a:lnTo>
                    <a:pt x="292" y="65"/>
                  </a:lnTo>
                  <a:lnTo>
                    <a:pt x="290" y="65"/>
                  </a:lnTo>
                  <a:lnTo>
                    <a:pt x="288" y="67"/>
                  </a:lnTo>
                  <a:lnTo>
                    <a:pt x="288" y="70"/>
                  </a:lnTo>
                  <a:lnTo>
                    <a:pt x="285" y="71"/>
                  </a:lnTo>
                  <a:lnTo>
                    <a:pt x="284" y="73"/>
                  </a:lnTo>
                  <a:lnTo>
                    <a:pt x="284" y="73"/>
                  </a:lnTo>
                  <a:lnTo>
                    <a:pt x="284" y="74"/>
                  </a:lnTo>
                  <a:lnTo>
                    <a:pt x="284" y="77"/>
                  </a:lnTo>
                  <a:lnTo>
                    <a:pt x="283" y="78"/>
                  </a:lnTo>
                  <a:lnTo>
                    <a:pt x="281" y="81"/>
                  </a:lnTo>
                  <a:lnTo>
                    <a:pt x="281" y="83"/>
                  </a:lnTo>
                  <a:lnTo>
                    <a:pt x="281" y="83"/>
                  </a:lnTo>
                  <a:lnTo>
                    <a:pt x="280" y="84"/>
                  </a:lnTo>
                  <a:lnTo>
                    <a:pt x="280" y="85"/>
                  </a:lnTo>
                  <a:lnTo>
                    <a:pt x="280" y="87"/>
                  </a:lnTo>
                  <a:lnTo>
                    <a:pt x="278" y="93"/>
                  </a:lnTo>
                  <a:lnTo>
                    <a:pt x="280" y="94"/>
                  </a:lnTo>
                  <a:lnTo>
                    <a:pt x="278" y="95"/>
                  </a:lnTo>
                  <a:lnTo>
                    <a:pt x="278" y="97"/>
                  </a:lnTo>
                  <a:lnTo>
                    <a:pt x="278" y="100"/>
                  </a:lnTo>
                  <a:lnTo>
                    <a:pt x="278" y="101"/>
                  </a:lnTo>
                  <a:lnTo>
                    <a:pt x="278" y="103"/>
                  </a:lnTo>
                  <a:lnTo>
                    <a:pt x="278" y="107"/>
                  </a:lnTo>
                  <a:lnTo>
                    <a:pt x="278" y="107"/>
                  </a:lnTo>
                  <a:lnTo>
                    <a:pt x="277" y="107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4" y="110"/>
                  </a:lnTo>
                  <a:lnTo>
                    <a:pt x="273" y="111"/>
                  </a:lnTo>
                  <a:lnTo>
                    <a:pt x="273" y="113"/>
                  </a:lnTo>
                  <a:lnTo>
                    <a:pt x="271" y="114"/>
                  </a:lnTo>
                  <a:lnTo>
                    <a:pt x="271" y="114"/>
                  </a:lnTo>
                  <a:lnTo>
                    <a:pt x="271" y="117"/>
                  </a:lnTo>
                  <a:lnTo>
                    <a:pt x="271" y="118"/>
                  </a:lnTo>
                  <a:lnTo>
                    <a:pt x="271" y="120"/>
                  </a:lnTo>
                  <a:lnTo>
                    <a:pt x="271" y="121"/>
                  </a:lnTo>
                  <a:lnTo>
                    <a:pt x="268" y="121"/>
                  </a:lnTo>
                  <a:lnTo>
                    <a:pt x="267" y="123"/>
                  </a:lnTo>
                  <a:lnTo>
                    <a:pt x="267" y="123"/>
                  </a:lnTo>
                  <a:lnTo>
                    <a:pt x="267" y="124"/>
                  </a:lnTo>
                  <a:lnTo>
                    <a:pt x="267" y="125"/>
                  </a:lnTo>
                  <a:lnTo>
                    <a:pt x="267" y="127"/>
                  </a:lnTo>
                  <a:lnTo>
                    <a:pt x="267" y="128"/>
                  </a:lnTo>
                  <a:lnTo>
                    <a:pt x="270" y="128"/>
                  </a:lnTo>
                  <a:lnTo>
                    <a:pt x="268" y="128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71" y="133"/>
                  </a:lnTo>
                  <a:lnTo>
                    <a:pt x="273" y="134"/>
                  </a:lnTo>
                  <a:lnTo>
                    <a:pt x="273" y="135"/>
                  </a:lnTo>
                  <a:lnTo>
                    <a:pt x="273" y="137"/>
                  </a:lnTo>
                  <a:lnTo>
                    <a:pt x="273" y="138"/>
                  </a:lnTo>
                  <a:lnTo>
                    <a:pt x="273" y="140"/>
                  </a:lnTo>
                  <a:lnTo>
                    <a:pt x="273" y="144"/>
                  </a:lnTo>
                  <a:lnTo>
                    <a:pt x="273" y="145"/>
                  </a:lnTo>
                  <a:lnTo>
                    <a:pt x="273" y="147"/>
                  </a:lnTo>
                  <a:lnTo>
                    <a:pt x="274" y="150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5" y="157"/>
                  </a:lnTo>
                  <a:lnTo>
                    <a:pt x="274" y="160"/>
                  </a:lnTo>
                  <a:lnTo>
                    <a:pt x="274" y="163"/>
                  </a:lnTo>
                  <a:lnTo>
                    <a:pt x="274" y="163"/>
                  </a:lnTo>
                  <a:lnTo>
                    <a:pt x="274" y="164"/>
                  </a:lnTo>
                  <a:lnTo>
                    <a:pt x="275" y="167"/>
                  </a:lnTo>
                  <a:lnTo>
                    <a:pt x="277" y="170"/>
                  </a:lnTo>
                  <a:lnTo>
                    <a:pt x="277" y="171"/>
                  </a:lnTo>
                  <a:lnTo>
                    <a:pt x="277" y="173"/>
                  </a:lnTo>
                  <a:lnTo>
                    <a:pt x="278" y="175"/>
                  </a:lnTo>
                  <a:lnTo>
                    <a:pt x="278" y="177"/>
                  </a:lnTo>
                  <a:lnTo>
                    <a:pt x="278" y="177"/>
                  </a:lnTo>
                  <a:lnTo>
                    <a:pt x="277" y="180"/>
                  </a:lnTo>
                  <a:lnTo>
                    <a:pt x="277" y="181"/>
                  </a:lnTo>
                  <a:lnTo>
                    <a:pt x="277" y="184"/>
                  </a:lnTo>
                  <a:lnTo>
                    <a:pt x="277" y="185"/>
                  </a:lnTo>
                  <a:lnTo>
                    <a:pt x="278" y="187"/>
                  </a:lnTo>
                  <a:lnTo>
                    <a:pt x="280" y="191"/>
                  </a:lnTo>
                  <a:lnTo>
                    <a:pt x="281" y="191"/>
                  </a:lnTo>
                  <a:lnTo>
                    <a:pt x="284" y="194"/>
                  </a:lnTo>
                  <a:lnTo>
                    <a:pt x="287" y="195"/>
                  </a:lnTo>
                  <a:lnTo>
                    <a:pt x="287" y="197"/>
                  </a:lnTo>
                  <a:lnTo>
                    <a:pt x="288" y="197"/>
                  </a:lnTo>
                  <a:lnTo>
                    <a:pt x="290" y="200"/>
                  </a:lnTo>
                  <a:lnTo>
                    <a:pt x="291" y="202"/>
                  </a:lnTo>
                  <a:lnTo>
                    <a:pt x="291" y="204"/>
                  </a:lnTo>
                  <a:lnTo>
                    <a:pt x="292" y="207"/>
                  </a:lnTo>
                  <a:lnTo>
                    <a:pt x="294" y="210"/>
                  </a:lnTo>
                  <a:lnTo>
                    <a:pt x="295" y="212"/>
                  </a:lnTo>
                  <a:lnTo>
                    <a:pt x="297" y="214"/>
                  </a:lnTo>
                  <a:lnTo>
                    <a:pt x="297" y="215"/>
                  </a:lnTo>
                  <a:lnTo>
                    <a:pt x="294" y="217"/>
                  </a:lnTo>
                  <a:lnTo>
                    <a:pt x="290" y="217"/>
                  </a:lnTo>
                  <a:lnTo>
                    <a:pt x="285" y="218"/>
                  </a:lnTo>
                  <a:lnTo>
                    <a:pt x="281" y="218"/>
                  </a:lnTo>
                  <a:lnTo>
                    <a:pt x="277" y="220"/>
                  </a:lnTo>
                  <a:lnTo>
                    <a:pt x="273" y="220"/>
                  </a:lnTo>
                  <a:lnTo>
                    <a:pt x="268" y="220"/>
                  </a:lnTo>
                  <a:lnTo>
                    <a:pt x="267" y="221"/>
                  </a:lnTo>
                  <a:lnTo>
                    <a:pt x="268" y="222"/>
                  </a:lnTo>
                  <a:lnTo>
                    <a:pt x="267" y="224"/>
                  </a:lnTo>
                  <a:lnTo>
                    <a:pt x="267" y="225"/>
                  </a:lnTo>
                  <a:lnTo>
                    <a:pt x="265" y="227"/>
                  </a:lnTo>
                  <a:lnTo>
                    <a:pt x="265" y="228"/>
                  </a:lnTo>
                  <a:lnTo>
                    <a:pt x="264" y="230"/>
                  </a:lnTo>
                  <a:lnTo>
                    <a:pt x="263" y="230"/>
                  </a:lnTo>
                  <a:lnTo>
                    <a:pt x="261" y="231"/>
                  </a:lnTo>
                  <a:lnTo>
                    <a:pt x="260" y="232"/>
                  </a:lnTo>
                  <a:lnTo>
                    <a:pt x="260" y="234"/>
                  </a:lnTo>
                  <a:lnTo>
                    <a:pt x="261" y="237"/>
                  </a:lnTo>
                  <a:lnTo>
                    <a:pt x="263" y="240"/>
                  </a:lnTo>
                  <a:lnTo>
                    <a:pt x="263" y="242"/>
                  </a:lnTo>
                  <a:lnTo>
                    <a:pt x="263" y="244"/>
                  </a:lnTo>
                  <a:lnTo>
                    <a:pt x="263" y="247"/>
                  </a:lnTo>
                  <a:lnTo>
                    <a:pt x="263" y="250"/>
                  </a:lnTo>
                  <a:lnTo>
                    <a:pt x="263" y="251"/>
                  </a:lnTo>
                  <a:lnTo>
                    <a:pt x="263" y="254"/>
                  </a:lnTo>
                  <a:lnTo>
                    <a:pt x="263" y="255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60" y="262"/>
                  </a:lnTo>
                  <a:lnTo>
                    <a:pt x="260" y="267"/>
                  </a:lnTo>
                  <a:lnTo>
                    <a:pt x="258" y="270"/>
                  </a:lnTo>
                  <a:lnTo>
                    <a:pt x="258" y="271"/>
                  </a:lnTo>
                  <a:lnTo>
                    <a:pt x="260" y="271"/>
                  </a:lnTo>
                  <a:lnTo>
                    <a:pt x="260" y="272"/>
                  </a:lnTo>
                  <a:lnTo>
                    <a:pt x="261" y="274"/>
                  </a:lnTo>
                  <a:lnTo>
                    <a:pt x="261" y="275"/>
                  </a:lnTo>
                  <a:lnTo>
                    <a:pt x="263" y="275"/>
                  </a:lnTo>
                  <a:lnTo>
                    <a:pt x="265" y="278"/>
                  </a:lnTo>
                  <a:lnTo>
                    <a:pt x="267" y="280"/>
                  </a:lnTo>
                  <a:lnTo>
                    <a:pt x="268" y="281"/>
                  </a:lnTo>
                  <a:lnTo>
                    <a:pt x="270" y="282"/>
                  </a:lnTo>
                  <a:lnTo>
                    <a:pt x="271" y="284"/>
                  </a:lnTo>
                  <a:lnTo>
                    <a:pt x="274" y="284"/>
                  </a:lnTo>
                  <a:lnTo>
                    <a:pt x="275" y="284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7" y="282"/>
                  </a:lnTo>
                  <a:lnTo>
                    <a:pt x="277" y="282"/>
                  </a:lnTo>
                  <a:lnTo>
                    <a:pt x="277" y="281"/>
                  </a:lnTo>
                  <a:lnTo>
                    <a:pt x="278" y="281"/>
                  </a:lnTo>
                  <a:lnTo>
                    <a:pt x="280" y="281"/>
                  </a:lnTo>
                  <a:lnTo>
                    <a:pt x="281" y="280"/>
                  </a:lnTo>
                  <a:lnTo>
                    <a:pt x="281" y="280"/>
                  </a:lnTo>
                  <a:lnTo>
                    <a:pt x="281" y="282"/>
                  </a:lnTo>
                  <a:lnTo>
                    <a:pt x="281" y="285"/>
                  </a:lnTo>
                  <a:lnTo>
                    <a:pt x="281" y="288"/>
                  </a:lnTo>
                  <a:lnTo>
                    <a:pt x="281" y="291"/>
                  </a:lnTo>
                  <a:lnTo>
                    <a:pt x="281" y="294"/>
                  </a:lnTo>
                  <a:lnTo>
                    <a:pt x="281" y="297"/>
                  </a:lnTo>
                  <a:lnTo>
                    <a:pt x="281" y="300"/>
                  </a:lnTo>
                  <a:lnTo>
                    <a:pt x="281" y="300"/>
                  </a:lnTo>
                  <a:lnTo>
                    <a:pt x="281" y="301"/>
                  </a:lnTo>
                  <a:lnTo>
                    <a:pt x="280" y="301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7" y="298"/>
                  </a:lnTo>
                  <a:lnTo>
                    <a:pt x="275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1" y="300"/>
                  </a:lnTo>
                  <a:lnTo>
                    <a:pt x="268" y="300"/>
                  </a:lnTo>
                  <a:lnTo>
                    <a:pt x="268" y="298"/>
                  </a:lnTo>
                  <a:lnTo>
                    <a:pt x="267" y="297"/>
                  </a:lnTo>
                  <a:lnTo>
                    <a:pt x="267" y="295"/>
                  </a:lnTo>
                  <a:lnTo>
                    <a:pt x="265" y="294"/>
                  </a:lnTo>
                  <a:lnTo>
                    <a:pt x="264" y="292"/>
                  </a:lnTo>
                  <a:lnTo>
                    <a:pt x="264" y="291"/>
                  </a:lnTo>
                  <a:lnTo>
                    <a:pt x="263" y="291"/>
                  </a:lnTo>
                  <a:lnTo>
                    <a:pt x="261" y="291"/>
                  </a:lnTo>
                  <a:lnTo>
                    <a:pt x="261" y="290"/>
                  </a:lnTo>
                  <a:lnTo>
                    <a:pt x="260" y="288"/>
                  </a:lnTo>
                  <a:lnTo>
                    <a:pt x="260" y="287"/>
                  </a:lnTo>
                  <a:lnTo>
                    <a:pt x="260" y="285"/>
                  </a:lnTo>
                  <a:lnTo>
                    <a:pt x="258" y="285"/>
                  </a:lnTo>
                  <a:lnTo>
                    <a:pt x="257" y="284"/>
                  </a:lnTo>
                  <a:lnTo>
                    <a:pt x="254" y="284"/>
                  </a:lnTo>
                  <a:lnTo>
                    <a:pt x="251" y="282"/>
                  </a:lnTo>
                  <a:lnTo>
                    <a:pt x="248" y="282"/>
                  </a:lnTo>
                  <a:lnTo>
                    <a:pt x="247" y="282"/>
                  </a:lnTo>
                  <a:lnTo>
                    <a:pt x="245" y="281"/>
                  </a:lnTo>
                  <a:lnTo>
                    <a:pt x="245" y="281"/>
                  </a:lnTo>
                  <a:lnTo>
                    <a:pt x="244" y="278"/>
                  </a:lnTo>
                  <a:lnTo>
                    <a:pt x="244" y="277"/>
                  </a:lnTo>
                  <a:lnTo>
                    <a:pt x="241" y="274"/>
                  </a:lnTo>
                  <a:lnTo>
                    <a:pt x="240" y="271"/>
                  </a:lnTo>
                  <a:lnTo>
                    <a:pt x="240" y="271"/>
                  </a:lnTo>
                  <a:lnTo>
                    <a:pt x="238" y="271"/>
                  </a:lnTo>
                  <a:lnTo>
                    <a:pt x="237" y="271"/>
                  </a:lnTo>
                  <a:lnTo>
                    <a:pt x="237" y="272"/>
                  </a:lnTo>
                  <a:lnTo>
                    <a:pt x="237" y="274"/>
                  </a:lnTo>
                  <a:lnTo>
                    <a:pt x="235" y="275"/>
                  </a:lnTo>
                  <a:lnTo>
                    <a:pt x="235" y="277"/>
                  </a:lnTo>
                  <a:lnTo>
                    <a:pt x="235" y="277"/>
                  </a:lnTo>
                  <a:lnTo>
                    <a:pt x="234" y="277"/>
                  </a:lnTo>
                  <a:lnTo>
                    <a:pt x="233" y="277"/>
                  </a:lnTo>
                  <a:lnTo>
                    <a:pt x="230" y="277"/>
                  </a:lnTo>
                  <a:lnTo>
                    <a:pt x="227" y="277"/>
                  </a:lnTo>
                  <a:lnTo>
                    <a:pt x="225" y="277"/>
                  </a:lnTo>
                  <a:lnTo>
                    <a:pt x="223" y="275"/>
                  </a:lnTo>
                  <a:lnTo>
                    <a:pt x="221" y="275"/>
                  </a:lnTo>
                  <a:lnTo>
                    <a:pt x="220" y="275"/>
                  </a:lnTo>
                  <a:lnTo>
                    <a:pt x="218" y="274"/>
                  </a:lnTo>
                  <a:lnTo>
                    <a:pt x="214" y="274"/>
                  </a:lnTo>
                  <a:lnTo>
                    <a:pt x="213" y="274"/>
                  </a:lnTo>
                  <a:lnTo>
                    <a:pt x="213" y="272"/>
                  </a:lnTo>
                  <a:lnTo>
                    <a:pt x="211" y="272"/>
                  </a:lnTo>
                  <a:lnTo>
                    <a:pt x="210" y="271"/>
                  </a:lnTo>
                  <a:lnTo>
                    <a:pt x="210" y="270"/>
                  </a:lnTo>
                  <a:lnTo>
                    <a:pt x="210" y="268"/>
                  </a:lnTo>
                  <a:lnTo>
                    <a:pt x="210" y="267"/>
                  </a:lnTo>
                  <a:lnTo>
                    <a:pt x="210" y="265"/>
                  </a:lnTo>
                  <a:lnTo>
                    <a:pt x="210" y="264"/>
                  </a:lnTo>
                  <a:lnTo>
                    <a:pt x="208" y="264"/>
                  </a:lnTo>
                  <a:lnTo>
                    <a:pt x="208" y="265"/>
                  </a:lnTo>
                  <a:lnTo>
                    <a:pt x="205" y="265"/>
                  </a:lnTo>
                  <a:lnTo>
                    <a:pt x="203" y="265"/>
                  </a:lnTo>
                  <a:lnTo>
                    <a:pt x="201" y="267"/>
                  </a:lnTo>
                  <a:lnTo>
                    <a:pt x="200" y="267"/>
                  </a:lnTo>
                  <a:lnTo>
                    <a:pt x="200" y="267"/>
                  </a:lnTo>
                  <a:lnTo>
                    <a:pt x="197" y="268"/>
                  </a:lnTo>
                  <a:lnTo>
                    <a:pt x="195" y="268"/>
                  </a:lnTo>
                  <a:lnTo>
                    <a:pt x="194" y="268"/>
                  </a:lnTo>
                  <a:lnTo>
                    <a:pt x="194" y="267"/>
                  </a:lnTo>
                  <a:lnTo>
                    <a:pt x="194" y="267"/>
                  </a:lnTo>
                  <a:lnTo>
                    <a:pt x="195" y="265"/>
                  </a:lnTo>
                  <a:lnTo>
                    <a:pt x="194" y="264"/>
                  </a:lnTo>
                  <a:lnTo>
                    <a:pt x="194" y="262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0" y="261"/>
                  </a:lnTo>
                  <a:lnTo>
                    <a:pt x="190" y="260"/>
                  </a:lnTo>
                  <a:lnTo>
                    <a:pt x="188" y="260"/>
                  </a:lnTo>
                  <a:lnTo>
                    <a:pt x="188" y="260"/>
                  </a:lnTo>
                  <a:lnTo>
                    <a:pt x="187" y="260"/>
                  </a:lnTo>
                  <a:lnTo>
                    <a:pt x="187" y="260"/>
                  </a:lnTo>
                  <a:lnTo>
                    <a:pt x="187" y="261"/>
                  </a:lnTo>
                  <a:lnTo>
                    <a:pt x="186" y="261"/>
                  </a:lnTo>
                  <a:lnTo>
                    <a:pt x="184" y="261"/>
                  </a:lnTo>
                  <a:lnTo>
                    <a:pt x="181" y="261"/>
                  </a:lnTo>
                  <a:lnTo>
                    <a:pt x="180" y="261"/>
                  </a:lnTo>
                  <a:lnTo>
                    <a:pt x="178" y="261"/>
                  </a:lnTo>
                  <a:lnTo>
                    <a:pt x="176" y="262"/>
                  </a:lnTo>
                  <a:lnTo>
                    <a:pt x="174" y="262"/>
                  </a:lnTo>
                  <a:lnTo>
                    <a:pt x="170" y="262"/>
                  </a:lnTo>
                  <a:lnTo>
                    <a:pt x="167" y="262"/>
                  </a:lnTo>
                  <a:lnTo>
                    <a:pt x="166" y="262"/>
                  </a:lnTo>
                  <a:lnTo>
                    <a:pt x="164" y="262"/>
                  </a:lnTo>
                  <a:lnTo>
                    <a:pt x="163" y="264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0" y="262"/>
                  </a:lnTo>
                  <a:lnTo>
                    <a:pt x="160" y="261"/>
                  </a:lnTo>
                  <a:lnTo>
                    <a:pt x="160" y="260"/>
                  </a:lnTo>
                  <a:lnTo>
                    <a:pt x="160" y="258"/>
                  </a:lnTo>
                  <a:lnTo>
                    <a:pt x="161" y="258"/>
                  </a:lnTo>
                  <a:lnTo>
                    <a:pt x="161" y="257"/>
                  </a:lnTo>
                  <a:lnTo>
                    <a:pt x="161" y="254"/>
                  </a:lnTo>
                  <a:lnTo>
                    <a:pt x="161" y="252"/>
                  </a:lnTo>
                  <a:lnTo>
                    <a:pt x="161" y="251"/>
                  </a:lnTo>
                  <a:lnTo>
                    <a:pt x="161" y="250"/>
                  </a:lnTo>
                  <a:lnTo>
                    <a:pt x="160" y="245"/>
                  </a:lnTo>
                  <a:lnTo>
                    <a:pt x="158" y="242"/>
                  </a:lnTo>
                  <a:lnTo>
                    <a:pt x="156" y="241"/>
                  </a:lnTo>
                  <a:lnTo>
                    <a:pt x="154" y="238"/>
                  </a:lnTo>
                  <a:lnTo>
                    <a:pt x="154" y="237"/>
                  </a:lnTo>
                  <a:lnTo>
                    <a:pt x="154" y="231"/>
                  </a:lnTo>
                  <a:lnTo>
                    <a:pt x="154" y="227"/>
                  </a:lnTo>
                  <a:lnTo>
                    <a:pt x="156" y="224"/>
                  </a:lnTo>
                  <a:lnTo>
                    <a:pt x="156" y="218"/>
                  </a:lnTo>
                  <a:lnTo>
                    <a:pt x="153" y="214"/>
                  </a:lnTo>
                  <a:lnTo>
                    <a:pt x="153" y="211"/>
                  </a:lnTo>
                  <a:lnTo>
                    <a:pt x="154" y="207"/>
                  </a:lnTo>
                  <a:lnTo>
                    <a:pt x="154" y="204"/>
                  </a:lnTo>
                  <a:lnTo>
                    <a:pt x="154" y="202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48" y="201"/>
                  </a:lnTo>
                  <a:lnTo>
                    <a:pt x="144" y="201"/>
                  </a:lnTo>
                  <a:lnTo>
                    <a:pt x="140" y="201"/>
                  </a:lnTo>
                  <a:lnTo>
                    <a:pt x="134" y="201"/>
                  </a:lnTo>
                  <a:lnTo>
                    <a:pt x="134" y="201"/>
                  </a:lnTo>
                  <a:lnTo>
                    <a:pt x="133" y="200"/>
                  </a:lnTo>
                  <a:lnTo>
                    <a:pt x="133" y="198"/>
                  </a:lnTo>
                  <a:lnTo>
                    <a:pt x="134" y="195"/>
                  </a:lnTo>
                  <a:lnTo>
                    <a:pt x="134" y="195"/>
                  </a:lnTo>
                  <a:lnTo>
                    <a:pt x="133" y="195"/>
                  </a:lnTo>
                  <a:lnTo>
                    <a:pt x="127" y="195"/>
                  </a:lnTo>
                  <a:lnTo>
                    <a:pt x="124" y="197"/>
                  </a:lnTo>
                  <a:lnTo>
                    <a:pt x="123" y="197"/>
                  </a:lnTo>
                  <a:lnTo>
                    <a:pt x="118" y="197"/>
                  </a:lnTo>
                  <a:lnTo>
                    <a:pt x="117" y="200"/>
                  </a:lnTo>
                  <a:lnTo>
                    <a:pt x="116" y="201"/>
                  </a:lnTo>
                  <a:lnTo>
                    <a:pt x="117" y="202"/>
                  </a:lnTo>
                  <a:lnTo>
                    <a:pt x="116" y="204"/>
                  </a:lnTo>
                  <a:lnTo>
                    <a:pt x="116" y="205"/>
                  </a:lnTo>
                  <a:lnTo>
                    <a:pt x="114" y="207"/>
                  </a:lnTo>
                  <a:lnTo>
                    <a:pt x="114" y="208"/>
                  </a:lnTo>
                  <a:lnTo>
                    <a:pt x="114" y="212"/>
                  </a:lnTo>
                  <a:lnTo>
                    <a:pt x="111" y="212"/>
                  </a:lnTo>
                  <a:lnTo>
                    <a:pt x="107" y="212"/>
                  </a:lnTo>
                  <a:lnTo>
                    <a:pt x="107" y="212"/>
                  </a:lnTo>
                  <a:lnTo>
                    <a:pt x="103" y="211"/>
                  </a:lnTo>
                  <a:lnTo>
                    <a:pt x="101" y="211"/>
                  </a:lnTo>
                  <a:lnTo>
                    <a:pt x="100" y="212"/>
                  </a:lnTo>
                  <a:lnTo>
                    <a:pt x="98" y="212"/>
                  </a:lnTo>
                  <a:lnTo>
                    <a:pt x="96" y="212"/>
                  </a:lnTo>
                  <a:lnTo>
                    <a:pt x="93" y="214"/>
                  </a:lnTo>
                  <a:lnTo>
                    <a:pt x="93" y="214"/>
                  </a:lnTo>
                  <a:lnTo>
                    <a:pt x="91" y="214"/>
                  </a:lnTo>
                  <a:lnTo>
                    <a:pt x="89" y="214"/>
                  </a:lnTo>
                  <a:lnTo>
                    <a:pt x="87" y="214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83" y="211"/>
                  </a:lnTo>
                  <a:lnTo>
                    <a:pt x="80" y="207"/>
                  </a:lnTo>
                  <a:lnTo>
                    <a:pt x="79" y="204"/>
                  </a:lnTo>
                  <a:lnTo>
                    <a:pt x="79" y="204"/>
                  </a:lnTo>
                  <a:lnTo>
                    <a:pt x="77" y="202"/>
                  </a:lnTo>
                  <a:lnTo>
                    <a:pt x="76" y="201"/>
                  </a:lnTo>
                  <a:lnTo>
                    <a:pt x="76" y="200"/>
                  </a:lnTo>
                  <a:lnTo>
                    <a:pt x="76" y="198"/>
                  </a:lnTo>
                  <a:lnTo>
                    <a:pt x="76" y="195"/>
                  </a:lnTo>
                  <a:lnTo>
                    <a:pt x="73" y="192"/>
                  </a:lnTo>
                  <a:lnTo>
                    <a:pt x="73" y="191"/>
                  </a:lnTo>
                  <a:lnTo>
                    <a:pt x="71" y="188"/>
                  </a:lnTo>
                  <a:lnTo>
                    <a:pt x="71" y="187"/>
                  </a:lnTo>
                  <a:lnTo>
                    <a:pt x="71" y="184"/>
                  </a:lnTo>
                  <a:lnTo>
                    <a:pt x="71" y="184"/>
                  </a:lnTo>
                  <a:lnTo>
                    <a:pt x="71" y="182"/>
                  </a:lnTo>
                  <a:lnTo>
                    <a:pt x="70" y="181"/>
                  </a:lnTo>
                  <a:lnTo>
                    <a:pt x="70" y="181"/>
                  </a:lnTo>
                  <a:lnTo>
                    <a:pt x="69" y="180"/>
                  </a:lnTo>
                  <a:lnTo>
                    <a:pt x="67" y="180"/>
                  </a:lnTo>
                  <a:lnTo>
                    <a:pt x="66" y="178"/>
                  </a:lnTo>
                  <a:lnTo>
                    <a:pt x="61" y="178"/>
                  </a:lnTo>
                  <a:lnTo>
                    <a:pt x="56" y="178"/>
                  </a:lnTo>
                  <a:lnTo>
                    <a:pt x="51" y="178"/>
                  </a:lnTo>
                  <a:lnTo>
                    <a:pt x="46" y="178"/>
                  </a:lnTo>
                  <a:lnTo>
                    <a:pt x="40" y="178"/>
                  </a:lnTo>
                  <a:lnTo>
                    <a:pt x="39" y="178"/>
                  </a:lnTo>
                  <a:lnTo>
                    <a:pt x="34" y="178"/>
                  </a:lnTo>
                  <a:lnTo>
                    <a:pt x="31" y="178"/>
                  </a:lnTo>
                  <a:lnTo>
                    <a:pt x="30" y="178"/>
                  </a:lnTo>
                  <a:lnTo>
                    <a:pt x="29" y="178"/>
                  </a:lnTo>
                  <a:lnTo>
                    <a:pt x="24" y="178"/>
                  </a:lnTo>
                  <a:lnTo>
                    <a:pt x="23" y="178"/>
                  </a:lnTo>
                  <a:lnTo>
                    <a:pt x="19" y="178"/>
                  </a:lnTo>
                  <a:lnTo>
                    <a:pt x="19" y="178"/>
                  </a:lnTo>
                  <a:lnTo>
                    <a:pt x="17" y="178"/>
                  </a:lnTo>
                  <a:lnTo>
                    <a:pt x="16" y="178"/>
                  </a:lnTo>
                  <a:lnTo>
                    <a:pt x="13" y="178"/>
                  </a:lnTo>
                  <a:lnTo>
                    <a:pt x="13" y="178"/>
                  </a:lnTo>
                  <a:lnTo>
                    <a:pt x="10" y="178"/>
                  </a:lnTo>
                  <a:lnTo>
                    <a:pt x="9" y="178"/>
                  </a:lnTo>
                  <a:lnTo>
                    <a:pt x="7" y="180"/>
                  </a:lnTo>
                  <a:lnTo>
                    <a:pt x="4" y="181"/>
                  </a:lnTo>
                  <a:lnTo>
                    <a:pt x="4" y="181"/>
                  </a:lnTo>
                  <a:lnTo>
                    <a:pt x="3" y="181"/>
                  </a:lnTo>
                  <a:lnTo>
                    <a:pt x="1" y="178"/>
                  </a:lnTo>
                  <a:lnTo>
                    <a:pt x="0" y="178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3" y="177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1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5"/>
                  </a:lnTo>
                  <a:lnTo>
                    <a:pt x="4" y="165"/>
                  </a:lnTo>
                  <a:lnTo>
                    <a:pt x="4" y="165"/>
                  </a:lnTo>
                  <a:lnTo>
                    <a:pt x="6" y="164"/>
                  </a:lnTo>
                  <a:lnTo>
                    <a:pt x="6" y="164"/>
                  </a:lnTo>
                  <a:lnTo>
                    <a:pt x="7" y="163"/>
                  </a:lnTo>
                  <a:lnTo>
                    <a:pt x="10" y="161"/>
                  </a:lnTo>
                  <a:lnTo>
                    <a:pt x="11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7" y="161"/>
                  </a:lnTo>
                  <a:lnTo>
                    <a:pt x="19" y="163"/>
                  </a:lnTo>
                  <a:lnTo>
                    <a:pt x="19" y="163"/>
                  </a:lnTo>
                  <a:lnTo>
                    <a:pt x="20" y="161"/>
                  </a:lnTo>
                  <a:lnTo>
                    <a:pt x="21" y="161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24" y="158"/>
                  </a:lnTo>
                  <a:lnTo>
                    <a:pt x="24" y="157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6" y="155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9" y="155"/>
                  </a:lnTo>
                  <a:lnTo>
                    <a:pt x="29" y="155"/>
                  </a:lnTo>
                  <a:lnTo>
                    <a:pt x="30" y="155"/>
                  </a:lnTo>
                  <a:lnTo>
                    <a:pt x="31" y="154"/>
                  </a:lnTo>
                  <a:lnTo>
                    <a:pt x="33" y="154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7"/>
                  </a:lnTo>
                  <a:lnTo>
                    <a:pt x="34" y="158"/>
                  </a:lnTo>
                  <a:lnTo>
                    <a:pt x="34" y="160"/>
                  </a:lnTo>
                  <a:lnTo>
                    <a:pt x="36" y="161"/>
                  </a:lnTo>
                  <a:lnTo>
                    <a:pt x="36" y="163"/>
                  </a:lnTo>
                  <a:lnTo>
                    <a:pt x="36" y="163"/>
                  </a:lnTo>
                  <a:lnTo>
                    <a:pt x="36" y="163"/>
                  </a:lnTo>
                  <a:lnTo>
                    <a:pt x="36" y="163"/>
                  </a:lnTo>
                  <a:lnTo>
                    <a:pt x="37" y="163"/>
                  </a:lnTo>
                  <a:lnTo>
                    <a:pt x="39" y="163"/>
                  </a:lnTo>
                  <a:lnTo>
                    <a:pt x="40" y="163"/>
                  </a:lnTo>
                  <a:lnTo>
                    <a:pt x="41" y="163"/>
                  </a:lnTo>
                  <a:lnTo>
                    <a:pt x="43" y="160"/>
                  </a:lnTo>
                  <a:lnTo>
                    <a:pt x="46" y="155"/>
                  </a:lnTo>
                  <a:lnTo>
                    <a:pt x="49" y="154"/>
                  </a:lnTo>
                  <a:lnTo>
                    <a:pt x="51" y="153"/>
                  </a:lnTo>
                  <a:lnTo>
                    <a:pt x="53" y="151"/>
                  </a:lnTo>
                  <a:lnTo>
                    <a:pt x="53" y="150"/>
                  </a:lnTo>
                  <a:lnTo>
                    <a:pt x="54" y="150"/>
                  </a:lnTo>
                  <a:lnTo>
                    <a:pt x="57" y="148"/>
                  </a:lnTo>
                  <a:lnTo>
                    <a:pt x="59" y="148"/>
                  </a:lnTo>
                  <a:lnTo>
                    <a:pt x="60" y="145"/>
                  </a:lnTo>
                  <a:lnTo>
                    <a:pt x="63" y="140"/>
                  </a:lnTo>
                  <a:lnTo>
                    <a:pt x="63" y="135"/>
                  </a:lnTo>
                  <a:lnTo>
                    <a:pt x="64" y="133"/>
                  </a:lnTo>
                  <a:lnTo>
                    <a:pt x="64" y="124"/>
                  </a:lnTo>
                  <a:lnTo>
                    <a:pt x="63" y="121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7" y="117"/>
                  </a:lnTo>
                  <a:lnTo>
                    <a:pt x="69" y="114"/>
                  </a:lnTo>
                  <a:lnTo>
                    <a:pt x="70" y="113"/>
                  </a:lnTo>
                  <a:lnTo>
                    <a:pt x="73" y="107"/>
                  </a:lnTo>
                  <a:lnTo>
                    <a:pt x="74" y="105"/>
                  </a:lnTo>
                  <a:lnTo>
                    <a:pt x="74" y="104"/>
                  </a:lnTo>
                  <a:lnTo>
                    <a:pt x="76" y="103"/>
                  </a:lnTo>
                  <a:lnTo>
                    <a:pt x="79" y="103"/>
                  </a:lnTo>
                  <a:lnTo>
                    <a:pt x="81" y="101"/>
                  </a:lnTo>
                  <a:lnTo>
                    <a:pt x="86" y="97"/>
                  </a:lnTo>
                  <a:lnTo>
                    <a:pt x="89" y="94"/>
                  </a:lnTo>
                  <a:lnTo>
                    <a:pt x="89" y="90"/>
                  </a:lnTo>
                  <a:lnTo>
                    <a:pt x="89" y="85"/>
                  </a:lnTo>
                  <a:lnTo>
                    <a:pt x="91" y="81"/>
                  </a:lnTo>
                  <a:lnTo>
                    <a:pt x="91" y="77"/>
                  </a:lnTo>
                  <a:lnTo>
                    <a:pt x="91" y="71"/>
                  </a:lnTo>
                  <a:lnTo>
                    <a:pt x="91" y="67"/>
                  </a:lnTo>
                  <a:lnTo>
                    <a:pt x="93" y="63"/>
                  </a:lnTo>
                  <a:lnTo>
                    <a:pt x="93" y="61"/>
                  </a:lnTo>
                  <a:lnTo>
                    <a:pt x="94" y="57"/>
                  </a:lnTo>
                  <a:lnTo>
                    <a:pt x="94" y="53"/>
                  </a:lnTo>
                  <a:lnTo>
                    <a:pt x="96" y="47"/>
                  </a:lnTo>
                  <a:lnTo>
                    <a:pt x="98" y="43"/>
                  </a:lnTo>
                  <a:lnTo>
                    <a:pt x="100" y="38"/>
                  </a:lnTo>
                  <a:lnTo>
                    <a:pt x="101" y="35"/>
                  </a:lnTo>
                  <a:lnTo>
                    <a:pt x="103" y="33"/>
                  </a:lnTo>
                  <a:lnTo>
                    <a:pt x="103" y="30"/>
                  </a:lnTo>
                  <a:lnTo>
                    <a:pt x="101" y="27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1" y="17"/>
                  </a:lnTo>
                  <a:lnTo>
                    <a:pt x="101" y="15"/>
                  </a:lnTo>
                  <a:lnTo>
                    <a:pt x="104" y="15"/>
                  </a:lnTo>
                  <a:lnTo>
                    <a:pt x="106" y="13"/>
                  </a:lnTo>
                  <a:lnTo>
                    <a:pt x="110" y="7"/>
                  </a:lnTo>
                  <a:lnTo>
                    <a:pt x="114" y="4"/>
                  </a:lnTo>
                  <a:lnTo>
                    <a:pt x="117" y="3"/>
                  </a:lnTo>
                  <a:lnTo>
                    <a:pt x="120" y="3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4" y="5"/>
                  </a:lnTo>
                  <a:lnTo>
                    <a:pt x="128" y="8"/>
                  </a:lnTo>
                  <a:lnTo>
                    <a:pt x="131" y="10"/>
                  </a:lnTo>
                  <a:lnTo>
                    <a:pt x="133" y="13"/>
                  </a:lnTo>
                  <a:lnTo>
                    <a:pt x="134" y="14"/>
                  </a:lnTo>
                  <a:lnTo>
                    <a:pt x="136" y="14"/>
                  </a:lnTo>
                  <a:lnTo>
                    <a:pt x="137" y="14"/>
                  </a:lnTo>
                  <a:lnTo>
                    <a:pt x="140" y="14"/>
                  </a:lnTo>
                  <a:lnTo>
                    <a:pt x="143" y="15"/>
                  </a:lnTo>
                  <a:lnTo>
                    <a:pt x="144" y="17"/>
                  </a:lnTo>
                  <a:lnTo>
                    <a:pt x="144" y="15"/>
                  </a:lnTo>
                  <a:lnTo>
                    <a:pt x="146" y="17"/>
                  </a:lnTo>
                  <a:lnTo>
                    <a:pt x="150" y="17"/>
                  </a:lnTo>
                  <a:lnTo>
                    <a:pt x="151" y="17"/>
                  </a:lnTo>
                  <a:lnTo>
                    <a:pt x="156" y="17"/>
                  </a:lnTo>
                  <a:lnTo>
                    <a:pt x="163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7" y="14"/>
                  </a:lnTo>
                  <a:lnTo>
                    <a:pt x="168" y="11"/>
                  </a:lnTo>
                  <a:lnTo>
                    <a:pt x="168" y="11"/>
                  </a:lnTo>
                  <a:lnTo>
                    <a:pt x="170" y="10"/>
                  </a:lnTo>
                  <a:lnTo>
                    <a:pt x="173" y="10"/>
                  </a:lnTo>
                  <a:lnTo>
                    <a:pt x="174" y="10"/>
                  </a:lnTo>
                  <a:lnTo>
                    <a:pt x="176" y="10"/>
                  </a:lnTo>
                  <a:lnTo>
                    <a:pt x="177" y="11"/>
                  </a:lnTo>
                  <a:lnTo>
                    <a:pt x="180" y="11"/>
                  </a:lnTo>
                  <a:lnTo>
                    <a:pt x="181" y="10"/>
                  </a:lnTo>
                  <a:lnTo>
                    <a:pt x="184" y="8"/>
                  </a:lnTo>
                  <a:lnTo>
                    <a:pt x="186" y="8"/>
                  </a:lnTo>
                  <a:lnTo>
                    <a:pt x="188" y="7"/>
                  </a:lnTo>
                  <a:lnTo>
                    <a:pt x="193" y="5"/>
                  </a:lnTo>
                  <a:lnTo>
                    <a:pt x="194" y="5"/>
                  </a:lnTo>
                  <a:lnTo>
                    <a:pt x="195" y="5"/>
                  </a:lnTo>
                  <a:lnTo>
                    <a:pt x="201" y="7"/>
                  </a:lnTo>
                  <a:lnTo>
                    <a:pt x="204" y="5"/>
                  </a:lnTo>
                  <a:lnTo>
                    <a:pt x="205" y="5"/>
                  </a:lnTo>
                  <a:lnTo>
                    <a:pt x="208" y="5"/>
                  </a:lnTo>
                  <a:lnTo>
                    <a:pt x="210" y="4"/>
                  </a:lnTo>
                  <a:lnTo>
                    <a:pt x="211" y="1"/>
                  </a:lnTo>
                  <a:lnTo>
                    <a:pt x="213" y="0"/>
                  </a:lnTo>
                  <a:lnTo>
                    <a:pt x="215" y="1"/>
                  </a:lnTo>
                  <a:lnTo>
                    <a:pt x="218" y="1"/>
                  </a:lnTo>
                  <a:lnTo>
                    <a:pt x="224" y="3"/>
                  </a:lnTo>
                  <a:lnTo>
                    <a:pt x="231" y="4"/>
                  </a:lnTo>
                  <a:lnTo>
                    <a:pt x="233" y="4"/>
                  </a:lnTo>
                  <a:lnTo>
                    <a:pt x="234" y="4"/>
                  </a:lnTo>
                  <a:lnTo>
                    <a:pt x="234" y="4"/>
                  </a:lnTo>
                  <a:lnTo>
                    <a:pt x="237" y="3"/>
                  </a:lnTo>
                  <a:lnTo>
                    <a:pt x="238" y="3"/>
                  </a:lnTo>
                  <a:lnTo>
                    <a:pt x="238" y="3"/>
                  </a:lnTo>
                  <a:lnTo>
                    <a:pt x="243" y="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Google Shape;179;p3"/>
            <p:cNvSpPr/>
            <p:nvPr/>
          </p:nvSpPr>
          <p:spPr>
            <a:xfrm>
              <a:off x="4114132" y="4261817"/>
              <a:ext cx="145169" cy="87890"/>
            </a:xfrm>
            <a:custGeom>
              <a:rect b="b" l="l" r="r" t="t"/>
              <a:pathLst>
                <a:path extrusionOk="0" h="140" w="207">
                  <a:moveTo>
                    <a:pt x="134" y="2"/>
                  </a:moveTo>
                  <a:lnTo>
                    <a:pt x="135" y="5"/>
                  </a:lnTo>
                  <a:lnTo>
                    <a:pt x="137" y="5"/>
                  </a:lnTo>
                  <a:lnTo>
                    <a:pt x="141" y="9"/>
                  </a:lnTo>
                  <a:lnTo>
                    <a:pt x="141" y="10"/>
                  </a:lnTo>
                  <a:lnTo>
                    <a:pt x="144" y="15"/>
                  </a:lnTo>
                  <a:lnTo>
                    <a:pt x="145" y="16"/>
                  </a:lnTo>
                  <a:lnTo>
                    <a:pt x="147" y="20"/>
                  </a:lnTo>
                  <a:lnTo>
                    <a:pt x="147" y="22"/>
                  </a:lnTo>
                  <a:lnTo>
                    <a:pt x="147" y="23"/>
                  </a:lnTo>
                  <a:lnTo>
                    <a:pt x="147" y="28"/>
                  </a:lnTo>
                  <a:lnTo>
                    <a:pt x="147" y="29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5" y="35"/>
                  </a:lnTo>
                  <a:lnTo>
                    <a:pt x="145" y="36"/>
                  </a:lnTo>
                  <a:lnTo>
                    <a:pt x="147" y="38"/>
                  </a:lnTo>
                  <a:lnTo>
                    <a:pt x="148" y="38"/>
                  </a:lnTo>
                  <a:lnTo>
                    <a:pt x="151" y="38"/>
                  </a:lnTo>
                  <a:lnTo>
                    <a:pt x="154" y="38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7" y="39"/>
                  </a:lnTo>
                  <a:lnTo>
                    <a:pt x="155" y="42"/>
                  </a:lnTo>
                  <a:lnTo>
                    <a:pt x="157" y="43"/>
                  </a:lnTo>
                  <a:lnTo>
                    <a:pt x="157" y="45"/>
                  </a:lnTo>
                  <a:lnTo>
                    <a:pt x="158" y="45"/>
                  </a:lnTo>
                  <a:lnTo>
                    <a:pt x="159" y="45"/>
                  </a:lnTo>
                  <a:lnTo>
                    <a:pt x="164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72" y="52"/>
                  </a:lnTo>
                  <a:lnTo>
                    <a:pt x="172" y="53"/>
                  </a:lnTo>
                  <a:lnTo>
                    <a:pt x="172" y="55"/>
                  </a:lnTo>
                  <a:lnTo>
                    <a:pt x="171" y="56"/>
                  </a:lnTo>
                  <a:lnTo>
                    <a:pt x="172" y="58"/>
                  </a:lnTo>
                  <a:lnTo>
                    <a:pt x="174" y="59"/>
                  </a:lnTo>
                  <a:lnTo>
                    <a:pt x="175" y="60"/>
                  </a:lnTo>
                  <a:lnTo>
                    <a:pt x="178" y="62"/>
                  </a:lnTo>
                  <a:lnTo>
                    <a:pt x="182" y="65"/>
                  </a:lnTo>
                  <a:lnTo>
                    <a:pt x="185" y="66"/>
                  </a:lnTo>
                  <a:lnTo>
                    <a:pt x="187" y="67"/>
                  </a:lnTo>
                  <a:lnTo>
                    <a:pt x="188" y="69"/>
                  </a:lnTo>
                  <a:lnTo>
                    <a:pt x="189" y="70"/>
                  </a:lnTo>
                  <a:lnTo>
                    <a:pt x="191" y="72"/>
                  </a:lnTo>
                  <a:lnTo>
                    <a:pt x="189" y="75"/>
                  </a:lnTo>
                  <a:lnTo>
                    <a:pt x="189" y="75"/>
                  </a:lnTo>
                  <a:lnTo>
                    <a:pt x="191" y="76"/>
                  </a:lnTo>
                  <a:lnTo>
                    <a:pt x="191" y="77"/>
                  </a:lnTo>
                  <a:lnTo>
                    <a:pt x="192" y="79"/>
                  </a:lnTo>
                  <a:lnTo>
                    <a:pt x="192" y="80"/>
                  </a:lnTo>
                  <a:lnTo>
                    <a:pt x="194" y="80"/>
                  </a:lnTo>
                  <a:lnTo>
                    <a:pt x="197" y="82"/>
                  </a:lnTo>
                  <a:lnTo>
                    <a:pt x="198" y="82"/>
                  </a:lnTo>
                  <a:lnTo>
                    <a:pt x="199" y="83"/>
                  </a:lnTo>
                  <a:lnTo>
                    <a:pt x="202" y="85"/>
                  </a:lnTo>
                  <a:lnTo>
                    <a:pt x="202" y="86"/>
                  </a:lnTo>
                  <a:lnTo>
                    <a:pt x="204" y="86"/>
                  </a:lnTo>
                  <a:lnTo>
                    <a:pt x="204" y="87"/>
                  </a:lnTo>
                  <a:lnTo>
                    <a:pt x="204" y="89"/>
                  </a:lnTo>
                  <a:lnTo>
                    <a:pt x="204" y="90"/>
                  </a:lnTo>
                  <a:lnTo>
                    <a:pt x="205" y="93"/>
                  </a:lnTo>
                  <a:lnTo>
                    <a:pt x="207" y="95"/>
                  </a:lnTo>
                  <a:lnTo>
                    <a:pt x="207" y="96"/>
                  </a:lnTo>
                  <a:lnTo>
                    <a:pt x="202" y="95"/>
                  </a:lnTo>
                  <a:lnTo>
                    <a:pt x="202" y="95"/>
                  </a:lnTo>
                  <a:lnTo>
                    <a:pt x="201" y="95"/>
                  </a:lnTo>
                  <a:lnTo>
                    <a:pt x="198" y="96"/>
                  </a:lnTo>
                  <a:lnTo>
                    <a:pt x="198" y="96"/>
                  </a:lnTo>
                  <a:lnTo>
                    <a:pt x="197" y="96"/>
                  </a:lnTo>
                  <a:lnTo>
                    <a:pt x="195" y="96"/>
                  </a:lnTo>
                  <a:lnTo>
                    <a:pt x="188" y="95"/>
                  </a:lnTo>
                  <a:lnTo>
                    <a:pt x="182" y="93"/>
                  </a:lnTo>
                  <a:lnTo>
                    <a:pt x="179" y="93"/>
                  </a:lnTo>
                  <a:lnTo>
                    <a:pt x="177" y="92"/>
                  </a:lnTo>
                  <a:lnTo>
                    <a:pt x="175" y="93"/>
                  </a:lnTo>
                  <a:lnTo>
                    <a:pt x="174" y="96"/>
                  </a:lnTo>
                  <a:lnTo>
                    <a:pt x="172" y="97"/>
                  </a:lnTo>
                  <a:lnTo>
                    <a:pt x="169" y="97"/>
                  </a:lnTo>
                  <a:lnTo>
                    <a:pt x="168" y="97"/>
                  </a:lnTo>
                  <a:lnTo>
                    <a:pt x="165" y="99"/>
                  </a:lnTo>
                  <a:lnTo>
                    <a:pt x="159" y="97"/>
                  </a:lnTo>
                  <a:lnTo>
                    <a:pt x="158" y="97"/>
                  </a:lnTo>
                  <a:lnTo>
                    <a:pt x="157" y="97"/>
                  </a:lnTo>
                  <a:lnTo>
                    <a:pt x="152" y="99"/>
                  </a:lnTo>
                  <a:lnTo>
                    <a:pt x="150" y="100"/>
                  </a:lnTo>
                  <a:lnTo>
                    <a:pt x="148" y="100"/>
                  </a:lnTo>
                  <a:lnTo>
                    <a:pt x="145" y="102"/>
                  </a:lnTo>
                  <a:lnTo>
                    <a:pt x="144" y="103"/>
                  </a:lnTo>
                  <a:lnTo>
                    <a:pt x="141" y="103"/>
                  </a:lnTo>
                  <a:lnTo>
                    <a:pt x="140" y="102"/>
                  </a:lnTo>
                  <a:lnTo>
                    <a:pt x="138" y="102"/>
                  </a:lnTo>
                  <a:lnTo>
                    <a:pt x="137" y="102"/>
                  </a:lnTo>
                  <a:lnTo>
                    <a:pt x="134" y="102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1" y="106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7" y="112"/>
                  </a:lnTo>
                  <a:lnTo>
                    <a:pt x="120" y="109"/>
                  </a:lnTo>
                  <a:lnTo>
                    <a:pt x="115" y="109"/>
                  </a:lnTo>
                  <a:lnTo>
                    <a:pt x="114" y="109"/>
                  </a:lnTo>
                  <a:lnTo>
                    <a:pt x="110" y="109"/>
                  </a:lnTo>
                  <a:lnTo>
                    <a:pt x="110" y="107"/>
                  </a:lnTo>
                  <a:lnTo>
                    <a:pt x="108" y="109"/>
                  </a:lnTo>
                  <a:lnTo>
                    <a:pt x="107" y="107"/>
                  </a:lnTo>
                  <a:lnTo>
                    <a:pt x="104" y="106"/>
                  </a:lnTo>
                  <a:lnTo>
                    <a:pt x="101" y="106"/>
                  </a:lnTo>
                  <a:lnTo>
                    <a:pt x="100" y="106"/>
                  </a:lnTo>
                  <a:lnTo>
                    <a:pt x="98" y="106"/>
                  </a:lnTo>
                  <a:lnTo>
                    <a:pt x="97" y="105"/>
                  </a:lnTo>
                  <a:lnTo>
                    <a:pt x="95" y="102"/>
                  </a:lnTo>
                  <a:lnTo>
                    <a:pt x="92" y="100"/>
                  </a:lnTo>
                  <a:lnTo>
                    <a:pt x="88" y="97"/>
                  </a:lnTo>
                  <a:lnTo>
                    <a:pt x="87" y="96"/>
                  </a:lnTo>
                  <a:lnTo>
                    <a:pt x="85" y="96"/>
                  </a:lnTo>
                  <a:lnTo>
                    <a:pt x="84" y="95"/>
                  </a:lnTo>
                  <a:lnTo>
                    <a:pt x="81" y="95"/>
                  </a:lnTo>
                  <a:lnTo>
                    <a:pt x="78" y="96"/>
                  </a:lnTo>
                  <a:lnTo>
                    <a:pt x="74" y="99"/>
                  </a:lnTo>
                  <a:lnTo>
                    <a:pt x="70" y="105"/>
                  </a:lnTo>
                  <a:lnTo>
                    <a:pt x="68" y="107"/>
                  </a:lnTo>
                  <a:lnTo>
                    <a:pt x="67" y="107"/>
                  </a:lnTo>
                  <a:lnTo>
                    <a:pt x="65" y="109"/>
                  </a:lnTo>
                  <a:lnTo>
                    <a:pt x="67" y="112"/>
                  </a:lnTo>
                  <a:lnTo>
                    <a:pt x="67" y="115"/>
                  </a:lnTo>
                  <a:lnTo>
                    <a:pt x="67" y="119"/>
                  </a:lnTo>
                  <a:lnTo>
                    <a:pt x="67" y="122"/>
                  </a:lnTo>
                  <a:lnTo>
                    <a:pt x="65" y="122"/>
                  </a:lnTo>
                  <a:lnTo>
                    <a:pt x="64" y="119"/>
                  </a:lnTo>
                  <a:lnTo>
                    <a:pt x="64" y="119"/>
                  </a:lnTo>
                  <a:lnTo>
                    <a:pt x="61" y="120"/>
                  </a:lnTo>
                  <a:lnTo>
                    <a:pt x="61" y="120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58" y="120"/>
                  </a:lnTo>
                  <a:lnTo>
                    <a:pt x="58" y="120"/>
                  </a:lnTo>
                  <a:lnTo>
                    <a:pt x="57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4" y="120"/>
                  </a:lnTo>
                  <a:lnTo>
                    <a:pt x="54" y="120"/>
                  </a:lnTo>
                  <a:lnTo>
                    <a:pt x="50" y="119"/>
                  </a:lnTo>
                  <a:lnTo>
                    <a:pt x="48" y="119"/>
                  </a:lnTo>
                  <a:lnTo>
                    <a:pt x="48" y="119"/>
                  </a:lnTo>
                  <a:lnTo>
                    <a:pt x="45" y="119"/>
                  </a:lnTo>
                  <a:lnTo>
                    <a:pt x="44" y="120"/>
                  </a:lnTo>
                  <a:lnTo>
                    <a:pt x="41" y="120"/>
                  </a:lnTo>
                  <a:lnTo>
                    <a:pt x="37" y="120"/>
                  </a:lnTo>
                  <a:lnTo>
                    <a:pt x="35" y="120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3" y="123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7"/>
                  </a:lnTo>
                  <a:lnTo>
                    <a:pt x="33" y="129"/>
                  </a:lnTo>
                  <a:lnTo>
                    <a:pt x="33" y="130"/>
                  </a:lnTo>
                  <a:lnTo>
                    <a:pt x="33" y="132"/>
                  </a:lnTo>
                  <a:lnTo>
                    <a:pt x="31" y="135"/>
                  </a:lnTo>
                  <a:lnTo>
                    <a:pt x="30" y="136"/>
                  </a:lnTo>
                  <a:lnTo>
                    <a:pt x="28" y="139"/>
                  </a:lnTo>
                  <a:lnTo>
                    <a:pt x="27" y="140"/>
                  </a:lnTo>
                  <a:lnTo>
                    <a:pt x="27" y="139"/>
                  </a:lnTo>
                  <a:lnTo>
                    <a:pt x="27" y="137"/>
                  </a:lnTo>
                  <a:lnTo>
                    <a:pt x="25" y="136"/>
                  </a:lnTo>
                  <a:lnTo>
                    <a:pt x="27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5" y="130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7"/>
                  </a:lnTo>
                  <a:lnTo>
                    <a:pt x="23" y="127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20" y="126"/>
                  </a:lnTo>
                  <a:lnTo>
                    <a:pt x="18" y="125"/>
                  </a:lnTo>
                  <a:lnTo>
                    <a:pt x="15" y="122"/>
                  </a:lnTo>
                  <a:lnTo>
                    <a:pt x="14" y="120"/>
                  </a:lnTo>
                  <a:lnTo>
                    <a:pt x="13" y="117"/>
                  </a:lnTo>
                  <a:lnTo>
                    <a:pt x="11" y="116"/>
                  </a:lnTo>
                  <a:lnTo>
                    <a:pt x="10" y="115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1" y="113"/>
                  </a:lnTo>
                  <a:lnTo>
                    <a:pt x="11" y="112"/>
                  </a:lnTo>
                  <a:lnTo>
                    <a:pt x="10" y="110"/>
                  </a:lnTo>
                  <a:lnTo>
                    <a:pt x="10" y="109"/>
                  </a:lnTo>
                  <a:lnTo>
                    <a:pt x="8" y="107"/>
                  </a:lnTo>
                  <a:lnTo>
                    <a:pt x="7" y="106"/>
                  </a:lnTo>
                  <a:lnTo>
                    <a:pt x="5" y="105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3" y="96"/>
                  </a:lnTo>
                  <a:lnTo>
                    <a:pt x="3" y="95"/>
                  </a:lnTo>
                  <a:lnTo>
                    <a:pt x="3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2"/>
                  </a:lnTo>
                  <a:lnTo>
                    <a:pt x="3" y="90"/>
                  </a:lnTo>
                  <a:lnTo>
                    <a:pt x="1" y="90"/>
                  </a:lnTo>
                  <a:lnTo>
                    <a:pt x="3" y="89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1" y="83"/>
                  </a:lnTo>
                  <a:lnTo>
                    <a:pt x="1" y="83"/>
                  </a:lnTo>
                  <a:lnTo>
                    <a:pt x="1" y="83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7" y="72"/>
                  </a:lnTo>
                  <a:lnTo>
                    <a:pt x="8" y="69"/>
                  </a:lnTo>
                  <a:lnTo>
                    <a:pt x="10" y="69"/>
                  </a:lnTo>
                  <a:lnTo>
                    <a:pt x="10" y="66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2"/>
                  </a:lnTo>
                  <a:lnTo>
                    <a:pt x="13" y="60"/>
                  </a:lnTo>
                  <a:lnTo>
                    <a:pt x="14" y="59"/>
                  </a:lnTo>
                  <a:lnTo>
                    <a:pt x="17" y="58"/>
                  </a:lnTo>
                  <a:lnTo>
                    <a:pt x="18" y="58"/>
                  </a:lnTo>
                  <a:lnTo>
                    <a:pt x="20" y="58"/>
                  </a:lnTo>
                  <a:lnTo>
                    <a:pt x="23" y="58"/>
                  </a:lnTo>
                  <a:lnTo>
                    <a:pt x="24" y="58"/>
                  </a:lnTo>
                  <a:lnTo>
                    <a:pt x="25" y="56"/>
                  </a:lnTo>
                  <a:lnTo>
                    <a:pt x="28" y="55"/>
                  </a:lnTo>
                  <a:lnTo>
                    <a:pt x="31" y="55"/>
                  </a:lnTo>
                  <a:lnTo>
                    <a:pt x="31" y="53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3"/>
                  </a:lnTo>
                  <a:lnTo>
                    <a:pt x="35" y="55"/>
                  </a:lnTo>
                  <a:lnTo>
                    <a:pt x="37" y="56"/>
                  </a:lnTo>
                  <a:lnTo>
                    <a:pt x="38" y="56"/>
                  </a:lnTo>
                  <a:lnTo>
                    <a:pt x="38" y="55"/>
                  </a:lnTo>
                  <a:lnTo>
                    <a:pt x="41" y="55"/>
                  </a:lnTo>
                  <a:lnTo>
                    <a:pt x="43" y="55"/>
                  </a:lnTo>
                  <a:lnTo>
                    <a:pt x="44" y="52"/>
                  </a:lnTo>
                  <a:lnTo>
                    <a:pt x="47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1" y="49"/>
                  </a:lnTo>
                  <a:lnTo>
                    <a:pt x="53" y="49"/>
                  </a:lnTo>
                  <a:lnTo>
                    <a:pt x="55" y="49"/>
                  </a:lnTo>
                  <a:lnTo>
                    <a:pt x="61" y="49"/>
                  </a:lnTo>
                  <a:lnTo>
                    <a:pt x="64" y="49"/>
                  </a:lnTo>
                  <a:lnTo>
                    <a:pt x="65" y="49"/>
                  </a:lnTo>
                  <a:lnTo>
                    <a:pt x="65" y="48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8" y="45"/>
                  </a:lnTo>
                  <a:lnTo>
                    <a:pt x="71" y="43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2" y="35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80" y="33"/>
                  </a:lnTo>
                  <a:lnTo>
                    <a:pt x="82" y="33"/>
                  </a:lnTo>
                  <a:lnTo>
                    <a:pt x="84" y="33"/>
                  </a:lnTo>
                  <a:lnTo>
                    <a:pt x="85" y="32"/>
                  </a:lnTo>
                  <a:lnTo>
                    <a:pt x="88" y="32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1" y="26"/>
                  </a:lnTo>
                  <a:lnTo>
                    <a:pt x="102" y="25"/>
                  </a:lnTo>
                  <a:lnTo>
                    <a:pt x="104" y="23"/>
                  </a:lnTo>
                  <a:lnTo>
                    <a:pt x="105" y="22"/>
                  </a:lnTo>
                  <a:lnTo>
                    <a:pt x="110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5" y="12"/>
                  </a:lnTo>
                  <a:lnTo>
                    <a:pt x="117" y="10"/>
                  </a:lnTo>
                  <a:lnTo>
                    <a:pt x="117" y="9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20" y="5"/>
                  </a:lnTo>
                  <a:lnTo>
                    <a:pt x="121" y="5"/>
                  </a:lnTo>
                  <a:lnTo>
                    <a:pt x="121" y="3"/>
                  </a:lnTo>
                  <a:lnTo>
                    <a:pt x="122" y="3"/>
                  </a:lnTo>
                  <a:lnTo>
                    <a:pt x="124" y="3"/>
                  </a:lnTo>
                  <a:lnTo>
                    <a:pt x="124" y="3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8" y="0"/>
                  </a:lnTo>
                  <a:lnTo>
                    <a:pt x="131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180;p3"/>
            <p:cNvSpPr/>
            <p:nvPr/>
          </p:nvSpPr>
          <p:spPr>
            <a:xfrm>
              <a:off x="4076963" y="4336523"/>
              <a:ext cx="84156" cy="86634"/>
            </a:xfrm>
            <a:custGeom>
              <a:rect b="b" l="l" r="r" t="t"/>
              <a:pathLst>
                <a:path extrusionOk="0" h="138" w="120">
                  <a:moveTo>
                    <a:pt x="120" y="3"/>
                  </a:moveTo>
                  <a:lnTo>
                    <a:pt x="120" y="6"/>
                  </a:lnTo>
                  <a:lnTo>
                    <a:pt x="118" y="8"/>
                  </a:lnTo>
                  <a:lnTo>
                    <a:pt x="117" y="11"/>
                  </a:lnTo>
                  <a:lnTo>
                    <a:pt x="115" y="16"/>
                  </a:lnTo>
                  <a:lnTo>
                    <a:pt x="113" y="20"/>
                  </a:lnTo>
                  <a:lnTo>
                    <a:pt x="111" y="26"/>
                  </a:lnTo>
                  <a:lnTo>
                    <a:pt x="111" y="30"/>
                  </a:lnTo>
                  <a:lnTo>
                    <a:pt x="111" y="34"/>
                  </a:lnTo>
                  <a:lnTo>
                    <a:pt x="110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08" y="50"/>
                  </a:lnTo>
                  <a:lnTo>
                    <a:pt x="108" y="54"/>
                  </a:lnTo>
                  <a:lnTo>
                    <a:pt x="106" y="58"/>
                  </a:lnTo>
                  <a:lnTo>
                    <a:pt x="106" y="63"/>
                  </a:lnTo>
                  <a:lnTo>
                    <a:pt x="106" y="67"/>
                  </a:lnTo>
                  <a:lnTo>
                    <a:pt x="103" y="70"/>
                  </a:lnTo>
                  <a:lnTo>
                    <a:pt x="98" y="74"/>
                  </a:lnTo>
                  <a:lnTo>
                    <a:pt x="96" y="76"/>
                  </a:lnTo>
                  <a:lnTo>
                    <a:pt x="93" y="76"/>
                  </a:lnTo>
                  <a:lnTo>
                    <a:pt x="91" y="77"/>
                  </a:lnTo>
                  <a:lnTo>
                    <a:pt x="91" y="78"/>
                  </a:lnTo>
                  <a:lnTo>
                    <a:pt x="90" y="80"/>
                  </a:lnTo>
                  <a:lnTo>
                    <a:pt x="87" y="86"/>
                  </a:lnTo>
                  <a:lnTo>
                    <a:pt x="86" y="87"/>
                  </a:lnTo>
                  <a:lnTo>
                    <a:pt x="84" y="90"/>
                  </a:lnTo>
                  <a:lnTo>
                    <a:pt x="81" y="91"/>
                  </a:lnTo>
                  <a:lnTo>
                    <a:pt x="81" y="93"/>
                  </a:lnTo>
                  <a:lnTo>
                    <a:pt x="81" y="94"/>
                  </a:lnTo>
                  <a:lnTo>
                    <a:pt x="81" y="97"/>
                  </a:lnTo>
                  <a:lnTo>
                    <a:pt x="81" y="106"/>
                  </a:lnTo>
                  <a:lnTo>
                    <a:pt x="81" y="108"/>
                  </a:lnTo>
                  <a:lnTo>
                    <a:pt x="80" y="113"/>
                  </a:lnTo>
                  <a:lnTo>
                    <a:pt x="77" y="118"/>
                  </a:lnTo>
                  <a:lnTo>
                    <a:pt x="76" y="121"/>
                  </a:lnTo>
                  <a:lnTo>
                    <a:pt x="74" y="121"/>
                  </a:lnTo>
                  <a:lnTo>
                    <a:pt x="71" y="123"/>
                  </a:lnTo>
                  <a:lnTo>
                    <a:pt x="70" y="123"/>
                  </a:lnTo>
                  <a:lnTo>
                    <a:pt x="70" y="124"/>
                  </a:lnTo>
                  <a:lnTo>
                    <a:pt x="68" y="126"/>
                  </a:lnTo>
                  <a:lnTo>
                    <a:pt x="66" y="127"/>
                  </a:lnTo>
                  <a:lnTo>
                    <a:pt x="63" y="128"/>
                  </a:lnTo>
                  <a:lnTo>
                    <a:pt x="60" y="133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4"/>
                  </a:lnTo>
                  <a:lnTo>
                    <a:pt x="51" y="133"/>
                  </a:lnTo>
                  <a:lnTo>
                    <a:pt x="51" y="131"/>
                  </a:lnTo>
                  <a:lnTo>
                    <a:pt x="53" y="130"/>
                  </a:lnTo>
                  <a:lnTo>
                    <a:pt x="53" y="128"/>
                  </a:lnTo>
                  <a:lnTo>
                    <a:pt x="53" y="128"/>
                  </a:lnTo>
                  <a:lnTo>
                    <a:pt x="51" y="127"/>
                  </a:lnTo>
                  <a:lnTo>
                    <a:pt x="51" y="127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47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4" y="130"/>
                  </a:lnTo>
                  <a:lnTo>
                    <a:pt x="44" y="130"/>
                  </a:lnTo>
                  <a:lnTo>
                    <a:pt x="43" y="128"/>
                  </a:lnTo>
                  <a:lnTo>
                    <a:pt x="41" y="128"/>
                  </a:lnTo>
                  <a:lnTo>
                    <a:pt x="41" y="128"/>
                  </a:lnTo>
                  <a:lnTo>
                    <a:pt x="41" y="128"/>
                  </a:lnTo>
                  <a:lnTo>
                    <a:pt x="41" y="130"/>
                  </a:lnTo>
                  <a:lnTo>
                    <a:pt x="41" y="131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38" y="134"/>
                  </a:lnTo>
                  <a:lnTo>
                    <a:pt x="37" y="134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4" y="134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0" y="131"/>
                  </a:lnTo>
                  <a:lnTo>
                    <a:pt x="28" y="130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6" y="128"/>
                  </a:lnTo>
                  <a:lnTo>
                    <a:pt x="26" y="130"/>
                  </a:lnTo>
                  <a:lnTo>
                    <a:pt x="24" y="130"/>
                  </a:lnTo>
                  <a:lnTo>
                    <a:pt x="21" y="131"/>
                  </a:lnTo>
                  <a:lnTo>
                    <a:pt x="20" y="131"/>
                  </a:lnTo>
                  <a:lnTo>
                    <a:pt x="20" y="133"/>
                  </a:lnTo>
                  <a:lnTo>
                    <a:pt x="18" y="133"/>
                  </a:lnTo>
                  <a:lnTo>
                    <a:pt x="18" y="134"/>
                  </a:lnTo>
                  <a:lnTo>
                    <a:pt x="17" y="134"/>
                  </a:lnTo>
                  <a:lnTo>
                    <a:pt x="16" y="136"/>
                  </a:lnTo>
                  <a:lnTo>
                    <a:pt x="14" y="137"/>
                  </a:lnTo>
                  <a:lnTo>
                    <a:pt x="14" y="138"/>
                  </a:lnTo>
                  <a:lnTo>
                    <a:pt x="14" y="137"/>
                  </a:lnTo>
                  <a:lnTo>
                    <a:pt x="13" y="137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9" y="128"/>
                  </a:lnTo>
                  <a:lnTo>
                    <a:pt x="4" y="126"/>
                  </a:lnTo>
                  <a:lnTo>
                    <a:pt x="3" y="124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1" y="117"/>
                  </a:lnTo>
                  <a:lnTo>
                    <a:pt x="3" y="116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9" y="117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6"/>
                  </a:lnTo>
                  <a:lnTo>
                    <a:pt x="11" y="116"/>
                  </a:lnTo>
                  <a:lnTo>
                    <a:pt x="11" y="114"/>
                  </a:lnTo>
                  <a:lnTo>
                    <a:pt x="11" y="113"/>
                  </a:lnTo>
                  <a:lnTo>
                    <a:pt x="11" y="113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1" y="110"/>
                  </a:lnTo>
                  <a:lnTo>
                    <a:pt x="10" y="110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7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7" y="104"/>
                  </a:lnTo>
                  <a:lnTo>
                    <a:pt x="6" y="103"/>
                  </a:lnTo>
                  <a:lnTo>
                    <a:pt x="7" y="103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4" y="97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0" y="91"/>
                  </a:lnTo>
                  <a:lnTo>
                    <a:pt x="20" y="90"/>
                  </a:lnTo>
                  <a:lnTo>
                    <a:pt x="20" y="88"/>
                  </a:lnTo>
                  <a:lnTo>
                    <a:pt x="21" y="88"/>
                  </a:lnTo>
                  <a:lnTo>
                    <a:pt x="23" y="87"/>
                  </a:lnTo>
                  <a:lnTo>
                    <a:pt x="24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7" y="91"/>
                  </a:lnTo>
                  <a:lnTo>
                    <a:pt x="28" y="93"/>
                  </a:lnTo>
                  <a:lnTo>
                    <a:pt x="30" y="94"/>
                  </a:lnTo>
                  <a:lnTo>
                    <a:pt x="33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40" y="94"/>
                  </a:lnTo>
                  <a:lnTo>
                    <a:pt x="41" y="93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3" y="97"/>
                  </a:lnTo>
                  <a:lnTo>
                    <a:pt x="44" y="97"/>
                  </a:lnTo>
                  <a:lnTo>
                    <a:pt x="46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50" y="91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3" y="86"/>
                  </a:lnTo>
                  <a:lnTo>
                    <a:pt x="51" y="84"/>
                  </a:lnTo>
                  <a:lnTo>
                    <a:pt x="51" y="83"/>
                  </a:lnTo>
                  <a:lnTo>
                    <a:pt x="53" y="83"/>
                  </a:lnTo>
                  <a:lnTo>
                    <a:pt x="53" y="80"/>
                  </a:lnTo>
                  <a:lnTo>
                    <a:pt x="53" y="77"/>
                  </a:lnTo>
                  <a:lnTo>
                    <a:pt x="53" y="76"/>
                  </a:lnTo>
                  <a:lnTo>
                    <a:pt x="53" y="74"/>
                  </a:lnTo>
                  <a:lnTo>
                    <a:pt x="53" y="71"/>
                  </a:lnTo>
                  <a:lnTo>
                    <a:pt x="53" y="68"/>
                  </a:lnTo>
                  <a:lnTo>
                    <a:pt x="53" y="67"/>
                  </a:lnTo>
                  <a:lnTo>
                    <a:pt x="53" y="66"/>
                  </a:lnTo>
                  <a:lnTo>
                    <a:pt x="51" y="66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4" y="61"/>
                  </a:lnTo>
                  <a:lnTo>
                    <a:pt x="43" y="61"/>
                  </a:lnTo>
                  <a:lnTo>
                    <a:pt x="44" y="60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4" y="53"/>
                  </a:lnTo>
                  <a:lnTo>
                    <a:pt x="46" y="51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1" y="48"/>
                  </a:lnTo>
                  <a:lnTo>
                    <a:pt x="51" y="47"/>
                  </a:lnTo>
                  <a:lnTo>
                    <a:pt x="51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0" y="40"/>
                  </a:lnTo>
                  <a:lnTo>
                    <a:pt x="50" y="37"/>
                  </a:lnTo>
                  <a:lnTo>
                    <a:pt x="48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41" y="36"/>
                  </a:lnTo>
                  <a:lnTo>
                    <a:pt x="38" y="37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4" y="36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27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8" y="24"/>
                  </a:lnTo>
                  <a:lnTo>
                    <a:pt x="41" y="24"/>
                  </a:lnTo>
                  <a:lnTo>
                    <a:pt x="46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4" y="23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8" y="26"/>
                  </a:lnTo>
                  <a:lnTo>
                    <a:pt x="60" y="24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1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8" y="27"/>
                  </a:lnTo>
                  <a:lnTo>
                    <a:pt x="71" y="27"/>
                  </a:lnTo>
                  <a:lnTo>
                    <a:pt x="74" y="27"/>
                  </a:lnTo>
                  <a:lnTo>
                    <a:pt x="76" y="28"/>
                  </a:lnTo>
                  <a:lnTo>
                    <a:pt x="77" y="30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80" y="31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8" y="27"/>
                  </a:lnTo>
                  <a:lnTo>
                    <a:pt x="78" y="26"/>
                  </a:lnTo>
                  <a:lnTo>
                    <a:pt x="78" y="24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1" y="20"/>
                  </a:lnTo>
                  <a:lnTo>
                    <a:pt x="83" y="17"/>
                  </a:lnTo>
                  <a:lnTo>
                    <a:pt x="84" y="16"/>
                  </a:lnTo>
                  <a:lnTo>
                    <a:pt x="86" y="13"/>
                  </a:lnTo>
                  <a:lnTo>
                    <a:pt x="86" y="11"/>
                  </a:lnTo>
                  <a:lnTo>
                    <a:pt x="86" y="10"/>
                  </a:lnTo>
                  <a:lnTo>
                    <a:pt x="86" y="8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4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8" y="1"/>
                  </a:lnTo>
                  <a:lnTo>
                    <a:pt x="90" y="1"/>
                  </a:lnTo>
                  <a:lnTo>
                    <a:pt x="94" y="1"/>
                  </a:lnTo>
                  <a:lnTo>
                    <a:pt x="97" y="1"/>
                  </a:lnTo>
                  <a:lnTo>
                    <a:pt x="98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10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8" y="3"/>
                  </a:lnTo>
                  <a:lnTo>
                    <a:pt x="120" y="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Google Shape;181;p3"/>
            <p:cNvSpPr/>
            <p:nvPr/>
          </p:nvSpPr>
          <p:spPr>
            <a:xfrm>
              <a:off x="4018755" y="3827390"/>
              <a:ext cx="50493" cy="28878"/>
            </a:xfrm>
            <a:custGeom>
              <a:rect b="b" l="l" r="r" t="t"/>
              <a:pathLst>
                <a:path extrusionOk="0" h="46" w="72">
                  <a:moveTo>
                    <a:pt x="57" y="6"/>
                  </a:moveTo>
                  <a:lnTo>
                    <a:pt x="57" y="6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7" y="11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9" y="17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3" y="19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70" y="19"/>
                  </a:lnTo>
                  <a:lnTo>
                    <a:pt x="72" y="19"/>
                  </a:lnTo>
                  <a:lnTo>
                    <a:pt x="72" y="20"/>
                  </a:lnTo>
                  <a:lnTo>
                    <a:pt x="72" y="21"/>
                  </a:lnTo>
                  <a:lnTo>
                    <a:pt x="72" y="24"/>
                  </a:lnTo>
                  <a:lnTo>
                    <a:pt x="72" y="26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9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6" y="27"/>
                  </a:lnTo>
                  <a:lnTo>
                    <a:pt x="66" y="29"/>
                  </a:lnTo>
                  <a:lnTo>
                    <a:pt x="64" y="30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3"/>
                  </a:lnTo>
                  <a:lnTo>
                    <a:pt x="67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34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2" y="33"/>
                  </a:lnTo>
                  <a:lnTo>
                    <a:pt x="59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6" y="33"/>
                  </a:lnTo>
                  <a:lnTo>
                    <a:pt x="56" y="31"/>
                  </a:lnTo>
                  <a:lnTo>
                    <a:pt x="56" y="30"/>
                  </a:lnTo>
                  <a:lnTo>
                    <a:pt x="54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3"/>
                  </a:lnTo>
                  <a:lnTo>
                    <a:pt x="53" y="34"/>
                  </a:lnTo>
                  <a:lnTo>
                    <a:pt x="52" y="36"/>
                  </a:lnTo>
                  <a:lnTo>
                    <a:pt x="50" y="39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3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7" y="46"/>
                  </a:lnTo>
                  <a:lnTo>
                    <a:pt x="47" y="44"/>
                  </a:lnTo>
                  <a:lnTo>
                    <a:pt x="47" y="43"/>
                  </a:lnTo>
                  <a:lnTo>
                    <a:pt x="44" y="41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3" y="39"/>
                  </a:lnTo>
                  <a:lnTo>
                    <a:pt x="42" y="37"/>
                  </a:lnTo>
                  <a:lnTo>
                    <a:pt x="40" y="36"/>
                  </a:lnTo>
                  <a:lnTo>
                    <a:pt x="40" y="34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7" y="31"/>
                  </a:lnTo>
                  <a:lnTo>
                    <a:pt x="36" y="33"/>
                  </a:lnTo>
                  <a:lnTo>
                    <a:pt x="34" y="34"/>
                  </a:lnTo>
                  <a:lnTo>
                    <a:pt x="34" y="36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0" y="43"/>
                  </a:lnTo>
                  <a:lnTo>
                    <a:pt x="29" y="43"/>
                  </a:lnTo>
                  <a:lnTo>
                    <a:pt x="26" y="41"/>
                  </a:lnTo>
                  <a:lnTo>
                    <a:pt x="24" y="41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19" y="44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4" y="40"/>
                  </a:lnTo>
                  <a:lnTo>
                    <a:pt x="14" y="39"/>
                  </a:lnTo>
                  <a:lnTo>
                    <a:pt x="13" y="39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3" y="37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4" y="26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4" y="9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4"/>
                  </a:lnTo>
                  <a:lnTo>
                    <a:pt x="57" y="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Google Shape;182;p3"/>
            <p:cNvSpPr/>
            <p:nvPr/>
          </p:nvSpPr>
          <p:spPr>
            <a:xfrm>
              <a:off x="3854652" y="4264956"/>
              <a:ext cx="69429" cy="64034"/>
            </a:xfrm>
            <a:custGeom>
              <a:rect b="b" l="l" r="r" t="t"/>
              <a:pathLst>
                <a:path extrusionOk="0" h="102" w="99">
                  <a:moveTo>
                    <a:pt x="50" y="5"/>
                  </a:move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7" y="8"/>
                  </a:lnTo>
                  <a:lnTo>
                    <a:pt x="57" y="10"/>
                  </a:lnTo>
                  <a:lnTo>
                    <a:pt x="59" y="11"/>
                  </a:lnTo>
                  <a:lnTo>
                    <a:pt x="59" y="13"/>
                  </a:lnTo>
                  <a:lnTo>
                    <a:pt x="60" y="14"/>
                  </a:lnTo>
                  <a:lnTo>
                    <a:pt x="62" y="14"/>
                  </a:lnTo>
                  <a:lnTo>
                    <a:pt x="63" y="15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7" y="17"/>
                  </a:lnTo>
                  <a:lnTo>
                    <a:pt x="67" y="18"/>
                  </a:lnTo>
                  <a:lnTo>
                    <a:pt x="69" y="18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4" y="14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82" y="13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9" y="15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2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6" y="20"/>
                  </a:lnTo>
                  <a:lnTo>
                    <a:pt x="96" y="21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7"/>
                  </a:lnTo>
                  <a:lnTo>
                    <a:pt x="99" y="41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7" y="43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7"/>
                  </a:lnTo>
                  <a:lnTo>
                    <a:pt x="93" y="48"/>
                  </a:lnTo>
                  <a:lnTo>
                    <a:pt x="92" y="50"/>
                  </a:lnTo>
                  <a:lnTo>
                    <a:pt x="92" y="53"/>
                  </a:lnTo>
                  <a:lnTo>
                    <a:pt x="90" y="55"/>
                  </a:lnTo>
                  <a:lnTo>
                    <a:pt x="90" y="57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87" y="61"/>
                  </a:lnTo>
                  <a:lnTo>
                    <a:pt x="86" y="64"/>
                  </a:lnTo>
                  <a:lnTo>
                    <a:pt x="87" y="64"/>
                  </a:lnTo>
                  <a:lnTo>
                    <a:pt x="87" y="65"/>
                  </a:lnTo>
                  <a:lnTo>
                    <a:pt x="86" y="65"/>
                  </a:lnTo>
                  <a:lnTo>
                    <a:pt x="86" y="68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9" y="75"/>
                  </a:lnTo>
                  <a:lnTo>
                    <a:pt x="90" y="77"/>
                  </a:lnTo>
                  <a:lnTo>
                    <a:pt x="90" y="80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2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4" y="85"/>
                  </a:lnTo>
                  <a:lnTo>
                    <a:pt x="94" y="87"/>
                  </a:lnTo>
                  <a:lnTo>
                    <a:pt x="93" y="87"/>
                  </a:lnTo>
                  <a:lnTo>
                    <a:pt x="93" y="88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2" y="90"/>
                  </a:lnTo>
                  <a:lnTo>
                    <a:pt x="92" y="91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89" y="90"/>
                  </a:lnTo>
                  <a:lnTo>
                    <a:pt x="87" y="90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6" y="87"/>
                  </a:lnTo>
                  <a:lnTo>
                    <a:pt x="86" y="90"/>
                  </a:lnTo>
                  <a:lnTo>
                    <a:pt x="84" y="90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3" y="87"/>
                  </a:lnTo>
                  <a:lnTo>
                    <a:pt x="69" y="87"/>
                  </a:lnTo>
                  <a:lnTo>
                    <a:pt x="66" y="88"/>
                  </a:lnTo>
                  <a:lnTo>
                    <a:pt x="64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63" y="90"/>
                  </a:lnTo>
                  <a:lnTo>
                    <a:pt x="60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53" y="88"/>
                  </a:lnTo>
                  <a:lnTo>
                    <a:pt x="53" y="90"/>
                  </a:lnTo>
                  <a:lnTo>
                    <a:pt x="53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7" y="90"/>
                  </a:lnTo>
                  <a:lnTo>
                    <a:pt x="49" y="91"/>
                  </a:lnTo>
                  <a:lnTo>
                    <a:pt x="43" y="92"/>
                  </a:lnTo>
                  <a:lnTo>
                    <a:pt x="42" y="92"/>
                  </a:lnTo>
                  <a:lnTo>
                    <a:pt x="33" y="97"/>
                  </a:lnTo>
                  <a:lnTo>
                    <a:pt x="29" y="98"/>
                  </a:lnTo>
                  <a:lnTo>
                    <a:pt x="27" y="98"/>
                  </a:lnTo>
                  <a:lnTo>
                    <a:pt x="26" y="100"/>
                  </a:lnTo>
                  <a:lnTo>
                    <a:pt x="23" y="101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0"/>
                  </a:lnTo>
                  <a:lnTo>
                    <a:pt x="17" y="95"/>
                  </a:lnTo>
                  <a:lnTo>
                    <a:pt x="17" y="94"/>
                  </a:lnTo>
                  <a:lnTo>
                    <a:pt x="17" y="92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9" y="87"/>
                  </a:lnTo>
                  <a:lnTo>
                    <a:pt x="19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9" y="82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6" y="78"/>
                  </a:lnTo>
                  <a:lnTo>
                    <a:pt x="15" y="78"/>
                  </a:lnTo>
                  <a:lnTo>
                    <a:pt x="13" y="77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4"/>
                  </a:lnTo>
                  <a:lnTo>
                    <a:pt x="12" y="72"/>
                  </a:lnTo>
                  <a:lnTo>
                    <a:pt x="10" y="71"/>
                  </a:lnTo>
                  <a:lnTo>
                    <a:pt x="9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5" y="71"/>
                  </a:lnTo>
                  <a:lnTo>
                    <a:pt x="3" y="70"/>
                  </a:lnTo>
                  <a:lnTo>
                    <a:pt x="3" y="68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3" y="65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5" y="61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3" y="54"/>
                  </a:lnTo>
                  <a:lnTo>
                    <a:pt x="3" y="53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7" y="51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9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6" y="38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3" y="33"/>
                  </a:lnTo>
                  <a:lnTo>
                    <a:pt x="12" y="31"/>
                  </a:lnTo>
                  <a:lnTo>
                    <a:pt x="10" y="30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7" y="20"/>
                  </a:lnTo>
                  <a:lnTo>
                    <a:pt x="7" y="17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5" y="7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9" y="5"/>
                  </a:lnTo>
                  <a:lnTo>
                    <a:pt x="50" y="5"/>
                  </a:lnTo>
                  <a:close/>
                  <a:moveTo>
                    <a:pt x="89" y="90"/>
                  </a:moveTo>
                  <a:lnTo>
                    <a:pt x="89" y="91"/>
                  </a:lnTo>
                  <a:lnTo>
                    <a:pt x="86" y="91"/>
                  </a:lnTo>
                  <a:lnTo>
                    <a:pt x="87" y="90"/>
                  </a:lnTo>
                  <a:lnTo>
                    <a:pt x="89" y="9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183;p3"/>
            <p:cNvSpPr/>
            <p:nvPr/>
          </p:nvSpPr>
          <p:spPr>
            <a:xfrm>
              <a:off x="2722757" y="4550598"/>
              <a:ext cx="483195" cy="500344"/>
            </a:xfrm>
            <a:custGeom>
              <a:rect b="b" l="l" r="r" t="t"/>
              <a:pathLst>
                <a:path extrusionOk="0" h="797" w="689">
                  <a:moveTo>
                    <a:pt x="676" y="90"/>
                  </a:moveTo>
                  <a:lnTo>
                    <a:pt x="680" y="93"/>
                  </a:lnTo>
                  <a:lnTo>
                    <a:pt x="679" y="97"/>
                  </a:lnTo>
                  <a:lnTo>
                    <a:pt x="676" y="104"/>
                  </a:lnTo>
                  <a:lnTo>
                    <a:pt x="674" y="110"/>
                  </a:lnTo>
                  <a:lnTo>
                    <a:pt x="674" y="110"/>
                  </a:lnTo>
                  <a:lnTo>
                    <a:pt x="674" y="111"/>
                  </a:lnTo>
                  <a:lnTo>
                    <a:pt x="670" y="113"/>
                  </a:lnTo>
                  <a:lnTo>
                    <a:pt x="666" y="116"/>
                  </a:lnTo>
                  <a:lnTo>
                    <a:pt x="663" y="116"/>
                  </a:lnTo>
                  <a:lnTo>
                    <a:pt x="660" y="117"/>
                  </a:lnTo>
                  <a:lnTo>
                    <a:pt x="659" y="119"/>
                  </a:lnTo>
                  <a:lnTo>
                    <a:pt x="657" y="120"/>
                  </a:lnTo>
                  <a:lnTo>
                    <a:pt x="657" y="120"/>
                  </a:lnTo>
                  <a:lnTo>
                    <a:pt x="656" y="121"/>
                  </a:lnTo>
                  <a:lnTo>
                    <a:pt x="656" y="121"/>
                  </a:lnTo>
                  <a:lnTo>
                    <a:pt x="654" y="124"/>
                  </a:lnTo>
                  <a:lnTo>
                    <a:pt x="654" y="126"/>
                  </a:lnTo>
                  <a:lnTo>
                    <a:pt x="656" y="127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30"/>
                  </a:lnTo>
                  <a:lnTo>
                    <a:pt x="657" y="130"/>
                  </a:lnTo>
                  <a:lnTo>
                    <a:pt x="657" y="131"/>
                  </a:lnTo>
                  <a:lnTo>
                    <a:pt x="656" y="131"/>
                  </a:lnTo>
                  <a:lnTo>
                    <a:pt x="654" y="133"/>
                  </a:lnTo>
                  <a:lnTo>
                    <a:pt x="654" y="136"/>
                  </a:lnTo>
                  <a:lnTo>
                    <a:pt x="654" y="137"/>
                  </a:lnTo>
                  <a:lnTo>
                    <a:pt x="654" y="140"/>
                  </a:lnTo>
                  <a:lnTo>
                    <a:pt x="656" y="141"/>
                  </a:lnTo>
                  <a:lnTo>
                    <a:pt x="657" y="147"/>
                  </a:lnTo>
                  <a:lnTo>
                    <a:pt x="657" y="149"/>
                  </a:lnTo>
                  <a:lnTo>
                    <a:pt x="654" y="151"/>
                  </a:lnTo>
                  <a:lnTo>
                    <a:pt x="654" y="153"/>
                  </a:lnTo>
                  <a:lnTo>
                    <a:pt x="654" y="153"/>
                  </a:lnTo>
                  <a:lnTo>
                    <a:pt x="654" y="154"/>
                  </a:lnTo>
                  <a:lnTo>
                    <a:pt x="654" y="156"/>
                  </a:lnTo>
                  <a:lnTo>
                    <a:pt x="656" y="159"/>
                  </a:lnTo>
                  <a:lnTo>
                    <a:pt x="657" y="160"/>
                  </a:lnTo>
                  <a:lnTo>
                    <a:pt x="659" y="161"/>
                  </a:lnTo>
                  <a:lnTo>
                    <a:pt x="659" y="163"/>
                  </a:lnTo>
                  <a:lnTo>
                    <a:pt x="659" y="164"/>
                  </a:lnTo>
                  <a:lnTo>
                    <a:pt x="657" y="164"/>
                  </a:lnTo>
                  <a:lnTo>
                    <a:pt x="654" y="166"/>
                  </a:lnTo>
                  <a:lnTo>
                    <a:pt x="654" y="166"/>
                  </a:lnTo>
                  <a:lnTo>
                    <a:pt x="653" y="167"/>
                  </a:lnTo>
                  <a:lnTo>
                    <a:pt x="651" y="166"/>
                  </a:lnTo>
                  <a:lnTo>
                    <a:pt x="651" y="166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9" y="171"/>
                  </a:lnTo>
                  <a:lnTo>
                    <a:pt x="647" y="171"/>
                  </a:lnTo>
                  <a:lnTo>
                    <a:pt x="647" y="174"/>
                  </a:lnTo>
                  <a:lnTo>
                    <a:pt x="646" y="177"/>
                  </a:lnTo>
                  <a:lnTo>
                    <a:pt x="644" y="179"/>
                  </a:lnTo>
                  <a:lnTo>
                    <a:pt x="644" y="180"/>
                  </a:lnTo>
                  <a:lnTo>
                    <a:pt x="643" y="181"/>
                  </a:lnTo>
                  <a:lnTo>
                    <a:pt x="641" y="183"/>
                  </a:lnTo>
                  <a:lnTo>
                    <a:pt x="641" y="184"/>
                  </a:lnTo>
                  <a:lnTo>
                    <a:pt x="640" y="186"/>
                  </a:lnTo>
                  <a:lnTo>
                    <a:pt x="640" y="186"/>
                  </a:lnTo>
                  <a:lnTo>
                    <a:pt x="639" y="187"/>
                  </a:lnTo>
                  <a:lnTo>
                    <a:pt x="637" y="190"/>
                  </a:lnTo>
                  <a:lnTo>
                    <a:pt x="636" y="191"/>
                  </a:lnTo>
                  <a:lnTo>
                    <a:pt x="636" y="193"/>
                  </a:lnTo>
                  <a:lnTo>
                    <a:pt x="636" y="196"/>
                  </a:lnTo>
                  <a:lnTo>
                    <a:pt x="634" y="201"/>
                  </a:lnTo>
                  <a:lnTo>
                    <a:pt x="634" y="201"/>
                  </a:lnTo>
                  <a:lnTo>
                    <a:pt x="633" y="203"/>
                  </a:lnTo>
                  <a:lnTo>
                    <a:pt x="631" y="204"/>
                  </a:lnTo>
                  <a:lnTo>
                    <a:pt x="631" y="206"/>
                  </a:lnTo>
                  <a:lnTo>
                    <a:pt x="631" y="210"/>
                  </a:lnTo>
                  <a:lnTo>
                    <a:pt x="633" y="214"/>
                  </a:lnTo>
                  <a:lnTo>
                    <a:pt x="633" y="216"/>
                  </a:lnTo>
                  <a:lnTo>
                    <a:pt x="633" y="219"/>
                  </a:lnTo>
                  <a:lnTo>
                    <a:pt x="631" y="220"/>
                  </a:lnTo>
                  <a:lnTo>
                    <a:pt x="633" y="220"/>
                  </a:lnTo>
                  <a:lnTo>
                    <a:pt x="634" y="220"/>
                  </a:lnTo>
                  <a:lnTo>
                    <a:pt x="634" y="221"/>
                  </a:lnTo>
                  <a:lnTo>
                    <a:pt x="633" y="223"/>
                  </a:lnTo>
                  <a:lnTo>
                    <a:pt x="633" y="223"/>
                  </a:lnTo>
                  <a:lnTo>
                    <a:pt x="631" y="224"/>
                  </a:lnTo>
                  <a:lnTo>
                    <a:pt x="630" y="226"/>
                  </a:lnTo>
                  <a:lnTo>
                    <a:pt x="629" y="226"/>
                  </a:lnTo>
                  <a:lnTo>
                    <a:pt x="629" y="226"/>
                  </a:lnTo>
                  <a:lnTo>
                    <a:pt x="629" y="227"/>
                  </a:lnTo>
                  <a:lnTo>
                    <a:pt x="629" y="227"/>
                  </a:lnTo>
                  <a:lnTo>
                    <a:pt x="627" y="231"/>
                  </a:lnTo>
                  <a:lnTo>
                    <a:pt x="626" y="234"/>
                  </a:lnTo>
                  <a:lnTo>
                    <a:pt x="626" y="236"/>
                  </a:lnTo>
                  <a:lnTo>
                    <a:pt x="626" y="236"/>
                  </a:lnTo>
                  <a:lnTo>
                    <a:pt x="626" y="237"/>
                  </a:lnTo>
                  <a:lnTo>
                    <a:pt x="627" y="237"/>
                  </a:lnTo>
                  <a:lnTo>
                    <a:pt x="626" y="238"/>
                  </a:lnTo>
                  <a:lnTo>
                    <a:pt x="626" y="238"/>
                  </a:lnTo>
                  <a:lnTo>
                    <a:pt x="624" y="238"/>
                  </a:lnTo>
                  <a:lnTo>
                    <a:pt x="624" y="238"/>
                  </a:lnTo>
                  <a:lnTo>
                    <a:pt x="623" y="240"/>
                  </a:lnTo>
                  <a:lnTo>
                    <a:pt x="623" y="241"/>
                  </a:lnTo>
                  <a:lnTo>
                    <a:pt x="623" y="243"/>
                  </a:lnTo>
                  <a:lnTo>
                    <a:pt x="623" y="244"/>
                  </a:lnTo>
                  <a:lnTo>
                    <a:pt x="621" y="247"/>
                  </a:lnTo>
                  <a:lnTo>
                    <a:pt x="623" y="250"/>
                  </a:lnTo>
                  <a:lnTo>
                    <a:pt x="624" y="253"/>
                  </a:lnTo>
                  <a:lnTo>
                    <a:pt x="626" y="253"/>
                  </a:lnTo>
                  <a:lnTo>
                    <a:pt x="626" y="253"/>
                  </a:lnTo>
                  <a:lnTo>
                    <a:pt x="627" y="254"/>
                  </a:lnTo>
                  <a:lnTo>
                    <a:pt x="627" y="254"/>
                  </a:lnTo>
                  <a:lnTo>
                    <a:pt x="627" y="256"/>
                  </a:lnTo>
                  <a:lnTo>
                    <a:pt x="626" y="256"/>
                  </a:lnTo>
                  <a:lnTo>
                    <a:pt x="626" y="257"/>
                  </a:lnTo>
                  <a:lnTo>
                    <a:pt x="626" y="258"/>
                  </a:lnTo>
                  <a:lnTo>
                    <a:pt x="626" y="260"/>
                  </a:lnTo>
                  <a:lnTo>
                    <a:pt x="627" y="261"/>
                  </a:lnTo>
                  <a:lnTo>
                    <a:pt x="627" y="264"/>
                  </a:lnTo>
                  <a:lnTo>
                    <a:pt x="629" y="264"/>
                  </a:lnTo>
                  <a:lnTo>
                    <a:pt x="629" y="267"/>
                  </a:lnTo>
                  <a:lnTo>
                    <a:pt x="630" y="271"/>
                  </a:lnTo>
                  <a:lnTo>
                    <a:pt x="630" y="271"/>
                  </a:lnTo>
                  <a:lnTo>
                    <a:pt x="631" y="273"/>
                  </a:lnTo>
                  <a:lnTo>
                    <a:pt x="631" y="274"/>
                  </a:lnTo>
                  <a:lnTo>
                    <a:pt x="630" y="276"/>
                  </a:lnTo>
                  <a:lnTo>
                    <a:pt x="630" y="277"/>
                  </a:lnTo>
                  <a:lnTo>
                    <a:pt x="630" y="278"/>
                  </a:lnTo>
                  <a:lnTo>
                    <a:pt x="631" y="280"/>
                  </a:lnTo>
                  <a:lnTo>
                    <a:pt x="631" y="280"/>
                  </a:lnTo>
                  <a:lnTo>
                    <a:pt x="633" y="280"/>
                  </a:lnTo>
                  <a:lnTo>
                    <a:pt x="634" y="280"/>
                  </a:lnTo>
                  <a:lnTo>
                    <a:pt x="634" y="281"/>
                  </a:lnTo>
                  <a:lnTo>
                    <a:pt x="634" y="281"/>
                  </a:lnTo>
                  <a:lnTo>
                    <a:pt x="634" y="283"/>
                  </a:lnTo>
                  <a:lnTo>
                    <a:pt x="633" y="286"/>
                  </a:lnTo>
                  <a:lnTo>
                    <a:pt x="633" y="288"/>
                  </a:lnTo>
                  <a:lnTo>
                    <a:pt x="633" y="293"/>
                  </a:lnTo>
                  <a:lnTo>
                    <a:pt x="634" y="296"/>
                  </a:lnTo>
                  <a:lnTo>
                    <a:pt x="634" y="297"/>
                  </a:lnTo>
                  <a:lnTo>
                    <a:pt x="634" y="298"/>
                  </a:lnTo>
                  <a:lnTo>
                    <a:pt x="633" y="298"/>
                  </a:lnTo>
                  <a:lnTo>
                    <a:pt x="633" y="298"/>
                  </a:lnTo>
                  <a:lnTo>
                    <a:pt x="631" y="298"/>
                  </a:lnTo>
                  <a:lnTo>
                    <a:pt x="630" y="300"/>
                  </a:lnTo>
                  <a:lnTo>
                    <a:pt x="630" y="300"/>
                  </a:lnTo>
                  <a:lnTo>
                    <a:pt x="630" y="301"/>
                  </a:lnTo>
                  <a:lnTo>
                    <a:pt x="629" y="303"/>
                  </a:lnTo>
                  <a:lnTo>
                    <a:pt x="629" y="304"/>
                  </a:lnTo>
                  <a:lnTo>
                    <a:pt x="627" y="307"/>
                  </a:lnTo>
                  <a:lnTo>
                    <a:pt x="627" y="307"/>
                  </a:lnTo>
                  <a:lnTo>
                    <a:pt x="627" y="308"/>
                  </a:lnTo>
                  <a:lnTo>
                    <a:pt x="626" y="310"/>
                  </a:lnTo>
                  <a:lnTo>
                    <a:pt x="626" y="311"/>
                  </a:lnTo>
                  <a:lnTo>
                    <a:pt x="626" y="316"/>
                  </a:lnTo>
                  <a:lnTo>
                    <a:pt x="624" y="317"/>
                  </a:lnTo>
                  <a:lnTo>
                    <a:pt x="623" y="317"/>
                  </a:lnTo>
                  <a:lnTo>
                    <a:pt x="623" y="318"/>
                  </a:lnTo>
                  <a:lnTo>
                    <a:pt x="623" y="318"/>
                  </a:lnTo>
                  <a:lnTo>
                    <a:pt x="624" y="320"/>
                  </a:lnTo>
                  <a:lnTo>
                    <a:pt x="624" y="320"/>
                  </a:lnTo>
                  <a:lnTo>
                    <a:pt x="624" y="321"/>
                  </a:lnTo>
                  <a:lnTo>
                    <a:pt x="624" y="323"/>
                  </a:lnTo>
                  <a:lnTo>
                    <a:pt x="624" y="324"/>
                  </a:lnTo>
                  <a:lnTo>
                    <a:pt x="626" y="328"/>
                  </a:lnTo>
                  <a:lnTo>
                    <a:pt x="624" y="330"/>
                  </a:lnTo>
                  <a:lnTo>
                    <a:pt x="624" y="331"/>
                  </a:lnTo>
                  <a:lnTo>
                    <a:pt x="624" y="334"/>
                  </a:lnTo>
                  <a:lnTo>
                    <a:pt x="624" y="336"/>
                  </a:lnTo>
                  <a:lnTo>
                    <a:pt x="623" y="336"/>
                  </a:lnTo>
                  <a:lnTo>
                    <a:pt x="621" y="337"/>
                  </a:lnTo>
                  <a:lnTo>
                    <a:pt x="620" y="338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19" y="341"/>
                  </a:lnTo>
                  <a:lnTo>
                    <a:pt x="617" y="341"/>
                  </a:lnTo>
                  <a:lnTo>
                    <a:pt x="617" y="341"/>
                  </a:lnTo>
                  <a:lnTo>
                    <a:pt x="616" y="343"/>
                  </a:lnTo>
                  <a:lnTo>
                    <a:pt x="614" y="343"/>
                  </a:lnTo>
                  <a:lnTo>
                    <a:pt x="614" y="344"/>
                  </a:lnTo>
                  <a:lnTo>
                    <a:pt x="614" y="346"/>
                  </a:lnTo>
                  <a:lnTo>
                    <a:pt x="614" y="346"/>
                  </a:lnTo>
                  <a:lnTo>
                    <a:pt x="613" y="347"/>
                  </a:lnTo>
                  <a:lnTo>
                    <a:pt x="613" y="350"/>
                  </a:lnTo>
                  <a:lnTo>
                    <a:pt x="613" y="351"/>
                  </a:lnTo>
                  <a:lnTo>
                    <a:pt x="613" y="354"/>
                  </a:lnTo>
                  <a:lnTo>
                    <a:pt x="613" y="354"/>
                  </a:lnTo>
                  <a:lnTo>
                    <a:pt x="613" y="357"/>
                  </a:lnTo>
                  <a:lnTo>
                    <a:pt x="613" y="358"/>
                  </a:lnTo>
                  <a:lnTo>
                    <a:pt x="613" y="360"/>
                  </a:lnTo>
                  <a:lnTo>
                    <a:pt x="613" y="361"/>
                  </a:lnTo>
                  <a:lnTo>
                    <a:pt x="613" y="364"/>
                  </a:lnTo>
                  <a:lnTo>
                    <a:pt x="613" y="366"/>
                  </a:lnTo>
                  <a:lnTo>
                    <a:pt x="613" y="368"/>
                  </a:lnTo>
                  <a:lnTo>
                    <a:pt x="614" y="371"/>
                  </a:lnTo>
                  <a:lnTo>
                    <a:pt x="614" y="373"/>
                  </a:lnTo>
                  <a:lnTo>
                    <a:pt x="616" y="377"/>
                  </a:lnTo>
                  <a:lnTo>
                    <a:pt x="616" y="378"/>
                  </a:lnTo>
                  <a:lnTo>
                    <a:pt x="616" y="381"/>
                  </a:lnTo>
                  <a:lnTo>
                    <a:pt x="617" y="383"/>
                  </a:lnTo>
                  <a:lnTo>
                    <a:pt x="617" y="384"/>
                  </a:lnTo>
                  <a:lnTo>
                    <a:pt x="617" y="384"/>
                  </a:lnTo>
                  <a:lnTo>
                    <a:pt x="617" y="387"/>
                  </a:lnTo>
                  <a:lnTo>
                    <a:pt x="616" y="387"/>
                  </a:lnTo>
                  <a:lnTo>
                    <a:pt x="614" y="388"/>
                  </a:lnTo>
                  <a:lnTo>
                    <a:pt x="613" y="388"/>
                  </a:lnTo>
                  <a:lnTo>
                    <a:pt x="612" y="390"/>
                  </a:lnTo>
                  <a:lnTo>
                    <a:pt x="610" y="391"/>
                  </a:lnTo>
                  <a:lnTo>
                    <a:pt x="609" y="391"/>
                  </a:lnTo>
                  <a:lnTo>
                    <a:pt x="609" y="393"/>
                  </a:lnTo>
                  <a:lnTo>
                    <a:pt x="609" y="397"/>
                  </a:lnTo>
                  <a:lnTo>
                    <a:pt x="609" y="398"/>
                  </a:lnTo>
                  <a:lnTo>
                    <a:pt x="609" y="401"/>
                  </a:lnTo>
                  <a:lnTo>
                    <a:pt x="607" y="403"/>
                  </a:lnTo>
                  <a:lnTo>
                    <a:pt x="607" y="404"/>
                  </a:lnTo>
                  <a:lnTo>
                    <a:pt x="607" y="404"/>
                  </a:lnTo>
                  <a:lnTo>
                    <a:pt x="607" y="406"/>
                  </a:lnTo>
                  <a:lnTo>
                    <a:pt x="606" y="406"/>
                  </a:lnTo>
                  <a:lnTo>
                    <a:pt x="604" y="406"/>
                  </a:lnTo>
                  <a:lnTo>
                    <a:pt x="604" y="406"/>
                  </a:lnTo>
                  <a:lnTo>
                    <a:pt x="604" y="406"/>
                  </a:lnTo>
                  <a:lnTo>
                    <a:pt x="604" y="407"/>
                  </a:lnTo>
                  <a:lnTo>
                    <a:pt x="604" y="410"/>
                  </a:lnTo>
                  <a:lnTo>
                    <a:pt x="606" y="411"/>
                  </a:lnTo>
                  <a:lnTo>
                    <a:pt x="604" y="413"/>
                  </a:lnTo>
                  <a:lnTo>
                    <a:pt x="604" y="414"/>
                  </a:lnTo>
                  <a:lnTo>
                    <a:pt x="604" y="416"/>
                  </a:lnTo>
                  <a:lnTo>
                    <a:pt x="603" y="416"/>
                  </a:lnTo>
                  <a:lnTo>
                    <a:pt x="603" y="416"/>
                  </a:lnTo>
                  <a:lnTo>
                    <a:pt x="603" y="417"/>
                  </a:lnTo>
                  <a:lnTo>
                    <a:pt x="603" y="418"/>
                  </a:lnTo>
                  <a:lnTo>
                    <a:pt x="604" y="420"/>
                  </a:lnTo>
                  <a:lnTo>
                    <a:pt x="604" y="421"/>
                  </a:lnTo>
                  <a:lnTo>
                    <a:pt x="604" y="421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2" y="424"/>
                  </a:lnTo>
                  <a:lnTo>
                    <a:pt x="602" y="427"/>
                  </a:lnTo>
                  <a:lnTo>
                    <a:pt x="600" y="428"/>
                  </a:lnTo>
                  <a:lnTo>
                    <a:pt x="600" y="430"/>
                  </a:lnTo>
                  <a:lnTo>
                    <a:pt x="602" y="433"/>
                  </a:lnTo>
                  <a:lnTo>
                    <a:pt x="602" y="434"/>
                  </a:lnTo>
                  <a:lnTo>
                    <a:pt x="602" y="441"/>
                  </a:lnTo>
                  <a:lnTo>
                    <a:pt x="602" y="443"/>
                  </a:lnTo>
                  <a:lnTo>
                    <a:pt x="602" y="447"/>
                  </a:lnTo>
                  <a:lnTo>
                    <a:pt x="602" y="447"/>
                  </a:lnTo>
                  <a:lnTo>
                    <a:pt x="602" y="448"/>
                  </a:lnTo>
                  <a:lnTo>
                    <a:pt x="602" y="451"/>
                  </a:lnTo>
                  <a:lnTo>
                    <a:pt x="603" y="455"/>
                  </a:lnTo>
                  <a:lnTo>
                    <a:pt x="603" y="457"/>
                  </a:lnTo>
                  <a:lnTo>
                    <a:pt x="603" y="458"/>
                  </a:lnTo>
                  <a:lnTo>
                    <a:pt x="602" y="458"/>
                  </a:lnTo>
                  <a:lnTo>
                    <a:pt x="600" y="460"/>
                  </a:lnTo>
                  <a:lnTo>
                    <a:pt x="600" y="458"/>
                  </a:lnTo>
                  <a:lnTo>
                    <a:pt x="599" y="458"/>
                  </a:lnTo>
                  <a:lnTo>
                    <a:pt x="599" y="460"/>
                  </a:lnTo>
                  <a:lnTo>
                    <a:pt x="597" y="461"/>
                  </a:lnTo>
                  <a:lnTo>
                    <a:pt x="597" y="463"/>
                  </a:lnTo>
                  <a:lnTo>
                    <a:pt x="599" y="464"/>
                  </a:lnTo>
                  <a:lnTo>
                    <a:pt x="599" y="465"/>
                  </a:lnTo>
                  <a:lnTo>
                    <a:pt x="597" y="467"/>
                  </a:lnTo>
                  <a:lnTo>
                    <a:pt x="597" y="468"/>
                  </a:lnTo>
                  <a:lnTo>
                    <a:pt x="597" y="470"/>
                  </a:lnTo>
                  <a:lnTo>
                    <a:pt x="597" y="473"/>
                  </a:lnTo>
                  <a:lnTo>
                    <a:pt x="597" y="477"/>
                  </a:lnTo>
                  <a:lnTo>
                    <a:pt x="597" y="478"/>
                  </a:lnTo>
                  <a:lnTo>
                    <a:pt x="599" y="480"/>
                  </a:lnTo>
                  <a:lnTo>
                    <a:pt x="602" y="481"/>
                  </a:lnTo>
                  <a:lnTo>
                    <a:pt x="603" y="481"/>
                  </a:lnTo>
                  <a:lnTo>
                    <a:pt x="603" y="483"/>
                  </a:lnTo>
                  <a:lnTo>
                    <a:pt x="603" y="484"/>
                  </a:lnTo>
                  <a:lnTo>
                    <a:pt x="603" y="484"/>
                  </a:lnTo>
                  <a:lnTo>
                    <a:pt x="602" y="485"/>
                  </a:lnTo>
                  <a:lnTo>
                    <a:pt x="602" y="487"/>
                  </a:lnTo>
                  <a:lnTo>
                    <a:pt x="602" y="490"/>
                  </a:lnTo>
                  <a:lnTo>
                    <a:pt x="603" y="490"/>
                  </a:lnTo>
                  <a:lnTo>
                    <a:pt x="604" y="491"/>
                  </a:lnTo>
                  <a:lnTo>
                    <a:pt x="603" y="493"/>
                  </a:lnTo>
                  <a:lnTo>
                    <a:pt x="603" y="494"/>
                  </a:lnTo>
                  <a:lnTo>
                    <a:pt x="604" y="497"/>
                  </a:lnTo>
                  <a:lnTo>
                    <a:pt x="604" y="498"/>
                  </a:lnTo>
                  <a:lnTo>
                    <a:pt x="604" y="500"/>
                  </a:lnTo>
                  <a:lnTo>
                    <a:pt x="603" y="501"/>
                  </a:lnTo>
                  <a:lnTo>
                    <a:pt x="603" y="501"/>
                  </a:lnTo>
                  <a:lnTo>
                    <a:pt x="603" y="503"/>
                  </a:lnTo>
                  <a:lnTo>
                    <a:pt x="602" y="505"/>
                  </a:lnTo>
                  <a:lnTo>
                    <a:pt x="602" y="507"/>
                  </a:lnTo>
                  <a:lnTo>
                    <a:pt x="603" y="508"/>
                  </a:lnTo>
                  <a:lnTo>
                    <a:pt x="610" y="508"/>
                  </a:lnTo>
                  <a:lnTo>
                    <a:pt x="612" y="510"/>
                  </a:lnTo>
                  <a:lnTo>
                    <a:pt x="613" y="511"/>
                  </a:lnTo>
                  <a:lnTo>
                    <a:pt x="613" y="513"/>
                  </a:lnTo>
                  <a:lnTo>
                    <a:pt x="612" y="514"/>
                  </a:lnTo>
                  <a:lnTo>
                    <a:pt x="612" y="517"/>
                  </a:lnTo>
                  <a:lnTo>
                    <a:pt x="610" y="517"/>
                  </a:lnTo>
                  <a:lnTo>
                    <a:pt x="609" y="517"/>
                  </a:lnTo>
                  <a:lnTo>
                    <a:pt x="606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0" y="517"/>
                  </a:lnTo>
                  <a:lnTo>
                    <a:pt x="599" y="517"/>
                  </a:lnTo>
                  <a:lnTo>
                    <a:pt x="599" y="518"/>
                  </a:lnTo>
                  <a:lnTo>
                    <a:pt x="599" y="520"/>
                  </a:lnTo>
                  <a:lnTo>
                    <a:pt x="603" y="520"/>
                  </a:lnTo>
                  <a:lnTo>
                    <a:pt x="606" y="521"/>
                  </a:lnTo>
                  <a:lnTo>
                    <a:pt x="607" y="524"/>
                  </a:lnTo>
                  <a:lnTo>
                    <a:pt x="609" y="525"/>
                  </a:lnTo>
                  <a:lnTo>
                    <a:pt x="610" y="527"/>
                  </a:lnTo>
                  <a:lnTo>
                    <a:pt x="610" y="530"/>
                  </a:lnTo>
                  <a:lnTo>
                    <a:pt x="607" y="531"/>
                  </a:lnTo>
                  <a:lnTo>
                    <a:pt x="607" y="534"/>
                  </a:lnTo>
                  <a:lnTo>
                    <a:pt x="604" y="534"/>
                  </a:lnTo>
                  <a:lnTo>
                    <a:pt x="603" y="535"/>
                  </a:lnTo>
                  <a:lnTo>
                    <a:pt x="603" y="538"/>
                  </a:lnTo>
                  <a:lnTo>
                    <a:pt x="603" y="541"/>
                  </a:lnTo>
                  <a:lnTo>
                    <a:pt x="604" y="543"/>
                  </a:lnTo>
                  <a:lnTo>
                    <a:pt x="606" y="544"/>
                  </a:lnTo>
                  <a:lnTo>
                    <a:pt x="604" y="545"/>
                  </a:lnTo>
                  <a:lnTo>
                    <a:pt x="603" y="547"/>
                  </a:lnTo>
                  <a:lnTo>
                    <a:pt x="602" y="548"/>
                  </a:lnTo>
                  <a:lnTo>
                    <a:pt x="602" y="550"/>
                  </a:lnTo>
                  <a:lnTo>
                    <a:pt x="603" y="551"/>
                  </a:lnTo>
                  <a:lnTo>
                    <a:pt x="603" y="553"/>
                  </a:lnTo>
                  <a:lnTo>
                    <a:pt x="604" y="554"/>
                  </a:lnTo>
                  <a:lnTo>
                    <a:pt x="604" y="558"/>
                  </a:lnTo>
                  <a:lnTo>
                    <a:pt x="604" y="560"/>
                  </a:lnTo>
                  <a:lnTo>
                    <a:pt x="604" y="561"/>
                  </a:lnTo>
                  <a:lnTo>
                    <a:pt x="602" y="563"/>
                  </a:lnTo>
                  <a:lnTo>
                    <a:pt x="600" y="564"/>
                  </a:lnTo>
                  <a:lnTo>
                    <a:pt x="600" y="567"/>
                  </a:lnTo>
                  <a:lnTo>
                    <a:pt x="600" y="568"/>
                  </a:lnTo>
                  <a:lnTo>
                    <a:pt x="600" y="570"/>
                  </a:lnTo>
                  <a:lnTo>
                    <a:pt x="602" y="571"/>
                  </a:lnTo>
                  <a:lnTo>
                    <a:pt x="602" y="573"/>
                  </a:lnTo>
                  <a:lnTo>
                    <a:pt x="600" y="573"/>
                  </a:lnTo>
                  <a:lnTo>
                    <a:pt x="599" y="574"/>
                  </a:lnTo>
                  <a:lnTo>
                    <a:pt x="597" y="575"/>
                  </a:lnTo>
                  <a:lnTo>
                    <a:pt x="594" y="578"/>
                  </a:lnTo>
                  <a:lnTo>
                    <a:pt x="594" y="580"/>
                  </a:lnTo>
                  <a:lnTo>
                    <a:pt x="594" y="581"/>
                  </a:lnTo>
                  <a:lnTo>
                    <a:pt x="593" y="584"/>
                  </a:lnTo>
                  <a:lnTo>
                    <a:pt x="592" y="587"/>
                  </a:lnTo>
                  <a:lnTo>
                    <a:pt x="592" y="588"/>
                  </a:lnTo>
                  <a:lnTo>
                    <a:pt x="592" y="591"/>
                  </a:lnTo>
                  <a:lnTo>
                    <a:pt x="593" y="593"/>
                  </a:lnTo>
                  <a:lnTo>
                    <a:pt x="594" y="594"/>
                  </a:lnTo>
                  <a:lnTo>
                    <a:pt x="594" y="597"/>
                  </a:lnTo>
                  <a:lnTo>
                    <a:pt x="594" y="600"/>
                  </a:lnTo>
                  <a:lnTo>
                    <a:pt x="592" y="601"/>
                  </a:lnTo>
                  <a:lnTo>
                    <a:pt x="590" y="603"/>
                  </a:lnTo>
                  <a:lnTo>
                    <a:pt x="590" y="604"/>
                  </a:lnTo>
                  <a:lnTo>
                    <a:pt x="590" y="607"/>
                  </a:lnTo>
                  <a:lnTo>
                    <a:pt x="590" y="610"/>
                  </a:lnTo>
                  <a:lnTo>
                    <a:pt x="590" y="611"/>
                  </a:lnTo>
                  <a:lnTo>
                    <a:pt x="589" y="613"/>
                  </a:lnTo>
                  <a:lnTo>
                    <a:pt x="587" y="613"/>
                  </a:lnTo>
                  <a:lnTo>
                    <a:pt x="586" y="614"/>
                  </a:lnTo>
                  <a:lnTo>
                    <a:pt x="584" y="615"/>
                  </a:lnTo>
                  <a:lnTo>
                    <a:pt x="583" y="615"/>
                  </a:lnTo>
                  <a:lnTo>
                    <a:pt x="582" y="618"/>
                  </a:lnTo>
                  <a:lnTo>
                    <a:pt x="582" y="620"/>
                  </a:lnTo>
                  <a:lnTo>
                    <a:pt x="582" y="623"/>
                  </a:lnTo>
                  <a:lnTo>
                    <a:pt x="576" y="624"/>
                  </a:lnTo>
                  <a:lnTo>
                    <a:pt x="576" y="625"/>
                  </a:lnTo>
                  <a:lnTo>
                    <a:pt x="574" y="627"/>
                  </a:lnTo>
                  <a:lnTo>
                    <a:pt x="574" y="630"/>
                  </a:lnTo>
                  <a:lnTo>
                    <a:pt x="576" y="633"/>
                  </a:lnTo>
                  <a:lnTo>
                    <a:pt x="576" y="635"/>
                  </a:lnTo>
                  <a:lnTo>
                    <a:pt x="574" y="638"/>
                  </a:lnTo>
                  <a:lnTo>
                    <a:pt x="576" y="641"/>
                  </a:lnTo>
                  <a:lnTo>
                    <a:pt x="576" y="644"/>
                  </a:lnTo>
                  <a:lnTo>
                    <a:pt x="577" y="645"/>
                  </a:lnTo>
                  <a:lnTo>
                    <a:pt x="579" y="650"/>
                  </a:lnTo>
                  <a:lnTo>
                    <a:pt x="579" y="653"/>
                  </a:lnTo>
                  <a:lnTo>
                    <a:pt x="579" y="654"/>
                  </a:lnTo>
                  <a:lnTo>
                    <a:pt x="580" y="655"/>
                  </a:lnTo>
                  <a:lnTo>
                    <a:pt x="580" y="657"/>
                  </a:lnTo>
                  <a:lnTo>
                    <a:pt x="582" y="658"/>
                  </a:lnTo>
                  <a:lnTo>
                    <a:pt x="582" y="660"/>
                  </a:lnTo>
                  <a:lnTo>
                    <a:pt x="584" y="658"/>
                  </a:lnTo>
                  <a:lnTo>
                    <a:pt x="586" y="657"/>
                  </a:lnTo>
                  <a:lnTo>
                    <a:pt x="587" y="657"/>
                  </a:lnTo>
                  <a:lnTo>
                    <a:pt x="590" y="657"/>
                  </a:lnTo>
                  <a:lnTo>
                    <a:pt x="592" y="655"/>
                  </a:lnTo>
                  <a:lnTo>
                    <a:pt x="592" y="655"/>
                  </a:lnTo>
                  <a:lnTo>
                    <a:pt x="593" y="657"/>
                  </a:lnTo>
                  <a:lnTo>
                    <a:pt x="594" y="657"/>
                  </a:lnTo>
                  <a:lnTo>
                    <a:pt x="594" y="660"/>
                  </a:lnTo>
                  <a:lnTo>
                    <a:pt x="594" y="662"/>
                  </a:lnTo>
                  <a:lnTo>
                    <a:pt x="594" y="667"/>
                  </a:lnTo>
                  <a:lnTo>
                    <a:pt x="594" y="667"/>
                  </a:lnTo>
                  <a:lnTo>
                    <a:pt x="593" y="668"/>
                  </a:lnTo>
                  <a:lnTo>
                    <a:pt x="594" y="670"/>
                  </a:lnTo>
                  <a:lnTo>
                    <a:pt x="594" y="671"/>
                  </a:lnTo>
                  <a:lnTo>
                    <a:pt x="594" y="672"/>
                  </a:lnTo>
                  <a:lnTo>
                    <a:pt x="593" y="677"/>
                  </a:lnTo>
                  <a:lnTo>
                    <a:pt x="593" y="680"/>
                  </a:lnTo>
                  <a:lnTo>
                    <a:pt x="594" y="681"/>
                  </a:lnTo>
                  <a:lnTo>
                    <a:pt x="596" y="682"/>
                  </a:lnTo>
                  <a:lnTo>
                    <a:pt x="597" y="684"/>
                  </a:lnTo>
                  <a:lnTo>
                    <a:pt x="599" y="687"/>
                  </a:lnTo>
                  <a:lnTo>
                    <a:pt x="600" y="688"/>
                  </a:lnTo>
                  <a:lnTo>
                    <a:pt x="600" y="690"/>
                  </a:lnTo>
                  <a:lnTo>
                    <a:pt x="600" y="691"/>
                  </a:lnTo>
                  <a:lnTo>
                    <a:pt x="604" y="691"/>
                  </a:lnTo>
                  <a:lnTo>
                    <a:pt x="609" y="691"/>
                  </a:lnTo>
                  <a:lnTo>
                    <a:pt x="616" y="691"/>
                  </a:lnTo>
                  <a:lnTo>
                    <a:pt x="624" y="691"/>
                  </a:lnTo>
                  <a:lnTo>
                    <a:pt x="631" y="691"/>
                  </a:lnTo>
                  <a:lnTo>
                    <a:pt x="636" y="692"/>
                  </a:lnTo>
                  <a:lnTo>
                    <a:pt x="640" y="695"/>
                  </a:lnTo>
                  <a:lnTo>
                    <a:pt x="644" y="695"/>
                  </a:lnTo>
                  <a:lnTo>
                    <a:pt x="649" y="697"/>
                  </a:lnTo>
                  <a:lnTo>
                    <a:pt x="651" y="698"/>
                  </a:lnTo>
                  <a:lnTo>
                    <a:pt x="654" y="698"/>
                  </a:lnTo>
                  <a:lnTo>
                    <a:pt x="656" y="698"/>
                  </a:lnTo>
                  <a:lnTo>
                    <a:pt x="656" y="701"/>
                  </a:lnTo>
                  <a:lnTo>
                    <a:pt x="647" y="698"/>
                  </a:lnTo>
                  <a:lnTo>
                    <a:pt x="646" y="697"/>
                  </a:lnTo>
                  <a:lnTo>
                    <a:pt x="644" y="697"/>
                  </a:lnTo>
                  <a:lnTo>
                    <a:pt x="640" y="698"/>
                  </a:lnTo>
                  <a:lnTo>
                    <a:pt x="639" y="702"/>
                  </a:lnTo>
                  <a:lnTo>
                    <a:pt x="637" y="704"/>
                  </a:lnTo>
                  <a:lnTo>
                    <a:pt x="636" y="704"/>
                  </a:lnTo>
                  <a:lnTo>
                    <a:pt x="633" y="704"/>
                  </a:lnTo>
                  <a:lnTo>
                    <a:pt x="626" y="708"/>
                  </a:lnTo>
                  <a:lnTo>
                    <a:pt x="623" y="708"/>
                  </a:lnTo>
                  <a:lnTo>
                    <a:pt x="620" y="710"/>
                  </a:lnTo>
                  <a:lnTo>
                    <a:pt x="619" y="711"/>
                  </a:lnTo>
                  <a:lnTo>
                    <a:pt x="619" y="714"/>
                  </a:lnTo>
                  <a:lnTo>
                    <a:pt x="619" y="717"/>
                  </a:lnTo>
                  <a:lnTo>
                    <a:pt x="616" y="724"/>
                  </a:lnTo>
                  <a:lnTo>
                    <a:pt x="616" y="727"/>
                  </a:lnTo>
                  <a:lnTo>
                    <a:pt x="616" y="730"/>
                  </a:lnTo>
                  <a:lnTo>
                    <a:pt x="616" y="732"/>
                  </a:lnTo>
                  <a:lnTo>
                    <a:pt x="616" y="738"/>
                  </a:lnTo>
                  <a:lnTo>
                    <a:pt x="614" y="740"/>
                  </a:lnTo>
                  <a:lnTo>
                    <a:pt x="610" y="741"/>
                  </a:lnTo>
                  <a:lnTo>
                    <a:pt x="609" y="740"/>
                  </a:lnTo>
                  <a:lnTo>
                    <a:pt x="604" y="740"/>
                  </a:lnTo>
                  <a:lnTo>
                    <a:pt x="602" y="737"/>
                  </a:lnTo>
                  <a:lnTo>
                    <a:pt x="597" y="735"/>
                  </a:lnTo>
                  <a:lnTo>
                    <a:pt x="597" y="734"/>
                  </a:lnTo>
                  <a:lnTo>
                    <a:pt x="593" y="730"/>
                  </a:lnTo>
                  <a:lnTo>
                    <a:pt x="593" y="728"/>
                  </a:lnTo>
                  <a:lnTo>
                    <a:pt x="593" y="727"/>
                  </a:lnTo>
                  <a:lnTo>
                    <a:pt x="594" y="724"/>
                  </a:lnTo>
                  <a:lnTo>
                    <a:pt x="596" y="724"/>
                  </a:lnTo>
                  <a:lnTo>
                    <a:pt x="599" y="724"/>
                  </a:lnTo>
                  <a:lnTo>
                    <a:pt x="600" y="724"/>
                  </a:lnTo>
                  <a:lnTo>
                    <a:pt x="602" y="725"/>
                  </a:lnTo>
                  <a:lnTo>
                    <a:pt x="602" y="728"/>
                  </a:lnTo>
                  <a:lnTo>
                    <a:pt x="602" y="730"/>
                  </a:lnTo>
                  <a:lnTo>
                    <a:pt x="602" y="731"/>
                  </a:lnTo>
                  <a:lnTo>
                    <a:pt x="602" y="731"/>
                  </a:lnTo>
                  <a:lnTo>
                    <a:pt x="603" y="731"/>
                  </a:lnTo>
                  <a:lnTo>
                    <a:pt x="603" y="724"/>
                  </a:lnTo>
                  <a:lnTo>
                    <a:pt x="609" y="720"/>
                  </a:lnTo>
                  <a:lnTo>
                    <a:pt x="612" y="718"/>
                  </a:lnTo>
                  <a:lnTo>
                    <a:pt x="613" y="715"/>
                  </a:lnTo>
                  <a:lnTo>
                    <a:pt x="613" y="714"/>
                  </a:lnTo>
                  <a:lnTo>
                    <a:pt x="613" y="714"/>
                  </a:lnTo>
                  <a:lnTo>
                    <a:pt x="612" y="712"/>
                  </a:lnTo>
                  <a:lnTo>
                    <a:pt x="609" y="711"/>
                  </a:lnTo>
                  <a:lnTo>
                    <a:pt x="602" y="718"/>
                  </a:lnTo>
                  <a:lnTo>
                    <a:pt x="597" y="720"/>
                  </a:lnTo>
                  <a:lnTo>
                    <a:pt x="594" y="721"/>
                  </a:lnTo>
                  <a:lnTo>
                    <a:pt x="592" y="724"/>
                  </a:lnTo>
                  <a:lnTo>
                    <a:pt x="592" y="725"/>
                  </a:lnTo>
                  <a:lnTo>
                    <a:pt x="592" y="727"/>
                  </a:lnTo>
                  <a:lnTo>
                    <a:pt x="590" y="730"/>
                  </a:lnTo>
                  <a:lnTo>
                    <a:pt x="587" y="728"/>
                  </a:lnTo>
                  <a:lnTo>
                    <a:pt x="583" y="725"/>
                  </a:lnTo>
                  <a:lnTo>
                    <a:pt x="583" y="724"/>
                  </a:lnTo>
                  <a:lnTo>
                    <a:pt x="583" y="722"/>
                  </a:lnTo>
                  <a:lnTo>
                    <a:pt x="584" y="721"/>
                  </a:lnTo>
                  <a:lnTo>
                    <a:pt x="584" y="715"/>
                  </a:lnTo>
                  <a:lnTo>
                    <a:pt x="586" y="714"/>
                  </a:lnTo>
                  <a:lnTo>
                    <a:pt x="586" y="712"/>
                  </a:lnTo>
                  <a:lnTo>
                    <a:pt x="587" y="711"/>
                  </a:lnTo>
                  <a:lnTo>
                    <a:pt x="589" y="711"/>
                  </a:lnTo>
                  <a:lnTo>
                    <a:pt x="589" y="711"/>
                  </a:lnTo>
                  <a:lnTo>
                    <a:pt x="590" y="712"/>
                  </a:lnTo>
                  <a:lnTo>
                    <a:pt x="592" y="712"/>
                  </a:lnTo>
                  <a:lnTo>
                    <a:pt x="597" y="708"/>
                  </a:lnTo>
                  <a:lnTo>
                    <a:pt x="600" y="708"/>
                  </a:lnTo>
                  <a:lnTo>
                    <a:pt x="603" y="710"/>
                  </a:lnTo>
                  <a:lnTo>
                    <a:pt x="606" y="708"/>
                  </a:lnTo>
                  <a:lnTo>
                    <a:pt x="607" y="708"/>
                  </a:lnTo>
                  <a:lnTo>
                    <a:pt x="607" y="707"/>
                  </a:lnTo>
                  <a:lnTo>
                    <a:pt x="604" y="705"/>
                  </a:lnTo>
                  <a:lnTo>
                    <a:pt x="603" y="705"/>
                  </a:lnTo>
                  <a:lnTo>
                    <a:pt x="596" y="705"/>
                  </a:lnTo>
                  <a:lnTo>
                    <a:pt x="594" y="705"/>
                  </a:lnTo>
                  <a:lnTo>
                    <a:pt x="593" y="707"/>
                  </a:lnTo>
                  <a:lnTo>
                    <a:pt x="592" y="707"/>
                  </a:lnTo>
                  <a:lnTo>
                    <a:pt x="592" y="705"/>
                  </a:lnTo>
                  <a:lnTo>
                    <a:pt x="589" y="705"/>
                  </a:lnTo>
                  <a:lnTo>
                    <a:pt x="589" y="705"/>
                  </a:lnTo>
                  <a:lnTo>
                    <a:pt x="587" y="707"/>
                  </a:lnTo>
                  <a:lnTo>
                    <a:pt x="587" y="708"/>
                  </a:lnTo>
                  <a:lnTo>
                    <a:pt x="587" y="710"/>
                  </a:lnTo>
                  <a:lnTo>
                    <a:pt x="584" y="711"/>
                  </a:lnTo>
                  <a:lnTo>
                    <a:pt x="583" y="714"/>
                  </a:lnTo>
                  <a:lnTo>
                    <a:pt x="583" y="717"/>
                  </a:lnTo>
                  <a:lnTo>
                    <a:pt x="583" y="718"/>
                  </a:lnTo>
                  <a:lnTo>
                    <a:pt x="583" y="718"/>
                  </a:lnTo>
                  <a:lnTo>
                    <a:pt x="582" y="720"/>
                  </a:lnTo>
                  <a:lnTo>
                    <a:pt x="579" y="718"/>
                  </a:lnTo>
                  <a:lnTo>
                    <a:pt x="576" y="717"/>
                  </a:lnTo>
                  <a:lnTo>
                    <a:pt x="576" y="715"/>
                  </a:lnTo>
                  <a:lnTo>
                    <a:pt x="573" y="712"/>
                  </a:lnTo>
                  <a:lnTo>
                    <a:pt x="577" y="711"/>
                  </a:lnTo>
                  <a:lnTo>
                    <a:pt x="580" y="710"/>
                  </a:lnTo>
                  <a:lnTo>
                    <a:pt x="582" y="707"/>
                  </a:lnTo>
                  <a:lnTo>
                    <a:pt x="582" y="705"/>
                  </a:lnTo>
                  <a:lnTo>
                    <a:pt x="582" y="704"/>
                  </a:lnTo>
                  <a:lnTo>
                    <a:pt x="580" y="704"/>
                  </a:lnTo>
                  <a:lnTo>
                    <a:pt x="580" y="705"/>
                  </a:lnTo>
                  <a:lnTo>
                    <a:pt x="580" y="707"/>
                  </a:lnTo>
                  <a:lnTo>
                    <a:pt x="577" y="707"/>
                  </a:lnTo>
                  <a:lnTo>
                    <a:pt x="574" y="710"/>
                  </a:lnTo>
                  <a:lnTo>
                    <a:pt x="572" y="708"/>
                  </a:lnTo>
                  <a:lnTo>
                    <a:pt x="569" y="710"/>
                  </a:lnTo>
                  <a:lnTo>
                    <a:pt x="567" y="708"/>
                  </a:lnTo>
                  <a:lnTo>
                    <a:pt x="567" y="707"/>
                  </a:lnTo>
                  <a:lnTo>
                    <a:pt x="567" y="704"/>
                  </a:lnTo>
                  <a:lnTo>
                    <a:pt x="567" y="701"/>
                  </a:lnTo>
                  <a:lnTo>
                    <a:pt x="566" y="701"/>
                  </a:lnTo>
                  <a:lnTo>
                    <a:pt x="564" y="701"/>
                  </a:lnTo>
                  <a:lnTo>
                    <a:pt x="564" y="700"/>
                  </a:lnTo>
                  <a:lnTo>
                    <a:pt x="563" y="697"/>
                  </a:lnTo>
                  <a:lnTo>
                    <a:pt x="563" y="695"/>
                  </a:lnTo>
                  <a:lnTo>
                    <a:pt x="563" y="694"/>
                  </a:lnTo>
                  <a:lnTo>
                    <a:pt x="563" y="694"/>
                  </a:lnTo>
                  <a:lnTo>
                    <a:pt x="564" y="694"/>
                  </a:lnTo>
                  <a:lnTo>
                    <a:pt x="566" y="695"/>
                  </a:lnTo>
                  <a:lnTo>
                    <a:pt x="567" y="695"/>
                  </a:lnTo>
                  <a:lnTo>
                    <a:pt x="570" y="697"/>
                  </a:lnTo>
                  <a:lnTo>
                    <a:pt x="572" y="697"/>
                  </a:lnTo>
                  <a:lnTo>
                    <a:pt x="572" y="697"/>
                  </a:lnTo>
                  <a:lnTo>
                    <a:pt x="573" y="694"/>
                  </a:lnTo>
                  <a:lnTo>
                    <a:pt x="573" y="692"/>
                  </a:lnTo>
                  <a:lnTo>
                    <a:pt x="573" y="692"/>
                  </a:lnTo>
                  <a:lnTo>
                    <a:pt x="574" y="695"/>
                  </a:lnTo>
                  <a:lnTo>
                    <a:pt x="576" y="695"/>
                  </a:lnTo>
                  <a:lnTo>
                    <a:pt x="579" y="695"/>
                  </a:lnTo>
                  <a:lnTo>
                    <a:pt x="579" y="695"/>
                  </a:lnTo>
                  <a:lnTo>
                    <a:pt x="582" y="694"/>
                  </a:lnTo>
                  <a:lnTo>
                    <a:pt x="584" y="692"/>
                  </a:lnTo>
                  <a:lnTo>
                    <a:pt x="586" y="690"/>
                  </a:lnTo>
                  <a:lnTo>
                    <a:pt x="587" y="690"/>
                  </a:lnTo>
                  <a:lnTo>
                    <a:pt x="587" y="690"/>
                  </a:lnTo>
                  <a:lnTo>
                    <a:pt x="589" y="691"/>
                  </a:lnTo>
                  <a:lnTo>
                    <a:pt x="589" y="692"/>
                  </a:lnTo>
                  <a:lnTo>
                    <a:pt x="589" y="694"/>
                  </a:lnTo>
                  <a:lnTo>
                    <a:pt x="590" y="695"/>
                  </a:lnTo>
                  <a:lnTo>
                    <a:pt x="590" y="697"/>
                  </a:lnTo>
                  <a:lnTo>
                    <a:pt x="590" y="698"/>
                  </a:lnTo>
                  <a:lnTo>
                    <a:pt x="589" y="700"/>
                  </a:lnTo>
                  <a:lnTo>
                    <a:pt x="589" y="701"/>
                  </a:lnTo>
                  <a:lnTo>
                    <a:pt x="589" y="701"/>
                  </a:lnTo>
                  <a:lnTo>
                    <a:pt x="589" y="701"/>
                  </a:lnTo>
                  <a:lnTo>
                    <a:pt x="590" y="700"/>
                  </a:lnTo>
                  <a:lnTo>
                    <a:pt x="592" y="698"/>
                  </a:lnTo>
                  <a:lnTo>
                    <a:pt x="592" y="698"/>
                  </a:lnTo>
                  <a:lnTo>
                    <a:pt x="592" y="697"/>
                  </a:lnTo>
                  <a:lnTo>
                    <a:pt x="592" y="695"/>
                  </a:lnTo>
                  <a:lnTo>
                    <a:pt x="590" y="692"/>
                  </a:lnTo>
                  <a:lnTo>
                    <a:pt x="590" y="691"/>
                  </a:lnTo>
                  <a:lnTo>
                    <a:pt x="590" y="690"/>
                  </a:lnTo>
                  <a:lnTo>
                    <a:pt x="592" y="688"/>
                  </a:lnTo>
                  <a:lnTo>
                    <a:pt x="592" y="687"/>
                  </a:lnTo>
                  <a:lnTo>
                    <a:pt x="592" y="685"/>
                  </a:lnTo>
                  <a:lnTo>
                    <a:pt x="590" y="684"/>
                  </a:lnTo>
                  <a:lnTo>
                    <a:pt x="587" y="680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8"/>
                  </a:lnTo>
                  <a:lnTo>
                    <a:pt x="580" y="678"/>
                  </a:lnTo>
                  <a:lnTo>
                    <a:pt x="582" y="678"/>
                  </a:lnTo>
                  <a:lnTo>
                    <a:pt x="587" y="681"/>
                  </a:lnTo>
                  <a:lnTo>
                    <a:pt x="589" y="682"/>
                  </a:lnTo>
                  <a:lnTo>
                    <a:pt x="589" y="682"/>
                  </a:lnTo>
                  <a:lnTo>
                    <a:pt x="590" y="684"/>
                  </a:lnTo>
                  <a:lnTo>
                    <a:pt x="590" y="685"/>
                  </a:lnTo>
                  <a:lnTo>
                    <a:pt x="584" y="687"/>
                  </a:lnTo>
                  <a:lnTo>
                    <a:pt x="580" y="691"/>
                  </a:lnTo>
                  <a:lnTo>
                    <a:pt x="577" y="692"/>
                  </a:lnTo>
                  <a:lnTo>
                    <a:pt x="576" y="692"/>
                  </a:lnTo>
                  <a:lnTo>
                    <a:pt x="574" y="690"/>
                  </a:lnTo>
                  <a:lnTo>
                    <a:pt x="573" y="687"/>
                  </a:lnTo>
                  <a:lnTo>
                    <a:pt x="572" y="685"/>
                  </a:lnTo>
                  <a:lnTo>
                    <a:pt x="570" y="685"/>
                  </a:lnTo>
                  <a:lnTo>
                    <a:pt x="570" y="685"/>
                  </a:lnTo>
                  <a:lnTo>
                    <a:pt x="569" y="685"/>
                  </a:lnTo>
                  <a:lnTo>
                    <a:pt x="567" y="685"/>
                  </a:lnTo>
                  <a:lnTo>
                    <a:pt x="564" y="684"/>
                  </a:lnTo>
                  <a:lnTo>
                    <a:pt x="564" y="682"/>
                  </a:lnTo>
                  <a:lnTo>
                    <a:pt x="566" y="680"/>
                  </a:lnTo>
                  <a:lnTo>
                    <a:pt x="569" y="681"/>
                  </a:lnTo>
                  <a:lnTo>
                    <a:pt x="569" y="674"/>
                  </a:lnTo>
                  <a:lnTo>
                    <a:pt x="569" y="672"/>
                  </a:lnTo>
                  <a:lnTo>
                    <a:pt x="566" y="670"/>
                  </a:lnTo>
                  <a:lnTo>
                    <a:pt x="564" y="671"/>
                  </a:lnTo>
                  <a:lnTo>
                    <a:pt x="562" y="670"/>
                  </a:lnTo>
                  <a:lnTo>
                    <a:pt x="560" y="670"/>
                  </a:lnTo>
                  <a:lnTo>
                    <a:pt x="559" y="670"/>
                  </a:lnTo>
                  <a:lnTo>
                    <a:pt x="559" y="668"/>
                  </a:lnTo>
                  <a:lnTo>
                    <a:pt x="556" y="668"/>
                  </a:lnTo>
                  <a:lnTo>
                    <a:pt x="554" y="667"/>
                  </a:lnTo>
                  <a:lnTo>
                    <a:pt x="552" y="662"/>
                  </a:lnTo>
                  <a:lnTo>
                    <a:pt x="550" y="660"/>
                  </a:lnTo>
                  <a:lnTo>
                    <a:pt x="550" y="657"/>
                  </a:lnTo>
                  <a:lnTo>
                    <a:pt x="554" y="657"/>
                  </a:lnTo>
                  <a:lnTo>
                    <a:pt x="556" y="657"/>
                  </a:lnTo>
                  <a:lnTo>
                    <a:pt x="557" y="655"/>
                  </a:lnTo>
                  <a:lnTo>
                    <a:pt x="556" y="654"/>
                  </a:lnTo>
                  <a:lnTo>
                    <a:pt x="554" y="653"/>
                  </a:lnTo>
                  <a:lnTo>
                    <a:pt x="556" y="651"/>
                  </a:lnTo>
                  <a:lnTo>
                    <a:pt x="557" y="650"/>
                  </a:lnTo>
                  <a:lnTo>
                    <a:pt x="559" y="650"/>
                  </a:lnTo>
                  <a:lnTo>
                    <a:pt x="562" y="653"/>
                  </a:lnTo>
                  <a:lnTo>
                    <a:pt x="562" y="654"/>
                  </a:lnTo>
                  <a:lnTo>
                    <a:pt x="564" y="660"/>
                  </a:lnTo>
                  <a:lnTo>
                    <a:pt x="564" y="660"/>
                  </a:lnTo>
                  <a:lnTo>
                    <a:pt x="566" y="661"/>
                  </a:lnTo>
                  <a:lnTo>
                    <a:pt x="570" y="664"/>
                  </a:lnTo>
                  <a:lnTo>
                    <a:pt x="570" y="664"/>
                  </a:lnTo>
                  <a:lnTo>
                    <a:pt x="570" y="661"/>
                  </a:lnTo>
                  <a:lnTo>
                    <a:pt x="572" y="658"/>
                  </a:lnTo>
                  <a:lnTo>
                    <a:pt x="573" y="657"/>
                  </a:lnTo>
                  <a:lnTo>
                    <a:pt x="573" y="657"/>
                  </a:lnTo>
                  <a:lnTo>
                    <a:pt x="573" y="655"/>
                  </a:lnTo>
                  <a:lnTo>
                    <a:pt x="573" y="654"/>
                  </a:lnTo>
                  <a:lnTo>
                    <a:pt x="573" y="653"/>
                  </a:lnTo>
                  <a:lnTo>
                    <a:pt x="573" y="653"/>
                  </a:lnTo>
                  <a:lnTo>
                    <a:pt x="572" y="654"/>
                  </a:lnTo>
                  <a:lnTo>
                    <a:pt x="569" y="660"/>
                  </a:lnTo>
                  <a:lnTo>
                    <a:pt x="567" y="661"/>
                  </a:lnTo>
                  <a:lnTo>
                    <a:pt x="566" y="658"/>
                  </a:lnTo>
                  <a:lnTo>
                    <a:pt x="564" y="657"/>
                  </a:lnTo>
                  <a:lnTo>
                    <a:pt x="564" y="655"/>
                  </a:lnTo>
                  <a:lnTo>
                    <a:pt x="564" y="653"/>
                  </a:lnTo>
                  <a:lnTo>
                    <a:pt x="569" y="653"/>
                  </a:lnTo>
                  <a:lnTo>
                    <a:pt x="567" y="653"/>
                  </a:lnTo>
                  <a:lnTo>
                    <a:pt x="563" y="650"/>
                  </a:lnTo>
                  <a:lnTo>
                    <a:pt x="562" y="650"/>
                  </a:lnTo>
                  <a:lnTo>
                    <a:pt x="560" y="648"/>
                  </a:lnTo>
                  <a:lnTo>
                    <a:pt x="559" y="647"/>
                  </a:lnTo>
                  <a:lnTo>
                    <a:pt x="557" y="645"/>
                  </a:lnTo>
                  <a:lnTo>
                    <a:pt x="560" y="643"/>
                  </a:lnTo>
                  <a:lnTo>
                    <a:pt x="562" y="640"/>
                  </a:lnTo>
                  <a:lnTo>
                    <a:pt x="567" y="641"/>
                  </a:lnTo>
                  <a:lnTo>
                    <a:pt x="569" y="640"/>
                  </a:lnTo>
                  <a:lnTo>
                    <a:pt x="567" y="638"/>
                  </a:lnTo>
                  <a:lnTo>
                    <a:pt x="566" y="638"/>
                  </a:lnTo>
                  <a:lnTo>
                    <a:pt x="564" y="638"/>
                  </a:lnTo>
                  <a:lnTo>
                    <a:pt x="562" y="635"/>
                  </a:lnTo>
                  <a:lnTo>
                    <a:pt x="563" y="634"/>
                  </a:lnTo>
                  <a:lnTo>
                    <a:pt x="563" y="631"/>
                  </a:lnTo>
                  <a:lnTo>
                    <a:pt x="564" y="630"/>
                  </a:lnTo>
                  <a:lnTo>
                    <a:pt x="566" y="630"/>
                  </a:lnTo>
                  <a:lnTo>
                    <a:pt x="569" y="630"/>
                  </a:lnTo>
                  <a:lnTo>
                    <a:pt x="569" y="631"/>
                  </a:lnTo>
                  <a:lnTo>
                    <a:pt x="570" y="631"/>
                  </a:lnTo>
                  <a:lnTo>
                    <a:pt x="569" y="628"/>
                  </a:lnTo>
                  <a:lnTo>
                    <a:pt x="567" y="628"/>
                  </a:lnTo>
                  <a:lnTo>
                    <a:pt x="566" y="625"/>
                  </a:lnTo>
                  <a:lnTo>
                    <a:pt x="566" y="624"/>
                  </a:lnTo>
                  <a:lnTo>
                    <a:pt x="567" y="623"/>
                  </a:lnTo>
                  <a:lnTo>
                    <a:pt x="567" y="621"/>
                  </a:lnTo>
                  <a:lnTo>
                    <a:pt x="567" y="620"/>
                  </a:lnTo>
                  <a:lnTo>
                    <a:pt x="567" y="618"/>
                  </a:lnTo>
                  <a:lnTo>
                    <a:pt x="567" y="617"/>
                  </a:lnTo>
                  <a:lnTo>
                    <a:pt x="569" y="617"/>
                  </a:lnTo>
                  <a:lnTo>
                    <a:pt x="569" y="615"/>
                  </a:lnTo>
                  <a:lnTo>
                    <a:pt x="567" y="617"/>
                  </a:lnTo>
                  <a:lnTo>
                    <a:pt x="566" y="618"/>
                  </a:lnTo>
                  <a:lnTo>
                    <a:pt x="566" y="620"/>
                  </a:lnTo>
                  <a:lnTo>
                    <a:pt x="566" y="621"/>
                  </a:lnTo>
                  <a:lnTo>
                    <a:pt x="564" y="624"/>
                  </a:lnTo>
                  <a:lnTo>
                    <a:pt x="564" y="625"/>
                  </a:lnTo>
                  <a:lnTo>
                    <a:pt x="564" y="628"/>
                  </a:lnTo>
                  <a:lnTo>
                    <a:pt x="563" y="627"/>
                  </a:lnTo>
                  <a:lnTo>
                    <a:pt x="562" y="625"/>
                  </a:lnTo>
                  <a:lnTo>
                    <a:pt x="562" y="625"/>
                  </a:lnTo>
                  <a:lnTo>
                    <a:pt x="562" y="624"/>
                  </a:lnTo>
                  <a:lnTo>
                    <a:pt x="562" y="617"/>
                  </a:lnTo>
                  <a:lnTo>
                    <a:pt x="562" y="611"/>
                  </a:lnTo>
                  <a:lnTo>
                    <a:pt x="562" y="605"/>
                  </a:lnTo>
                  <a:lnTo>
                    <a:pt x="564" y="604"/>
                  </a:lnTo>
                  <a:lnTo>
                    <a:pt x="564" y="604"/>
                  </a:lnTo>
                  <a:lnTo>
                    <a:pt x="566" y="604"/>
                  </a:lnTo>
                  <a:lnTo>
                    <a:pt x="566" y="604"/>
                  </a:lnTo>
                  <a:lnTo>
                    <a:pt x="567" y="603"/>
                  </a:lnTo>
                  <a:lnTo>
                    <a:pt x="564" y="601"/>
                  </a:lnTo>
                  <a:lnTo>
                    <a:pt x="563" y="603"/>
                  </a:lnTo>
                  <a:lnTo>
                    <a:pt x="562" y="604"/>
                  </a:lnTo>
                  <a:lnTo>
                    <a:pt x="560" y="603"/>
                  </a:lnTo>
                  <a:lnTo>
                    <a:pt x="559" y="600"/>
                  </a:lnTo>
                  <a:lnTo>
                    <a:pt x="559" y="598"/>
                  </a:lnTo>
                  <a:lnTo>
                    <a:pt x="557" y="595"/>
                  </a:lnTo>
                  <a:lnTo>
                    <a:pt x="559" y="591"/>
                  </a:lnTo>
                  <a:lnTo>
                    <a:pt x="562" y="591"/>
                  </a:lnTo>
                  <a:lnTo>
                    <a:pt x="563" y="593"/>
                  </a:lnTo>
                  <a:lnTo>
                    <a:pt x="570" y="593"/>
                  </a:lnTo>
                  <a:lnTo>
                    <a:pt x="574" y="597"/>
                  </a:lnTo>
                  <a:lnTo>
                    <a:pt x="577" y="595"/>
                  </a:lnTo>
                  <a:lnTo>
                    <a:pt x="577" y="595"/>
                  </a:lnTo>
                  <a:lnTo>
                    <a:pt x="576" y="594"/>
                  </a:lnTo>
                  <a:lnTo>
                    <a:pt x="574" y="593"/>
                  </a:lnTo>
                  <a:lnTo>
                    <a:pt x="573" y="591"/>
                  </a:lnTo>
                  <a:lnTo>
                    <a:pt x="573" y="590"/>
                  </a:lnTo>
                  <a:lnTo>
                    <a:pt x="573" y="588"/>
                  </a:lnTo>
                  <a:lnTo>
                    <a:pt x="572" y="583"/>
                  </a:lnTo>
                  <a:lnTo>
                    <a:pt x="572" y="584"/>
                  </a:lnTo>
                  <a:lnTo>
                    <a:pt x="572" y="585"/>
                  </a:lnTo>
                  <a:lnTo>
                    <a:pt x="570" y="588"/>
                  </a:lnTo>
                  <a:lnTo>
                    <a:pt x="569" y="590"/>
                  </a:lnTo>
                  <a:lnTo>
                    <a:pt x="566" y="590"/>
                  </a:lnTo>
                  <a:lnTo>
                    <a:pt x="564" y="591"/>
                  </a:lnTo>
                  <a:lnTo>
                    <a:pt x="562" y="590"/>
                  </a:lnTo>
                  <a:lnTo>
                    <a:pt x="562" y="588"/>
                  </a:lnTo>
                  <a:lnTo>
                    <a:pt x="562" y="587"/>
                  </a:lnTo>
                  <a:lnTo>
                    <a:pt x="560" y="587"/>
                  </a:lnTo>
                  <a:lnTo>
                    <a:pt x="559" y="585"/>
                  </a:lnTo>
                  <a:lnTo>
                    <a:pt x="557" y="585"/>
                  </a:lnTo>
                  <a:lnTo>
                    <a:pt x="557" y="584"/>
                  </a:lnTo>
                  <a:lnTo>
                    <a:pt x="557" y="583"/>
                  </a:lnTo>
                  <a:lnTo>
                    <a:pt x="559" y="581"/>
                  </a:lnTo>
                  <a:lnTo>
                    <a:pt x="560" y="581"/>
                  </a:lnTo>
                  <a:lnTo>
                    <a:pt x="562" y="583"/>
                  </a:lnTo>
                  <a:lnTo>
                    <a:pt x="562" y="584"/>
                  </a:lnTo>
                  <a:lnTo>
                    <a:pt x="563" y="584"/>
                  </a:lnTo>
                  <a:lnTo>
                    <a:pt x="564" y="583"/>
                  </a:lnTo>
                  <a:lnTo>
                    <a:pt x="566" y="581"/>
                  </a:lnTo>
                  <a:lnTo>
                    <a:pt x="564" y="581"/>
                  </a:lnTo>
                  <a:lnTo>
                    <a:pt x="563" y="581"/>
                  </a:lnTo>
                  <a:lnTo>
                    <a:pt x="562" y="580"/>
                  </a:lnTo>
                  <a:lnTo>
                    <a:pt x="560" y="578"/>
                  </a:lnTo>
                  <a:lnTo>
                    <a:pt x="562" y="575"/>
                  </a:lnTo>
                  <a:lnTo>
                    <a:pt x="564" y="573"/>
                  </a:lnTo>
                  <a:lnTo>
                    <a:pt x="564" y="573"/>
                  </a:lnTo>
                  <a:lnTo>
                    <a:pt x="564" y="570"/>
                  </a:lnTo>
                  <a:lnTo>
                    <a:pt x="564" y="567"/>
                  </a:lnTo>
                  <a:lnTo>
                    <a:pt x="564" y="565"/>
                  </a:lnTo>
                  <a:lnTo>
                    <a:pt x="563" y="563"/>
                  </a:lnTo>
                  <a:lnTo>
                    <a:pt x="560" y="563"/>
                  </a:lnTo>
                  <a:lnTo>
                    <a:pt x="560" y="563"/>
                  </a:lnTo>
                  <a:lnTo>
                    <a:pt x="560" y="564"/>
                  </a:lnTo>
                  <a:lnTo>
                    <a:pt x="560" y="564"/>
                  </a:lnTo>
                  <a:lnTo>
                    <a:pt x="560" y="565"/>
                  </a:lnTo>
                  <a:lnTo>
                    <a:pt x="559" y="565"/>
                  </a:lnTo>
                  <a:lnTo>
                    <a:pt x="556" y="564"/>
                  </a:lnTo>
                  <a:lnTo>
                    <a:pt x="554" y="563"/>
                  </a:lnTo>
                  <a:lnTo>
                    <a:pt x="552" y="561"/>
                  </a:lnTo>
                  <a:lnTo>
                    <a:pt x="552" y="561"/>
                  </a:lnTo>
                  <a:lnTo>
                    <a:pt x="550" y="560"/>
                  </a:lnTo>
                  <a:lnTo>
                    <a:pt x="552" y="557"/>
                  </a:lnTo>
                  <a:lnTo>
                    <a:pt x="552" y="557"/>
                  </a:lnTo>
                  <a:lnTo>
                    <a:pt x="549" y="558"/>
                  </a:lnTo>
                  <a:lnTo>
                    <a:pt x="546" y="560"/>
                  </a:lnTo>
                  <a:lnTo>
                    <a:pt x="544" y="560"/>
                  </a:lnTo>
                  <a:lnTo>
                    <a:pt x="543" y="561"/>
                  </a:lnTo>
                  <a:lnTo>
                    <a:pt x="543" y="561"/>
                  </a:lnTo>
                  <a:lnTo>
                    <a:pt x="543" y="561"/>
                  </a:lnTo>
                  <a:lnTo>
                    <a:pt x="544" y="563"/>
                  </a:lnTo>
                  <a:lnTo>
                    <a:pt x="546" y="564"/>
                  </a:lnTo>
                  <a:lnTo>
                    <a:pt x="544" y="565"/>
                  </a:lnTo>
                  <a:lnTo>
                    <a:pt x="544" y="567"/>
                  </a:lnTo>
                  <a:lnTo>
                    <a:pt x="543" y="567"/>
                  </a:lnTo>
                  <a:lnTo>
                    <a:pt x="542" y="564"/>
                  </a:lnTo>
                  <a:lnTo>
                    <a:pt x="540" y="563"/>
                  </a:lnTo>
                  <a:lnTo>
                    <a:pt x="540" y="561"/>
                  </a:lnTo>
                  <a:lnTo>
                    <a:pt x="540" y="558"/>
                  </a:lnTo>
                  <a:lnTo>
                    <a:pt x="544" y="555"/>
                  </a:lnTo>
                  <a:lnTo>
                    <a:pt x="546" y="554"/>
                  </a:lnTo>
                  <a:lnTo>
                    <a:pt x="547" y="553"/>
                  </a:lnTo>
                  <a:lnTo>
                    <a:pt x="550" y="550"/>
                  </a:lnTo>
                  <a:lnTo>
                    <a:pt x="553" y="548"/>
                  </a:lnTo>
                  <a:lnTo>
                    <a:pt x="552" y="547"/>
                  </a:lnTo>
                  <a:lnTo>
                    <a:pt x="550" y="544"/>
                  </a:lnTo>
                  <a:lnTo>
                    <a:pt x="550" y="541"/>
                  </a:lnTo>
                  <a:lnTo>
                    <a:pt x="556" y="541"/>
                  </a:lnTo>
                  <a:lnTo>
                    <a:pt x="557" y="541"/>
                  </a:lnTo>
                  <a:lnTo>
                    <a:pt x="560" y="541"/>
                  </a:lnTo>
                  <a:lnTo>
                    <a:pt x="562" y="540"/>
                  </a:lnTo>
                  <a:lnTo>
                    <a:pt x="563" y="540"/>
                  </a:lnTo>
                  <a:lnTo>
                    <a:pt x="564" y="540"/>
                  </a:lnTo>
                  <a:lnTo>
                    <a:pt x="566" y="538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6" y="535"/>
                  </a:lnTo>
                  <a:lnTo>
                    <a:pt x="566" y="533"/>
                  </a:lnTo>
                  <a:lnTo>
                    <a:pt x="566" y="533"/>
                  </a:lnTo>
                  <a:lnTo>
                    <a:pt x="567" y="531"/>
                  </a:lnTo>
                  <a:lnTo>
                    <a:pt x="569" y="531"/>
                  </a:lnTo>
                  <a:lnTo>
                    <a:pt x="569" y="531"/>
                  </a:lnTo>
                  <a:lnTo>
                    <a:pt x="570" y="533"/>
                  </a:lnTo>
                  <a:lnTo>
                    <a:pt x="570" y="534"/>
                  </a:lnTo>
                  <a:lnTo>
                    <a:pt x="569" y="535"/>
                  </a:lnTo>
                  <a:lnTo>
                    <a:pt x="569" y="541"/>
                  </a:lnTo>
                  <a:lnTo>
                    <a:pt x="567" y="543"/>
                  </a:lnTo>
                  <a:lnTo>
                    <a:pt x="566" y="544"/>
                  </a:lnTo>
                  <a:lnTo>
                    <a:pt x="567" y="545"/>
                  </a:lnTo>
                  <a:lnTo>
                    <a:pt x="566" y="548"/>
                  </a:lnTo>
                  <a:lnTo>
                    <a:pt x="562" y="550"/>
                  </a:lnTo>
                  <a:lnTo>
                    <a:pt x="562" y="550"/>
                  </a:lnTo>
                  <a:lnTo>
                    <a:pt x="562" y="550"/>
                  </a:lnTo>
                  <a:lnTo>
                    <a:pt x="564" y="550"/>
                  </a:lnTo>
                  <a:lnTo>
                    <a:pt x="566" y="550"/>
                  </a:lnTo>
                  <a:lnTo>
                    <a:pt x="567" y="548"/>
                  </a:lnTo>
                  <a:lnTo>
                    <a:pt x="569" y="545"/>
                  </a:lnTo>
                  <a:lnTo>
                    <a:pt x="569" y="541"/>
                  </a:lnTo>
                  <a:lnTo>
                    <a:pt x="570" y="541"/>
                  </a:lnTo>
                  <a:lnTo>
                    <a:pt x="572" y="540"/>
                  </a:lnTo>
                  <a:lnTo>
                    <a:pt x="573" y="541"/>
                  </a:lnTo>
                  <a:lnTo>
                    <a:pt x="572" y="544"/>
                  </a:lnTo>
                  <a:lnTo>
                    <a:pt x="572" y="547"/>
                  </a:lnTo>
                  <a:lnTo>
                    <a:pt x="570" y="554"/>
                  </a:lnTo>
                  <a:lnTo>
                    <a:pt x="569" y="557"/>
                  </a:lnTo>
                  <a:lnTo>
                    <a:pt x="569" y="557"/>
                  </a:lnTo>
                  <a:lnTo>
                    <a:pt x="569" y="558"/>
                  </a:lnTo>
                  <a:lnTo>
                    <a:pt x="570" y="558"/>
                  </a:lnTo>
                  <a:lnTo>
                    <a:pt x="572" y="557"/>
                  </a:lnTo>
                  <a:lnTo>
                    <a:pt x="572" y="554"/>
                  </a:lnTo>
                  <a:lnTo>
                    <a:pt x="573" y="551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4"/>
                  </a:lnTo>
                  <a:lnTo>
                    <a:pt x="574" y="543"/>
                  </a:lnTo>
                  <a:lnTo>
                    <a:pt x="574" y="540"/>
                  </a:lnTo>
                  <a:lnTo>
                    <a:pt x="573" y="538"/>
                  </a:lnTo>
                  <a:lnTo>
                    <a:pt x="572" y="538"/>
                  </a:lnTo>
                  <a:lnTo>
                    <a:pt x="572" y="537"/>
                  </a:lnTo>
                  <a:lnTo>
                    <a:pt x="572" y="533"/>
                  </a:lnTo>
                  <a:lnTo>
                    <a:pt x="574" y="533"/>
                  </a:lnTo>
                  <a:lnTo>
                    <a:pt x="577" y="531"/>
                  </a:lnTo>
                  <a:lnTo>
                    <a:pt x="579" y="530"/>
                  </a:lnTo>
                  <a:lnTo>
                    <a:pt x="580" y="530"/>
                  </a:lnTo>
                  <a:lnTo>
                    <a:pt x="584" y="533"/>
                  </a:lnTo>
                  <a:lnTo>
                    <a:pt x="584" y="533"/>
                  </a:lnTo>
                  <a:lnTo>
                    <a:pt x="584" y="531"/>
                  </a:lnTo>
                  <a:lnTo>
                    <a:pt x="584" y="531"/>
                  </a:lnTo>
                  <a:lnTo>
                    <a:pt x="583" y="530"/>
                  </a:lnTo>
                  <a:lnTo>
                    <a:pt x="580" y="528"/>
                  </a:lnTo>
                  <a:lnTo>
                    <a:pt x="576" y="527"/>
                  </a:lnTo>
                  <a:lnTo>
                    <a:pt x="577" y="524"/>
                  </a:lnTo>
                  <a:lnTo>
                    <a:pt x="577" y="521"/>
                  </a:lnTo>
                  <a:lnTo>
                    <a:pt x="579" y="521"/>
                  </a:lnTo>
                  <a:lnTo>
                    <a:pt x="582" y="520"/>
                  </a:lnTo>
                  <a:lnTo>
                    <a:pt x="587" y="515"/>
                  </a:lnTo>
                  <a:lnTo>
                    <a:pt x="589" y="513"/>
                  </a:lnTo>
                  <a:lnTo>
                    <a:pt x="589" y="510"/>
                  </a:lnTo>
                  <a:lnTo>
                    <a:pt x="586" y="508"/>
                  </a:lnTo>
                  <a:lnTo>
                    <a:pt x="583" y="505"/>
                  </a:lnTo>
                  <a:lnTo>
                    <a:pt x="582" y="505"/>
                  </a:lnTo>
                  <a:lnTo>
                    <a:pt x="579" y="503"/>
                  </a:lnTo>
                  <a:lnTo>
                    <a:pt x="580" y="501"/>
                  </a:lnTo>
                  <a:lnTo>
                    <a:pt x="580" y="497"/>
                  </a:lnTo>
                  <a:lnTo>
                    <a:pt x="583" y="497"/>
                  </a:lnTo>
                  <a:lnTo>
                    <a:pt x="583" y="491"/>
                  </a:lnTo>
                  <a:lnTo>
                    <a:pt x="582" y="487"/>
                  </a:lnTo>
                  <a:lnTo>
                    <a:pt x="582" y="484"/>
                  </a:lnTo>
                  <a:lnTo>
                    <a:pt x="584" y="483"/>
                  </a:lnTo>
                  <a:lnTo>
                    <a:pt x="584" y="480"/>
                  </a:lnTo>
                  <a:lnTo>
                    <a:pt x="586" y="478"/>
                  </a:lnTo>
                  <a:lnTo>
                    <a:pt x="587" y="478"/>
                  </a:lnTo>
                  <a:lnTo>
                    <a:pt x="587" y="477"/>
                  </a:lnTo>
                  <a:lnTo>
                    <a:pt x="587" y="475"/>
                  </a:lnTo>
                  <a:lnTo>
                    <a:pt x="586" y="473"/>
                  </a:lnTo>
                  <a:lnTo>
                    <a:pt x="586" y="470"/>
                  </a:lnTo>
                  <a:lnTo>
                    <a:pt x="587" y="467"/>
                  </a:lnTo>
                  <a:lnTo>
                    <a:pt x="589" y="467"/>
                  </a:lnTo>
                  <a:lnTo>
                    <a:pt x="589" y="467"/>
                  </a:lnTo>
                  <a:lnTo>
                    <a:pt x="587" y="464"/>
                  </a:lnTo>
                  <a:lnTo>
                    <a:pt x="587" y="463"/>
                  </a:lnTo>
                  <a:lnTo>
                    <a:pt x="587" y="461"/>
                  </a:lnTo>
                  <a:lnTo>
                    <a:pt x="589" y="461"/>
                  </a:lnTo>
                  <a:lnTo>
                    <a:pt x="589" y="460"/>
                  </a:lnTo>
                  <a:lnTo>
                    <a:pt x="590" y="461"/>
                  </a:lnTo>
                  <a:lnTo>
                    <a:pt x="593" y="465"/>
                  </a:lnTo>
                  <a:lnTo>
                    <a:pt x="593" y="464"/>
                  </a:lnTo>
                  <a:lnTo>
                    <a:pt x="592" y="460"/>
                  </a:lnTo>
                  <a:lnTo>
                    <a:pt x="592" y="455"/>
                  </a:lnTo>
                  <a:lnTo>
                    <a:pt x="590" y="455"/>
                  </a:lnTo>
                  <a:lnTo>
                    <a:pt x="587" y="455"/>
                  </a:lnTo>
                  <a:lnTo>
                    <a:pt x="587" y="455"/>
                  </a:lnTo>
                  <a:lnTo>
                    <a:pt x="586" y="454"/>
                  </a:lnTo>
                  <a:lnTo>
                    <a:pt x="587" y="453"/>
                  </a:lnTo>
                  <a:lnTo>
                    <a:pt x="587" y="451"/>
                  </a:lnTo>
                  <a:lnTo>
                    <a:pt x="589" y="450"/>
                  </a:lnTo>
                  <a:lnTo>
                    <a:pt x="592" y="450"/>
                  </a:lnTo>
                  <a:lnTo>
                    <a:pt x="593" y="448"/>
                  </a:lnTo>
                  <a:lnTo>
                    <a:pt x="594" y="446"/>
                  </a:lnTo>
                  <a:lnTo>
                    <a:pt x="593" y="446"/>
                  </a:lnTo>
                  <a:lnTo>
                    <a:pt x="593" y="448"/>
                  </a:lnTo>
                  <a:lnTo>
                    <a:pt x="590" y="450"/>
                  </a:lnTo>
                  <a:lnTo>
                    <a:pt x="590" y="448"/>
                  </a:lnTo>
                  <a:lnTo>
                    <a:pt x="589" y="448"/>
                  </a:lnTo>
                  <a:lnTo>
                    <a:pt x="586" y="446"/>
                  </a:lnTo>
                  <a:lnTo>
                    <a:pt x="586" y="446"/>
                  </a:lnTo>
                  <a:lnTo>
                    <a:pt x="584" y="446"/>
                  </a:lnTo>
                  <a:lnTo>
                    <a:pt x="583" y="446"/>
                  </a:lnTo>
                  <a:lnTo>
                    <a:pt x="580" y="450"/>
                  </a:lnTo>
                  <a:lnTo>
                    <a:pt x="580" y="451"/>
                  </a:lnTo>
                  <a:lnTo>
                    <a:pt x="574" y="451"/>
                  </a:lnTo>
                  <a:lnTo>
                    <a:pt x="573" y="451"/>
                  </a:lnTo>
                  <a:lnTo>
                    <a:pt x="572" y="450"/>
                  </a:lnTo>
                  <a:lnTo>
                    <a:pt x="572" y="450"/>
                  </a:lnTo>
                  <a:lnTo>
                    <a:pt x="573" y="448"/>
                  </a:lnTo>
                  <a:lnTo>
                    <a:pt x="573" y="447"/>
                  </a:lnTo>
                  <a:lnTo>
                    <a:pt x="573" y="447"/>
                  </a:lnTo>
                  <a:lnTo>
                    <a:pt x="572" y="447"/>
                  </a:lnTo>
                  <a:lnTo>
                    <a:pt x="570" y="446"/>
                  </a:lnTo>
                  <a:lnTo>
                    <a:pt x="570" y="444"/>
                  </a:lnTo>
                  <a:lnTo>
                    <a:pt x="569" y="441"/>
                  </a:lnTo>
                  <a:lnTo>
                    <a:pt x="567" y="437"/>
                  </a:lnTo>
                  <a:lnTo>
                    <a:pt x="567" y="434"/>
                  </a:lnTo>
                  <a:lnTo>
                    <a:pt x="569" y="431"/>
                  </a:lnTo>
                  <a:lnTo>
                    <a:pt x="570" y="423"/>
                  </a:lnTo>
                  <a:lnTo>
                    <a:pt x="572" y="418"/>
                  </a:lnTo>
                  <a:lnTo>
                    <a:pt x="573" y="416"/>
                  </a:lnTo>
                  <a:lnTo>
                    <a:pt x="573" y="413"/>
                  </a:lnTo>
                  <a:lnTo>
                    <a:pt x="576" y="410"/>
                  </a:lnTo>
                  <a:lnTo>
                    <a:pt x="577" y="410"/>
                  </a:lnTo>
                  <a:lnTo>
                    <a:pt x="579" y="401"/>
                  </a:lnTo>
                  <a:lnTo>
                    <a:pt x="580" y="397"/>
                  </a:lnTo>
                  <a:lnTo>
                    <a:pt x="576" y="386"/>
                  </a:lnTo>
                  <a:lnTo>
                    <a:pt x="574" y="383"/>
                  </a:lnTo>
                  <a:lnTo>
                    <a:pt x="574" y="380"/>
                  </a:lnTo>
                  <a:lnTo>
                    <a:pt x="576" y="376"/>
                  </a:lnTo>
                  <a:lnTo>
                    <a:pt x="576" y="373"/>
                  </a:lnTo>
                  <a:lnTo>
                    <a:pt x="576" y="371"/>
                  </a:lnTo>
                  <a:lnTo>
                    <a:pt x="573" y="367"/>
                  </a:lnTo>
                  <a:lnTo>
                    <a:pt x="573" y="364"/>
                  </a:lnTo>
                  <a:lnTo>
                    <a:pt x="574" y="361"/>
                  </a:lnTo>
                  <a:lnTo>
                    <a:pt x="573" y="360"/>
                  </a:lnTo>
                  <a:lnTo>
                    <a:pt x="573" y="357"/>
                  </a:lnTo>
                  <a:lnTo>
                    <a:pt x="574" y="356"/>
                  </a:lnTo>
                  <a:lnTo>
                    <a:pt x="577" y="357"/>
                  </a:lnTo>
                  <a:lnTo>
                    <a:pt x="579" y="357"/>
                  </a:lnTo>
                  <a:lnTo>
                    <a:pt x="580" y="356"/>
                  </a:lnTo>
                  <a:lnTo>
                    <a:pt x="580" y="353"/>
                  </a:lnTo>
                  <a:lnTo>
                    <a:pt x="582" y="350"/>
                  </a:lnTo>
                  <a:lnTo>
                    <a:pt x="582" y="348"/>
                  </a:lnTo>
                  <a:lnTo>
                    <a:pt x="582" y="346"/>
                  </a:lnTo>
                  <a:lnTo>
                    <a:pt x="583" y="346"/>
                  </a:lnTo>
                  <a:lnTo>
                    <a:pt x="584" y="343"/>
                  </a:lnTo>
                  <a:lnTo>
                    <a:pt x="586" y="340"/>
                  </a:lnTo>
                  <a:lnTo>
                    <a:pt x="587" y="333"/>
                  </a:lnTo>
                  <a:lnTo>
                    <a:pt x="589" y="330"/>
                  </a:lnTo>
                  <a:lnTo>
                    <a:pt x="590" y="328"/>
                  </a:lnTo>
                  <a:lnTo>
                    <a:pt x="590" y="324"/>
                  </a:lnTo>
                  <a:lnTo>
                    <a:pt x="590" y="323"/>
                  </a:lnTo>
                  <a:lnTo>
                    <a:pt x="592" y="321"/>
                  </a:lnTo>
                  <a:lnTo>
                    <a:pt x="592" y="320"/>
                  </a:lnTo>
                  <a:lnTo>
                    <a:pt x="593" y="317"/>
                  </a:lnTo>
                  <a:lnTo>
                    <a:pt x="596" y="314"/>
                  </a:lnTo>
                  <a:lnTo>
                    <a:pt x="596" y="311"/>
                  </a:lnTo>
                  <a:lnTo>
                    <a:pt x="599" y="306"/>
                  </a:lnTo>
                  <a:lnTo>
                    <a:pt x="599" y="301"/>
                  </a:lnTo>
                  <a:lnTo>
                    <a:pt x="600" y="298"/>
                  </a:lnTo>
                  <a:lnTo>
                    <a:pt x="599" y="297"/>
                  </a:lnTo>
                  <a:lnTo>
                    <a:pt x="600" y="294"/>
                  </a:lnTo>
                  <a:lnTo>
                    <a:pt x="602" y="291"/>
                  </a:lnTo>
                  <a:lnTo>
                    <a:pt x="602" y="290"/>
                  </a:lnTo>
                  <a:lnTo>
                    <a:pt x="604" y="287"/>
                  </a:lnTo>
                  <a:lnTo>
                    <a:pt x="606" y="284"/>
                  </a:lnTo>
                  <a:lnTo>
                    <a:pt x="604" y="283"/>
                  </a:lnTo>
                  <a:lnTo>
                    <a:pt x="604" y="280"/>
                  </a:lnTo>
                  <a:lnTo>
                    <a:pt x="603" y="276"/>
                  </a:lnTo>
                  <a:lnTo>
                    <a:pt x="606" y="274"/>
                  </a:lnTo>
                  <a:lnTo>
                    <a:pt x="606" y="274"/>
                  </a:lnTo>
                  <a:lnTo>
                    <a:pt x="609" y="268"/>
                  </a:lnTo>
                  <a:lnTo>
                    <a:pt x="609" y="266"/>
                  </a:lnTo>
                  <a:lnTo>
                    <a:pt x="609" y="263"/>
                  </a:lnTo>
                  <a:lnTo>
                    <a:pt x="607" y="260"/>
                  </a:lnTo>
                  <a:lnTo>
                    <a:pt x="607" y="251"/>
                  </a:lnTo>
                  <a:lnTo>
                    <a:pt x="606" y="246"/>
                  </a:lnTo>
                  <a:lnTo>
                    <a:pt x="604" y="240"/>
                  </a:lnTo>
                  <a:lnTo>
                    <a:pt x="604" y="237"/>
                  </a:lnTo>
                  <a:lnTo>
                    <a:pt x="604" y="233"/>
                  </a:lnTo>
                  <a:lnTo>
                    <a:pt x="604" y="230"/>
                  </a:lnTo>
                  <a:lnTo>
                    <a:pt x="604" y="224"/>
                  </a:lnTo>
                  <a:lnTo>
                    <a:pt x="609" y="221"/>
                  </a:lnTo>
                  <a:lnTo>
                    <a:pt x="610" y="217"/>
                  </a:lnTo>
                  <a:lnTo>
                    <a:pt x="610" y="211"/>
                  </a:lnTo>
                  <a:lnTo>
                    <a:pt x="610" y="209"/>
                  </a:lnTo>
                  <a:lnTo>
                    <a:pt x="610" y="206"/>
                  </a:lnTo>
                  <a:lnTo>
                    <a:pt x="607" y="204"/>
                  </a:lnTo>
                  <a:lnTo>
                    <a:pt x="607" y="199"/>
                  </a:lnTo>
                  <a:lnTo>
                    <a:pt x="607" y="197"/>
                  </a:lnTo>
                  <a:lnTo>
                    <a:pt x="609" y="196"/>
                  </a:lnTo>
                  <a:lnTo>
                    <a:pt x="610" y="194"/>
                  </a:lnTo>
                  <a:lnTo>
                    <a:pt x="612" y="191"/>
                  </a:lnTo>
                  <a:lnTo>
                    <a:pt x="613" y="189"/>
                  </a:lnTo>
                  <a:lnTo>
                    <a:pt x="613" y="183"/>
                  </a:lnTo>
                  <a:lnTo>
                    <a:pt x="614" y="179"/>
                  </a:lnTo>
                  <a:lnTo>
                    <a:pt x="614" y="177"/>
                  </a:lnTo>
                  <a:lnTo>
                    <a:pt x="616" y="174"/>
                  </a:lnTo>
                  <a:lnTo>
                    <a:pt x="617" y="174"/>
                  </a:lnTo>
                  <a:lnTo>
                    <a:pt x="617" y="173"/>
                  </a:lnTo>
                  <a:lnTo>
                    <a:pt x="617" y="170"/>
                  </a:lnTo>
                  <a:lnTo>
                    <a:pt x="617" y="167"/>
                  </a:lnTo>
                  <a:lnTo>
                    <a:pt x="619" y="163"/>
                  </a:lnTo>
                  <a:lnTo>
                    <a:pt x="619" y="161"/>
                  </a:lnTo>
                  <a:lnTo>
                    <a:pt x="620" y="157"/>
                  </a:lnTo>
                  <a:lnTo>
                    <a:pt x="620" y="153"/>
                  </a:lnTo>
                  <a:lnTo>
                    <a:pt x="621" y="151"/>
                  </a:lnTo>
                  <a:lnTo>
                    <a:pt x="621" y="150"/>
                  </a:lnTo>
                  <a:lnTo>
                    <a:pt x="621" y="146"/>
                  </a:lnTo>
                  <a:lnTo>
                    <a:pt x="620" y="143"/>
                  </a:lnTo>
                  <a:lnTo>
                    <a:pt x="620" y="143"/>
                  </a:lnTo>
                  <a:lnTo>
                    <a:pt x="621" y="139"/>
                  </a:lnTo>
                  <a:lnTo>
                    <a:pt x="621" y="137"/>
                  </a:lnTo>
                  <a:lnTo>
                    <a:pt x="623" y="134"/>
                  </a:lnTo>
                  <a:lnTo>
                    <a:pt x="624" y="133"/>
                  </a:lnTo>
                  <a:lnTo>
                    <a:pt x="624" y="131"/>
                  </a:lnTo>
                  <a:lnTo>
                    <a:pt x="623" y="124"/>
                  </a:lnTo>
                  <a:lnTo>
                    <a:pt x="623" y="121"/>
                  </a:lnTo>
                  <a:lnTo>
                    <a:pt x="623" y="117"/>
                  </a:lnTo>
                  <a:lnTo>
                    <a:pt x="623" y="113"/>
                  </a:lnTo>
                  <a:lnTo>
                    <a:pt x="623" y="110"/>
                  </a:lnTo>
                  <a:lnTo>
                    <a:pt x="623" y="109"/>
                  </a:lnTo>
                  <a:lnTo>
                    <a:pt x="623" y="107"/>
                  </a:lnTo>
                  <a:lnTo>
                    <a:pt x="624" y="104"/>
                  </a:lnTo>
                  <a:lnTo>
                    <a:pt x="626" y="103"/>
                  </a:lnTo>
                  <a:lnTo>
                    <a:pt x="624" y="103"/>
                  </a:lnTo>
                  <a:lnTo>
                    <a:pt x="623" y="101"/>
                  </a:lnTo>
                  <a:lnTo>
                    <a:pt x="621" y="100"/>
                  </a:lnTo>
                  <a:lnTo>
                    <a:pt x="621" y="99"/>
                  </a:lnTo>
                  <a:lnTo>
                    <a:pt x="623" y="97"/>
                  </a:lnTo>
                  <a:lnTo>
                    <a:pt x="623" y="94"/>
                  </a:lnTo>
                  <a:lnTo>
                    <a:pt x="624" y="94"/>
                  </a:lnTo>
                  <a:lnTo>
                    <a:pt x="626" y="93"/>
                  </a:lnTo>
                  <a:lnTo>
                    <a:pt x="626" y="91"/>
                  </a:lnTo>
                  <a:lnTo>
                    <a:pt x="627" y="86"/>
                  </a:lnTo>
                  <a:lnTo>
                    <a:pt x="627" y="80"/>
                  </a:lnTo>
                  <a:lnTo>
                    <a:pt x="629" y="76"/>
                  </a:lnTo>
                  <a:lnTo>
                    <a:pt x="629" y="74"/>
                  </a:lnTo>
                  <a:lnTo>
                    <a:pt x="630" y="70"/>
                  </a:lnTo>
                  <a:lnTo>
                    <a:pt x="630" y="67"/>
                  </a:lnTo>
                  <a:lnTo>
                    <a:pt x="630" y="66"/>
                  </a:lnTo>
                  <a:lnTo>
                    <a:pt x="630" y="63"/>
                  </a:lnTo>
                  <a:lnTo>
                    <a:pt x="629" y="54"/>
                  </a:lnTo>
                  <a:lnTo>
                    <a:pt x="629" y="51"/>
                  </a:lnTo>
                  <a:lnTo>
                    <a:pt x="629" y="46"/>
                  </a:lnTo>
                  <a:lnTo>
                    <a:pt x="629" y="39"/>
                  </a:lnTo>
                  <a:lnTo>
                    <a:pt x="629" y="37"/>
                  </a:lnTo>
                  <a:lnTo>
                    <a:pt x="629" y="36"/>
                  </a:lnTo>
                  <a:lnTo>
                    <a:pt x="629" y="33"/>
                  </a:lnTo>
                  <a:lnTo>
                    <a:pt x="627" y="30"/>
                  </a:lnTo>
                  <a:lnTo>
                    <a:pt x="626" y="23"/>
                  </a:lnTo>
                  <a:lnTo>
                    <a:pt x="626" y="19"/>
                  </a:lnTo>
                  <a:lnTo>
                    <a:pt x="626" y="14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7" y="14"/>
                  </a:lnTo>
                  <a:lnTo>
                    <a:pt x="629" y="14"/>
                  </a:lnTo>
                  <a:lnTo>
                    <a:pt x="630" y="13"/>
                  </a:lnTo>
                  <a:lnTo>
                    <a:pt x="633" y="12"/>
                  </a:lnTo>
                  <a:lnTo>
                    <a:pt x="634" y="10"/>
                  </a:lnTo>
                  <a:lnTo>
                    <a:pt x="634" y="9"/>
                  </a:lnTo>
                  <a:lnTo>
                    <a:pt x="634" y="7"/>
                  </a:lnTo>
                  <a:lnTo>
                    <a:pt x="634" y="4"/>
                  </a:lnTo>
                  <a:lnTo>
                    <a:pt x="634" y="3"/>
                  </a:lnTo>
                  <a:lnTo>
                    <a:pt x="634" y="3"/>
                  </a:lnTo>
                  <a:lnTo>
                    <a:pt x="637" y="3"/>
                  </a:lnTo>
                  <a:lnTo>
                    <a:pt x="639" y="2"/>
                  </a:lnTo>
                  <a:lnTo>
                    <a:pt x="639" y="0"/>
                  </a:lnTo>
                  <a:lnTo>
                    <a:pt x="640" y="2"/>
                  </a:lnTo>
                  <a:lnTo>
                    <a:pt x="641" y="4"/>
                  </a:lnTo>
                  <a:lnTo>
                    <a:pt x="643" y="7"/>
                  </a:lnTo>
                  <a:lnTo>
                    <a:pt x="643" y="7"/>
                  </a:lnTo>
                  <a:lnTo>
                    <a:pt x="646" y="9"/>
                  </a:lnTo>
                  <a:lnTo>
                    <a:pt x="646" y="10"/>
                  </a:lnTo>
                  <a:lnTo>
                    <a:pt x="646" y="10"/>
                  </a:lnTo>
                  <a:lnTo>
                    <a:pt x="646" y="10"/>
                  </a:lnTo>
                  <a:lnTo>
                    <a:pt x="646" y="12"/>
                  </a:lnTo>
                  <a:lnTo>
                    <a:pt x="646" y="13"/>
                  </a:lnTo>
                  <a:lnTo>
                    <a:pt x="646" y="14"/>
                  </a:lnTo>
                  <a:lnTo>
                    <a:pt x="647" y="16"/>
                  </a:lnTo>
                  <a:lnTo>
                    <a:pt x="647" y="17"/>
                  </a:lnTo>
                  <a:lnTo>
                    <a:pt x="647" y="20"/>
                  </a:lnTo>
                  <a:lnTo>
                    <a:pt x="647" y="22"/>
                  </a:lnTo>
                  <a:lnTo>
                    <a:pt x="649" y="24"/>
                  </a:lnTo>
                  <a:lnTo>
                    <a:pt x="649" y="24"/>
                  </a:lnTo>
                  <a:lnTo>
                    <a:pt x="649" y="26"/>
                  </a:lnTo>
                  <a:lnTo>
                    <a:pt x="650" y="27"/>
                  </a:lnTo>
                  <a:lnTo>
                    <a:pt x="651" y="27"/>
                  </a:lnTo>
                  <a:lnTo>
                    <a:pt x="653" y="29"/>
                  </a:lnTo>
                  <a:lnTo>
                    <a:pt x="653" y="30"/>
                  </a:lnTo>
                  <a:lnTo>
                    <a:pt x="654" y="31"/>
                  </a:lnTo>
                  <a:lnTo>
                    <a:pt x="656" y="31"/>
                  </a:lnTo>
                  <a:lnTo>
                    <a:pt x="656" y="31"/>
                  </a:lnTo>
                  <a:lnTo>
                    <a:pt x="656" y="33"/>
                  </a:lnTo>
                  <a:lnTo>
                    <a:pt x="656" y="33"/>
                  </a:lnTo>
                  <a:lnTo>
                    <a:pt x="654" y="34"/>
                  </a:lnTo>
                  <a:lnTo>
                    <a:pt x="653" y="37"/>
                  </a:lnTo>
                  <a:lnTo>
                    <a:pt x="653" y="37"/>
                  </a:lnTo>
                  <a:lnTo>
                    <a:pt x="654" y="40"/>
                  </a:lnTo>
                  <a:lnTo>
                    <a:pt x="654" y="40"/>
                  </a:lnTo>
                  <a:lnTo>
                    <a:pt x="654" y="41"/>
                  </a:lnTo>
                  <a:lnTo>
                    <a:pt x="654" y="43"/>
                  </a:lnTo>
                  <a:lnTo>
                    <a:pt x="651" y="43"/>
                  </a:lnTo>
                  <a:lnTo>
                    <a:pt x="651" y="43"/>
                  </a:lnTo>
                  <a:lnTo>
                    <a:pt x="651" y="44"/>
                  </a:lnTo>
                  <a:lnTo>
                    <a:pt x="651" y="44"/>
                  </a:lnTo>
                  <a:lnTo>
                    <a:pt x="651" y="46"/>
                  </a:lnTo>
                  <a:lnTo>
                    <a:pt x="653" y="47"/>
                  </a:lnTo>
                  <a:lnTo>
                    <a:pt x="651" y="47"/>
                  </a:lnTo>
                  <a:lnTo>
                    <a:pt x="651" y="49"/>
                  </a:lnTo>
                  <a:lnTo>
                    <a:pt x="651" y="49"/>
                  </a:lnTo>
                  <a:lnTo>
                    <a:pt x="651" y="50"/>
                  </a:lnTo>
                  <a:lnTo>
                    <a:pt x="653" y="50"/>
                  </a:lnTo>
                  <a:lnTo>
                    <a:pt x="656" y="53"/>
                  </a:lnTo>
                  <a:lnTo>
                    <a:pt x="656" y="53"/>
                  </a:lnTo>
                  <a:lnTo>
                    <a:pt x="656" y="53"/>
                  </a:lnTo>
                  <a:lnTo>
                    <a:pt x="654" y="54"/>
                  </a:lnTo>
                  <a:lnTo>
                    <a:pt x="654" y="56"/>
                  </a:lnTo>
                  <a:lnTo>
                    <a:pt x="654" y="57"/>
                  </a:lnTo>
                  <a:lnTo>
                    <a:pt x="654" y="57"/>
                  </a:lnTo>
                  <a:lnTo>
                    <a:pt x="654" y="57"/>
                  </a:lnTo>
                  <a:lnTo>
                    <a:pt x="657" y="59"/>
                  </a:lnTo>
                  <a:lnTo>
                    <a:pt x="659" y="61"/>
                  </a:lnTo>
                  <a:lnTo>
                    <a:pt x="660" y="64"/>
                  </a:lnTo>
                  <a:lnTo>
                    <a:pt x="660" y="67"/>
                  </a:lnTo>
                  <a:lnTo>
                    <a:pt x="660" y="70"/>
                  </a:lnTo>
                  <a:lnTo>
                    <a:pt x="661" y="71"/>
                  </a:lnTo>
                  <a:lnTo>
                    <a:pt x="661" y="74"/>
                  </a:lnTo>
                  <a:lnTo>
                    <a:pt x="663" y="76"/>
                  </a:lnTo>
                  <a:lnTo>
                    <a:pt x="664" y="77"/>
                  </a:lnTo>
                  <a:lnTo>
                    <a:pt x="664" y="80"/>
                  </a:lnTo>
                  <a:lnTo>
                    <a:pt x="664" y="81"/>
                  </a:lnTo>
                  <a:lnTo>
                    <a:pt x="664" y="81"/>
                  </a:lnTo>
                  <a:lnTo>
                    <a:pt x="666" y="84"/>
                  </a:lnTo>
                  <a:lnTo>
                    <a:pt x="666" y="87"/>
                  </a:lnTo>
                  <a:lnTo>
                    <a:pt x="666" y="89"/>
                  </a:lnTo>
                  <a:lnTo>
                    <a:pt x="666" y="90"/>
                  </a:lnTo>
                  <a:lnTo>
                    <a:pt x="666" y="90"/>
                  </a:lnTo>
                  <a:lnTo>
                    <a:pt x="666" y="91"/>
                  </a:lnTo>
                  <a:lnTo>
                    <a:pt x="667" y="91"/>
                  </a:lnTo>
                  <a:lnTo>
                    <a:pt x="669" y="91"/>
                  </a:lnTo>
                  <a:lnTo>
                    <a:pt x="670" y="91"/>
                  </a:lnTo>
                  <a:lnTo>
                    <a:pt x="674" y="91"/>
                  </a:lnTo>
                  <a:lnTo>
                    <a:pt x="676" y="90"/>
                  </a:lnTo>
                  <a:close/>
                  <a:moveTo>
                    <a:pt x="2" y="166"/>
                  </a:moveTo>
                  <a:lnTo>
                    <a:pt x="0" y="167"/>
                  </a:lnTo>
                  <a:lnTo>
                    <a:pt x="0" y="166"/>
                  </a:lnTo>
                  <a:lnTo>
                    <a:pt x="1" y="166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2" y="166"/>
                  </a:lnTo>
                  <a:close/>
                  <a:moveTo>
                    <a:pt x="490" y="287"/>
                  </a:moveTo>
                  <a:lnTo>
                    <a:pt x="487" y="287"/>
                  </a:lnTo>
                  <a:lnTo>
                    <a:pt x="487" y="287"/>
                  </a:lnTo>
                  <a:lnTo>
                    <a:pt x="487" y="287"/>
                  </a:lnTo>
                  <a:lnTo>
                    <a:pt x="489" y="286"/>
                  </a:lnTo>
                  <a:lnTo>
                    <a:pt x="489" y="286"/>
                  </a:lnTo>
                  <a:lnTo>
                    <a:pt x="489" y="286"/>
                  </a:lnTo>
                  <a:lnTo>
                    <a:pt x="490" y="286"/>
                  </a:lnTo>
                  <a:lnTo>
                    <a:pt x="490" y="286"/>
                  </a:lnTo>
                  <a:lnTo>
                    <a:pt x="490" y="286"/>
                  </a:lnTo>
                  <a:lnTo>
                    <a:pt x="492" y="287"/>
                  </a:lnTo>
                  <a:lnTo>
                    <a:pt x="490" y="287"/>
                  </a:lnTo>
                  <a:lnTo>
                    <a:pt x="490" y="287"/>
                  </a:lnTo>
                  <a:close/>
                  <a:moveTo>
                    <a:pt x="572" y="485"/>
                  </a:moveTo>
                  <a:lnTo>
                    <a:pt x="570" y="485"/>
                  </a:lnTo>
                  <a:lnTo>
                    <a:pt x="569" y="485"/>
                  </a:lnTo>
                  <a:lnTo>
                    <a:pt x="567" y="485"/>
                  </a:lnTo>
                  <a:lnTo>
                    <a:pt x="566" y="485"/>
                  </a:lnTo>
                  <a:lnTo>
                    <a:pt x="563" y="484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62" y="481"/>
                  </a:lnTo>
                  <a:lnTo>
                    <a:pt x="563" y="480"/>
                  </a:lnTo>
                  <a:lnTo>
                    <a:pt x="564" y="475"/>
                  </a:lnTo>
                  <a:lnTo>
                    <a:pt x="564" y="468"/>
                  </a:lnTo>
                  <a:lnTo>
                    <a:pt x="564" y="467"/>
                  </a:lnTo>
                  <a:lnTo>
                    <a:pt x="564" y="465"/>
                  </a:lnTo>
                  <a:lnTo>
                    <a:pt x="564" y="464"/>
                  </a:lnTo>
                  <a:lnTo>
                    <a:pt x="564" y="463"/>
                  </a:lnTo>
                  <a:lnTo>
                    <a:pt x="564" y="461"/>
                  </a:lnTo>
                  <a:lnTo>
                    <a:pt x="564" y="461"/>
                  </a:lnTo>
                  <a:lnTo>
                    <a:pt x="566" y="458"/>
                  </a:lnTo>
                  <a:lnTo>
                    <a:pt x="566" y="457"/>
                  </a:lnTo>
                  <a:lnTo>
                    <a:pt x="566" y="455"/>
                  </a:lnTo>
                  <a:lnTo>
                    <a:pt x="567" y="454"/>
                  </a:lnTo>
                  <a:lnTo>
                    <a:pt x="567" y="453"/>
                  </a:lnTo>
                  <a:lnTo>
                    <a:pt x="566" y="453"/>
                  </a:lnTo>
                  <a:lnTo>
                    <a:pt x="567" y="451"/>
                  </a:lnTo>
                  <a:lnTo>
                    <a:pt x="572" y="453"/>
                  </a:lnTo>
                  <a:lnTo>
                    <a:pt x="574" y="454"/>
                  </a:lnTo>
                  <a:lnTo>
                    <a:pt x="574" y="455"/>
                  </a:lnTo>
                  <a:lnTo>
                    <a:pt x="576" y="457"/>
                  </a:lnTo>
                  <a:lnTo>
                    <a:pt x="576" y="460"/>
                  </a:lnTo>
                  <a:lnTo>
                    <a:pt x="577" y="460"/>
                  </a:lnTo>
                  <a:lnTo>
                    <a:pt x="576" y="461"/>
                  </a:lnTo>
                  <a:lnTo>
                    <a:pt x="574" y="463"/>
                  </a:lnTo>
                  <a:lnTo>
                    <a:pt x="574" y="464"/>
                  </a:lnTo>
                  <a:lnTo>
                    <a:pt x="576" y="465"/>
                  </a:lnTo>
                  <a:lnTo>
                    <a:pt x="574" y="467"/>
                  </a:lnTo>
                  <a:lnTo>
                    <a:pt x="573" y="467"/>
                  </a:lnTo>
                  <a:lnTo>
                    <a:pt x="573" y="467"/>
                  </a:lnTo>
                  <a:lnTo>
                    <a:pt x="572" y="467"/>
                  </a:lnTo>
                  <a:lnTo>
                    <a:pt x="570" y="468"/>
                  </a:lnTo>
                  <a:lnTo>
                    <a:pt x="572" y="470"/>
                  </a:lnTo>
                  <a:lnTo>
                    <a:pt x="573" y="471"/>
                  </a:lnTo>
                  <a:lnTo>
                    <a:pt x="574" y="473"/>
                  </a:lnTo>
                  <a:lnTo>
                    <a:pt x="576" y="474"/>
                  </a:lnTo>
                  <a:lnTo>
                    <a:pt x="576" y="475"/>
                  </a:lnTo>
                  <a:lnTo>
                    <a:pt x="576" y="477"/>
                  </a:lnTo>
                  <a:lnTo>
                    <a:pt x="574" y="480"/>
                  </a:lnTo>
                  <a:lnTo>
                    <a:pt x="573" y="480"/>
                  </a:lnTo>
                  <a:lnTo>
                    <a:pt x="572" y="481"/>
                  </a:lnTo>
                  <a:lnTo>
                    <a:pt x="572" y="484"/>
                  </a:lnTo>
                  <a:lnTo>
                    <a:pt x="572" y="485"/>
                  </a:lnTo>
                  <a:close/>
                  <a:moveTo>
                    <a:pt x="557" y="491"/>
                  </a:moveTo>
                  <a:lnTo>
                    <a:pt x="554" y="491"/>
                  </a:lnTo>
                  <a:lnTo>
                    <a:pt x="554" y="491"/>
                  </a:lnTo>
                  <a:lnTo>
                    <a:pt x="554" y="490"/>
                  </a:lnTo>
                  <a:lnTo>
                    <a:pt x="554" y="490"/>
                  </a:lnTo>
                  <a:lnTo>
                    <a:pt x="556" y="490"/>
                  </a:lnTo>
                  <a:lnTo>
                    <a:pt x="556" y="490"/>
                  </a:lnTo>
                  <a:lnTo>
                    <a:pt x="557" y="490"/>
                  </a:lnTo>
                  <a:lnTo>
                    <a:pt x="557" y="491"/>
                  </a:lnTo>
                  <a:lnTo>
                    <a:pt x="557" y="491"/>
                  </a:lnTo>
                  <a:close/>
                  <a:moveTo>
                    <a:pt x="570" y="495"/>
                  </a:moveTo>
                  <a:lnTo>
                    <a:pt x="570" y="497"/>
                  </a:lnTo>
                  <a:lnTo>
                    <a:pt x="570" y="497"/>
                  </a:lnTo>
                  <a:lnTo>
                    <a:pt x="569" y="497"/>
                  </a:lnTo>
                  <a:lnTo>
                    <a:pt x="569" y="498"/>
                  </a:lnTo>
                  <a:lnTo>
                    <a:pt x="569" y="498"/>
                  </a:lnTo>
                  <a:lnTo>
                    <a:pt x="566" y="497"/>
                  </a:lnTo>
                  <a:lnTo>
                    <a:pt x="564" y="497"/>
                  </a:lnTo>
                  <a:lnTo>
                    <a:pt x="566" y="495"/>
                  </a:lnTo>
                  <a:lnTo>
                    <a:pt x="567" y="495"/>
                  </a:lnTo>
                  <a:lnTo>
                    <a:pt x="570" y="494"/>
                  </a:lnTo>
                  <a:lnTo>
                    <a:pt x="570" y="495"/>
                  </a:lnTo>
                  <a:lnTo>
                    <a:pt x="570" y="495"/>
                  </a:lnTo>
                  <a:close/>
                  <a:moveTo>
                    <a:pt x="572" y="508"/>
                  </a:moveTo>
                  <a:lnTo>
                    <a:pt x="570" y="510"/>
                  </a:lnTo>
                  <a:lnTo>
                    <a:pt x="570" y="510"/>
                  </a:lnTo>
                  <a:lnTo>
                    <a:pt x="567" y="511"/>
                  </a:lnTo>
                  <a:lnTo>
                    <a:pt x="567" y="511"/>
                  </a:lnTo>
                  <a:lnTo>
                    <a:pt x="567" y="513"/>
                  </a:lnTo>
                  <a:lnTo>
                    <a:pt x="569" y="514"/>
                  </a:lnTo>
                  <a:lnTo>
                    <a:pt x="569" y="515"/>
                  </a:lnTo>
                  <a:lnTo>
                    <a:pt x="570" y="518"/>
                  </a:lnTo>
                  <a:lnTo>
                    <a:pt x="570" y="521"/>
                  </a:lnTo>
                  <a:lnTo>
                    <a:pt x="570" y="521"/>
                  </a:lnTo>
                  <a:lnTo>
                    <a:pt x="570" y="523"/>
                  </a:lnTo>
                  <a:lnTo>
                    <a:pt x="572" y="524"/>
                  </a:lnTo>
                  <a:lnTo>
                    <a:pt x="572" y="525"/>
                  </a:lnTo>
                  <a:lnTo>
                    <a:pt x="572" y="527"/>
                  </a:lnTo>
                  <a:lnTo>
                    <a:pt x="572" y="528"/>
                  </a:lnTo>
                  <a:lnTo>
                    <a:pt x="572" y="528"/>
                  </a:lnTo>
                  <a:lnTo>
                    <a:pt x="570" y="528"/>
                  </a:lnTo>
                  <a:lnTo>
                    <a:pt x="570" y="530"/>
                  </a:lnTo>
                  <a:lnTo>
                    <a:pt x="570" y="530"/>
                  </a:lnTo>
                  <a:lnTo>
                    <a:pt x="567" y="530"/>
                  </a:lnTo>
                  <a:lnTo>
                    <a:pt x="566" y="530"/>
                  </a:lnTo>
                  <a:lnTo>
                    <a:pt x="566" y="527"/>
                  </a:lnTo>
                  <a:lnTo>
                    <a:pt x="564" y="525"/>
                  </a:lnTo>
                  <a:lnTo>
                    <a:pt x="563" y="523"/>
                  </a:lnTo>
                  <a:lnTo>
                    <a:pt x="562" y="520"/>
                  </a:lnTo>
                  <a:lnTo>
                    <a:pt x="560" y="518"/>
                  </a:lnTo>
                  <a:lnTo>
                    <a:pt x="559" y="517"/>
                  </a:lnTo>
                  <a:lnTo>
                    <a:pt x="557" y="514"/>
                  </a:lnTo>
                  <a:lnTo>
                    <a:pt x="560" y="513"/>
                  </a:lnTo>
                  <a:lnTo>
                    <a:pt x="559" y="510"/>
                  </a:lnTo>
                  <a:lnTo>
                    <a:pt x="560" y="510"/>
                  </a:lnTo>
                  <a:lnTo>
                    <a:pt x="563" y="508"/>
                  </a:lnTo>
                  <a:lnTo>
                    <a:pt x="564" y="510"/>
                  </a:lnTo>
                  <a:lnTo>
                    <a:pt x="566" y="508"/>
                  </a:lnTo>
                  <a:lnTo>
                    <a:pt x="566" y="508"/>
                  </a:lnTo>
                  <a:lnTo>
                    <a:pt x="566" y="505"/>
                  </a:lnTo>
                  <a:lnTo>
                    <a:pt x="566" y="504"/>
                  </a:lnTo>
                  <a:lnTo>
                    <a:pt x="567" y="503"/>
                  </a:lnTo>
                  <a:lnTo>
                    <a:pt x="569" y="503"/>
                  </a:lnTo>
                  <a:lnTo>
                    <a:pt x="570" y="504"/>
                  </a:lnTo>
                  <a:lnTo>
                    <a:pt x="570" y="504"/>
                  </a:lnTo>
                  <a:lnTo>
                    <a:pt x="572" y="505"/>
                  </a:lnTo>
                  <a:lnTo>
                    <a:pt x="572" y="507"/>
                  </a:lnTo>
                  <a:lnTo>
                    <a:pt x="572" y="508"/>
                  </a:lnTo>
                  <a:close/>
                  <a:moveTo>
                    <a:pt x="583" y="517"/>
                  </a:moveTo>
                  <a:lnTo>
                    <a:pt x="580" y="518"/>
                  </a:lnTo>
                  <a:lnTo>
                    <a:pt x="577" y="518"/>
                  </a:lnTo>
                  <a:lnTo>
                    <a:pt x="577" y="517"/>
                  </a:lnTo>
                  <a:lnTo>
                    <a:pt x="577" y="515"/>
                  </a:lnTo>
                  <a:lnTo>
                    <a:pt x="576" y="514"/>
                  </a:lnTo>
                  <a:lnTo>
                    <a:pt x="577" y="513"/>
                  </a:lnTo>
                  <a:lnTo>
                    <a:pt x="579" y="511"/>
                  </a:lnTo>
                  <a:lnTo>
                    <a:pt x="579" y="510"/>
                  </a:lnTo>
                  <a:lnTo>
                    <a:pt x="579" y="510"/>
                  </a:lnTo>
                  <a:lnTo>
                    <a:pt x="579" y="508"/>
                  </a:lnTo>
                  <a:lnTo>
                    <a:pt x="579" y="507"/>
                  </a:lnTo>
                  <a:lnTo>
                    <a:pt x="580" y="507"/>
                  </a:lnTo>
                  <a:lnTo>
                    <a:pt x="583" y="508"/>
                  </a:lnTo>
                  <a:lnTo>
                    <a:pt x="586" y="510"/>
                  </a:lnTo>
                  <a:lnTo>
                    <a:pt x="587" y="511"/>
                  </a:lnTo>
                  <a:lnTo>
                    <a:pt x="587" y="511"/>
                  </a:lnTo>
                  <a:lnTo>
                    <a:pt x="586" y="514"/>
                  </a:lnTo>
                  <a:lnTo>
                    <a:pt x="584" y="515"/>
                  </a:lnTo>
                  <a:lnTo>
                    <a:pt x="583" y="517"/>
                  </a:lnTo>
                  <a:close/>
                  <a:moveTo>
                    <a:pt x="573" y="518"/>
                  </a:moveTo>
                  <a:lnTo>
                    <a:pt x="573" y="518"/>
                  </a:lnTo>
                  <a:lnTo>
                    <a:pt x="573" y="518"/>
                  </a:lnTo>
                  <a:lnTo>
                    <a:pt x="572" y="517"/>
                  </a:lnTo>
                  <a:lnTo>
                    <a:pt x="572" y="517"/>
                  </a:lnTo>
                  <a:lnTo>
                    <a:pt x="570" y="515"/>
                  </a:lnTo>
                  <a:lnTo>
                    <a:pt x="570" y="514"/>
                  </a:lnTo>
                  <a:lnTo>
                    <a:pt x="570" y="513"/>
                  </a:lnTo>
                  <a:lnTo>
                    <a:pt x="572" y="513"/>
                  </a:lnTo>
                  <a:lnTo>
                    <a:pt x="572" y="511"/>
                  </a:lnTo>
                  <a:lnTo>
                    <a:pt x="573" y="511"/>
                  </a:lnTo>
                  <a:lnTo>
                    <a:pt x="573" y="513"/>
                  </a:lnTo>
                  <a:lnTo>
                    <a:pt x="573" y="514"/>
                  </a:lnTo>
                  <a:lnTo>
                    <a:pt x="573" y="517"/>
                  </a:lnTo>
                  <a:lnTo>
                    <a:pt x="573" y="518"/>
                  </a:lnTo>
                  <a:close/>
                  <a:moveTo>
                    <a:pt x="550" y="520"/>
                  </a:moveTo>
                  <a:lnTo>
                    <a:pt x="550" y="520"/>
                  </a:lnTo>
                  <a:lnTo>
                    <a:pt x="550" y="520"/>
                  </a:lnTo>
                  <a:lnTo>
                    <a:pt x="549" y="518"/>
                  </a:lnTo>
                  <a:lnTo>
                    <a:pt x="549" y="518"/>
                  </a:lnTo>
                  <a:lnTo>
                    <a:pt x="550" y="517"/>
                  </a:lnTo>
                  <a:lnTo>
                    <a:pt x="550" y="517"/>
                  </a:lnTo>
                  <a:lnTo>
                    <a:pt x="550" y="518"/>
                  </a:lnTo>
                  <a:lnTo>
                    <a:pt x="550" y="518"/>
                  </a:lnTo>
                  <a:lnTo>
                    <a:pt x="550" y="520"/>
                  </a:lnTo>
                  <a:close/>
                  <a:moveTo>
                    <a:pt x="563" y="538"/>
                  </a:moveTo>
                  <a:lnTo>
                    <a:pt x="562" y="538"/>
                  </a:lnTo>
                  <a:lnTo>
                    <a:pt x="560" y="540"/>
                  </a:lnTo>
                  <a:lnTo>
                    <a:pt x="559" y="538"/>
                  </a:lnTo>
                  <a:lnTo>
                    <a:pt x="556" y="538"/>
                  </a:lnTo>
                  <a:lnTo>
                    <a:pt x="556" y="537"/>
                  </a:lnTo>
                  <a:lnTo>
                    <a:pt x="557" y="535"/>
                  </a:lnTo>
                  <a:lnTo>
                    <a:pt x="559" y="534"/>
                  </a:lnTo>
                  <a:lnTo>
                    <a:pt x="560" y="531"/>
                  </a:lnTo>
                  <a:lnTo>
                    <a:pt x="559" y="528"/>
                  </a:lnTo>
                  <a:lnTo>
                    <a:pt x="560" y="528"/>
                  </a:lnTo>
                  <a:lnTo>
                    <a:pt x="560" y="527"/>
                  </a:lnTo>
                  <a:lnTo>
                    <a:pt x="563" y="525"/>
                  </a:lnTo>
                  <a:lnTo>
                    <a:pt x="563" y="528"/>
                  </a:lnTo>
                  <a:lnTo>
                    <a:pt x="563" y="533"/>
                  </a:lnTo>
                  <a:lnTo>
                    <a:pt x="563" y="535"/>
                  </a:lnTo>
                  <a:lnTo>
                    <a:pt x="564" y="535"/>
                  </a:lnTo>
                  <a:lnTo>
                    <a:pt x="563" y="537"/>
                  </a:lnTo>
                  <a:lnTo>
                    <a:pt x="563" y="538"/>
                  </a:lnTo>
                  <a:close/>
                  <a:moveTo>
                    <a:pt x="550" y="588"/>
                  </a:moveTo>
                  <a:lnTo>
                    <a:pt x="549" y="588"/>
                  </a:lnTo>
                  <a:lnTo>
                    <a:pt x="549" y="587"/>
                  </a:lnTo>
                  <a:lnTo>
                    <a:pt x="547" y="585"/>
                  </a:lnTo>
                  <a:lnTo>
                    <a:pt x="549" y="585"/>
                  </a:lnTo>
                  <a:lnTo>
                    <a:pt x="550" y="584"/>
                  </a:lnTo>
                  <a:lnTo>
                    <a:pt x="552" y="584"/>
                  </a:lnTo>
                  <a:lnTo>
                    <a:pt x="553" y="585"/>
                  </a:lnTo>
                  <a:lnTo>
                    <a:pt x="553" y="585"/>
                  </a:lnTo>
                  <a:lnTo>
                    <a:pt x="550" y="587"/>
                  </a:lnTo>
                  <a:lnTo>
                    <a:pt x="550" y="587"/>
                  </a:lnTo>
                  <a:lnTo>
                    <a:pt x="550" y="588"/>
                  </a:lnTo>
                  <a:close/>
                  <a:moveTo>
                    <a:pt x="559" y="605"/>
                  </a:moveTo>
                  <a:lnTo>
                    <a:pt x="557" y="607"/>
                  </a:lnTo>
                  <a:lnTo>
                    <a:pt x="556" y="605"/>
                  </a:lnTo>
                  <a:lnTo>
                    <a:pt x="553" y="607"/>
                  </a:lnTo>
                  <a:lnTo>
                    <a:pt x="552" y="604"/>
                  </a:lnTo>
                  <a:lnTo>
                    <a:pt x="550" y="601"/>
                  </a:lnTo>
                  <a:lnTo>
                    <a:pt x="550" y="600"/>
                  </a:lnTo>
                  <a:lnTo>
                    <a:pt x="549" y="598"/>
                  </a:lnTo>
                  <a:lnTo>
                    <a:pt x="549" y="597"/>
                  </a:lnTo>
                  <a:lnTo>
                    <a:pt x="547" y="595"/>
                  </a:lnTo>
                  <a:lnTo>
                    <a:pt x="547" y="593"/>
                  </a:lnTo>
                  <a:lnTo>
                    <a:pt x="547" y="593"/>
                  </a:lnTo>
                  <a:lnTo>
                    <a:pt x="549" y="591"/>
                  </a:lnTo>
                  <a:lnTo>
                    <a:pt x="552" y="590"/>
                  </a:lnTo>
                  <a:lnTo>
                    <a:pt x="553" y="588"/>
                  </a:lnTo>
                  <a:lnTo>
                    <a:pt x="554" y="588"/>
                  </a:lnTo>
                  <a:lnTo>
                    <a:pt x="554" y="593"/>
                  </a:lnTo>
                  <a:lnTo>
                    <a:pt x="554" y="594"/>
                  </a:lnTo>
                  <a:lnTo>
                    <a:pt x="556" y="594"/>
                  </a:lnTo>
                  <a:lnTo>
                    <a:pt x="556" y="595"/>
                  </a:lnTo>
                  <a:lnTo>
                    <a:pt x="556" y="597"/>
                  </a:lnTo>
                  <a:lnTo>
                    <a:pt x="557" y="598"/>
                  </a:lnTo>
                  <a:lnTo>
                    <a:pt x="557" y="600"/>
                  </a:lnTo>
                  <a:lnTo>
                    <a:pt x="557" y="601"/>
                  </a:lnTo>
                  <a:lnTo>
                    <a:pt x="557" y="601"/>
                  </a:lnTo>
                  <a:lnTo>
                    <a:pt x="557" y="601"/>
                  </a:lnTo>
                  <a:lnTo>
                    <a:pt x="559" y="605"/>
                  </a:lnTo>
                  <a:close/>
                  <a:moveTo>
                    <a:pt x="543" y="610"/>
                  </a:moveTo>
                  <a:lnTo>
                    <a:pt x="542" y="610"/>
                  </a:lnTo>
                  <a:lnTo>
                    <a:pt x="542" y="605"/>
                  </a:lnTo>
                  <a:lnTo>
                    <a:pt x="543" y="600"/>
                  </a:lnTo>
                  <a:lnTo>
                    <a:pt x="543" y="597"/>
                  </a:lnTo>
                  <a:lnTo>
                    <a:pt x="543" y="595"/>
                  </a:lnTo>
                  <a:lnTo>
                    <a:pt x="542" y="594"/>
                  </a:lnTo>
                  <a:lnTo>
                    <a:pt x="543" y="594"/>
                  </a:lnTo>
                  <a:lnTo>
                    <a:pt x="544" y="593"/>
                  </a:lnTo>
                  <a:lnTo>
                    <a:pt x="546" y="594"/>
                  </a:lnTo>
                  <a:lnTo>
                    <a:pt x="547" y="597"/>
                  </a:lnTo>
                  <a:lnTo>
                    <a:pt x="549" y="601"/>
                  </a:lnTo>
                  <a:lnTo>
                    <a:pt x="549" y="607"/>
                  </a:lnTo>
                  <a:lnTo>
                    <a:pt x="547" y="608"/>
                  </a:lnTo>
                  <a:lnTo>
                    <a:pt x="544" y="608"/>
                  </a:lnTo>
                  <a:lnTo>
                    <a:pt x="543" y="610"/>
                  </a:lnTo>
                  <a:close/>
                  <a:moveTo>
                    <a:pt x="560" y="620"/>
                  </a:moveTo>
                  <a:lnTo>
                    <a:pt x="560" y="623"/>
                  </a:lnTo>
                  <a:lnTo>
                    <a:pt x="560" y="627"/>
                  </a:lnTo>
                  <a:lnTo>
                    <a:pt x="559" y="631"/>
                  </a:lnTo>
                  <a:lnTo>
                    <a:pt x="559" y="633"/>
                  </a:lnTo>
                  <a:lnTo>
                    <a:pt x="560" y="633"/>
                  </a:lnTo>
                  <a:lnTo>
                    <a:pt x="560" y="633"/>
                  </a:lnTo>
                  <a:lnTo>
                    <a:pt x="560" y="635"/>
                  </a:lnTo>
                  <a:lnTo>
                    <a:pt x="560" y="637"/>
                  </a:lnTo>
                  <a:lnTo>
                    <a:pt x="559" y="638"/>
                  </a:lnTo>
                  <a:lnTo>
                    <a:pt x="559" y="640"/>
                  </a:lnTo>
                  <a:lnTo>
                    <a:pt x="557" y="641"/>
                  </a:lnTo>
                  <a:lnTo>
                    <a:pt x="556" y="641"/>
                  </a:lnTo>
                  <a:lnTo>
                    <a:pt x="556" y="641"/>
                  </a:lnTo>
                  <a:lnTo>
                    <a:pt x="554" y="638"/>
                  </a:lnTo>
                  <a:lnTo>
                    <a:pt x="554" y="637"/>
                  </a:lnTo>
                  <a:lnTo>
                    <a:pt x="554" y="635"/>
                  </a:lnTo>
                  <a:lnTo>
                    <a:pt x="553" y="634"/>
                  </a:lnTo>
                  <a:lnTo>
                    <a:pt x="553" y="633"/>
                  </a:lnTo>
                  <a:lnTo>
                    <a:pt x="553" y="631"/>
                  </a:lnTo>
                  <a:lnTo>
                    <a:pt x="554" y="631"/>
                  </a:lnTo>
                  <a:lnTo>
                    <a:pt x="554" y="628"/>
                  </a:lnTo>
                  <a:lnTo>
                    <a:pt x="554" y="628"/>
                  </a:lnTo>
                  <a:lnTo>
                    <a:pt x="556" y="627"/>
                  </a:lnTo>
                  <a:lnTo>
                    <a:pt x="556" y="627"/>
                  </a:lnTo>
                  <a:lnTo>
                    <a:pt x="556" y="625"/>
                  </a:lnTo>
                  <a:lnTo>
                    <a:pt x="556" y="625"/>
                  </a:lnTo>
                  <a:lnTo>
                    <a:pt x="552" y="628"/>
                  </a:lnTo>
                  <a:lnTo>
                    <a:pt x="552" y="630"/>
                  </a:lnTo>
                  <a:lnTo>
                    <a:pt x="552" y="631"/>
                  </a:lnTo>
                  <a:lnTo>
                    <a:pt x="552" y="634"/>
                  </a:lnTo>
                  <a:lnTo>
                    <a:pt x="552" y="637"/>
                  </a:lnTo>
                  <a:lnTo>
                    <a:pt x="550" y="637"/>
                  </a:lnTo>
                  <a:lnTo>
                    <a:pt x="549" y="637"/>
                  </a:lnTo>
                  <a:lnTo>
                    <a:pt x="546" y="637"/>
                  </a:lnTo>
                  <a:lnTo>
                    <a:pt x="544" y="634"/>
                  </a:lnTo>
                  <a:lnTo>
                    <a:pt x="543" y="635"/>
                  </a:lnTo>
                  <a:lnTo>
                    <a:pt x="542" y="633"/>
                  </a:lnTo>
                  <a:lnTo>
                    <a:pt x="543" y="631"/>
                  </a:lnTo>
                  <a:lnTo>
                    <a:pt x="546" y="631"/>
                  </a:lnTo>
                  <a:lnTo>
                    <a:pt x="546" y="628"/>
                  </a:lnTo>
                  <a:lnTo>
                    <a:pt x="546" y="627"/>
                  </a:lnTo>
                  <a:lnTo>
                    <a:pt x="544" y="625"/>
                  </a:lnTo>
                  <a:lnTo>
                    <a:pt x="544" y="624"/>
                  </a:lnTo>
                  <a:lnTo>
                    <a:pt x="544" y="624"/>
                  </a:lnTo>
                  <a:lnTo>
                    <a:pt x="546" y="623"/>
                  </a:lnTo>
                  <a:lnTo>
                    <a:pt x="547" y="623"/>
                  </a:lnTo>
                  <a:lnTo>
                    <a:pt x="547" y="623"/>
                  </a:lnTo>
                  <a:lnTo>
                    <a:pt x="550" y="623"/>
                  </a:lnTo>
                  <a:lnTo>
                    <a:pt x="550" y="620"/>
                  </a:lnTo>
                  <a:lnTo>
                    <a:pt x="547" y="620"/>
                  </a:lnTo>
                  <a:lnTo>
                    <a:pt x="549" y="618"/>
                  </a:lnTo>
                  <a:lnTo>
                    <a:pt x="550" y="617"/>
                  </a:lnTo>
                  <a:lnTo>
                    <a:pt x="552" y="615"/>
                  </a:lnTo>
                  <a:lnTo>
                    <a:pt x="552" y="613"/>
                  </a:lnTo>
                  <a:lnTo>
                    <a:pt x="552" y="611"/>
                  </a:lnTo>
                  <a:lnTo>
                    <a:pt x="552" y="611"/>
                  </a:lnTo>
                  <a:lnTo>
                    <a:pt x="553" y="610"/>
                  </a:lnTo>
                  <a:lnTo>
                    <a:pt x="554" y="608"/>
                  </a:lnTo>
                  <a:lnTo>
                    <a:pt x="556" y="608"/>
                  </a:lnTo>
                  <a:lnTo>
                    <a:pt x="557" y="610"/>
                  </a:lnTo>
                  <a:lnTo>
                    <a:pt x="559" y="610"/>
                  </a:lnTo>
                  <a:lnTo>
                    <a:pt x="559" y="610"/>
                  </a:lnTo>
                  <a:lnTo>
                    <a:pt x="559" y="611"/>
                  </a:lnTo>
                  <a:lnTo>
                    <a:pt x="560" y="620"/>
                  </a:lnTo>
                  <a:close/>
                  <a:moveTo>
                    <a:pt x="550" y="611"/>
                  </a:moveTo>
                  <a:lnTo>
                    <a:pt x="550" y="614"/>
                  </a:lnTo>
                  <a:lnTo>
                    <a:pt x="547" y="617"/>
                  </a:lnTo>
                  <a:lnTo>
                    <a:pt x="544" y="620"/>
                  </a:lnTo>
                  <a:lnTo>
                    <a:pt x="543" y="621"/>
                  </a:lnTo>
                  <a:lnTo>
                    <a:pt x="542" y="621"/>
                  </a:lnTo>
                  <a:lnTo>
                    <a:pt x="542" y="621"/>
                  </a:lnTo>
                  <a:lnTo>
                    <a:pt x="542" y="620"/>
                  </a:lnTo>
                  <a:lnTo>
                    <a:pt x="543" y="618"/>
                  </a:lnTo>
                  <a:lnTo>
                    <a:pt x="543" y="615"/>
                  </a:lnTo>
                  <a:lnTo>
                    <a:pt x="543" y="615"/>
                  </a:lnTo>
                  <a:lnTo>
                    <a:pt x="542" y="615"/>
                  </a:lnTo>
                  <a:lnTo>
                    <a:pt x="542" y="614"/>
                  </a:lnTo>
                  <a:lnTo>
                    <a:pt x="542" y="613"/>
                  </a:lnTo>
                  <a:lnTo>
                    <a:pt x="542" y="613"/>
                  </a:lnTo>
                  <a:lnTo>
                    <a:pt x="543" y="611"/>
                  </a:lnTo>
                  <a:lnTo>
                    <a:pt x="543" y="613"/>
                  </a:lnTo>
                  <a:lnTo>
                    <a:pt x="547" y="611"/>
                  </a:lnTo>
                  <a:lnTo>
                    <a:pt x="547" y="610"/>
                  </a:lnTo>
                  <a:lnTo>
                    <a:pt x="550" y="610"/>
                  </a:lnTo>
                  <a:lnTo>
                    <a:pt x="550" y="611"/>
                  </a:lnTo>
                  <a:close/>
                  <a:moveTo>
                    <a:pt x="550" y="648"/>
                  </a:moveTo>
                  <a:lnTo>
                    <a:pt x="547" y="650"/>
                  </a:lnTo>
                  <a:lnTo>
                    <a:pt x="546" y="648"/>
                  </a:lnTo>
                  <a:lnTo>
                    <a:pt x="544" y="648"/>
                  </a:lnTo>
                  <a:lnTo>
                    <a:pt x="544" y="647"/>
                  </a:lnTo>
                  <a:lnTo>
                    <a:pt x="544" y="645"/>
                  </a:lnTo>
                  <a:lnTo>
                    <a:pt x="546" y="644"/>
                  </a:lnTo>
                  <a:lnTo>
                    <a:pt x="546" y="643"/>
                  </a:lnTo>
                  <a:lnTo>
                    <a:pt x="546" y="641"/>
                  </a:lnTo>
                  <a:lnTo>
                    <a:pt x="549" y="641"/>
                  </a:lnTo>
                  <a:lnTo>
                    <a:pt x="549" y="641"/>
                  </a:lnTo>
                  <a:lnTo>
                    <a:pt x="552" y="643"/>
                  </a:lnTo>
                  <a:lnTo>
                    <a:pt x="553" y="643"/>
                  </a:lnTo>
                  <a:lnTo>
                    <a:pt x="554" y="645"/>
                  </a:lnTo>
                  <a:lnTo>
                    <a:pt x="552" y="647"/>
                  </a:lnTo>
                  <a:lnTo>
                    <a:pt x="550" y="648"/>
                  </a:lnTo>
                  <a:close/>
                  <a:moveTo>
                    <a:pt x="546" y="657"/>
                  </a:moveTo>
                  <a:lnTo>
                    <a:pt x="546" y="660"/>
                  </a:lnTo>
                  <a:lnTo>
                    <a:pt x="544" y="660"/>
                  </a:lnTo>
                  <a:lnTo>
                    <a:pt x="544" y="658"/>
                  </a:lnTo>
                  <a:lnTo>
                    <a:pt x="544" y="657"/>
                  </a:lnTo>
                  <a:lnTo>
                    <a:pt x="543" y="657"/>
                  </a:lnTo>
                  <a:lnTo>
                    <a:pt x="544" y="655"/>
                  </a:lnTo>
                  <a:lnTo>
                    <a:pt x="544" y="654"/>
                  </a:lnTo>
                  <a:lnTo>
                    <a:pt x="544" y="653"/>
                  </a:lnTo>
                  <a:lnTo>
                    <a:pt x="546" y="653"/>
                  </a:lnTo>
                  <a:lnTo>
                    <a:pt x="549" y="653"/>
                  </a:lnTo>
                  <a:lnTo>
                    <a:pt x="550" y="653"/>
                  </a:lnTo>
                  <a:lnTo>
                    <a:pt x="549" y="654"/>
                  </a:lnTo>
                  <a:lnTo>
                    <a:pt x="549" y="655"/>
                  </a:lnTo>
                  <a:lnTo>
                    <a:pt x="547" y="655"/>
                  </a:lnTo>
                  <a:lnTo>
                    <a:pt x="546" y="657"/>
                  </a:lnTo>
                  <a:close/>
                  <a:moveTo>
                    <a:pt x="559" y="672"/>
                  </a:moveTo>
                  <a:lnTo>
                    <a:pt x="559" y="674"/>
                  </a:lnTo>
                  <a:lnTo>
                    <a:pt x="557" y="675"/>
                  </a:lnTo>
                  <a:lnTo>
                    <a:pt x="557" y="675"/>
                  </a:lnTo>
                  <a:lnTo>
                    <a:pt x="556" y="675"/>
                  </a:lnTo>
                  <a:lnTo>
                    <a:pt x="556" y="675"/>
                  </a:lnTo>
                  <a:lnTo>
                    <a:pt x="554" y="675"/>
                  </a:lnTo>
                  <a:lnTo>
                    <a:pt x="554" y="677"/>
                  </a:lnTo>
                  <a:lnTo>
                    <a:pt x="553" y="677"/>
                  </a:lnTo>
                  <a:lnTo>
                    <a:pt x="550" y="675"/>
                  </a:lnTo>
                  <a:lnTo>
                    <a:pt x="549" y="678"/>
                  </a:lnTo>
                  <a:lnTo>
                    <a:pt x="549" y="680"/>
                  </a:lnTo>
                  <a:lnTo>
                    <a:pt x="547" y="681"/>
                  </a:lnTo>
                  <a:lnTo>
                    <a:pt x="546" y="680"/>
                  </a:lnTo>
                  <a:lnTo>
                    <a:pt x="547" y="677"/>
                  </a:lnTo>
                  <a:lnTo>
                    <a:pt x="547" y="675"/>
                  </a:lnTo>
                  <a:lnTo>
                    <a:pt x="549" y="672"/>
                  </a:lnTo>
                  <a:lnTo>
                    <a:pt x="550" y="674"/>
                  </a:lnTo>
                  <a:lnTo>
                    <a:pt x="553" y="672"/>
                  </a:lnTo>
                  <a:lnTo>
                    <a:pt x="556" y="671"/>
                  </a:lnTo>
                  <a:lnTo>
                    <a:pt x="557" y="671"/>
                  </a:lnTo>
                  <a:lnTo>
                    <a:pt x="559" y="671"/>
                  </a:lnTo>
                  <a:lnTo>
                    <a:pt x="559" y="672"/>
                  </a:lnTo>
                  <a:close/>
                  <a:moveTo>
                    <a:pt x="554" y="681"/>
                  </a:moveTo>
                  <a:lnTo>
                    <a:pt x="554" y="687"/>
                  </a:lnTo>
                  <a:lnTo>
                    <a:pt x="556" y="687"/>
                  </a:lnTo>
                  <a:lnTo>
                    <a:pt x="557" y="688"/>
                  </a:lnTo>
                  <a:lnTo>
                    <a:pt x="559" y="690"/>
                  </a:lnTo>
                  <a:lnTo>
                    <a:pt x="559" y="691"/>
                  </a:lnTo>
                  <a:lnTo>
                    <a:pt x="557" y="695"/>
                  </a:lnTo>
                  <a:lnTo>
                    <a:pt x="556" y="698"/>
                  </a:lnTo>
                  <a:lnTo>
                    <a:pt x="554" y="698"/>
                  </a:lnTo>
                  <a:lnTo>
                    <a:pt x="553" y="695"/>
                  </a:lnTo>
                  <a:lnTo>
                    <a:pt x="552" y="692"/>
                  </a:lnTo>
                  <a:lnTo>
                    <a:pt x="550" y="688"/>
                  </a:lnTo>
                  <a:lnTo>
                    <a:pt x="550" y="685"/>
                  </a:lnTo>
                  <a:lnTo>
                    <a:pt x="552" y="684"/>
                  </a:lnTo>
                  <a:lnTo>
                    <a:pt x="553" y="684"/>
                  </a:lnTo>
                  <a:lnTo>
                    <a:pt x="553" y="682"/>
                  </a:lnTo>
                  <a:lnTo>
                    <a:pt x="554" y="681"/>
                  </a:lnTo>
                  <a:close/>
                  <a:moveTo>
                    <a:pt x="564" y="690"/>
                  </a:moveTo>
                  <a:lnTo>
                    <a:pt x="564" y="690"/>
                  </a:lnTo>
                  <a:lnTo>
                    <a:pt x="563" y="690"/>
                  </a:lnTo>
                  <a:lnTo>
                    <a:pt x="562" y="688"/>
                  </a:lnTo>
                  <a:lnTo>
                    <a:pt x="560" y="687"/>
                  </a:lnTo>
                  <a:lnTo>
                    <a:pt x="560" y="685"/>
                  </a:lnTo>
                  <a:lnTo>
                    <a:pt x="560" y="684"/>
                  </a:lnTo>
                  <a:lnTo>
                    <a:pt x="560" y="684"/>
                  </a:lnTo>
                  <a:lnTo>
                    <a:pt x="562" y="685"/>
                  </a:lnTo>
                  <a:lnTo>
                    <a:pt x="562" y="685"/>
                  </a:lnTo>
                  <a:lnTo>
                    <a:pt x="563" y="687"/>
                  </a:lnTo>
                  <a:lnTo>
                    <a:pt x="566" y="688"/>
                  </a:lnTo>
                  <a:lnTo>
                    <a:pt x="566" y="688"/>
                  </a:lnTo>
                  <a:lnTo>
                    <a:pt x="566" y="688"/>
                  </a:lnTo>
                  <a:lnTo>
                    <a:pt x="564" y="690"/>
                  </a:lnTo>
                  <a:close/>
                  <a:moveTo>
                    <a:pt x="653" y="708"/>
                  </a:moveTo>
                  <a:lnTo>
                    <a:pt x="653" y="715"/>
                  </a:lnTo>
                  <a:lnTo>
                    <a:pt x="653" y="724"/>
                  </a:lnTo>
                  <a:lnTo>
                    <a:pt x="653" y="731"/>
                  </a:lnTo>
                  <a:lnTo>
                    <a:pt x="653" y="738"/>
                  </a:lnTo>
                  <a:lnTo>
                    <a:pt x="653" y="745"/>
                  </a:lnTo>
                  <a:lnTo>
                    <a:pt x="653" y="752"/>
                  </a:lnTo>
                  <a:lnTo>
                    <a:pt x="653" y="761"/>
                  </a:lnTo>
                  <a:lnTo>
                    <a:pt x="653" y="768"/>
                  </a:lnTo>
                  <a:lnTo>
                    <a:pt x="650" y="768"/>
                  </a:lnTo>
                  <a:lnTo>
                    <a:pt x="650" y="768"/>
                  </a:lnTo>
                  <a:lnTo>
                    <a:pt x="646" y="770"/>
                  </a:lnTo>
                  <a:lnTo>
                    <a:pt x="640" y="768"/>
                  </a:lnTo>
                  <a:lnTo>
                    <a:pt x="639" y="767"/>
                  </a:lnTo>
                  <a:lnTo>
                    <a:pt x="636" y="764"/>
                  </a:lnTo>
                  <a:lnTo>
                    <a:pt x="636" y="764"/>
                  </a:lnTo>
                  <a:lnTo>
                    <a:pt x="633" y="765"/>
                  </a:lnTo>
                  <a:lnTo>
                    <a:pt x="631" y="767"/>
                  </a:lnTo>
                  <a:lnTo>
                    <a:pt x="629" y="767"/>
                  </a:lnTo>
                  <a:lnTo>
                    <a:pt x="627" y="765"/>
                  </a:lnTo>
                  <a:lnTo>
                    <a:pt x="627" y="765"/>
                  </a:lnTo>
                  <a:lnTo>
                    <a:pt x="627" y="765"/>
                  </a:lnTo>
                  <a:lnTo>
                    <a:pt x="623" y="767"/>
                  </a:lnTo>
                  <a:lnTo>
                    <a:pt x="620" y="765"/>
                  </a:lnTo>
                  <a:lnTo>
                    <a:pt x="617" y="764"/>
                  </a:lnTo>
                  <a:lnTo>
                    <a:pt x="612" y="764"/>
                  </a:lnTo>
                  <a:lnTo>
                    <a:pt x="609" y="761"/>
                  </a:lnTo>
                  <a:lnTo>
                    <a:pt x="602" y="761"/>
                  </a:lnTo>
                  <a:lnTo>
                    <a:pt x="602" y="761"/>
                  </a:lnTo>
                  <a:lnTo>
                    <a:pt x="600" y="758"/>
                  </a:lnTo>
                  <a:lnTo>
                    <a:pt x="602" y="758"/>
                  </a:lnTo>
                  <a:lnTo>
                    <a:pt x="603" y="757"/>
                  </a:lnTo>
                  <a:lnTo>
                    <a:pt x="603" y="757"/>
                  </a:lnTo>
                  <a:lnTo>
                    <a:pt x="604" y="757"/>
                  </a:lnTo>
                  <a:lnTo>
                    <a:pt x="606" y="758"/>
                  </a:lnTo>
                  <a:lnTo>
                    <a:pt x="606" y="758"/>
                  </a:lnTo>
                  <a:lnTo>
                    <a:pt x="607" y="757"/>
                  </a:lnTo>
                  <a:lnTo>
                    <a:pt x="609" y="755"/>
                  </a:lnTo>
                  <a:lnTo>
                    <a:pt x="610" y="755"/>
                  </a:lnTo>
                  <a:lnTo>
                    <a:pt x="613" y="757"/>
                  </a:lnTo>
                  <a:lnTo>
                    <a:pt x="614" y="757"/>
                  </a:lnTo>
                  <a:lnTo>
                    <a:pt x="616" y="755"/>
                  </a:lnTo>
                  <a:lnTo>
                    <a:pt x="616" y="755"/>
                  </a:lnTo>
                  <a:lnTo>
                    <a:pt x="617" y="754"/>
                  </a:lnTo>
                  <a:lnTo>
                    <a:pt x="617" y="754"/>
                  </a:lnTo>
                  <a:lnTo>
                    <a:pt x="619" y="754"/>
                  </a:lnTo>
                  <a:lnTo>
                    <a:pt x="620" y="754"/>
                  </a:lnTo>
                  <a:lnTo>
                    <a:pt x="620" y="755"/>
                  </a:lnTo>
                  <a:lnTo>
                    <a:pt x="620" y="758"/>
                  </a:lnTo>
                  <a:lnTo>
                    <a:pt x="623" y="758"/>
                  </a:lnTo>
                  <a:lnTo>
                    <a:pt x="624" y="758"/>
                  </a:lnTo>
                  <a:lnTo>
                    <a:pt x="626" y="758"/>
                  </a:lnTo>
                  <a:lnTo>
                    <a:pt x="627" y="758"/>
                  </a:lnTo>
                  <a:lnTo>
                    <a:pt x="624" y="754"/>
                  </a:lnTo>
                  <a:lnTo>
                    <a:pt x="623" y="752"/>
                  </a:lnTo>
                  <a:lnTo>
                    <a:pt x="621" y="751"/>
                  </a:lnTo>
                  <a:lnTo>
                    <a:pt x="619" y="751"/>
                  </a:lnTo>
                  <a:lnTo>
                    <a:pt x="617" y="747"/>
                  </a:lnTo>
                  <a:lnTo>
                    <a:pt x="617" y="744"/>
                  </a:lnTo>
                  <a:lnTo>
                    <a:pt x="617" y="741"/>
                  </a:lnTo>
                  <a:lnTo>
                    <a:pt x="621" y="740"/>
                  </a:lnTo>
                  <a:lnTo>
                    <a:pt x="620" y="737"/>
                  </a:lnTo>
                  <a:lnTo>
                    <a:pt x="621" y="735"/>
                  </a:lnTo>
                  <a:lnTo>
                    <a:pt x="623" y="734"/>
                  </a:lnTo>
                  <a:lnTo>
                    <a:pt x="624" y="741"/>
                  </a:lnTo>
                  <a:lnTo>
                    <a:pt x="626" y="744"/>
                  </a:lnTo>
                  <a:lnTo>
                    <a:pt x="624" y="744"/>
                  </a:lnTo>
                  <a:lnTo>
                    <a:pt x="621" y="744"/>
                  </a:lnTo>
                  <a:lnTo>
                    <a:pt x="623" y="748"/>
                  </a:lnTo>
                  <a:lnTo>
                    <a:pt x="626" y="750"/>
                  </a:lnTo>
                  <a:lnTo>
                    <a:pt x="627" y="752"/>
                  </a:lnTo>
                  <a:lnTo>
                    <a:pt x="627" y="754"/>
                  </a:lnTo>
                  <a:lnTo>
                    <a:pt x="629" y="755"/>
                  </a:lnTo>
                  <a:lnTo>
                    <a:pt x="631" y="755"/>
                  </a:lnTo>
                  <a:lnTo>
                    <a:pt x="633" y="754"/>
                  </a:lnTo>
                  <a:lnTo>
                    <a:pt x="634" y="752"/>
                  </a:lnTo>
                  <a:lnTo>
                    <a:pt x="636" y="752"/>
                  </a:lnTo>
                  <a:lnTo>
                    <a:pt x="637" y="754"/>
                  </a:lnTo>
                  <a:lnTo>
                    <a:pt x="641" y="755"/>
                  </a:lnTo>
                  <a:lnTo>
                    <a:pt x="641" y="757"/>
                  </a:lnTo>
                  <a:lnTo>
                    <a:pt x="643" y="758"/>
                  </a:lnTo>
                  <a:lnTo>
                    <a:pt x="643" y="760"/>
                  </a:lnTo>
                  <a:lnTo>
                    <a:pt x="643" y="760"/>
                  </a:lnTo>
                  <a:lnTo>
                    <a:pt x="643" y="760"/>
                  </a:lnTo>
                  <a:lnTo>
                    <a:pt x="644" y="758"/>
                  </a:lnTo>
                  <a:lnTo>
                    <a:pt x="646" y="757"/>
                  </a:lnTo>
                  <a:lnTo>
                    <a:pt x="646" y="757"/>
                  </a:lnTo>
                  <a:lnTo>
                    <a:pt x="647" y="755"/>
                  </a:lnTo>
                  <a:lnTo>
                    <a:pt x="647" y="755"/>
                  </a:lnTo>
                  <a:lnTo>
                    <a:pt x="644" y="754"/>
                  </a:lnTo>
                  <a:lnTo>
                    <a:pt x="631" y="747"/>
                  </a:lnTo>
                  <a:lnTo>
                    <a:pt x="630" y="744"/>
                  </a:lnTo>
                  <a:lnTo>
                    <a:pt x="629" y="741"/>
                  </a:lnTo>
                  <a:lnTo>
                    <a:pt x="629" y="738"/>
                  </a:lnTo>
                  <a:lnTo>
                    <a:pt x="630" y="737"/>
                  </a:lnTo>
                  <a:lnTo>
                    <a:pt x="633" y="735"/>
                  </a:lnTo>
                  <a:lnTo>
                    <a:pt x="636" y="734"/>
                  </a:lnTo>
                  <a:lnTo>
                    <a:pt x="641" y="731"/>
                  </a:lnTo>
                  <a:lnTo>
                    <a:pt x="641" y="730"/>
                  </a:lnTo>
                  <a:lnTo>
                    <a:pt x="641" y="728"/>
                  </a:lnTo>
                  <a:lnTo>
                    <a:pt x="641" y="727"/>
                  </a:lnTo>
                  <a:lnTo>
                    <a:pt x="639" y="727"/>
                  </a:lnTo>
                  <a:lnTo>
                    <a:pt x="637" y="727"/>
                  </a:lnTo>
                  <a:lnTo>
                    <a:pt x="636" y="727"/>
                  </a:lnTo>
                  <a:lnTo>
                    <a:pt x="633" y="727"/>
                  </a:lnTo>
                  <a:lnTo>
                    <a:pt x="630" y="728"/>
                  </a:lnTo>
                  <a:lnTo>
                    <a:pt x="629" y="728"/>
                  </a:lnTo>
                  <a:lnTo>
                    <a:pt x="626" y="727"/>
                  </a:lnTo>
                  <a:lnTo>
                    <a:pt x="624" y="725"/>
                  </a:lnTo>
                  <a:lnTo>
                    <a:pt x="624" y="722"/>
                  </a:lnTo>
                  <a:lnTo>
                    <a:pt x="624" y="721"/>
                  </a:lnTo>
                  <a:lnTo>
                    <a:pt x="624" y="720"/>
                  </a:lnTo>
                  <a:lnTo>
                    <a:pt x="626" y="718"/>
                  </a:lnTo>
                  <a:lnTo>
                    <a:pt x="626" y="717"/>
                  </a:lnTo>
                  <a:lnTo>
                    <a:pt x="627" y="718"/>
                  </a:lnTo>
                  <a:lnTo>
                    <a:pt x="629" y="717"/>
                  </a:lnTo>
                  <a:lnTo>
                    <a:pt x="629" y="717"/>
                  </a:lnTo>
                  <a:lnTo>
                    <a:pt x="630" y="715"/>
                  </a:lnTo>
                  <a:lnTo>
                    <a:pt x="629" y="715"/>
                  </a:lnTo>
                  <a:lnTo>
                    <a:pt x="629" y="715"/>
                  </a:lnTo>
                  <a:lnTo>
                    <a:pt x="627" y="714"/>
                  </a:lnTo>
                  <a:lnTo>
                    <a:pt x="627" y="712"/>
                  </a:lnTo>
                  <a:lnTo>
                    <a:pt x="626" y="711"/>
                  </a:lnTo>
                  <a:lnTo>
                    <a:pt x="626" y="710"/>
                  </a:lnTo>
                  <a:lnTo>
                    <a:pt x="629" y="710"/>
                  </a:lnTo>
                  <a:lnTo>
                    <a:pt x="630" y="711"/>
                  </a:lnTo>
                  <a:lnTo>
                    <a:pt x="631" y="712"/>
                  </a:lnTo>
                  <a:lnTo>
                    <a:pt x="633" y="712"/>
                  </a:lnTo>
                  <a:lnTo>
                    <a:pt x="633" y="712"/>
                  </a:lnTo>
                  <a:lnTo>
                    <a:pt x="636" y="710"/>
                  </a:lnTo>
                  <a:lnTo>
                    <a:pt x="637" y="708"/>
                  </a:lnTo>
                  <a:lnTo>
                    <a:pt x="639" y="705"/>
                  </a:lnTo>
                  <a:lnTo>
                    <a:pt x="640" y="704"/>
                  </a:lnTo>
                  <a:lnTo>
                    <a:pt x="641" y="704"/>
                  </a:lnTo>
                  <a:lnTo>
                    <a:pt x="644" y="708"/>
                  </a:lnTo>
                  <a:lnTo>
                    <a:pt x="646" y="708"/>
                  </a:lnTo>
                  <a:lnTo>
                    <a:pt x="651" y="707"/>
                  </a:lnTo>
                  <a:lnTo>
                    <a:pt x="651" y="707"/>
                  </a:lnTo>
                  <a:lnTo>
                    <a:pt x="653" y="708"/>
                  </a:lnTo>
                  <a:lnTo>
                    <a:pt x="653" y="708"/>
                  </a:lnTo>
                  <a:close/>
                  <a:moveTo>
                    <a:pt x="562" y="715"/>
                  </a:moveTo>
                  <a:lnTo>
                    <a:pt x="562" y="715"/>
                  </a:lnTo>
                  <a:lnTo>
                    <a:pt x="562" y="715"/>
                  </a:lnTo>
                  <a:lnTo>
                    <a:pt x="563" y="715"/>
                  </a:lnTo>
                  <a:lnTo>
                    <a:pt x="566" y="717"/>
                  </a:lnTo>
                  <a:lnTo>
                    <a:pt x="569" y="718"/>
                  </a:lnTo>
                  <a:lnTo>
                    <a:pt x="572" y="718"/>
                  </a:lnTo>
                  <a:lnTo>
                    <a:pt x="573" y="720"/>
                  </a:lnTo>
                  <a:lnTo>
                    <a:pt x="574" y="721"/>
                  </a:lnTo>
                  <a:lnTo>
                    <a:pt x="576" y="721"/>
                  </a:lnTo>
                  <a:lnTo>
                    <a:pt x="576" y="721"/>
                  </a:lnTo>
                  <a:lnTo>
                    <a:pt x="579" y="724"/>
                  </a:lnTo>
                  <a:lnTo>
                    <a:pt x="579" y="724"/>
                  </a:lnTo>
                  <a:lnTo>
                    <a:pt x="582" y="727"/>
                  </a:lnTo>
                  <a:lnTo>
                    <a:pt x="582" y="727"/>
                  </a:lnTo>
                  <a:lnTo>
                    <a:pt x="580" y="727"/>
                  </a:lnTo>
                  <a:lnTo>
                    <a:pt x="577" y="725"/>
                  </a:lnTo>
                  <a:lnTo>
                    <a:pt x="576" y="725"/>
                  </a:lnTo>
                  <a:lnTo>
                    <a:pt x="574" y="725"/>
                  </a:lnTo>
                  <a:lnTo>
                    <a:pt x="574" y="725"/>
                  </a:lnTo>
                  <a:lnTo>
                    <a:pt x="574" y="724"/>
                  </a:lnTo>
                  <a:lnTo>
                    <a:pt x="573" y="724"/>
                  </a:lnTo>
                  <a:lnTo>
                    <a:pt x="570" y="721"/>
                  </a:lnTo>
                  <a:lnTo>
                    <a:pt x="570" y="720"/>
                  </a:lnTo>
                  <a:lnTo>
                    <a:pt x="567" y="720"/>
                  </a:lnTo>
                  <a:lnTo>
                    <a:pt x="566" y="720"/>
                  </a:lnTo>
                  <a:lnTo>
                    <a:pt x="563" y="720"/>
                  </a:lnTo>
                  <a:lnTo>
                    <a:pt x="563" y="720"/>
                  </a:lnTo>
                  <a:lnTo>
                    <a:pt x="560" y="717"/>
                  </a:lnTo>
                  <a:lnTo>
                    <a:pt x="559" y="715"/>
                  </a:lnTo>
                  <a:lnTo>
                    <a:pt x="557" y="712"/>
                  </a:lnTo>
                  <a:lnTo>
                    <a:pt x="556" y="711"/>
                  </a:lnTo>
                  <a:lnTo>
                    <a:pt x="556" y="711"/>
                  </a:lnTo>
                  <a:lnTo>
                    <a:pt x="557" y="710"/>
                  </a:lnTo>
                  <a:lnTo>
                    <a:pt x="559" y="711"/>
                  </a:lnTo>
                  <a:lnTo>
                    <a:pt x="560" y="712"/>
                  </a:lnTo>
                  <a:lnTo>
                    <a:pt x="560" y="714"/>
                  </a:lnTo>
                  <a:lnTo>
                    <a:pt x="562" y="715"/>
                  </a:lnTo>
                  <a:close/>
                  <a:moveTo>
                    <a:pt x="584" y="730"/>
                  </a:moveTo>
                  <a:lnTo>
                    <a:pt x="584" y="732"/>
                  </a:lnTo>
                  <a:lnTo>
                    <a:pt x="586" y="732"/>
                  </a:lnTo>
                  <a:lnTo>
                    <a:pt x="586" y="732"/>
                  </a:lnTo>
                  <a:lnTo>
                    <a:pt x="589" y="732"/>
                  </a:lnTo>
                  <a:lnTo>
                    <a:pt x="592" y="732"/>
                  </a:lnTo>
                  <a:lnTo>
                    <a:pt x="592" y="734"/>
                  </a:lnTo>
                  <a:lnTo>
                    <a:pt x="593" y="735"/>
                  </a:lnTo>
                  <a:lnTo>
                    <a:pt x="594" y="737"/>
                  </a:lnTo>
                  <a:lnTo>
                    <a:pt x="596" y="740"/>
                  </a:lnTo>
                  <a:lnTo>
                    <a:pt x="594" y="741"/>
                  </a:lnTo>
                  <a:lnTo>
                    <a:pt x="593" y="742"/>
                  </a:lnTo>
                  <a:lnTo>
                    <a:pt x="593" y="744"/>
                  </a:lnTo>
                  <a:lnTo>
                    <a:pt x="593" y="744"/>
                  </a:lnTo>
                  <a:lnTo>
                    <a:pt x="592" y="745"/>
                  </a:lnTo>
                  <a:lnTo>
                    <a:pt x="590" y="747"/>
                  </a:lnTo>
                  <a:lnTo>
                    <a:pt x="589" y="747"/>
                  </a:lnTo>
                  <a:lnTo>
                    <a:pt x="587" y="747"/>
                  </a:lnTo>
                  <a:lnTo>
                    <a:pt x="586" y="748"/>
                  </a:lnTo>
                  <a:lnTo>
                    <a:pt x="586" y="748"/>
                  </a:lnTo>
                  <a:lnTo>
                    <a:pt x="584" y="747"/>
                  </a:lnTo>
                  <a:lnTo>
                    <a:pt x="584" y="747"/>
                  </a:lnTo>
                  <a:lnTo>
                    <a:pt x="584" y="747"/>
                  </a:lnTo>
                  <a:lnTo>
                    <a:pt x="586" y="745"/>
                  </a:lnTo>
                  <a:lnTo>
                    <a:pt x="587" y="742"/>
                  </a:lnTo>
                  <a:lnTo>
                    <a:pt x="587" y="741"/>
                  </a:lnTo>
                  <a:lnTo>
                    <a:pt x="586" y="740"/>
                  </a:lnTo>
                  <a:lnTo>
                    <a:pt x="584" y="741"/>
                  </a:lnTo>
                  <a:lnTo>
                    <a:pt x="583" y="741"/>
                  </a:lnTo>
                  <a:lnTo>
                    <a:pt x="583" y="740"/>
                  </a:lnTo>
                  <a:lnTo>
                    <a:pt x="582" y="741"/>
                  </a:lnTo>
                  <a:lnTo>
                    <a:pt x="582" y="742"/>
                  </a:lnTo>
                  <a:lnTo>
                    <a:pt x="583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0" y="744"/>
                  </a:lnTo>
                  <a:lnTo>
                    <a:pt x="579" y="742"/>
                  </a:lnTo>
                  <a:lnTo>
                    <a:pt x="579" y="742"/>
                  </a:lnTo>
                  <a:lnTo>
                    <a:pt x="579" y="740"/>
                  </a:lnTo>
                  <a:lnTo>
                    <a:pt x="579" y="738"/>
                  </a:lnTo>
                  <a:lnTo>
                    <a:pt x="579" y="737"/>
                  </a:lnTo>
                  <a:lnTo>
                    <a:pt x="579" y="737"/>
                  </a:lnTo>
                  <a:lnTo>
                    <a:pt x="577" y="737"/>
                  </a:lnTo>
                  <a:lnTo>
                    <a:pt x="576" y="737"/>
                  </a:lnTo>
                  <a:lnTo>
                    <a:pt x="574" y="735"/>
                  </a:lnTo>
                  <a:lnTo>
                    <a:pt x="573" y="732"/>
                  </a:lnTo>
                  <a:lnTo>
                    <a:pt x="570" y="732"/>
                  </a:lnTo>
                  <a:lnTo>
                    <a:pt x="573" y="728"/>
                  </a:lnTo>
                  <a:lnTo>
                    <a:pt x="576" y="728"/>
                  </a:lnTo>
                  <a:lnTo>
                    <a:pt x="577" y="730"/>
                  </a:lnTo>
                  <a:lnTo>
                    <a:pt x="582" y="731"/>
                  </a:lnTo>
                  <a:lnTo>
                    <a:pt x="582" y="730"/>
                  </a:lnTo>
                  <a:lnTo>
                    <a:pt x="582" y="728"/>
                  </a:lnTo>
                  <a:lnTo>
                    <a:pt x="582" y="728"/>
                  </a:lnTo>
                  <a:lnTo>
                    <a:pt x="583" y="728"/>
                  </a:lnTo>
                  <a:lnTo>
                    <a:pt x="583" y="728"/>
                  </a:lnTo>
                  <a:lnTo>
                    <a:pt x="584" y="728"/>
                  </a:lnTo>
                  <a:lnTo>
                    <a:pt x="584" y="730"/>
                  </a:lnTo>
                  <a:lnTo>
                    <a:pt x="584" y="730"/>
                  </a:lnTo>
                  <a:close/>
                  <a:moveTo>
                    <a:pt x="609" y="745"/>
                  </a:moveTo>
                  <a:lnTo>
                    <a:pt x="613" y="747"/>
                  </a:lnTo>
                  <a:lnTo>
                    <a:pt x="616" y="747"/>
                  </a:lnTo>
                  <a:lnTo>
                    <a:pt x="616" y="748"/>
                  </a:lnTo>
                  <a:lnTo>
                    <a:pt x="616" y="751"/>
                  </a:lnTo>
                  <a:lnTo>
                    <a:pt x="614" y="752"/>
                  </a:lnTo>
                  <a:lnTo>
                    <a:pt x="614" y="752"/>
                  </a:lnTo>
                  <a:lnTo>
                    <a:pt x="613" y="754"/>
                  </a:lnTo>
                  <a:lnTo>
                    <a:pt x="613" y="754"/>
                  </a:lnTo>
                  <a:lnTo>
                    <a:pt x="610" y="752"/>
                  </a:lnTo>
                  <a:lnTo>
                    <a:pt x="607" y="751"/>
                  </a:lnTo>
                  <a:lnTo>
                    <a:pt x="606" y="751"/>
                  </a:lnTo>
                  <a:lnTo>
                    <a:pt x="604" y="751"/>
                  </a:lnTo>
                  <a:lnTo>
                    <a:pt x="603" y="751"/>
                  </a:lnTo>
                  <a:lnTo>
                    <a:pt x="603" y="752"/>
                  </a:lnTo>
                  <a:lnTo>
                    <a:pt x="600" y="752"/>
                  </a:lnTo>
                  <a:lnTo>
                    <a:pt x="600" y="750"/>
                  </a:lnTo>
                  <a:lnTo>
                    <a:pt x="599" y="748"/>
                  </a:lnTo>
                  <a:lnTo>
                    <a:pt x="596" y="745"/>
                  </a:lnTo>
                  <a:lnTo>
                    <a:pt x="597" y="742"/>
                  </a:lnTo>
                  <a:lnTo>
                    <a:pt x="599" y="742"/>
                  </a:lnTo>
                  <a:lnTo>
                    <a:pt x="600" y="741"/>
                  </a:lnTo>
                  <a:lnTo>
                    <a:pt x="604" y="742"/>
                  </a:lnTo>
                  <a:lnTo>
                    <a:pt x="607" y="742"/>
                  </a:lnTo>
                  <a:lnTo>
                    <a:pt x="609" y="745"/>
                  </a:lnTo>
                  <a:close/>
                  <a:moveTo>
                    <a:pt x="616" y="768"/>
                  </a:moveTo>
                  <a:lnTo>
                    <a:pt x="616" y="770"/>
                  </a:lnTo>
                  <a:lnTo>
                    <a:pt x="617" y="770"/>
                  </a:lnTo>
                  <a:lnTo>
                    <a:pt x="619" y="771"/>
                  </a:lnTo>
                  <a:lnTo>
                    <a:pt x="620" y="771"/>
                  </a:lnTo>
                  <a:lnTo>
                    <a:pt x="621" y="770"/>
                  </a:lnTo>
                  <a:lnTo>
                    <a:pt x="623" y="770"/>
                  </a:lnTo>
                  <a:lnTo>
                    <a:pt x="624" y="770"/>
                  </a:lnTo>
                  <a:lnTo>
                    <a:pt x="627" y="774"/>
                  </a:lnTo>
                  <a:lnTo>
                    <a:pt x="627" y="775"/>
                  </a:lnTo>
                  <a:lnTo>
                    <a:pt x="624" y="777"/>
                  </a:lnTo>
                  <a:lnTo>
                    <a:pt x="624" y="777"/>
                  </a:lnTo>
                  <a:lnTo>
                    <a:pt x="623" y="777"/>
                  </a:lnTo>
                  <a:lnTo>
                    <a:pt x="623" y="775"/>
                  </a:lnTo>
                  <a:lnTo>
                    <a:pt x="623" y="775"/>
                  </a:lnTo>
                  <a:lnTo>
                    <a:pt x="621" y="774"/>
                  </a:lnTo>
                  <a:lnTo>
                    <a:pt x="621" y="774"/>
                  </a:lnTo>
                  <a:lnTo>
                    <a:pt x="620" y="775"/>
                  </a:lnTo>
                  <a:lnTo>
                    <a:pt x="620" y="775"/>
                  </a:lnTo>
                  <a:lnTo>
                    <a:pt x="619" y="774"/>
                  </a:lnTo>
                  <a:lnTo>
                    <a:pt x="616" y="774"/>
                  </a:lnTo>
                  <a:lnTo>
                    <a:pt x="616" y="772"/>
                  </a:lnTo>
                  <a:lnTo>
                    <a:pt x="616" y="772"/>
                  </a:lnTo>
                  <a:lnTo>
                    <a:pt x="616" y="771"/>
                  </a:lnTo>
                  <a:lnTo>
                    <a:pt x="613" y="770"/>
                  </a:lnTo>
                  <a:lnTo>
                    <a:pt x="612" y="768"/>
                  </a:lnTo>
                  <a:lnTo>
                    <a:pt x="612" y="768"/>
                  </a:lnTo>
                  <a:lnTo>
                    <a:pt x="610" y="768"/>
                  </a:lnTo>
                  <a:lnTo>
                    <a:pt x="610" y="770"/>
                  </a:lnTo>
                  <a:lnTo>
                    <a:pt x="609" y="770"/>
                  </a:lnTo>
                  <a:lnTo>
                    <a:pt x="609" y="770"/>
                  </a:lnTo>
                  <a:lnTo>
                    <a:pt x="609" y="770"/>
                  </a:lnTo>
                  <a:lnTo>
                    <a:pt x="609" y="768"/>
                  </a:lnTo>
                  <a:lnTo>
                    <a:pt x="609" y="767"/>
                  </a:lnTo>
                  <a:lnTo>
                    <a:pt x="610" y="767"/>
                  </a:lnTo>
                  <a:lnTo>
                    <a:pt x="613" y="768"/>
                  </a:lnTo>
                  <a:lnTo>
                    <a:pt x="614" y="768"/>
                  </a:lnTo>
                  <a:lnTo>
                    <a:pt x="616" y="768"/>
                  </a:lnTo>
                  <a:close/>
                  <a:moveTo>
                    <a:pt x="636" y="770"/>
                  </a:moveTo>
                  <a:lnTo>
                    <a:pt x="649" y="772"/>
                  </a:lnTo>
                  <a:lnTo>
                    <a:pt x="653" y="771"/>
                  </a:lnTo>
                  <a:lnTo>
                    <a:pt x="656" y="771"/>
                  </a:lnTo>
                  <a:lnTo>
                    <a:pt x="657" y="772"/>
                  </a:lnTo>
                  <a:lnTo>
                    <a:pt x="654" y="775"/>
                  </a:lnTo>
                  <a:lnTo>
                    <a:pt x="654" y="777"/>
                  </a:lnTo>
                  <a:lnTo>
                    <a:pt x="654" y="777"/>
                  </a:lnTo>
                  <a:lnTo>
                    <a:pt x="657" y="777"/>
                  </a:lnTo>
                  <a:lnTo>
                    <a:pt x="659" y="778"/>
                  </a:lnTo>
                  <a:lnTo>
                    <a:pt x="659" y="780"/>
                  </a:lnTo>
                  <a:lnTo>
                    <a:pt x="659" y="781"/>
                  </a:lnTo>
                  <a:lnTo>
                    <a:pt x="659" y="781"/>
                  </a:lnTo>
                  <a:lnTo>
                    <a:pt x="659" y="782"/>
                  </a:lnTo>
                  <a:lnTo>
                    <a:pt x="661" y="784"/>
                  </a:lnTo>
                  <a:lnTo>
                    <a:pt x="661" y="785"/>
                  </a:lnTo>
                  <a:lnTo>
                    <a:pt x="663" y="787"/>
                  </a:lnTo>
                  <a:lnTo>
                    <a:pt x="663" y="788"/>
                  </a:lnTo>
                  <a:lnTo>
                    <a:pt x="663" y="790"/>
                  </a:lnTo>
                  <a:lnTo>
                    <a:pt x="663" y="790"/>
                  </a:lnTo>
                  <a:lnTo>
                    <a:pt x="661" y="790"/>
                  </a:lnTo>
                  <a:lnTo>
                    <a:pt x="660" y="788"/>
                  </a:lnTo>
                  <a:lnTo>
                    <a:pt x="659" y="787"/>
                  </a:lnTo>
                  <a:lnTo>
                    <a:pt x="659" y="785"/>
                  </a:lnTo>
                  <a:lnTo>
                    <a:pt x="656" y="785"/>
                  </a:lnTo>
                  <a:lnTo>
                    <a:pt x="654" y="784"/>
                  </a:lnTo>
                  <a:lnTo>
                    <a:pt x="653" y="784"/>
                  </a:lnTo>
                  <a:lnTo>
                    <a:pt x="651" y="784"/>
                  </a:lnTo>
                  <a:lnTo>
                    <a:pt x="650" y="784"/>
                  </a:lnTo>
                  <a:lnTo>
                    <a:pt x="649" y="784"/>
                  </a:lnTo>
                  <a:lnTo>
                    <a:pt x="649" y="782"/>
                  </a:lnTo>
                  <a:lnTo>
                    <a:pt x="649" y="781"/>
                  </a:lnTo>
                  <a:lnTo>
                    <a:pt x="649" y="780"/>
                  </a:lnTo>
                  <a:lnTo>
                    <a:pt x="649" y="778"/>
                  </a:lnTo>
                  <a:lnTo>
                    <a:pt x="649" y="778"/>
                  </a:lnTo>
                  <a:lnTo>
                    <a:pt x="647" y="780"/>
                  </a:lnTo>
                  <a:lnTo>
                    <a:pt x="647" y="778"/>
                  </a:lnTo>
                  <a:lnTo>
                    <a:pt x="646" y="777"/>
                  </a:lnTo>
                  <a:lnTo>
                    <a:pt x="644" y="777"/>
                  </a:lnTo>
                  <a:lnTo>
                    <a:pt x="643" y="777"/>
                  </a:lnTo>
                  <a:lnTo>
                    <a:pt x="641" y="780"/>
                  </a:lnTo>
                  <a:lnTo>
                    <a:pt x="641" y="780"/>
                  </a:lnTo>
                  <a:lnTo>
                    <a:pt x="643" y="782"/>
                  </a:lnTo>
                  <a:lnTo>
                    <a:pt x="644" y="785"/>
                  </a:lnTo>
                  <a:lnTo>
                    <a:pt x="644" y="785"/>
                  </a:lnTo>
                  <a:lnTo>
                    <a:pt x="641" y="784"/>
                  </a:lnTo>
                  <a:lnTo>
                    <a:pt x="640" y="784"/>
                  </a:lnTo>
                  <a:lnTo>
                    <a:pt x="640" y="782"/>
                  </a:lnTo>
                  <a:lnTo>
                    <a:pt x="637" y="781"/>
                  </a:lnTo>
                  <a:lnTo>
                    <a:pt x="637" y="781"/>
                  </a:lnTo>
                  <a:lnTo>
                    <a:pt x="637" y="780"/>
                  </a:lnTo>
                  <a:lnTo>
                    <a:pt x="637" y="778"/>
                  </a:lnTo>
                  <a:lnTo>
                    <a:pt x="637" y="778"/>
                  </a:lnTo>
                  <a:lnTo>
                    <a:pt x="634" y="778"/>
                  </a:lnTo>
                  <a:lnTo>
                    <a:pt x="634" y="778"/>
                  </a:lnTo>
                  <a:lnTo>
                    <a:pt x="633" y="777"/>
                  </a:lnTo>
                  <a:lnTo>
                    <a:pt x="633" y="777"/>
                  </a:lnTo>
                  <a:lnTo>
                    <a:pt x="631" y="775"/>
                  </a:lnTo>
                  <a:lnTo>
                    <a:pt x="631" y="775"/>
                  </a:lnTo>
                  <a:lnTo>
                    <a:pt x="633" y="775"/>
                  </a:lnTo>
                  <a:lnTo>
                    <a:pt x="633" y="774"/>
                  </a:lnTo>
                  <a:lnTo>
                    <a:pt x="633" y="768"/>
                  </a:lnTo>
                  <a:lnTo>
                    <a:pt x="636" y="770"/>
                  </a:lnTo>
                  <a:close/>
                  <a:moveTo>
                    <a:pt x="679" y="777"/>
                  </a:moveTo>
                  <a:lnTo>
                    <a:pt x="677" y="777"/>
                  </a:lnTo>
                  <a:lnTo>
                    <a:pt x="677" y="778"/>
                  </a:lnTo>
                  <a:lnTo>
                    <a:pt x="676" y="780"/>
                  </a:lnTo>
                  <a:lnTo>
                    <a:pt x="674" y="780"/>
                  </a:lnTo>
                  <a:lnTo>
                    <a:pt x="673" y="780"/>
                  </a:lnTo>
                  <a:lnTo>
                    <a:pt x="673" y="778"/>
                  </a:lnTo>
                  <a:lnTo>
                    <a:pt x="673" y="777"/>
                  </a:lnTo>
                  <a:lnTo>
                    <a:pt x="671" y="777"/>
                  </a:lnTo>
                  <a:lnTo>
                    <a:pt x="671" y="777"/>
                  </a:lnTo>
                  <a:lnTo>
                    <a:pt x="671" y="777"/>
                  </a:lnTo>
                  <a:lnTo>
                    <a:pt x="670" y="777"/>
                  </a:lnTo>
                  <a:lnTo>
                    <a:pt x="669" y="778"/>
                  </a:lnTo>
                  <a:lnTo>
                    <a:pt x="667" y="780"/>
                  </a:lnTo>
                  <a:lnTo>
                    <a:pt x="667" y="780"/>
                  </a:lnTo>
                  <a:lnTo>
                    <a:pt x="663" y="778"/>
                  </a:lnTo>
                  <a:lnTo>
                    <a:pt x="661" y="778"/>
                  </a:lnTo>
                  <a:lnTo>
                    <a:pt x="661" y="777"/>
                  </a:lnTo>
                  <a:lnTo>
                    <a:pt x="660" y="774"/>
                  </a:lnTo>
                  <a:lnTo>
                    <a:pt x="659" y="771"/>
                  </a:lnTo>
                  <a:lnTo>
                    <a:pt x="661" y="770"/>
                  </a:lnTo>
                  <a:lnTo>
                    <a:pt x="666" y="770"/>
                  </a:lnTo>
                  <a:lnTo>
                    <a:pt x="673" y="771"/>
                  </a:lnTo>
                  <a:lnTo>
                    <a:pt x="676" y="771"/>
                  </a:lnTo>
                  <a:lnTo>
                    <a:pt x="677" y="774"/>
                  </a:lnTo>
                  <a:lnTo>
                    <a:pt x="679" y="775"/>
                  </a:lnTo>
                  <a:lnTo>
                    <a:pt x="679" y="777"/>
                  </a:lnTo>
                  <a:close/>
                  <a:moveTo>
                    <a:pt x="689" y="778"/>
                  </a:moveTo>
                  <a:lnTo>
                    <a:pt x="687" y="780"/>
                  </a:lnTo>
                  <a:lnTo>
                    <a:pt x="686" y="780"/>
                  </a:lnTo>
                  <a:lnTo>
                    <a:pt x="686" y="780"/>
                  </a:lnTo>
                  <a:lnTo>
                    <a:pt x="686" y="778"/>
                  </a:lnTo>
                  <a:lnTo>
                    <a:pt x="686" y="778"/>
                  </a:lnTo>
                  <a:lnTo>
                    <a:pt x="686" y="777"/>
                  </a:lnTo>
                  <a:lnTo>
                    <a:pt x="687" y="777"/>
                  </a:lnTo>
                  <a:lnTo>
                    <a:pt x="687" y="777"/>
                  </a:lnTo>
                  <a:lnTo>
                    <a:pt x="689" y="777"/>
                  </a:lnTo>
                  <a:lnTo>
                    <a:pt x="689" y="778"/>
                  </a:lnTo>
                  <a:close/>
                  <a:moveTo>
                    <a:pt x="674" y="794"/>
                  </a:moveTo>
                  <a:lnTo>
                    <a:pt x="674" y="794"/>
                  </a:lnTo>
                  <a:lnTo>
                    <a:pt x="674" y="794"/>
                  </a:lnTo>
                  <a:lnTo>
                    <a:pt x="673" y="792"/>
                  </a:lnTo>
                  <a:lnTo>
                    <a:pt x="670" y="792"/>
                  </a:lnTo>
                  <a:lnTo>
                    <a:pt x="670" y="791"/>
                  </a:lnTo>
                  <a:lnTo>
                    <a:pt x="671" y="791"/>
                  </a:lnTo>
                  <a:lnTo>
                    <a:pt x="671" y="791"/>
                  </a:lnTo>
                  <a:lnTo>
                    <a:pt x="673" y="790"/>
                  </a:lnTo>
                  <a:lnTo>
                    <a:pt x="673" y="788"/>
                  </a:lnTo>
                  <a:lnTo>
                    <a:pt x="673" y="788"/>
                  </a:lnTo>
                  <a:lnTo>
                    <a:pt x="674" y="790"/>
                  </a:lnTo>
                  <a:lnTo>
                    <a:pt x="674" y="791"/>
                  </a:lnTo>
                  <a:lnTo>
                    <a:pt x="676" y="792"/>
                  </a:lnTo>
                  <a:lnTo>
                    <a:pt x="676" y="794"/>
                  </a:lnTo>
                  <a:lnTo>
                    <a:pt x="674" y="794"/>
                  </a:lnTo>
                  <a:close/>
                  <a:moveTo>
                    <a:pt x="670" y="797"/>
                  </a:moveTo>
                  <a:lnTo>
                    <a:pt x="670" y="797"/>
                  </a:lnTo>
                  <a:lnTo>
                    <a:pt x="669" y="797"/>
                  </a:lnTo>
                  <a:lnTo>
                    <a:pt x="666" y="797"/>
                  </a:lnTo>
                  <a:lnTo>
                    <a:pt x="666" y="795"/>
                  </a:lnTo>
                  <a:lnTo>
                    <a:pt x="666" y="795"/>
                  </a:lnTo>
                  <a:lnTo>
                    <a:pt x="666" y="795"/>
                  </a:lnTo>
                  <a:lnTo>
                    <a:pt x="667" y="795"/>
                  </a:lnTo>
                  <a:lnTo>
                    <a:pt x="671" y="795"/>
                  </a:lnTo>
                  <a:lnTo>
                    <a:pt x="671" y="795"/>
                  </a:lnTo>
                  <a:lnTo>
                    <a:pt x="671" y="795"/>
                  </a:lnTo>
                  <a:lnTo>
                    <a:pt x="671" y="797"/>
                  </a:lnTo>
                  <a:lnTo>
                    <a:pt x="670" y="79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Google Shape;184;p3"/>
            <p:cNvSpPr/>
            <p:nvPr/>
          </p:nvSpPr>
          <p:spPr>
            <a:xfrm>
              <a:off x="4048210" y="4241728"/>
              <a:ext cx="84857" cy="114257"/>
            </a:xfrm>
            <a:custGeom>
              <a:rect b="b" l="l" r="r" t="t"/>
              <a:pathLst>
                <a:path extrusionOk="0" h="182" w="121">
                  <a:moveTo>
                    <a:pt x="111" y="90"/>
                  </a:moveTo>
                  <a:lnTo>
                    <a:pt x="108" y="91"/>
                  </a:lnTo>
                  <a:lnTo>
                    <a:pt x="107" y="92"/>
                  </a:lnTo>
                  <a:lnTo>
                    <a:pt x="107" y="94"/>
                  </a:lnTo>
                  <a:lnTo>
                    <a:pt x="105" y="95"/>
                  </a:lnTo>
                  <a:lnTo>
                    <a:pt x="105" y="97"/>
                  </a:lnTo>
                  <a:lnTo>
                    <a:pt x="104" y="98"/>
                  </a:lnTo>
                  <a:lnTo>
                    <a:pt x="104" y="101"/>
                  </a:lnTo>
                  <a:lnTo>
                    <a:pt x="102" y="101"/>
                  </a:lnTo>
                  <a:lnTo>
                    <a:pt x="101" y="104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8" y="109"/>
                  </a:lnTo>
                  <a:lnTo>
                    <a:pt x="98" y="109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4" y="111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4"/>
                  </a:lnTo>
                  <a:lnTo>
                    <a:pt x="95" y="115"/>
                  </a:lnTo>
                  <a:lnTo>
                    <a:pt x="95" y="115"/>
                  </a:lnTo>
                  <a:lnTo>
                    <a:pt x="95" y="115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7" y="121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5" y="124"/>
                  </a:lnTo>
                  <a:lnTo>
                    <a:pt x="95" y="125"/>
                  </a:lnTo>
                  <a:lnTo>
                    <a:pt x="95" y="125"/>
                  </a:lnTo>
                  <a:lnTo>
                    <a:pt x="97" y="125"/>
                  </a:lnTo>
                  <a:lnTo>
                    <a:pt x="97" y="127"/>
                  </a:lnTo>
                  <a:lnTo>
                    <a:pt x="97" y="128"/>
                  </a:lnTo>
                  <a:lnTo>
                    <a:pt x="98" y="135"/>
                  </a:lnTo>
                  <a:lnTo>
                    <a:pt x="98" y="135"/>
                  </a:lnTo>
                  <a:lnTo>
                    <a:pt x="99" y="137"/>
                  </a:lnTo>
                  <a:lnTo>
                    <a:pt x="101" y="138"/>
                  </a:lnTo>
                  <a:lnTo>
                    <a:pt x="102" y="139"/>
                  </a:lnTo>
                  <a:lnTo>
                    <a:pt x="104" y="141"/>
                  </a:lnTo>
                  <a:lnTo>
                    <a:pt x="104" y="142"/>
                  </a:lnTo>
                  <a:lnTo>
                    <a:pt x="105" y="144"/>
                  </a:lnTo>
                  <a:lnTo>
                    <a:pt x="105" y="145"/>
                  </a:lnTo>
                  <a:lnTo>
                    <a:pt x="104" y="145"/>
                  </a:lnTo>
                  <a:lnTo>
                    <a:pt x="104" y="145"/>
                  </a:lnTo>
                  <a:lnTo>
                    <a:pt x="104" y="145"/>
                  </a:lnTo>
                  <a:lnTo>
                    <a:pt x="104" y="147"/>
                  </a:lnTo>
                  <a:lnTo>
                    <a:pt x="105" y="148"/>
                  </a:lnTo>
                  <a:lnTo>
                    <a:pt x="107" y="149"/>
                  </a:lnTo>
                  <a:lnTo>
                    <a:pt x="108" y="152"/>
                  </a:lnTo>
                  <a:lnTo>
                    <a:pt x="109" y="154"/>
                  </a:lnTo>
                  <a:lnTo>
                    <a:pt x="112" y="157"/>
                  </a:lnTo>
                  <a:lnTo>
                    <a:pt x="114" y="158"/>
                  </a:lnTo>
                  <a:lnTo>
                    <a:pt x="115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8" y="159"/>
                  </a:lnTo>
                  <a:lnTo>
                    <a:pt x="118" y="161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9" y="164"/>
                  </a:lnTo>
                  <a:lnTo>
                    <a:pt x="119" y="165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8"/>
                  </a:lnTo>
                  <a:lnTo>
                    <a:pt x="121" y="169"/>
                  </a:lnTo>
                  <a:lnTo>
                    <a:pt x="121" y="171"/>
                  </a:lnTo>
                  <a:lnTo>
                    <a:pt x="121" y="172"/>
                  </a:lnTo>
                  <a:lnTo>
                    <a:pt x="121" y="172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9" y="178"/>
                  </a:lnTo>
                  <a:lnTo>
                    <a:pt x="121" y="181"/>
                  </a:lnTo>
                  <a:lnTo>
                    <a:pt x="121" y="181"/>
                  </a:lnTo>
                  <a:lnTo>
                    <a:pt x="121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8" y="181"/>
                  </a:lnTo>
                  <a:lnTo>
                    <a:pt x="117" y="179"/>
                  </a:lnTo>
                  <a:lnTo>
                    <a:pt x="115" y="178"/>
                  </a:lnTo>
                  <a:lnTo>
                    <a:pt x="112" y="178"/>
                  </a:lnTo>
                  <a:lnTo>
                    <a:pt x="109" y="178"/>
                  </a:lnTo>
                  <a:lnTo>
                    <a:pt x="108" y="178"/>
                  </a:lnTo>
                  <a:lnTo>
                    <a:pt x="107" y="178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5"/>
                  </a:lnTo>
                  <a:lnTo>
                    <a:pt x="99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7" y="175"/>
                  </a:lnTo>
                  <a:lnTo>
                    <a:pt x="95" y="174"/>
                  </a:lnTo>
                  <a:lnTo>
                    <a:pt x="94" y="175"/>
                  </a:lnTo>
                  <a:lnTo>
                    <a:pt x="91" y="175"/>
                  </a:lnTo>
                  <a:lnTo>
                    <a:pt x="87" y="175"/>
                  </a:lnTo>
                  <a:lnTo>
                    <a:pt x="82" y="175"/>
                  </a:lnTo>
                  <a:lnTo>
                    <a:pt x="79" y="175"/>
                  </a:lnTo>
                  <a:lnTo>
                    <a:pt x="75" y="175"/>
                  </a:lnTo>
                  <a:lnTo>
                    <a:pt x="75" y="174"/>
                  </a:lnTo>
                  <a:lnTo>
                    <a:pt x="74" y="174"/>
                  </a:lnTo>
                  <a:lnTo>
                    <a:pt x="72" y="172"/>
                  </a:lnTo>
                  <a:lnTo>
                    <a:pt x="68" y="174"/>
                  </a:lnTo>
                  <a:lnTo>
                    <a:pt x="65" y="174"/>
                  </a:lnTo>
                  <a:lnTo>
                    <a:pt x="64" y="172"/>
                  </a:lnTo>
                  <a:lnTo>
                    <a:pt x="62" y="172"/>
                  </a:lnTo>
                  <a:lnTo>
                    <a:pt x="61" y="172"/>
                  </a:lnTo>
                  <a:lnTo>
                    <a:pt x="57" y="172"/>
                  </a:lnTo>
                  <a:lnTo>
                    <a:pt x="57" y="172"/>
                  </a:lnTo>
                  <a:lnTo>
                    <a:pt x="54" y="172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4" y="172"/>
                  </a:lnTo>
                  <a:lnTo>
                    <a:pt x="44" y="174"/>
                  </a:lnTo>
                  <a:lnTo>
                    <a:pt x="44" y="175"/>
                  </a:lnTo>
                  <a:lnTo>
                    <a:pt x="40" y="174"/>
                  </a:lnTo>
                  <a:lnTo>
                    <a:pt x="35" y="174"/>
                  </a:lnTo>
                  <a:lnTo>
                    <a:pt x="31" y="174"/>
                  </a:lnTo>
                  <a:lnTo>
                    <a:pt x="27" y="174"/>
                  </a:lnTo>
                  <a:lnTo>
                    <a:pt x="22" y="174"/>
                  </a:lnTo>
                  <a:lnTo>
                    <a:pt x="21" y="174"/>
                  </a:lnTo>
                  <a:lnTo>
                    <a:pt x="20" y="174"/>
                  </a:lnTo>
                  <a:lnTo>
                    <a:pt x="20" y="172"/>
                  </a:lnTo>
                  <a:lnTo>
                    <a:pt x="20" y="172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1" y="165"/>
                  </a:lnTo>
                  <a:lnTo>
                    <a:pt x="21" y="162"/>
                  </a:lnTo>
                  <a:lnTo>
                    <a:pt x="21" y="159"/>
                  </a:lnTo>
                  <a:lnTo>
                    <a:pt x="21" y="158"/>
                  </a:lnTo>
                  <a:lnTo>
                    <a:pt x="21" y="157"/>
                  </a:lnTo>
                  <a:lnTo>
                    <a:pt x="17" y="152"/>
                  </a:lnTo>
                  <a:lnTo>
                    <a:pt x="18" y="151"/>
                  </a:lnTo>
                  <a:lnTo>
                    <a:pt x="17" y="151"/>
                  </a:lnTo>
                  <a:lnTo>
                    <a:pt x="17" y="149"/>
                  </a:lnTo>
                  <a:lnTo>
                    <a:pt x="15" y="148"/>
                  </a:lnTo>
                  <a:lnTo>
                    <a:pt x="15" y="148"/>
                  </a:lnTo>
                  <a:lnTo>
                    <a:pt x="17" y="147"/>
                  </a:lnTo>
                  <a:lnTo>
                    <a:pt x="18" y="148"/>
                  </a:lnTo>
                  <a:lnTo>
                    <a:pt x="18" y="147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8" y="144"/>
                  </a:lnTo>
                  <a:lnTo>
                    <a:pt x="17" y="144"/>
                  </a:lnTo>
                  <a:lnTo>
                    <a:pt x="17" y="145"/>
                  </a:lnTo>
                  <a:lnTo>
                    <a:pt x="15" y="145"/>
                  </a:lnTo>
                  <a:lnTo>
                    <a:pt x="15" y="144"/>
                  </a:lnTo>
                  <a:lnTo>
                    <a:pt x="14" y="144"/>
                  </a:lnTo>
                  <a:lnTo>
                    <a:pt x="14" y="145"/>
                  </a:lnTo>
                  <a:lnTo>
                    <a:pt x="14" y="147"/>
                  </a:lnTo>
                  <a:lnTo>
                    <a:pt x="14" y="147"/>
                  </a:lnTo>
                  <a:lnTo>
                    <a:pt x="12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8" y="145"/>
                  </a:lnTo>
                  <a:lnTo>
                    <a:pt x="7" y="144"/>
                  </a:lnTo>
                  <a:lnTo>
                    <a:pt x="7" y="141"/>
                  </a:lnTo>
                  <a:lnTo>
                    <a:pt x="5" y="141"/>
                  </a:lnTo>
                  <a:lnTo>
                    <a:pt x="5" y="139"/>
                  </a:lnTo>
                  <a:lnTo>
                    <a:pt x="5" y="138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2" y="137"/>
                  </a:lnTo>
                  <a:lnTo>
                    <a:pt x="2" y="135"/>
                  </a:lnTo>
                  <a:lnTo>
                    <a:pt x="1" y="135"/>
                  </a:lnTo>
                  <a:lnTo>
                    <a:pt x="1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5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1" y="131"/>
                  </a:lnTo>
                  <a:lnTo>
                    <a:pt x="2" y="128"/>
                  </a:lnTo>
                  <a:lnTo>
                    <a:pt x="4" y="127"/>
                  </a:lnTo>
                  <a:lnTo>
                    <a:pt x="4" y="122"/>
                  </a:lnTo>
                  <a:lnTo>
                    <a:pt x="5" y="119"/>
                  </a:lnTo>
                  <a:lnTo>
                    <a:pt x="5" y="117"/>
                  </a:lnTo>
                  <a:lnTo>
                    <a:pt x="7" y="115"/>
                  </a:lnTo>
                  <a:lnTo>
                    <a:pt x="7" y="114"/>
                  </a:lnTo>
                  <a:lnTo>
                    <a:pt x="10" y="111"/>
                  </a:lnTo>
                  <a:lnTo>
                    <a:pt x="12" y="108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5" y="105"/>
                  </a:lnTo>
                  <a:lnTo>
                    <a:pt x="17" y="105"/>
                  </a:lnTo>
                  <a:lnTo>
                    <a:pt x="18" y="102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1" y="101"/>
                  </a:lnTo>
                  <a:lnTo>
                    <a:pt x="22" y="98"/>
                  </a:lnTo>
                  <a:lnTo>
                    <a:pt x="25" y="97"/>
                  </a:lnTo>
                  <a:lnTo>
                    <a:pt x="25" y="98"/>
                  </a:lnTo>
                  <a:lnTo>
                    <a:pt x="25" y="98"/>
                  </a:lnTo>
                  <a:lnTo>
                    <a:pt x="25" y="99"/>
                  </a:lnTo>
                  <a:lnTo>
                    <a:pt x="27" y="99"/>
                  </a:lnTo>
                  <a:lnTo>
                    <a:pt x="30" y="99"/>
                  </a:lnTo>
                  <a:lnTo>
                    <a:pt x="30" y="99"/>
                  </a:lnTo>
                  <a:lnTo>
                    <a:pt x="31" y="98"/>
                  </a:lnTo>
                  <a:lnTo>
                    <a:pt x="31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4" y="98"/>
                  </a:lnTo>
                  <a:lnTo>
                    <a:pt x="37" y="99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40" y="102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1" y="107"/>
                  </a:lnTo>
                  <a:lnTo>
                    <a:pt x="42" y="107"/>
                  </a:lnTo>
                  <a:lnTo>
                    <a:pt x="44" y="105"/>
                  </a:lnTo>
                  <a:lnTo>
                    <a:pt x="45" y="105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50" y="98"/>
                  </a:lnTo>
                  <a:lnTo>
                    <a:pt x="51" y="97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1" y="94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2" y="91"/>
                  </a:lnTo>
                  <a:lnTo>
                    <a:pt x="55" y="88"/>
                  </a:lnTo>
                  <a:lnTo>
                    <a:pt x="55" y="87"/>
                  </a:lnTo>
                  <a:lnTo>
                    <a:pt x="55" y="85"/>
                  </a:lnTo>
                  <a:lnTo>
                    <a:pt x="57" y="82"/>
                  </a:lnTo>
                  <a:lnTo>
                    <a:pt x="58" y="78"/>
                  </a:lnTo>
                  <a:lnTo>
                    <a:pt x="58" y="77"/>
                  </a:lnTo>
                  <a:lnTo>
                    <a:pt x="59" y="74"/>
                  </a:lnTo>
                  <a:lnTo>
                    <a:pt x="61" y="71"/>
                  </a:lnTo>
                  <a:lnTo>
                    <a:pt x="64" y="71"/>
                  </a:lnTo>
                  <a:lnTo>
                    <a:pt x="65" y="71"/>
                  </a:lnTo>
                  <a:lnTo>
                    <a:pt x="67" y="70"/>
                  </a:lnTo>
                  <a:lnTo>
                    <a:pt x="67" y="68"/>
                  </a:lnTo>
                  <a:lnTo>
                    <a:pt x="68" y="67"/>
                  </a:lnTo>
                  <a:lnTo>
                    <a:pt x="68" y="65"/>
                  </a:lnTo>
                  <a:lnTo>
                    <a:pt x="68" y="62"/>
                  </a:lnTo>
                  <a:lnTo>
                    <a:pt x="68" y="60"/>
                  </a:lnTo>
                  <a:lnTo>
                    <a:pt x="69" y="58"/>
                  </a:lnTo>
                  <a:lnTo>
                    <a:pt x="71" y="57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55"/>
                  </a:lnTo>
                  <a:lnTo>
                    <a:pt x="74" y="52"/>
                  </a:lnTo>
                  <a:lnTo>
                    <a:pt x="74" y="51"/>
                  </a:lnTo>
                  <a:lnTo>
                    <a:pt x="75" y="50"/>
                  </a:lnTo>
                  <a:lnTo>
                    <a:pt x="75" y="48"/>
                  </a:lnTo>
                  <a:lnTo>
                    <a:pt x="77" y="47"/>
                  </a:lnTo>
                  <a:lnTo>
                    <a:pt x="78" y="42"/>
                  </a:lnTo>
                  <a:lnTo>
                    <a:pt x="79" y="40"/>
                  </a:lnTo>
                  <a:lnTo>
                    <a:pt x="82" y="35"/>
                  </a:lnTo>
                  <a:lnTo>
                    <a:pt x="85" y="31"/>
                  </a:lnTo>
                  <a:lnTo>
                    <a:pt x="87" y="30"/>
                  </a:lnTo>
                  <a:lnTo>
                    <a:pt x="88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94" y="27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4"/>
                  </a:lnTo>
                  <a:lnTo>
                    <a:pt x="95" y="22"/>
                  </a:lnTo>
                  <a:lnTo>
                    <a:pt x="95" y="21"/>
                  </a:lnTo>
                  <a:lnTo>
                    <a:pt x="97" y="20"/>
                  </a:lnTo>
                  <a:lnTo>
                    <a:pt x="97" y="17"/>
                  </a:lnTo>
                  <a:lnTo>
                    <a:pt x="97" y="15"/>
                  </a:lnTo>
                  <a:lnTo>
                    <a:pt x="97" y="14"/>
                  </a:lnTo>
                  <a:lnTo>
                    <a:pt x="97" y="12"/>
                  </a:lnTo>
                  <a:lnTo>
                    <a:pt x="95" y="12"/>
                  </a:lnTo>
                  <a:lnTo>
                    <a:pt x="95" y="11"/>
                  </a:lnTo>
                  <a:lnTo>
                    <a:pt x="94" y="11"/>
                  </a:lnTo>
                  <a:lnTo>
                    <a:pt x="91" y="11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89" y="7"/>
                  </a:lnTo>
                  <a:lnTo>
                    <a:pt x="88" y="0"/>
                  </a:lnTo>
                  <a:lnTo>
                    <a:pt x="91" y="0"/>
                  </a:lnTo>
                  <a:lnTo>
                    <a:pt x="94" y="0"/>
                  </a:lnTo>
                  <a:lnTo>
                    <a:pt x="95" y="1"/>
                  </a:lnTo>
                  <a:lnTo>
                    <a:pt x="95" y="2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9" y="8"/>
                  </a:lnTo>
                  <a:lnTo>
                    <a:pt x="101" y="12"/>
                  </a:lnTo>
                  <a:lnTo>
                    <a:pt x="102" y="14"/>
                  </a:lnTo>
                  <a:lnTo>
                    <a:pt x="102" y="15"/>
                  </a:lnTo>
                  <a:lnTo>
                    <a:pt x="104" y="18"/>
                  </a:lnTo>
                  <a:lnTo>
                    <a:pt x="104" y="20"/>
                  </a:lnTo>
                  <a:lnTo>
                    <a:pt x="104" y="21"/>
                  </a:lnTo>
                  <a:lnTo>
                    <a:pt x="104" y="22"/>
                  </a:lnTo>
                  <a:lnTo>
                    <a:pt x="105" y="24"/>
                  </a:lnTo>
                  <a:lnTo>
                    <a:pt x="104" y="27"/>
                  </a:lnTo>
                  <a:lnTo>
                    <a:pt x="104" y="28"/>
                  </a:lnTo>
                  <a:lnTo>
                    <a:pt x="104" y="31"/>
                  </a:lnTo>
                  <a:lnTo>
                    <a:pt x="104" y="35"/>
                  </a:lnTo>
                  <a:lnTo>
                    <a:pt x="105" y="38"/>
                  </a:lnTo>
                  <a:lnTo>
                    <a:pt x="105" y="41"/>
                  </a:lnTo>
                  <a:lnTo>
                    <a:pt x="107" y="44"/>
                  </a:lnTo>
                  <a:lnTo>
                    <a:pt x="109" y="45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1" y="50"/>
                  </a:lnTo>
                  <a:lnTo>
                    <a:pt x="108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4" y="50"/>
                  </a:lnTo>
                  <a:lnTo>
                    <a:pt x="99" y="50"/>
                  </a:lnTo>
                  <a:lnTo>
                    <a:pt x="97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89" y="51"/>
                  </a:lnTo>
                  <a:lnTo>
                    <a:pt x="88" y="52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8" y="57"/>
                  </a:lnTo>
                  <a:lnTo>
                    <a:pt x="89" y="58"/>
                  </a:lnTo>
                  <a:lnTo>
                    <a:pt x="91" y="61"/>
                  </a:lnTo>
                  <a:lnTo>
                    <a:pt x="92" y="62"/>
                  </a:lnTo>
                  <a:lnTo>
                    <a:pt x="95" y="65"/>
                  </a:lnTo>
                  <a:lnTo>
                    <a:pt x="98" y="67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101" y="68"/>
                  </a:lnTo>
                  <a:lnTo>
                    <a:pt x="102" y="70"/>
                  </a:lnTo>
                  <a:lnTo>
                    <a:pt x="104" y="72"/>
                  </a:lnTo>
                  <a:lnTo>
                    <a:pt x="107" y="77"/>
                  </a:lnTo>
                  <a:lnTo>
                    <a:pt x="108" y="80"/>
                  </a:lnTo>
                  <a:lnTo>
                    <a:pt x="109" y="84"/>
                  </a:lnTo>
                  <a:lnTo>
                    <a:pt x="111" y="84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1" y="88"/>
                  </a:lnTo>
                  <a:lnTo>
                    <a:pt x="111" y="9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185;p3"/>
            <p:cNvSpPr/>
            <p:nvPr/>
          </p:nvSpPr>
          <p:spPr>
            <a:xfrm>
              <a:off x="4778261" y="3735106"/>
              <a:ext cx="687272" cy="452633"/>
            </a:xfrm>
            <a:custGeom>
              <a:rect b="b" l="l" r="r" t="t"/>
              <a:pathLst>
                <a:path extrusionOk="0" h="721" w="980">
                  <a:moveTo>
                    <a:pt x="598" y="691"/>
                  </a:moveTo>
                  <a:lnTo>
                    <a:pt x="598" y="692"/>
                  </a:lnTo>
                  <a:lnTo>
                    <a:pt x="599" y="692"/>
                  </a:lnTo>
                  <a:lnTo>
                    <a:pt x="599" y="695"/>
                  </a:lnTo>
                  <a:lnTo>
                    <a:pt x="599" y="697"/>
                  </a:lnTo>
                  <a:lnTo>
                    <a:pt x="598" y="698"/>
                  </a:lnTo>
                  <a:lnTo>
                    <a:pt x="596" y="698"/>
                  </a:lnTo>
                  <a:lnTo>
                    <a:pt x="593" y="702"/>
                  </a:lnTo>
                  <a:lnTo>
                    <a:pt x="592" y="704"/>
                  </a:lnTo>
                  <a:lnTo>
                    <a:pt x="592" y="705"/>
                  </a:lnTo>
                  <a:lnTo>
                    <a:pt x="592" y="705"/>
                  </a:lnTo>
                  <a:lnTo>
                    <a:pt x="592" y="707"/>
                  </a:lnTo>
                  <a:lnTo>
                    <a:pt x="590" y="708"/>
                  </a:lnTo>
                  <a:lnTo>
                    <a:pt x="590" y="711"/>
                  </a:lnTo>
                  <a:lnTo>
                    <a:pt x="590" y="712"/>
                  </a:lnTo>
                  <a:lnTo>
                    <a:pt x="589" y="712"/>
                  </a:lnTo>
                  <a:lnTo>
                    <a:pt x="588" y="714"/>
                  </a:lnTo>
                  <a:lnTo>
                    <a:pt x="588" y="714"/>
                  </a:lnTo>
                  <a:lnTo>
                    <a:pt x="586" y="714"/>
                  </a:lnTo>
                  <a:lnTo>
                    <a:pt x="585" y="715"/>
                  </a:lnTo>
                  <a:lnTo>
                    <a:pt x="583" y="717"/>
                  </a:lnTo>
                  <a:lnTo>
                    <a:pt x="583" y="717"/>
                  </a:lnTo>
                  <a:lnTo>
                    <a:pt x="583" y="717"/>
                  </a:lnTo>
                  <a:lnTo>
                    <a:pt x="583" y="718"/>
                  </a:lnTo>
                  <a:lnTo>
                    <a:pt x="582" y="718"/>
                  </a:lnTo>
                  <a:lnTo>
                    <a:pt x="580" y="718"/>
                  </a:lnTo>
                  <a:lnTo>
                    <a:pt x="579" y="718"/>
                  </a:lnTo>
                  <a:lnTo>
                    <a:pt x="578" y="719"/>
                  </a:lnTo>
                  <a:lnTo>
                    <a:pt x="578" y="721"/>
                  </a:lnTo>
                  <a:lnTo>
                    <a:pt x="576" y="721"/>
                  </a:lnTo>
                  <a:lnTo>
                    <a:pt x="575" y="721"/>
                  </a:lnTo>
                  <a:lnTo>
                    <a:pt x="573" y="719"/>
                  </a:lnTo>
                  <a:lnTo>
                    <a:pt x="572" y="719"/>
                  </a:lnTo>
                  <a:lnTo>
                    <a:pt x="569" y="719"/>
                  </a:lnTo>
                  <a:lnTo>
                    <a:pt x="568" y="718"/>
                  </a:lnTo>
                  <a:lnTo>
                    <a:pt x="566" y="718"/>
                  </a:lnTo>
                  <a:lnTo>
                    <a:pt x="562" y="715"/>
                  </a:lnTo>
                  <a:lnTo>
                    <a:pt x="562" y="712"/>
                  </a:lnTo>
                  <a:lnTo>
                    <a:pt x="560" y="709"/>
                  </a:lnTo>
                  <a:lnTo>
                    <a:pt x="560" y="709"/>
                  </a:lnTo>
                  <a:lnTo>
                    <a:pt x="562" y="704"/>
                  </a:lnTo>
                  <a:lnTo>
                    <a:pt x="562" y="702"/>
                  </a:lnTo>
                  <a:lnTo>
                    <a:pt x="562" y="702"/>
                  </a:lnTo>
                  <a:lnTo>
                    <a:pt x="563" y="701"/>
                  </a:lnTo>
                  <a:lnTo>
                    <a:pt x="565" y="699"/>
                  </a:lnTo>
                  <a:lnTo>
                    <a:pt x="568" y="697"/>
                  </a:lnTo>
                  <a:lnTo>
                    <a:pt x="569" y="697"/>
                  </a:lnTo>
                  <a:lnTo>
                    <a:pt x="572" y="695"/>
                  </a:lnTo>
                  <a:lnTo>
                    <a:pt x="570" y="695"/>
                  </a:lnTo>
                  <a:lnTo>
                    <a:pt x="569" y="695"/>
                  </a:lnTo>
                  <a:lnTo>
                    <a:pt x="570" y="694"/>
                  </a:lnTo>
                  <a:lnTo>
                    <a:pt x="570" y="692"/>
                  </a:lnTo>
                  <a:lnTo>
                    <a:pt x="572" y="692"/>
                  </a:lnTo>
                  <a:lnTo>
                    <a:pt x="573" y="692"/>
                  </a:lnTo>
                  <a:lnTo>
                    <a:pt x="575" y="692"/>
                  </a:lnTo>
                  <a:lnTo>
                    <a:pt x="576" y="691"/>
                  </a:lnTo>
                  <a:lnTo>
                    <a:pt x="578" y="691"/>
                  </a:lnTo>
                  <a:lnTo>
                    <a:pt x="582" y="691"/>
                  </a:lnTo>
                  <a:lnTo>
                    <a:pt x="585" y="691"/>
                  </a:lnTo>
                  <a:lnTo>
                    <a:pt x="586" y="689"/>
                  </a:lnTo>
                  <a:lnTo>
                    <a:pt x="586" y="689"/>
                  </a:lnTo>
                  <a:lnTo>
                    <a:pt x="589" y="689"/>
                  </a:lnTo>
                  <a:lnTo>
                    <a:pt x="589" y="691"/>
                  </a:lnTo>
                  <a:lnTo>
                    <a:pt x="589" y="691"/>
                  </a:lnTo>
                  <a:lnTo>
                    <a:pt x="589" y="689"/>
                  </a:lnTo>
                  <a:lnTo>
                    <a:pt x="589" y="689"/>
                  </a:lnTo>
                  <a:lnTo>
                    <a:pt x="592" y="691"/>
                  </a:lnTo>
                  <a:lnTo>
                    <a:pt x="592" y="689"/>
                  </a:lnTo>
                  <a:lnTo>
                    <a:pt x="592" y="689"/>
                  </a:lnTo>
                  <a:lnTo>
                    <a:pt x="593" y="688"/>
                  </a:lnTo>
                  <a:lnTo>
                    <a:pt x="593" y="688"/>
                  </a:lnTo>
                  <a:lnTo>
                    <a:pt x="595" y="689"/>
                  </a:lnTo>
                  <a:lnTo>
                    <a:pt x="596" y="691"/>
                  </a:lnTo>
                  <a:lnTo>
                    <a:pt x="598" y="691"/>
                  </a:lnTo>
                  <a:close/>
                  <a:moveTo>
                    <a:pt x="589" y="672"/>
                  </a:moveTo>
                  <a:lnTo>
                    <a:pt x="589" y="672"/>
                  </a:lnTo>
                  <a:lnTo>
                    <a:pt x="592" y="672"/>
                  </a:lnTo>
                  <a:lnTo>
                    <a:pt x="592" y="674"/>
                  </a:lnTo>
                  <a:lnTo>
                    <a:pt x="592" y="674"/>
                  </a:lnTo>
                  <a:lnTo>
                    <a:pt x="590" y="674"/>
                  </a:lnTo>
                  <a:lnTo>
                    <a:pt x="589" y="674"/>
                  </a:lnTo>
                  <a:lnTo>
                    <a:pt x="588" y="674"/>
                  </a:lnTo>
                  <a:lnTo>
                    <a:pt x="588" y="674"/>
                  </a:lnTo>
                  <a:lnTo>
                    <a:pt x="588" y="674"/>
                  </a:lnTo>
                  <a:lnTo>
                    <a:pt x="588" y="672"/>
                  </a:lnTo>
                  <a:lnTo>
                    <a:pt x="589" y="672"/>
                  </a:lnTo>
                  <a:close/>
                  <a:moveTo>
                    <a:pt x="625" y="662"/>
                  </a:moveTo>
                  <a:lnTo>
                    <a:pt x="623" y="664"/>
                  </a:lnTo>
                  <a:lnTo>
                    <a:pt x="623" y="664"/>
                  </a:lnTo>
                  <a:lnTo>
                    <a:pt x="623" y="662"/>
                  </a:lnTo>
                  <a:lnTo>
                    <a:pt x="625" y="662"/>
                  </a:lnTo>
                  <a:lnTo>
                    <a:pt x="625" y="662"/>
                  </a:lnTo>
                  <a:close/>
                  <a:moveTo>
                    <a:pt x="628" y="664"/>
                  </a:moveTo>
                  <a:lnTo>
                    <a:pt x="628" y="664"/>
                  </a:lnTo>
                  <a:lnTo>
                    <a:pt x="626" y="664"/>
                  </a:lnTo>
                  <a:lnTo>
                    <a:pt x="626" y="662"/>
                  </a:lnTo>
                  <a:lnTo>
                    <a:pt x="626" y="662"/>
                  </a:lnTo>
                  <a:lnTo>
                    <a:pt x="628" y="661"/>
                  </a:lnTo>
                  <a:lnTo>
                    <a:pt x="628" y="661"/>
                  </a:lnTo>
                  <a:lnTo>
                    <a:pt x="629" y="661"/>
                  </a:lnTo>
                  <a:lnTo>
                    <a:pt x="629" y="661"/>
                  </a:lnTo>
                  <a:lnTo>
                    <a:pt x="628" y="661"/>
                  </a:lnTo>
                  <a:lnTo>
                    <a:pt x="628" y="662"/>
                  </a:lnTo>
                  <a:lnTo>
                    <a:pt x="628" y="664"/>
                  </a:lnTo>
                  <a:close/>
                  <a:moveTo>
                    <a:pt x="640" y="642"/>
                  </a:moveTo>
                  <a:lnTo>
                    <a:pt x="640" y="644"/>
                  </a:lnTo>
                  <a:lnTo>
                    <a:pt x="639" y="642"/>
                  </a:lnTo>
                  <a:lnTo>
                    <a:pt x="639" y="642"/>
                  </a:lnTo>
                  <a:lnTo>
                    <a:pt x="637" y="642"/>
                  </a:lnTo>
                  <a:lnTo>
                    <a:pt x="637" y="641"/>
                  </a:lnTo>
                  <a:lnTo>
                    <a:pt x="639" y="641"/>
                  </a:lnTo>
                  <a:lnTo>
                    <a:pt x="639" y="642"/>
                  </a:lnTo>
                  <a:lnTo>
                    <a:pt x="640" y="642"/>
                  </a:lnTo>
                  <a:close/>
                  <a:moveTo>
                    <a:pt x="715" y="614"/>
                  </a:moveTo>
                  <a:lnTo>
                    <a:pt x="713" y="614"/>
                  </a:lnTo>
                  <a:lnTo>
                    <a:pt x="712" y="614"/>
                  </a:lnTo>
                  <a:lnTo>
                    <a:pt x="712" y="614"/>
                  </a:lnTo>
                  <a:lnTo>
                    <a:pt x="712" y="614"/>
                  </a:lnTo>
                  <a:lnTo>
                    <a:pt x="713" y="612"/>
                  </a:lnTo>
                  <a:lnTo>
                    <a:pt x="713" y="612"/>
                  </a:lnTo>
                  <a:lnTo>
                    <a:pt x="713" y="612"/>
                  </a:lnTo>
                  <a:lnTo>
                    <a:pt x="715" y="614"/>
                  </a:lnTo>
                  <a:close/>
                  <a:moveTo>
                    <a:pt x="740" y="597"/>
                  </a:moveTo>
                  <a:lnTo>
                    <a:pt x="739" y="597"/>
                  </a:lnTo>
                  <a:lnTo>
                    <a:pt x="739" y="597"/>
                  </a:lnTo>
                  <a:lnTo>
                    <a:pt x="739" y="595"/>
                  </a:lnTo>
                  <a:lnTo>
                    <a:pt x="739" y="595"/>
                  </a:lnTo>
                  <a:lnTo>
                    <a:pt x="739" y="594"/>
                  </a:lnTo>
                  <a:lnTo>
                    <a:pt x="739" y="594"/>
                  </a:lnTo>
                  <a:lnTo>
                    <a:pt x="739" y="592"/>
                  </a:lnTo>
                  <a:lnTo>
                    <a:pt x="740" y="594"/>
                  </a:lnTo>
                  <a:lnTo>
                    <a:pt x="740" y="594"/>
                  </a:lnTo>
                  <a:lnTo>
                    <a:pt x="740" y="594"/>
                  </a:lnTo>
                  <a:lnTo>
                    <a:pt x="740" y="595"/>
                  </a:lnTo>
                  <a:lnTo>
                    <a:pt x="740" y="595"/>
                  </a:lnTo>
                  <a:lnTo>
                    <a:pt x="740" y="597"/>
                  </a:lnTo>
                  <a:lnTo>
                    <a:pt x="740" y="597"/>
                  </a:lnTo>
                  <a:close/>
                  <a:moveTo>
                    <a:pt x="763" y="550"/>
                  </a:moveTo>
                  <a:lnTo>
                    <a:pt x="762" y="550"/>
                  </a:lnTo>
                  <a:lnTo>
                    <a:pt x="762" y="550"/>
                  </a:lnTo>
                  <a:lnTo>
                    <a:pt x="762" y="548"/>
                  </a:lnTo>
                  <a:lnTo>
                    <a:pt x="762" y="547"/>
                  </a:lnTo>
                  <a:lnTo>
                    <a:pt x="763" y="548"/>
                  </a:lnTo>
                  <a:lnTo>
                    <a:pt x="763" y="548"/>
                  </a:lnTo>
                  <a:lnTo>
                    <a:pt x="763" y="550"/>
                  </a:lnTo>
                  <a:close/>
                  <a:moveTo>
                    <a:pt x="777" y="521"/>
                  </a:moveTo>
                  <a:lnTo>
                    <a:pt x="777" y="521"/>
                  </a:lnTo>
                  <a:lnTo>
                    <a:pt x="776" y="520"/>
                  </a:lnTo>
                  <a:lnTo>
                    <a:pt x="776" y="520"/>
                  </a:lnTo>
                  <a:lnTo>
                    <a:pt x="776" y="518"/>
                  </a:lnTo>
                  <a:lnTo>
                    <a:pt x="777" y="518"/>
                  </a:lnTo>
                  <a:lnTo>
                    <a:pt x="777" y="520"/>
                  </a:lnTo>
                  <a:lnTo>
                    <a:pt x="777" y="521"/>
                  </a:lnTo>
                  <a:close/>
                  <a:moveTo>
                    <a:pt x="782" y="517"/>
                  </a:moveTo>
                  <a:lnTo>
                    <a:pt x="782" y="518"/>
                  </a:lnTo>
                  <a:lnTo>
                    <a:pt x="780" y="517"/>
                  </a:lnTo>
                  <a:lnTo>
                    <a:pt x="780" y="515"/>
                  </a:lnTo>
                  <a:lnTo>
                    <a:pt x="780" y="515"/>
                  </a:lnTo>
                  <a:lnTo>
                    <a:pt x="782" y="515"/>
                  </a:lnTo>
                  <a:lnTo>
                    <a:pt x="782" y="517"/>
                  </a:lnTo>
                  <a:close/>
                  <a:moveTo>
                    <a:pt x="780" y="515"/>
                  </a:moveTo>
                  <a:lnTo>
                    <a:pt x="780" y="515"/>
                  </a:lnTo>
                  <a:lnTo>
                    <a:pt x="777" y="515"/>
                  </a:lnTo>
                  <a:lnTo>
                    <a:pt x="776" y="514"/>
                  </a:lnTo>
                  <a:lnTo>
                    <a:pt x="774" y="514"/>
                  </a:lnTo>
                  <a:lnTo>
                    <a:pt x="774" y="512"/>
                  </a:lnTo>
                  <a:lnTo>
                    <a:pt x="777" y="512"/>
                  </a:lnTo>
                  <a:lnTo>
                    <a:pt x="780" y="514"/>
                  </a:lnTo>
                  <a:lnTo>
                    <a:pt x="780" y="514"/>
                  </a:lnTo>
                  <a:lnTo>
                    <a:pt x="780" y="515"/>
                  </a:lnTo>
                  <a:close/>
                  <a:moveTo>
                    <a:pt x="773" y="487"/>
                  </a:moveTo>
                  <a:lnTo>
                    <a:pt x="772" y="487"/>
                  </a:lnTo>
                  <a:lnTo>
                    <a:pt x="767" y="485"/>
                  </a:lnTo>
                  <a:lnTo>
                    <a:pt x="764" y="484"/>
                  </a:lnTo>
                  <a:lnTo>
                    <a:pt x="763" y="482"/>
                  </a:lnTo>
                  <a:lnTo>
                    <a:pt x="763" y="481"/>
                  </a:lnTo>
                  <a:lnTo>
                    <a:pt x="764" y="481"/>
                  </a:lnTo>
                  <a:lnTo>
                    <a:pt x="766" y="482"/>
                  </a:lnTo>
                  <a:lnTo>
                    <a:pt x="767" y="482"/>
                  </a:lnTo>
                  <a:lnTo>
                    <a:pt x="767" y="484"/>
                  </a:lnTo>
                  <a:lnTo>
                    <a:pt x="769" y="484"/>
                  </a:lnTo>
                  <a:lnTo>
                    <a:pt x="772" y="485"/>
                  </a:lnTo>
                  <a:lnTo>
                    <a:pt x="773" y="487"/>
                  </a:lnTo>
                  <a:lnTo>
                    <a:pt x="773" y="487"/>
                  </a:lnTo>
                  <a:close/>
                  <a:moveTo>
                    <a:pt x="799" y="1"/>
                  </a:moveTo>
                  <a:lnTo>
                    <a:pt x="800" y="1"/>
                  </a:lnTo>
                  <a:lnTo>
                    <a:pt x="800" y="1"/>
                  </a:lnTo>
                  <a:lnTo>
                    <a:pt x="800" y="1"/>
                  </a:lnTo>
                  <a:lnTo>
                    <a:pt x="803" y="1"/>
                  </a:lnTo>
                  <a:lnTo>
                    <a:pt x="807" y="4"/>
                  </a:lnTo>
                  <a:lnTo>
                    <a:pt x="810" y="6"/>
                  </a:lnTo>
                  <a:lnTo>
                    <a:pt x="810" y="6"/>
                  </a:lnTo>
                  <a:lnTo>
                    <a:pt x="812" y="7"/>
                  </a:lnTo>
                  <a:lnTo>
                    <a:pt x="813" y="9"/>
                  </a:lnTo>
                  <a:lnTo>
                    <a:pt x="814" y="10"/>
                  </a:lnTo>
                  <a:lnTo>
                    <a:pt x="817" y="10"/>
                  </a:lnTo>
                  <a:lnTo>
                    <a:pt x="820" y="11"/>
                  </a:lnTo>
                  <a:lnTo>
                    <a:pt x="822" y="13"/>
                  </a:lnTo>
                  <a:lnTo>
                    <a:pt x="822" y="11"/>
                  </a:lnTo>
                  <a:lnTo>
                    <a:pt x="823" y="10"/>
                  </a:lnTo>
                  <a:lnTo>
                    <a:pt x="824" y="10"/>
                  </a:lnTo>
                  <a:lnTo>
                    <a:pt x="827" y="11"/>
                  </a:lnTo>
                  <a:lnTo>
                    <a:pt x="830" y="13"/>
                  </a:lnTo>
                  <a:lnTo>
                    <a:pt x="831" y="14"/>
                  </a:lnTo>
                  <a:lnTo>
                    <a:pt x="833" y="14"/>
                  </a:lnTo>
                  <a:lnTo>
                    <a:pt x="833" y="14"/>
                  </a:lnTo>
                  <a:lnTo>
                    <a:pt x="834" y="16"/>
                  </a:lnTo>
                  <a:lnTo>
                    <a:pt x="834" y="17"/>
                  </a:lnTo>
                  <a:lnTo>
                    <a:pt x="834" y="17"/>
                  </a:lnTo>
                  <a:lnTo>
                    <a:pt x="834" y="19"/>
                  </a:lnTo>
                  <a:lnTo>
                    <a:pt x="836" y="19"/>
                  </a:lnTo>
                  <a:lnTo>
                    <a:pt x="837" y="19"/>
                  </a:lnTo>
                  <a:lnTo>
                    <a:pt x="839" y="21"/>
                  </a:lnTo>
                  <a:lnTo>
                    <a:pt x="839" y="21"/>
                  </a:lnTo>
                  <a:lnTo>
                    <a:pt x="840" y="23"/>
                  </a:lnTo>
                  <a:lnTo>
                    <a:pt x="840" y="23"/>
                  </a:lnTo>
                  <a:lnTo>
                    <a:pt x="840" y="24"/>
                  </a:lnTo>
                  <a:lnTo>
                    <a:pt x="840" y="24"/>
                  </a:lnTo>
                  <a:lnTo>
                    <a:pt x="840" y="26"/>
                  </a:lnTo>
                  <a:lnTo>
                    <a:pt x="839" y="26"/>
                  </a:lnTo>
                  <a:lnTo>
                    <a:pt x="840" y="27"/>
                  </a:lnTo>
                  <a:lnTo>
                    <a:pt x="841" y="27"/>
                  </a:lnTo>
                  <a:lnTo>
                    <a:pt x="841" y="29"/>
                  </a:lnTo>
                  <a:lnTo>
                    <a:pt x="843" y="29"/>
                  </a:lnTo>
                  <a:lnTo>
                    <a:pt x="843" y="30"/>
                  </a:lnTo>
                  <a:lnTo>
                    <a:pt x="844" y="31"/>
                  </a:lnTo>
                  <a:lnTo>
                    <a:pt x="844" y="33"/>
                  </a:lnTo>
                  <a:lnTo>
                    <a:pt x="844" y="33"/>
                  </a:lnTo>
                  <a:lnTo>
                    <a:pt x="844" y="34"/>
                  </a:lnTo>
                  <a:lnTo>
                    <a:pt x="846" y="34"/>
                  </a:lnTo>
                  <a:lnTo>
                    <a:pt x="846" y="36"/>
                  </a:lnTo>
                  <a:lnTo>
                    <a:pt x="846" y="37"/>
                  </a:lnTo>
                  <a:lnTo>
                    <a:pt x="846" y="39"/>
                  </a:lnTo>
                  <a:lnTo>
                    <a:pt x="847" y="41"/>
                  </a:lnTo>
                  <a:lnTo>
                    <a:pt x="847" y="44"/>
                  </a:lnTo>
                  <a:lnTo>
                    <a:pt x="850" y="47"/>
                  </a:lnTo>
                  <a:lnTo>
                    <a:pt x="850" y="50"/>
                  </a:lnTo>
                  <a:lnTo>
                    <a:pt x="850" y="51"/>
                  </a:lnTo>
                  <a:lnTo>
                    <a:pt x="850" y="53"/>
                  </a:lnTo>
                  <a:lnTo>
                    <a:pt x="851" y="54"/>
                  </a:lnTo>
                  <a:lnTo>
                    <a:pt x="851" y="54"/>
                  </a:lnTo>
                  <a:lnTo>
                    <a:pt x="851" y="56"/>
                  </a:lnTo>
                  <a:lnTo>
                    <a:pt x="853" y="57"/>
                  </a:lnTo>
                  <a:lnTo>
                    <a:pt x="853" y="58"/>
                  </a:lnTo>
                  <a:lnTo>
                    <a:pt x="853" y="60"/>
                  </a:lnTo>
                  <a:lnTo>
                    <a:pt x="853" y="61"/>
                  </a:lnTo>
                  <a:lnTo>
                    <a:pt x="853" y="61"/>
                  </a:lnTo>
                  <a:lnTo>
                    <a:pt x="854" y="63"/>
                  </a:lnTo>
                  <a:lnTo>
                    <a:pt x="854" y="66"/>
                  </a:lnTo>
                  <a:lnTo>
                    <a:pt x="856" y="68"/>
                  </a:lnTo>
                  <a:lnTo>
                    <a:pt x="859" y="71"/>
                  </a:lnTo>
                  <a:lnTo>
                    <a:pt x="860" y="74"/>
                  </a:lnTo>
                  <a:lnTo>
                    <a:pt x="860" y="77"/>
                  </a:lnTo>
                  <a:lnTo>
                    <a:pt x="860" y="78"/>
                  </a:lnTo>
                  <a:lnTo>
                    <a:pt x="860" y="80"/>
                  </a:lnTo>
                  <a:lnTo>
                    <a:pt x="860" y="81"/>
                  </a:lnTo>
                  <a:lnTo>
                    <a:pt x="860" y="81"/>
                  </a:lnTo>
                  <a:lnTo>
                    <a:pt x="860" y="83"/>
                  </a:lnTo>
                  <a:lnTo>
                    <a:pt x="860" y="84"/>
                  </a:lnTo>
                  <a:lnTo>
                    <a:pt x="861" y="86"/>
                  </a:lnTo>
                  <a:lnTo>
                    <a:pt x="864" y="87"/>
                  </a:lnTo>
                  <a:lnTo>
                    <a:pt x="863" y="91"/>
                  </a:lnTo>
                  <a:lnTo>
                    <a:pt x="863" y="93"/>
                  </a:lnTo>
                  <a:lnTo>
                    <a:pt x="863" y="96"/>
                  </a:lnTo>
                  <a:lnTo>
                    <a:pt x="864" y="97"/>
                  </a:lnTo>
                  <a:lnTo>
                    <a:pt x="866" y="98"/>
                  </a:lnTo>
                  <a:lnTo>
                    <a:pt x="866" y="100"/>
                  </a:lnTo>
                  <a:lnTo>
                    <a:pt x="866" y="101"/>
                  </a:lnTo>
                  <a:lnTo>
                    <a:pt x="869" y="101"/>
                  </a:lnTo>
                  <a:lnTo>
                    <a:pt x="871" y="103"/>
                  </a:lnTo>
                  <a:lnTo>
                    <a:pt x="874" y="104"/>
                  </a:lnTo>
                  <a:lnTo>
                    <a:pt x="880" y="103"/>
                  </a:lnTo>
                  <a:lnTo>
                    <a:pt x="883" y="103"/>
                  </a:lnTo>
                  <a:lnTo>
                    <a:pt x="883" y="103"/>
                  </a:lnTo>
                  <a:lnTo>
                    <a:pt x="884" y="104"/>
                  </a:lnTo>
                  <a:lnTo>
                    <a:pt x="883" y="106"/>
                  </a:lnTo>
                  <a:lnTo>
                    <a:pt x="884" y="106"/>
                  </a:lnTo>
                  <a:lnTo>
                    <a:pt x="886" y="106"/>
                  </a:lnTo>
                  <a:lnTo>
                    <a:pt x="887" y="107"/>
                  </a:lnTo>
                  <a:lnTo>
                    <a:pt x="889" y="108"/>
                  </a:lnTo>
                  <a:lnTo>
                    <a:pt x="889" y="108"/>
                  </a:lnTo>
                  <a:lnTo>
                    <a:pt x="890" y="108"/>
                  </a:lnTo>
                  <a:lnTo>
                    <a:pt x="891" y="108"/>
                  </a:lnTo>
                  <a:lnTo>
                    <a:pt x="891" y="108"/>
                  </a:lnTo>
                  <a:lnTo>
                    <a:pt x="893" y="108"/>
                  </a:lnTo>
                  <a:lnTo>
                    <a:pt x="893" y="107"/>
                  </a:lnTo>
                  <a:lnTo>
                    <a:pt x="894" y="107"/>
                  </a:lnTo>
                  <a:lnTo>
                    <a:pt x="896" y="107"/>
                  </a:lnTo>
                  <a:lnTo>
                    <a:pt x="896" y="110"/>
                  </a:lnTo>
                  <a:lnTo>
                    <a:pt x="897" y="110"/>
                  </a:lnTo>
                  <a:lnTo>
                    <a:pt x="897" y="110"/>
                  </a:lnTo>
                  <a:lnTo>
                    <a:pt x="900" y="113"/>
                  </a:lnTo>
                  <a:lnTo>
                    <a:pt x="904" y="118"/>
                  </a:lnTo>
                  <a:lnTo>
                    <a:pt x="906" y="120"/>
                  </a:lnTo>
                  <a:lnTo>
                    <a:pt x="909" y="120"/>
                  </a:lnTo>
                  <a:lnTo>
                    <a:pt x="911" y="120"/>
                  </a:lnTo>
                  <a:lnTo>
                    <a:pt x="913" y="123"/>
                  </a:lnTo>
                  <a:lnTo>
                    <a:pt x="913" y="126"/>
                  </a:lnTo>
                  <a:lnTo>
                    <a:pt x="911" y="127"/>
                  </a:lnTo>
                  <a:lnTo>
                    <a:pt x="913" y="127"/>
                  </a:lnTo>
                  <a:lnTo>
                    <a:pt x="914" y="130"/>
                  </a:lnTo>
                  <a:lnTo>
                    <a:pt x="916" y="131"/>
                  </a:lnTo>
                  <a:lnTo>
                    <a:pt x="916" y="133"/>
                  </a:lnTo>
                  <a:lnTo>
                    <a:pt x="916" y="133"/>
                  </a:lnTo>
                  <a:lnTo>
                    <a:pt x="916" y="136"/>
                  </a:lnTo>
                  <a:lnTo>
                    <a:pt x="914" y="138"/>
                  </a:lnTo>
                  <a:lnTo>
                    <a:pt x="914" y="141"/>
                  </a:lnTo>
                  <a:lnTo>
                    <a:pt x="917" y="143"/>
                  </a:lnTo>
                  <a:lnTo>
                    <a:pt x="917" y="146"/>
                  </a:lnTo>
                  <a:lnTo>
                    <a:pt x="919" y="147"/>
                  </a:lnTo>
                  <a:lnTo>
                    <a:pt x="919" y="148"/>
                  </a:lnTo>
                  <a:lnTo>
                    <a:pt x="919" y="148"/>
                  </a:lnTo>
                  <a:lnTo>
                    <a:pt x="921" y="148"/>
                  </a:lnTo>
                  <a:lnTo>
                    <a:pt x="924" y="148"/>
                  </a:lnTo>
                  <a:lnTo>
                    <a:pt x="927" y="148"/>
                  </a:lnTo>
                  <a:lnTo>
                    <a:pt x="928" y="148"/>
                  </a:lnTo>
                  <a:lnTo>
                    <a:pt x="931" y="148"/>
                  </a:lnTo>
                  <a:lnTo>
                    <a:pt x="937" y="148"/>
                  </a:lnTo>
                  <a:lnTo>
                    <a:pt x="941" y="148"/>
                  </a:lnTo>
                  <a:lnTo>
                    <a:pt x="943" y="148"/>
                  </a:lnTo>
                  <a:lnTo>
                    <a:pt x="944" y="147"/>
                  </a:lnTo>
                  <a:lnTo>
                    <a:pt x="946" y="144"/>
                  </a:lnTo>
                  <a:lnTo>
                    <a:pt x="947" y="143"/>
                  </a:lnTo>
                  <a:lnTo>
                    <a:pt x="947" y="143"/>
                  </a:lnTo>
                  <a:lnTo>
                    <a:pt x="948" y="141"/>
                  </a:lnTo>
                  <a:lnTo>
                    <a:pt x="951" y="140"/>
                  </a:lnTo>
                  <a:lnTo>
                    <a:pt x="953" y="138"/>
                  </a:lnTo>
                  <a:lnTo>
                    <a:pt x="956" y="138"/>
                  </a:lnTo>
                  <a:lnTo>
                    <a:pt x="958" y="138"/>
                  </a:lnTo>
                  <a:lnTo>
                    <a:pt x="960" y="138"/>
                  </a:lnTo>
                  <a:lnTo>
                    <a:pt x="961" y="137"/>
                  </a:lnTo>
                  <a:lnTo>
                    <a:pt x="964" y="134"/>
                  </a:lnTo>
                  <a:lnTo>
                    <a:pt x="970" y="133"/>
                  </a:lnTo>
                  <a:lnTo>
                    <a:pt x="971" y="133"/>
                  </a:lnTo>
                  <a:lnTo>
                    <a:pt x="973" y="133"/>
                  </a:lnTo>
                  <a:lnTo>
                    <a:pt x="974" y="133"/>
                  </a:lnTo>
                  <a:lnTo>
                    <a:pt x="976" y="134"/>
                  </a:lnTo>
                  <a:lnTo>
                    <a:pt x="978" y="136"/>
                  </a:lnTo>
                  <a:lnTo>
                    <a:pt x="978" y="137"/>
                  </a:lnTo>
                  <a:lnTo>
                    <a:pt x="978" y="137"/>
                  </a:lnTo>
                  <a:lnTo>
                    <a:pt x="977" y="138"/>
                  </a:lnTo>
                  <a:lnTo>
                    <a:pt x="977" y="140"/>
                  </a:lnTo>
                  <a:lnTo>
                    <a:pt x="976" y="141"/>
                  </a:lnTo>
                  <a:lnTo>
                    <a:pt x="977" y="141"/>
                  </a:lnTo>
                  <a:lnTo>
                    <a:pt x="977" y="144"/>
                  </a:lnTo>
                  <a:lnTo>
                    <a:pt x="978" y="146"/>
                  </a:lnTo>
                  <a:lnTo>
                    <a:pt x="980" y="148"/>
                  </a:lnTo>
                  <a:lnTo>
                    <a:pt x="978" y="148"/>
                  </a:lnTo>
                  <a:lnTo>
                    <a:pt x="978" y="150"/>
                  </a:lnTo>
                  <a:lnTo>
                    <a:pt x="977" y="153"/>
                  </a:lnTo>
                  <a:lnTo>
                    <a:pt x="976" y="154"/>
                  </a:lnTo>
                  <a:lnTo>
                    <a:pt x="976" y="154"/>
                  </a:lnTo>
                  <a:lnTo>
                    <a:pt x="973" y="154"/>
                  </a:lnTo>
                  <a:lnTo>
                    <a:pt x="973" y="156"/>
                  </a:lnTo>
                  <a:lnTo>
                    <a:pt x="971" y="156"/>
                  </a:lnTo>
                  <a:lnTo>
                    <a:pt x="971" y="156"/>
                  </a:lnTo>
                  <a:lnTo>
                    <a:pt x="971" y="157"/>
                  </a:lnTo>
                  <a:lnTo>
                    <a:pt x="970" y="158"/>
                  </a:lnTo>
                  <a:lnTo>
                    <a:pt x="970" y="158"/>
                  </a:lnTo>
                  <a:lnTo>
                    <a:pt x="970" y="160"/>
                  </a:lnTo>
                  <a:lnTo>
                    <a:pt x="970" y="161"/>
                  </a:lnTo>
                  <a:lnTo>
                    <a:pt x="970" y="163"/>
                  </a:lnTo>
                  <a:lnTo>
                    <a:pt x="968" y="166"/>
                  </a:lnTo>
                  <a:lnTo>
                    <a:pt x="968" y="166"/>
                  </a:lnTo>
                  <a:lnTo>
                    <a:pt x="968" y="168"/>
                  </a:lnTo>
                  <a:lnTo>
                    <a:pt x="968" y="168"/>
                  </a:lnTo>
                  <a:lnTo>
                    <a:pt x="967" y="171"/>
                  </a:lnTo>
                  <a:lnTo>
                    <a:pt x="967" y="174"/>
                  </a:lnTo>
                  <a:lnTo>
                    <a:pt x="966" y="177"/>
                  </a:lnTo>
                  <a:lnTo>
                    <a:pt x="966" y="178"/>
                  </a:lnTo>
                  <a:lnTo>
                    <a:pt x="966" y="180"/>
                  </a:lnTo>
                  <a:lnTo>
                    <a:pt x="966" y="180"/>
                  </a:lnTo>
                  <a:lnTo>
                    <a:pt x="966" y="181"/>
                  </a:lnTo>
                  <a:lnTo>
                    <a:pt x="966" y="183"/>
                  </a:lnTo>
                  <a:lnTo>
                    <a:pt x="964" y="183"/>
                  </a:lnTo>
                  <a:lnTo>
                    <a:pt x="963" y="184"/>
                  </a:lnTo>
                  <a:lnTo>
                    <a:pt x="963" y="186"/>
                  </a:lnTo>
                  <a:lnTo>
                    <a:pt x="963" y="187"/>
                  </a:lnTo>
                  <a:lnTo>
                    <a:pt x="963" y="188"/>
                  </a:lnTo>
                  <a:lnTo>
                    <a:pt x="961" y="190"/>
                  </a:lnTo>
                  <a:lnTo>
                    <a:pt x="961" y="190"/>
                  </a:lnTo>
                  <a:lnTo>
                    <a:pt x="960" y="190"/>
                  </a:lnTo>
                  <a:lnTo>
                    <a:pt x="960" y="191"/>
                  </a:lnTo>
                  <a:lnTo>
                    <a:pt x="958" y="193"/>
                  </a:lnTo>
                  <a:lnTo>
                    <a:pt x="958" y="194"/>
                  </a:lnTo>
                  <a:lnTo>
                    <a:pt x="958" y="196"/>
                  </a:lnTo>
                  <a:lnTo>
                    <a:pt x="958" y="196"/>
                  </a:lnTo>
                  <a:lnTo>
                    <a:pt x="958" y="197"/>
                  </a:lnTo>
                  <a:lnTo>
                    <a:pt x="957" y="198"/>
                  </a:lnTo>
                  <a:lnTo>
                    <a:pt x="956" y="198"/>
                  </a:lnTo>
                  <a:lnTo>
                    <a:pt x="956" y="198"/>
                  </a:lnTo>
                  <a:lnTo>
                    <a:pt x="954" y="200"/>
                  </a:lnTo>
                  <a:lnTo>
                    <a:pt x="953" y="204"/>
                  </a:lnTo>
                  <a:lnTo>
                    <a:pt x="953" y="206"/>
                  </a:lnTo>
                  <a:lnTo>
                    <a:pt x="953" y="208"/>
                  </a:lnTo>
                  <a:lnTo>
                    <a:pt x="951" y="210"/>
                  </a:lnTo>
                  <a:lnTo>
                    <a:pt x="950" y="210"/>
                  </a:lnTo>
                  <a:lnTo>
                    <a:pt x="950" y="210"/>
                  </a:lnTo>
                  <a:lnTo>
                    <a:pt x="948" y="210"/>
                  </a:lnTo>
                  <a:lnTo>
                    <a:pt x="947" y="210"/>
                  </a:lnTo>
                  <a:lnTo>
                    <a:pt x="946" y="208"/>
                  </a:lnTo>
                  <a:lnTo>
                    <a:pt x="944" y="208"/>
                  </a:lnTo>
                  <a:lnTo>
                    <a:pt x="941" y="207"/>
                  </a:lnTo>
                  <a:lnTo>
                    <a:pt x="938" y="207"/>
                  </a:lnTo>
                  <a:lnTo>
                    <a:pt x="936" y="206"/>
                  </a:lnTo>
                  <a:lnTo>
                    <a:pt x="934" y="206"/>
                  </a:lnTo>
                  <a:lnTo>
                    <a:pt x="934" y="204"/>
                  </a:lnTo>
                  <a:lnTo>
                    <a:pt x="933" y="204"/>
                  </a:lnTo>
                  <a:lnTo>
                    <a:pt x="931" y="204"/>
                  </a:lnTo>
                  <a:lnTo>
                    <a:pt x="931" y="206"/>
                  </a:lnTo>
                  <a:lnTo>
                    <a:pt x="930" y="207"/>
                  </a:lnTo>
                  <a:lnTo>
                    <a:pt x="928" y="208"/>
                  </a:lnTo>
                  <a:lnTo>
                    <a:pt x="928" y="208"/>
                  </a:lnTo>
                  <a:lnTo>
                    <a:pt x="927" y="211"/>
                  </a:lnTo>
                  <a:lnTo>
                    <a:pt x="926" y="211"/>
                  </a:lnTo>
                  <a:lnTo>
                    <a:pt x="923" y="213"/>
                  </a:lnTo>
                  <a:lnTo>
                    <a:pt x="923" y="213"/>
                  </a:lnTo>
                  <a:lnTo>
                    <a:pt x="920" y="213"/>
                  </a:lnTo>
                  <a:lnTo>
                    <a:pt x="920" y="214"/>
                  </a:lnTo>
                  <a:lnTo>
                    <a:pt x="919" y="214"/>
                  </a:lnTo>
                  <a:lnTo>
                    <a:pt x="919" y="216"/>
                  </a:lnTo>
                  <a:lnTo>
                    <a:pt x="919" y="217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1" y="223"/>
                  </a:lnTo>
                  <a:lnTo>
                    <a:pt x="923" y="231"/>
                  </a:lnTo>
                  <a:lnTo>
                    <a:pt x="923" y="233"/>
                  </a:lnTo>
                  <a:lnTo>
                    <a:pt x="921" y="240"/>
                  </a:lnTo>
                  <a:lnTo>
                    <a:pt x="921" y="241"/>
                  </a:lnTo>
                  <a:lnTo>
                    <a:pt x="921" y="243"/>
                  </a:lnTo>
                  <a:lnTo>
                    <a:pt x="921" y="244"/>
                  </a:lnTo>
                  <a:lnTo>
                    <a:pt x="923" y="244"/>
                  </a:lnTo>
                  <a:lnTo>
                    <a:pt x="923" y="246"/>
                  </a:lnTo>
                  <a:lnTo>
                    <a:pt x="923" y="246"/>
                  </a:lnTo>
                  <a:lnTo>
                    <a:pt x="923" y="247"/>
                  </a:lnTo>
                  <a:lnTo>
                    <a:pt x="923" y="248"/>
                  </a:lnTo>
                  <a:lnTo>
                    <a:pt x="923" y="250"/>
                  </a:lnTo>
                  <a:lnTo>
                    <a:pt x="921" y="253"/>
                  </a:lnTo>
                  <a:lnTo>
                    <a:pt x="921" y="253"/>
                  </a:lnTo>
                  <a:lnTo>
                    <a:pt x="921" y="254"/>
                  </a:lnTo>
                  <a:lnTo>
                    <a:pt x="920" y="254"/>
                  </a:lnTo>
                  <a:lnTo>
                    <a:pt x="920" y="257"/>
                  </a:lnTo>
                  <a:lnTo>
                    <a:pt x="920" y="257"/>
                  </a:lnTo>
                  <a:lnTo>
                    <a:pt x="919" y="258"/>
                  </a:lnTo>
                  <a:lnTo>
                    <a:pt x="919" y="258"/>
                  </a:lnTo>
                  <a:lnTo>
                    <a:pt x="917" y="258"/>
                  </a:lnTo>
                  <a:lnTo>
                    <a:pt x="916" y="258"/>
                  </a:lnTo>
                  <a:lnTo>
                    <a:pt x="914" y="258"/>
                  </a:lnTo>
                  <a:lnTo>
                    <a:pt x="913" y="260"/>
                  </a:lnTo>
                  <a:lnTo>
                    <a:pt x="911" y="260"/>
                  </a:lnTo>
                  <a:lnTo>
                    <a:pt x="910" y="261"/>
                  </a:lnTo>
                  <a:lnTo>
                    <a:pt x="910" y="261"/>
                  </a:lnTo>
                  <a:lnTo>
                    <a:pt x="910" y="261"/>
                  </a:lnTo>
                  <a:lnTo>
                    <a:pt x="910" y="263"/>
                  </a:lnTo>
                  <a:lnTo>
                    <a:pt x="911" y="263"/>
                  </a:lnTo>
                  <a:lnTo>
                    <a:pt x="913" y="264"/>
                  </a:lnTo>
                  <a:lnTo>
                    <a:pt x="913" y="265"/>
                  </a:lnTo>
                  <a:lnTo>
                    <a:pt x="911" y="265"/>
                  </a:lnTo>
                  <a:lnTo>
                    <a:pt x="911" y="264"/>
                  </a:lnTo>
                  <a:lnTo>
                    <a:pt x="910" y="264"/>
                  </a:lnTo>
                  <a:lnTo>
                    <a:pt x="909" y="264"/>
                  </a:lnTo>
                  <a:lnTo>
                    <a:pt x="909" y="263"/>
                  </a:lnTo>
                  <a:lnTo>
                    <a:pt x="907" y="261"/>
                  </a:lnTo>
                  <a:lnTo>
                    <a:pt x="907" y="258"/>
                  </a:lnTo>
                  <a:lnTo>
                    <a:pt x="907" y="258"/>
                  </a:lnTo>
                  <a:lnTo>
                    <a:pt x="906" y="257"/>
                  </a:lnTo>
                  <a:lnTo>
                    <a:pt x="906" y="257"/>
                  </a:lnTo>
                  <a:lnTo>
                    <a:pt x="904" y="256"/>
                  </a:lnTo>
                  <a:lnTo>
                    <a:pt x="903" y="256"/>
                  </a:lnTo>
                  <a:lnTo>
                    <a:pt x="903" y="256"/>
                  </a:lnTo>
                  <a:lnTo>
                    <a:pt x="903" y="256"/>
                  </a:lnTo>
                  <a:lnTo>
                    <a:pt x="901" y="256"/>
                  </a:lnTo>
                  <a:lnTo>
                    <a:pt x="901" y="256"/>
                  </a:lnTo>
                  <a:lnTo>
                    <a:pt x="900" y="258"/>
                  </a:lnTo>
                  <a:lnTo>
                    <a:pt x="900" y="260"/>
                  </a:lnTo>
                  <a:lnTo>
                    <a:pt x="900" y="261"/>
                  </a:lnTo>
                  <a:lnTo>
                    <a:pt x="899" y="264"/>
                  </a:lnTo>
                  <a:lnTo>
                    <a:pt x="899" y="267"/>
                  </a:lnTo>
                  <a:lnTo>
                    <a:pt x="899" y="267"/>
                  </a:lnTo>
                  <a:lnTo>
                    <a:pt x="897" y="267"/>
                  </a:lnTo>
                  <a:lnTo>
                    <a:pt x="897" y="268"/>
                  </a:lnTo>
                  <a:lnTo>
                    <a:pt x="896" y="268"/>
                  </a:lnTo>
                  <a:lnTo>
                    <a:pt x="896" y="268"/>
                  </a:lnTo>
                  <a:lnTo>
                    <a:pt x="894" y="268"/>
                  </a:lnTo>
                  <a:lnTo>
                    <a:pt x="894" y="268"/>
                  </a:lnTo>
                  <a:lnTo>
                    <a:pt x="893" y="267"/>
                  </a:lnTo>
                  <a:lnTo>
                    <a:pt x="891" y="268"/>
                  </a:lnTo>
                  <a:lnTo>
                    <a:pt x="891" y="270"/>
                  </a:lnTo>
                  <a:lnTo>
                    <a:pt x="890" y="270"/>
                  </a:lnTo>
                  <a:lnTo>
                    <a:pt x="890" y="271"/>
                  </a:lnTo>
                  <a:lnTo>
                    <a:pt x="890" y="273"/>
                  </a:lnTo>
                  <a:lnTo>
                    <a:pt x="889" y="274"/>
                  </a:lnTo>
                  <a:lnTo>
                    <a:pt x="889" y="274"/>
                  </a:lnTo>
                  <a:lnTo>
                    <a:pt x="887" y="275"/>
                  </a:lnTo>
                  <a:lnTo>
                    <a:pt x="886" y="277"/>
                  </a:lnTo>
                  <a:lnTo>
                    <a:pt x="884" y="277"/>
                  </a:lnTo>
                  <a:lnTo>
                    <a:pt x="883" y="275"/>
                  </a:lnTo>
                  <a:lnTo>
                    <a:pt x="881" y="277"/>
                  </a:lnTo>
                  <a:lnTo>
                    <a:pt x="879" y="277"/>
                  </a:lnTo>
                  <a:lnTo>
                    <a:pt x="876" y="277"/>
                  </a:lnTo>
                  <a:lnTo>
                    <a:pt x="874" y="277"/>
                  </a:lnTo>
                  <a:lnTo>
                    <a:pt x="871" y="277"/>
                  </a:lnTo>
                  <a:lnTo>
                    <a:pt x="871" y="278"/>
                  </a:lnTo>
                  <a:lnTo>
                    <a:pt x="871" y="280"/>
                  </a:lnTo>
                  <a:lnTo>
                    <a:pt x="871" y="280"/>
                  </a:lnTo>
                  <a:lnTo>
                    <a:pt x="873" y="280"/>
                  </a:lnTo>
                  <a:lnTo>
                    <a:pt x="873" y="283"/>
                  </a:lnTo>
                  <a:lnTo>
                    <a:pt x="874" y="284"/>
                  </a:lnTo>
                  <a:lnTo>
                    <a:pt x="876" y="284"/>
                  </a:lnTo>
                  <a:lnTo>
                    <a:pt x="876" y="285"/>
                  </a:lnTo>
                  <a:lnTo>
                    <a:pt x="876" y="287"/>
                  </a:lnTo>
                  <a:lnTo>
                    <a:pt x="876" y="287"/>
                  </a:lnTo>
                  <a:lnTo>
                    <a:pt x="874" y="290"/>
                  </a:lnTo>
                  <a:lnTo>
                    <a:pt x="873" y="290"/>
                  </a:lnTo>
                  <a:lnTo>
                    <a:pt x="873" y="290"/>
                  </a:lnTo>
                  <a:lnTo>
                    <a:pt x="871" y="290"/>
                  </a:lnTo>
                  <a:lnTo>
                    <a:pt x="871" y="288"/>
                  </a:lnTo>
                  <a:lnTo>
                    <a:pt x="870" y="288"/>
                  </a:lnTo>
                  <a:lnTo>
                    <a:pt x="866" y="288"/>
                  </a:lnTo>
                  <a:lnTo>
                    <a:pt x="864" y="288"/>
                  </a:lnTo>
                  <a:lnTo>
                    <a:pt x="863" y="288"/>
                  </a:lnTo>
                  <a:lnTo>
                    <a:pt x="861" y="288"/>
                  </a:lnTo>
                  <a:lnTo>
                    <a:pt x="860" y="287"/>
                  </a:lnTo>
                  <a:lnTo>
                    <a:pt x="859" y="287"/>
                  </a:lnTo>
                  <a:lnTo>
                    <a:pt x="857" y="287"/>
                  </a:lnTo>
                  <a:lnTo>
                    <a:pt x="857" y="285"/>
                  </a:lnTo>
                  <a:lnTo>
                    <a:pt x="856" y="284"/>
                  </a:lnTo>
                  <a:lnTo>
                    <a:pt x="856" y="284"/>
                  </a:lnTo>
                  <a:lnTo>
                    <a:pt x="856" y="283"/>
                  </a:lnTo>
                  <a:lnTo>
                    <a:pt x="854" y="283"/>
                  </a:lnTo>
                  <a:lnTo>
                    <a:pt x="853" y="281"/>
                  </a:lnTo>
                  <a:lnTo>
                    <a:pt x="853" y="283"/>
                  </a:lnTo>
                  <a:lnTo>
                    <a:pt x="851" y="283"/>
                  </a:lnTo>
                  <a:lnTo>
                    <a:pt x="851" y="283"/>
                  </a:lnTo>
                  <a:lnTo>
                    <a:pt x="850" y="283"/>
                  </a:lnTo>
                  <a:lnTo>
                    <a:pt x="850" y="284"/>
                  </a:lnTo>
                  <a:lnTo>
                    <a:pt x="849" y="284"/>
                  </a:lnTo>
                  <a:lnTo>
                    <a:pt x="849" y="285"/>
                  </a:lnTo>
                  <a:lnTo>
                    <a:pt x="847" y="288"/>
                  </a:lnTo>
                  <a:lnTo>
                    <a:pt x="847" y="290"/>
                  </a:lnTo>
                  <a:lnTo>
                    <a:pt x="847" y="291"/>
                  </a:lnTo>
                  <a:lnTo>
                    <a:pt x="846" y="291"/>
                  </a:lnTo>
                  <a:lnTo>
                    <a:pt x="846" y="291"/>
                  </a:lnTo>
                  <a:lnTo>
                    <a:pt x="844" y="294"/>
                  </a:lnTo>
                  <a:lnTo>
                    <a:pt x="843" y="295"/>
                  </a:lnTo>
                  <a:lnTo>
                    <a:pt x="841" y="297"/>
                  </a:lnTo>
                  <a:lnTo>
                    <a:pt x="840" y="298"/>
                  </a:lnTo>
                  <a:lnTo>
                    <a:pt x="840" y="298"/>
                  </a:lnTo>
                  <a:lnTo>
                    <a:pt x="839" y="300"/>
                  </a:lnTo>
                  <a:lnTo>
                    <a:pt x="837" y="301"/>
                  </a:lnTo>
                  <a:lnTo>
                    <a:pt x="836" y="301"/>
                  </a:lnTo>
                  <a:lnTo>
                    <a:pt x="834" y="301"/>
                  </a:lnTo>
                  <a:lnTo>
                    <a:pt x="834" y="301"/>
                  </a:lnTo>
                  <a:lnTo>
                    <a:pt x="834" y="303"/>
                  </a:lnTo>
                  <a:lnTo>
                    <a:pt x="833" y="303"/>
                  </a:lnTo>
                  <a:lnTo>
                    <a:pt x="833" y="303"/>
                  </a:lnTo>
                  <a:lnTo>
                    <a:pt x="831" y="304"/>
                  </a:lnTo>
                  <a:lnTo>
                    <a:pt x="830" y="305"/>
                  </a:lnTo>
                  <a:lnTo>
                    <a:pt x="829" y="305"/>
                  </a:lnTo>
                  <a:lnTo>
                    <a:pt x="826" y="307"/>
                  </a:lnTo>
                  <a:lnTo>
                    <a:pt x="824" y="308"/>
                  </a:lnTo>
                  <a:lnTo>
                    <a:pt x="823" y="308"/>
                  </a:lnTo>
                  <a:lnTo>
                    <a:pt x="823" y="308"/>
                  </a:lnTo>
                  <a:lnTo>
                    <a:pt x="823" y="310"/>
                  </a:lnTo>
                  <a:lnTo>
                    <a:pt x="822" y="310"/>
                  </a:lnTo>
                  <a:lnTo>
                    <a:pt x="822" y="310"/>
                  </a:lnTo>
                  <a:lnTo>
                    <a:pt x="820" y="311"/>
                  </a:lnTo>
                  <a:lnTo>
                    <a:pt x="819" y="313"/>
                  </a:lnTo>
                  <a:lnTo>
                    <a:pt x="814" y="315"/>
                  </a:lnTo>
                  <a:lnTo>
                    <a:pt x="813" y="317"/>
                  </a:lnTo>
                  <a:lnTo>
                    <a:pt x="813" y="320"/>
                  </a:lnTo>
                  <a:lnTo>
                    <a:pt x="813" y="320"/>
                  </a:lnTo>
                  <a:lnTo>
                    <a:pt x="812" y="321"/>
                  </a:lnTo>
                  <a:lnTo>
                    <a:pt x="809" y="323"/>
                  </a:lnTo>
                  <a:lnTo>
                    <a:pt x="803" y="323"/>
                  </a:lnTo>
                  <a:lnTo>
                    <a:pt x="802" y="321"/>
                  </a:lnTo>
                  <a:lnTo>
                    <a:pt x="802" y="323"/>
                  </a:lnTo>
                  <a:lnTo>
                    <a:pt x="800" y="324"/>
                  </a:lnTo>
                  <a:lnTo>
                    <a:pt x="799" y="324"/>
                  </a:lnTo>
                  <a:lnTo>
                    <a:pt x="797" y="324"/>
                  </a:lnTo>
                  <a:lnTo>
                    <a:pt x="796" y="325"/>
                  </a:lnTo>
                  <a:lnTo>
                    <a:pt x="794" y="325"/>
                  </a:lnTo>
                  <a:lnTo>
                    <a:pt x="792" y="325"/>
                  </a:lnTo>
                  <a:lnTo>
                    <a:pt x="790" y="327"/>
                  </a:lnTo>
                  <a:lnTo>
                    <a:pt x="789" y="328"/>
                  </a:lnTo>
                  <a:lnTo>
                    <a:pt x="780" y="333"/>
                  </a:lnTo>
                  <a:lnTo>
                    <a:pt x="779" y="334"/>
                  </a:lnTo>
                  <a:lnTo>
                    <a:pt x="777" y="337"/>
                  </a:lnTo>
                  <a:lnTo>
                    <a:pt x="776" y="338"/>
                  </a:lnTo>
                  <a:lnTo>
                    <a:pt x="774" y="338"/>
                  </a:lnTo>
                  <a:lnTo>
                    <a:pt x="774" y="340"/>
                  </a:lnTo>
                  <a:lnTo>
                    <a:pt x="773" y="340"/>
                  </a:lnTo>
                  <a:lnTo>
                    <a:pt x="772" y="340"/>
                  </a:lnTo>
                  <a:lnTo>
                    <a:pt x="772" y="340"/>
                  </a:lnTo>
                  <a:lnTo>
                    <a:pt x="770" y="340"/>
                  </a:lnTo>
                  <a:lnTo>
                    <a:pt x="769" y="341"/>
                  </a:lnTo>
                  <a:lnTo>
                    <a:pt x="770" y="343"/>
                  </a:lnTo>
                  <a:lnTo>
                    <a:pt x="769" y="343"/>
                  </a:lnTo>
                  <a:lnTo>
                    <a:pt x="767" y="344"/>
                  </a:lnTo>
                  <a:lnTo>
                    <a:pt x="764" y="344"/>
                  </a:lnTo>
                  <a:lnTo>
                    <a:pt x="763" y="345"/>
                  </a:lnTo>
                  <a:lnTo>
                    <a:pt x="763" y="345"/>
                  </a:lnTo>
                  <a:lnTo>
                    <a:pt x="762" y="345"/>
                  </a:lnTo>
                  <a:lnTo>
                    <a:pt x="762" y="344"/>
                  </a:lnTo>
                  <a:lnTo>
                    <a:pt x="760" y="341"/>
                  </a:lnTo>
                  <a:lnTo>
                    <a:pt x="762" y="341"/>
                  </a:lnTo>
                  <a:lnTo>
                    <a:pt x="763" y="341"/>
                  </a:lnTo>
                  <a:lnTo>
                    <a:pt x="770" y="338"/>
                  </a:lnTo>
                  <a:lnTo>
                    <a:pt x="769" y="335"/>
                  </a:lnTo>
                  <a:lnTo>
                    <a:pt x="770" y="334"/>
                  </a:lnTo>
                  <a:lnTo>
                    <a:pt x="772" y="333"/>
                  </a:lnTo>
                  <a:lnTo>
                    <a:pt x="772" y="333"/>
                  </a:lnTo>
                  <a:lnTo>
                    <a:pt x="772" y="331"/>
                  </a:lnTo>
                  <a:lnTo>
                    <a:pt x="767" y="333"/>
                  </a:lnTo>
                  <a:lnTo>
                    <a:pt x="764" y="333"/>
                  </a:lnTo>
                  <a:lnTo>
                    <a:pt x="763" y="333"/>
                  </a:lnTo>
                  <a:lnTo>
                    <a:pt x="764" y="331"/>
                  </a:lnTo>
                  <a:lnTo>
                    <a:pt x="763" y="330"/>
                  </a:lnTo>
                  <a:lnTo>
                    <a:pt x="763" y="328"/>
                  </a:lnTo>
                  <a:lnTo>
                    <a:pt x="766" y="327"/>
                  </a:lnTo>
                  <a:lnTo>
                    <a:pt x="766" y="327"/>
                  </a:lnTo>
                  <a:lnTo>
                    <a:pt x="767" y="327"/>
                  </a:lnTo>
                  <a:lnTo>
                    <a:pt x="767" y="325"/>
                  </a:lnTo>
                  <a:lnTo>
                    <a:pt x="767" y="324"/>
                  </a:lnTo>
                  <a:lnTo>
                    <a:pt x="767" y="323"/>
                  </a:lnTo>
                  <a:lnTo>
                    <a:pt x="772" y="320"/>
                  </a:lnTo>
                  <a:lnTo>
                    <a:pt x="773" y="318"/>
                  </a:lnTo>
                  <a:lnTo>
                    <a:pt x="774" y="317"/>
                  </a:lnTo>
                  <a:lnTo>
                    <a:pt x="779" y="311"/>
                  </a:lnTo>
                  <a:lnTo>
                    <a:pt x="779" y="311"/>
                  </a:lnTo>
                  <a:lnTo>
                    <a:pt x="779" y="308"/>
                  </a:lnTo>
                  <a:lnTo>
                    <a:pt x="780" y="308"/>
                  </a:lnTo>
                  <a:lnTo>
                    <a:pt x="777" y="307"/>
                  </a:lnTo>
                  <a:lnTo>
                    <a:pt x="777" y="305"/>
                  </a:lnTo>
                  <a:lnTo>
                    <a:pt x="773" y="301"/>
                  </a:lnTo>
                  <a:lnTo>
                    <a:pt x="773" y="298"/>
                  </a:lnTo>
                  <a:lnTo>
                    <a:pt x="772" y="298"/>
                  </a:lnTo>
                  <a:lnTo>
                    <a:pt x="772" y="301"/>
                  </a:lnTo>
                  <a:lnTo>
                    <a:pt x="770" y="301"/>
                  </a:lnTo>
                  <a:lnTo>
                    <a:pt x="769" y="301"/>
                  </a:lnTo>
                  <a:lnTo>
                    <a:pt x="767" y="301"/>
                  </a:lnTo>
                  <a:lnTo>
                    <a:pt x="762" y="300"/>
                  </a:lnTo>
                  <a:lnTo>
                    <a:pt x="760" y="301"/>
                  </a:lnTo>
                  <a:lnTo>
                    <a:pt x="759" y="304"/>
                  </a:lnTo>
                  <a:lnTo>
                    <a:pt x="757" y="305"/>
                  </a:lnTo>
                  <a:lnTo>
                    <a:pt x="756" y="305"/>
                  </a:lnTo>
                  <a:lnTo>
                    <a:pt x="756" y="307"/>
                  </a:lnTo>
                  <a:lnTo>
                    <a:pt x="750" y="314"/>
                  </a:lnTo>
                  <a:lnTo>
                    <a:pt x="749" y="315"/>
                  </a:lnTo>
                  <a:lnTo>
                    <a:pt x="740" y="320"/>
                  </a:lnTo>
                  <a:lnTo>
                    <a:pt x="736" y="321"/>
                  </a:lnTo>
                  <a:lnTo>
                    <a:pt x="733" y="324"/>
                  </a:lnTo>
                  <a:lnTo>
                    <a:pt x="732" y="327"/>
                  </a:lnTo>
                  <a:lnTo>
                    <a:pt x="732" y="328"/>
                  </a:lnTo>
                  <a:lnTo>
                    <a:pt x="730" y="331"/>
                  </a:lnTo>
                  <a:lnTo>
                    <a:pt x="727" y="335"/>
                  </a:lnTo>
                  <a:lnTo>
                    <a:pt x="726" y="337"/>
                  </a:lnTo>
                  <a:lnTo>
                    <a:pt x="726" y="337"/>
                  </a:lnTo>
                  <a:lnTo>
                    <a:pt x="725" y="337"/>
                  </a:lnTo>
                  <a:lnTo>
                    <a:pt x="723" y="337"/>
                  </a:lnTo>
                  <a:lnTo>
                    <a:pt x="722" y="337"/>
                  </a:lnTo>
                  <a:lnTo>
                    <a:pt x="719" y="338"/>
                  </a:lnTo>
                  <a:lnTo>
                    <a:pt x="716" y="338"/>
                  </a:lnTo>
                  <a:lnTo>
                    <a:pt x="713" y="335"/>
                  </a:lnTo>
                  <a:lnTo>
                    <a:pt x="712" y="335"/>
                  </a:lnTo>
                  <a:lnTo>
                    <a:pt x="709" y="335"/>
                  </a:lnTo>
                  <a:lnTo>
                    <a:pt x="707" y="337"/>
                  </a:lnTo>
                  <a:lnTo>
                    <a:pt x="705" y="343"/>
                  </a:lnTo>
                  <a:lnTo>
                    <a:pt x="703" y="347"/>
                  </a:lnTo>
                  <a:lnTo>
                    <a:pt x="705" y="348"/>
                  </a:lnTo>
                  <a:lnTo>
                    <a:pt x="706" y="351"/>
                  </a:lnTo>
                  <a:lnTo>
                    <a:pt x="707" y="354"/>
                  </a:lnTo>
                  <a:lnTo>
                    <a:pt x="712" y="357"/>
                  </a:lnTo>
                  <a:lnTo>
                    <a:pt x="720" y="358"/>
                  </a:lnTo>
                  <a:lnTo>
                    <a:pt x="722" y="358"/>
                  </a:lnTo>
                  <a:lnTo>
                    <a:pt x="723" y="358"/>
                  </a:lnTo>
                  <a:lnTo>
                    <a:pt x="726" y="360"/>
                  </a:lnTo>
                  <a:lnTo>
                    <a:pt x="727" y="363"/>
                  </a:lnTo>
                  <a:lnTo>
                    <a:pt x="727" y="364"/>
                  </a:lnTo>
                  <a:lnTo>
                    <a:pt x="727" y="365"/>
                  </a:lnTo>
                  <a:lnTo>
                    <a:pt x="729" y="365"/>
                  </a:lnTo>
                  <a:lnTo>
                    <a:pt x="729" y="367"/>
                  </a:lnTo>
                  <a:lnTo>
                    <a:pt x="727" y="367"/>
                  </a:lnTo>
                  <a:lnTo>
                    <a:pt x="727" y="368"/>
                  </a:lnTo>
                  <a:lnTo>
                    <a:pt x="726" y="371"/>
                  </a:lnTo>
                  <a:lnTo>
                    <a:pt x="726" y="374"/>
                  </a:lnTo>
                  <a:lnTo>
                    <a:pt x="727" y="375"/>
                  </a:lnTo>
                  <a:lnTo>
                    <a:pt x="729" y="377"/>
                  </a:lnTo>
                  <a:lnTo>
                    <a:pt x="732" y="378"/>
                  </a:lnTo>
                  <a:lnTo>
                    <a:pt x="734" y="378"/>
                  </a:lnTo>
                  <a:lnTo>
                    <a:pt x="739" y="377"/>
                  </a:lnTo>
                  <a:lnTo>
                    <a:pt x="742" y="375"/>
                  </a:lnTo>
                  <a:lnTo>
                    <a:pt x="742" y="374"/>
                  </a:lnTo>
                  <a:lnTo>
                    <a:pt x="742" y="374"/>
                  </a:lnTo>
                  <a:lnTo>
                    <a:pt x="746" y="371"/>
                  </a:lnTo>
                  <a:lnTo>
                    <a:pt x="747" y="368"/>
                  </a:lnTo>
                  <a:lnTo>
                    <a:pt x="747" y="367"/>
                  </a:lnTo>
                  <a:lnTo>
                    <a:pt x="747" y="367"/>
                  </a:lnTo>
                  <a:lnTo>
                    <a:pt x="747" y="367"/>
                  </a:lnTo>
                  <a:lnTo>
                    <a:pt x="749" y="367"/>
                  </a:lnTo>
                  <a:lnTo>
                    <a:pt x="754" y="364"/>
                  </a:lnTo>
                  <a:lnTo>
                    <a:pt x="760" y="365"/>
                  </a:lnTo>
                  <a:lnTo>
                    <a:pt x="763" y="368"/>
                  </a:lnTo>
                  <a:lnTo>
                    <a:pt x="766" y="368"/>
                  </a:lnTo>
                  <a:lnTo>
                    <a:pt x="767" y="370"/>
                  </a:lnTo>
                  <a:lnTo>
                    <a:pt x="769" y="371"/>
                  </a:lnTo>
                  <a:lnTo>
                    <a:pt x="772" y="371"/>
                  </a:lnTo>
                  <a:lnTo>
                    <a:pt x="774" y="371"/>
                  </a:lnTo>
                  <a:lnTo>
                    <a:pt x="776" y="371"/>
                  </a:lnTo>
                  <a:lnTo>
                    <a:pt x="776" y="370"/>
                  </a:lnTo>
                  <a:lnTo>
                    <a:pt x="777" y="370"/>
                  </a:lnTo>
                  <a:lnTo>
                    <a:pt x="777" y="371"/>
                  </a:lnTo>
                  <a:lnTo>
                    <a:pt x="780" y="373"/>
                  </a:lnTo>
                  <a:lnTo>
                    <a:pt x="783" y="373"/>
                  </a:lnTo>
                  <a:lnTo>
                    <a:pt x="784" y="373"/>
                  </a:lnTo>
                  <a:lnTo>
                    <a:pt x="786" y="373"/>
                  </a:lnTo>
                  <a:lnTo>
                    <a:pt x="784" y="374"/>
                  </a:lnTo>
                  <a:lnTo>
                    <a:pt x="784" y="377"/>
                  </a:lnTo>
                  <a:lnTo>
                    <a:pt x="783" y="378"/>
                  </a:lnTo>
                  <a:lnTo>
                    <a:pt x="782" y="380"/>
                  </a:lnTo>
                  <a:lnTo>
                    <a:pt x="783" y="380"/>
                  </a:lnTo>
                  <a:lnTo>
                    <a:pt x="783" y="381"/>
                  </a:lnTo>
                  <a:lnTo>
                    <a:pt x="783" y="381"/>
                  </a:lnTo>
                  <a:lnTo>
                    <a:pt x="783" y="383"/>
                  </a:lnTo>
                  <a:lnTo>
                    <a:pt x="780" y="384"/>
                  </a:lnTo>
                  <a:lnTo>
                    <a:pt x="780" y="384"/>
                  </a:lnTo>
                  <a:lnTo>
                    <a:pt x="779" y="384"/>
                  </a:lnTo>
                  <a:lnTo>
                    <a:pt x="779" y="383"/>
                  </a:lnTo>
                  <a:lnTo>
                    <a:pt x="779" y="383"/>
                  </a:lnTo>
                  <a:lnTo>
                    <a:pt x="777" y="381"/>
                  </a:lnTo>
                  <a:lnTo>
                    <a:pt x="776" y="381"/>
                  </a:lnTo>
                  <a:lnTo>
                    <a:pt x="774" y="381"/>
                  </a:lnTo>
                  <a:lnTo>
                    <a:pt x="770" y="384"/>
                  </a:lnTo>
                  <a:lnTo>
                    <a:pt x="766" y="385"/>
                  </a:lnTo>
                  <a:lnTo>
                    <a:pt x="762" y="387"/>
                  </a:lnTo>
                  <a:lnTo>
                    <a:pt x="760" y="388"/>
                  </a:lnTo>
                  <a:lnTo>
                    <a:pt x="759" y="388"/>
                  </a:lnTo>
                  <a:lnTo>
                    <a:pt x="757" y="388"/>
                  </a:lnTo>
                  <a:lnTo>
                    <a:pt x="756" y="388"/>
                  </a:lnTo>
                  <a:lnTo>
                    <a:pt x="756" y="388"/>
                  </a:lnTo>
                  <a:lnTo>
                    <a:pt x="757" y="390"/>
                  </a:lnTo>
                  <a:lnTo>
                    <a:pt x="757" y="391"/>
                  </a:lnTo>
                  <a:lnTo>
                    <a:pt x="757" y="391"/>
                  </a:lnTo>
                  <a:lnTo>
                    <a:pt x="756" y="393"/>
                  </a:lnTo>
                  <a:lnTo>
                    <a:pt x="756" y="391"/>
                  </a:lnTo>
                  <a:lnTo>
                    <a:pt x="754" y="393"/>
                  </a:lnTo>
                  <a:lnTo>
                    <a:pt x="754" y="394"/>
                  </a:lnTo>
                  <a:lnTo>
                    <a:pt x="754" y="397"/>
                  </a:lnTo>
                  <a:lnTo>
                    <a:pt x="753" y="398"/>
                  </a:lnTo>
                  <a:lnTo>
                    <a:pt x="752" y="398"/>
                  </a:lnTo>
                  <a:lnTo>
                    <a:pt x="749" y="400"/>
                  </a:lnTo>
                  <a:lnTo>
                    <a:pt x="749" y="398"/>
                  </a:lnTo>
                  <a:lnTo>
                    <a:pt x="749" y="398"/>
                  </a:lnTo>
                  <a:lnTo>
                    <a:pt x="749" y="397"/>
                  </a:lnTo>
                  <a:lnTo>
                    <a:pt x="749" y="395"/>
                  </a:lnTo>
                  <a:lnTo>
                    <a:pt x="747" y="395"/>
                  </a:lnTo>
                  <a:lnTo>
                    <a:pt x="746" y="397"/>
                  </a:lnTo>
                  <a:lnTo>
                    <a:pt x="744" y="397"/>
                  </a:lnTo>
                  <a:lnTo>
                    <a:pt x="744" y="398"/>
                  </a:lnTo>
                  <a:lnTo>
                    <a:pt x="746" y="400"/>
                  </a:lnTo>
                  <a:lnTo>
                    <a:pt x="747" y="400"/>
                  </a:lnTo>
                  <a:lnTo>
                    <a:pt x="747" y="401"/>
                  </a:lnTo>
                  <a:lnTo>
                    <a:pt x="746" y="401"/>
                  </a:lnTo>
                  <a:lnTo>
                    <a:pt x="744" y="403"/>
                  </a:lnTo>
                  <a:lnTo>
                    <a:pt x="743" y="404"/>
                  </a:lnTo>
                  <a:lnTo>
                    <a:pt x="743" y="405"/>
                  </a:lnTo>
                  <a:lnTo>
                    <a:pt x="742" y="407"/>
                  </a:lnTo>
                  <a:lnTo>
                    <a:pt x="740" y="407"/>
                  </a:lnTo>
                  <a:lnTo>
                    <a:pt x="740" y="408"/>
                  </a:lnTo>
                  <a:lnTo>
                    <a:pt x="739" y="408"/>
                  </a:lnTo>
                  <a:lnTo>
                    <a:pt x="737" y="411"/>
                  </a:lnTo>
                  <a:lnTo>
                    <a:pt x="736" y="413"/>
                  </a:lnTo>
                  <a:lnTo>
                    <a:pt x="734" y="414"/>
                  </a:lnTo>
                  <a:lnTo>
                    <a:pt x="733" y="418"/>
                  </a:lnTo>
                  <a:lnTo>
                    <a:pt x="730" y="420"/>
                  </a:lnTo>
                  <a:lnTo>
                    <a:pt x="730" y="423"/>
                  </a:lnTo>
                  <a:lnTo>
                    <a:pt x="730" y="425"/>
                  </a:lnTo>
                  <a:lnTo>
                    <a:pt x="733" y="425"/>
                  </a:lnTo>
                  <a:lnTo>
                    <a:pt x="734" y="425"/>
                  </a:lnTo>
                  <a:lnTo>
                    <a:pt x="736" y="428"/>
                  </a:lnTo>
                  <a:lnTo>
                    <a:pt x="739" y="430"/>
                  </a:lnTo>
                  <a:lnTo>
                    <a:pt x="743" y="431"/>
                  </a:lnTo>
                  <a:lnTo>
                    <a:pt x="746" y="433"/>
                  </a:lnTo>
                  <a:lnTo>
                    <a:pt x="747" y="434"/>
                  </a:lnTo>
                  <a:lnTo>
                    <a:pt x="749" y="437"/>
                  </a:lnTo>
                  <a:lnTo>
                    <a:pt x="750" y="443"/>
                  </a:lnTo>
                  <a:lnTo>
                    <a:pt x="752" y="445"/>
                  </a:lnTo>
                  <a:lnTo>
                    <a:pt x="752" y="447"/>
                  </a:lnTo>
                  <a:lnTo>
                    <a:pt x="753" y="450"/>
                  </a:lnTo>
                  <a:lnTo>
                    <a:pt x="754" y="454"/>
                  </a:lnTo>
                  <a:lnTo>
                    <a:pt x="757" y="458"/>
                  </a:lnTo>
                  <a:lnTo>
                    <a:pt x="757" y="461"/>
                  </a:lnTo>
                  <a:lnTo>
                    <a:pt x="757" y="463"/>
                  </a:lnTo>
                  <a:lnTo>
                    <a:pt x="757" y="465"/>
                  </a:lnTo>
                  <a:lnTo>
                    <a:pt x="759" y="467"/>
                  </a:lnTo>
                  <a:lnTo>
                    <a:pt x="763" y="468"/>
                  </a:lnTo>
                  <a:lnTo>
                    <a:pt x="764" y="470"/>
                  </a:lnTo>
                  <a:lnTo>
                    <a:pt x="766" y="471"/>
                  </a:lnTo>
                  <a:lnTo>
                    <a:pt x="766" y="474"/>
                  </a:lnTo>
                  <a:lnTo>
                    <a:pt x="766" y="474"/>
                  </a:lnTo>
                  <a:lnTo>
                    <a:pt x="767" y="475"/>
                  </a:lnTo>
                  <a:lnTo>
                    <a:pt x="770" y="477"/>
                  </a:lnTo>
                  <a:lnTo>
                    <a:pt x="772" y="478"/>
                  </a:lnTo>
                  <a:lnTo>
                    <a:pt x="773" y="480"/>
                  </a:lnTo>
                  <a:lnTo>
                    <a:pt x="773" y="481"/>
                  </a:lnTo>
                  <a:lnTo>
                    <a:pt x="773" y="482"/>
                  </a:lnTo>
                  <a:lnTo>
                    <a:pt x="772" y="482"/>
                  </a:lnTo>
                  <a:lnTo>
                    <a:pt x="770" y="482"/>
                  </a:lnTo>
                  <a:lnTo>
                    <a:pt x="764" y="480"/>
                  </a:lnTo>
                  <a:lnTo>
                    <a:pt x="763" y="480"/>
                  </a:lnTo>
                  <a:lnTo>
                    <a:pt x="762" y="481"/>
                  </a:lnTo>
                  <a:lnTo>
                    <a:pt x="759" y="480"/>
                  </a:lnTo>
                  <a:lnTo>
                    <a:pt x="756" y="477"/>
                  </a:lnTo>
                  <a:lnTo>
                    <a:pt x="753" y="475"/>
                  </a:lnTo>
                  <a:lnTo>
                    <a:pt x="752" y="475"/>
                  </a:lnTo>
                  <a:lnTo>
                    <a:pt x="746" y="478"/>
                  </a:lnTo>
                  <a:lnTo>
                    <a:pt x="744" y="478"/>
                  </a:lnTo>
                  <a:lnTo>
                    <a:pt x="744" y="478"/>
                  </a:lnTo>
                  <a:lnTo>
                    <a:pt x="743" y="478"/>
                  </a:lnTo>
                  <a:lnTo>
                    <a:pt x="746" y="480"/>
                  </a:lnTo>
                  <a:lnTo>
                    <a:pt x="749" y="478"/>
                  </a:lnTo>
                  <a:lnTo>
                    <a:pt x="752" y="477"/>
                  </a:lnTo>
                  <a:lnTo>
                    <a:pt x="754" y="478"/>
                  </a:lnTo>
                  <a:lnTo>
                    <a:pt x="754" y="478"/>
                  </a:lnTo>
                  <a:lnTo>
                    <a:pt x="756" y="481"/>
                  </a:lnTo>
                  <a:lnTo>
                    <a:pt x="759" y="482"/>
                  </a:lnTo>
                  <a:lnTo>
                    <a:pt x="760" y="482"/>
                  </a:lnTo>
                  <a:lnTo>
                    <a:pt x="763" y="484"/>
                  </a:lnTo>
                  <a:lnTo>
                    <a:pt x="764" y="487"/>
                  </a:lnTo>
                  <a:lnTo>
                    <a:pt x="770" y="490"/>
                  </a:lnTo>
                  <a:lnTo>
                    <a:pt x="772" y="492"/>
                  </a:lnTo>
                  <a:lnTo>
                    <a:pt x="773" y="495"/>
                  </a:lnTo>
                  <a:lnTo>
                    <a:pt x="773" y="498"/>
                  </a:lnTo>
                  <a:lnTo>
                    <a:pt x="772" y="498"/>
                  </a:lnTo>
                  <a:lnTo>
                    <a:pt x="770" y="498"/>
                  </a:lnTo>
                  <a:lnTo>
                    <a:pt x="767" y="500"/>
                  </a:lnTo>
                  <a:lnTo>
                    <a:pt x="766" y="500"/>
                  </a:lnTo>
                  <a:lnTo>
                    <a:pt x="764" y="501"/>
                  </a:lnTo>
                  <a:lnTo>
                    <a:pt x="759" y="504"/>
                  </a:lnTo>
                  <a:lnTo>
                    <a:pt x="759" y="505"/>
                  </a:lnTo>
                  <a:lnTo>
                    <a:pt x="757" y="507"/>
                  </a:lnTo>
                  <a:lnTo>
                    <a:pt x="756" y="508"/>
                  </a:lnTo>
                  <a:lnTo>
                    <a:pt x="753" y="507"/>
                  </a:lnTo>
                  <a:lnTo>
                    <a:pt x="750" y="508"/>
                  </a:lnTo>
                  <a:lnTo>
                    <a:pt x="747" y="510"/>
                  </a:lnTo>
                  <a:lnTo>
                    <a:pt x="746" y="510"/>
                  </a:lnTo>
                  <a:lnTo>
                    <a:pt x="747" y="510"/>
                  </a:lnTo>
                  <a:lnTo>
                    <a:pt x="747" y="510"/>
                  </a:lnTo>
                  <a:lnTo>
                    <a:pt x="749" y="510"/>
                  </a:lnTo>
                  <a:lnTo>
                    <a:pt x="752" y="510"/>
                  </a:lnTo>
                  <a:lnTo>
                    <a:pt x="753" y="512"/>
                  </a:lnTo>
                  <a:lnTo>
                    <a:pt x="757" y="511"/>
                  </a:lnTo>
                  <a:lnTo>
                    <a:pt x="762" y="510"/>
                  </a:lnTo>
                  <a:lnTo>
                    <a:pt x="763" y="510"/>
                  </a:lnTo>
                  <a:lnTo>
                    <a:pt x="764" y="510"/>
                  </a:lnTo>
                  <a:lnTo>
                    <a:pt x="766" y="511"/>
                  </a:lnTo>
                  <a:lnTo>
                    <a:pt x="770" y="515"/>
                  </a:lnTo>
                  <a:lnTo>
                    <a:pt x="772" y="515"/>
                  </a:lnTo>
                  <a:lnTo>
                    <a:pt x="774" y="517"/>
                  </a:lnTo>
                  <a:lnTo>
                    <a:pt x="776" y="517"/>
                  </a:lnTo>
                  <a:lnTo>
                    <a:pt x="776" y="517"/>
                  </a:lnTo>
                  <a:lnTo>
                    <a:pt x="773" y="518"/>
                  </a:lnTo>
                  <a:lnTo>
                    <a:pt x="770" y="522"/>
                  </a:lnTo>
                  <a:lnTo>
                    <a:pt x="769" y="522"/>
                  </a:lnTo>
                  <a:lnTo>
                    <a:pt x="767" y="524"/>
                  </a:lnTo>
                  <a:lnTo>
                    <a:pt x="770" y="524"/>
                  </a:lnTo>
                  <a:lnTo>
                    <a:pt x="772" y="522"/>
                  </a:lnTo>
                  <a:lnTo>
                    <a:pt x="773" y="521"/>
                  </a:lnTo>
                  <a:lnTo>
                    <a:pt x="774" y="522"/>
                  </a:lnTo>
                  <a:lnTo>
                    <a:pt x="774" y="524"/>
                  </a:lnTo>
                  <a:lnTo>
                    <a:pt x="774" y="531"/>
                  </a:lnTo>
                  <a:lnTo>
                    <a:pt x="773" y="531"/>
                  </a:lnTo>
                  <a:lnTo>
                    <a:pt x="772" y="528"/>
                  </a:lnTo>
                  <a:lnTo>
                    <a:pt x="770" y="528"/>
                  </a:lnTo>
                  <a:lnTo>
                    <a:pt x="770" y="528"/>
                  </a:lnTo>
                  <a:lnTo>
                    <a:pt x="767" y="528"/>
                  </a:lnTo>
                  <a:lnTo>
                    <a:pt x="767" y="530"/>
                  </a:lnTo>
                  <a:lnTo>
                    <a:pt x="766" y="531"/>
                  </a:lnTo>
                  <a:lnTo>
                    <a:pt x="767" y="531"/>
                  </a:lnTo>
                  <a:lnTo>
                    <a:pt x="770" y="532"/>
                  </a:lnTo>
                  <a:lnTo>
                    <a:pt x="770" y="534"/>
                  </a:lnTo>
                  <a:lnTo>
                    <a:pt x="769" y="534"/>
                  </a:lnTo>
                  <a:lnTo>
                    <a:pt x="767" y="534"/>
                  </a:lnTo>
                  <a:lnTo>
                    <a:pt x="770" y="535"/>
                  </a:lnTo>
                  <a:lnTo>
                    <a:pt x="769" y="537"/>
                  </a:lnTo>
                  <a:lnTo>
                    <a:pt x="769" y="538"/>
                  </a:lnTo>
                  <a:lnTo>
                    <a:pt x="767" y="538"/>
                  </a:lnTo>
                  <a:lnTo>
                    <a:pt x="767" y="540"/>
                  </a:lnTo>
                  <a:lnTo>
                    <a:pt x="767" y="541"/>
                  </a:lnTo>
                  <a:lnTo>
                    <a:pt x="769" y="544"/>
                  </a:lnTo>
                  <a:lnTo>
                    <a:pt x="769" y="545"/>
                  </a:lnTo>
                  <a:lnTo>
                    <a:pt x="767" y="545"/>
                  </a:lnTo>
                  <a:lnTo>
                    <a:pt x="764" y="547"/>
                  </a:lnTo>
                  <a:lnTo>
                    <a:pt x="763" y="547"/>
                  </a:lnTo>
                  <a:lnTo>
                    <a:pt x="763" y="545"/>
                  </a:lnTo>
                  <a:lnTo>
                    <a:pt x="762" y="545"/>
                  </a:lnTo>
                  <a:lnTo>
                    <a:pt x="760" y="545"/>
                  </a:lnTo>
                  <a:lnTo>
                    <a:pt x="760" y="548"/>
                  </a:lnTo>
                  <a:lnTo>
                    <a:pt x="759" y="551"/>
                  </a:lnTo>
                  <a:lnTo>
                    <a:pt x="757" y="551"/>
                  </a:lnTo>
                  <a:lnTo>
                    <a:pt x="756" y="551"/>
                  </a:lnTo>
                  <a:lnTo>
                    <a:pt x="754" y="551"/>
                  </a:lnTo>
                  <a:lnTo>
                    <a:pt x="756" y="551"/>
                  </a:lnTo>
                  <a:lnTo>
                    <a:pt x="756" y="552"/>
                  </a:lnTo>
                  <a:lnTo>
                    <a:pt x="756" y="552"/>
                  </a:lnTo>
                  <a:lnTo>
                    <a:pt x="754" y="555"/>
                  </a:lnTo>
                  <a:lnTo>
                    <a:pt x="753" y="557"/>
                  </a:lnTo>
                  <a:lnTo>
                    <a:pt x="753" y="558"/>
                  </a:lnTo>
                  <a:lnTo>
                    <a:pt x="753" y="558"/>
                  </a:lnTo>
                  <a:lnTo>
                    <a:pt x="753" y="561"/>
                  </a:lnTo>
                  <a:lnTo>
                    <a:pt x="753" y="561"/>
                  </a:lnTo>
                  <a:lnTo>
                    <a:pt x="752" y="564"/>
                  </a:lnTo>
                  <a:lnTo>
                    <a:pt x="750" y="564"/>
                  </a:lnTo>
                  <a:lnTo>
                    <a:pt x="749" y="567"/>
                  </a:lnTo>
                  <a:lnTo>
                    <a:pt x="747" y="567"/>
                  </a:lnTo>
                  <a:lnTo>
                    <a:pt x="746" y="571"/>
                  </a:lnTo>
                  <a:lnTo>
                    <a:pt x="744" y="572"/>
                  </a:lnTo>
                  <a:lnTo>
                    <a:pt x="744" y="575"/>
                  </a:lnTo>
                  <a:lnTo>
                    <a:pt x="743" y="575"/>
                  </a:lnTo>
                  <a:lnTo>
                    <a:pt x="743" y="577"/>
                  </a:lnTo>
                  <a:lnTo>
                    <a:pt x="742" y="577"/>
                  </a:lnTo>
                  <a:lnTo>
                    <a:pt x="742" y="575"/>
                  </a:lnTo>
                  <a:lnTo>
                    <a:pt x="740" y="575"/>
                  </a:lnTo>
                  <a:lnTo>
                    <a:pt x="740" y="574"/>
                  </a:lnTo>
                  <a:lnTo>
                    <a:pt x="740" y="572"/>
                  </a:lnTo>
                  <a:lnTo>
                    <a:pt x="740" y="572"/>
                  </a:lnTo>
                  <a:lnTo>
                    <a:pt x="740" y="572"/>
                  </a:lnTo>
                  <a:lnTo>
                    <a:pt x="739" y="572"/>
                  </a:lnTo>
                  <a:lnTo>
                    <a:pt x="739" y="574"/>
                  </a:lnTo>
                  <a:lnTo>
                    <a:pt x="737" y="574"/>
                  </a:lnTo>
                  <a:lnTo>
                    <a:pt x="736" y="572"/>
                  </a:lnTo>
                  <a:lnTo>
                    <a:pt x="736" y="574"/>
                  </a:lnTo>
                  <a:lnTo>
                    <a:pt x="737" y="575"/>
                  </a:lnTo>
                  <a:lnTo>
                    <a:pt x="737" y="575"/>
                  </a:lnTo>
                  <a:lnTo>
                    <a:pt x="739" y="577"/>
                  </a:lnTo>
                  <a:lnTo>
                    <a:pt x="740" y="577"/>
                  </a:lnTo>
                  <a:lnTo>
                    <a:pt x="740" y="580"/>
                  </a:lnTo>
                  <a:lnTo>
                    <a:pt x="740" y="580"/>
                  </a:lnTo>
                  <a:lnTo>
                    <a:pt x="742" y="581"/>
                  </a:lnTo>
                  <a:lnTo>
                    <a:pt x="742" y="581"/>
                  </a:lnTo>
                  <a:lnTo>
                    <a:pt x="740" y="581"/>
                  </a:lnTo>
                  <a:lnTo>
                    <a:pt x="739" y="582"/>
                  </a:lnTo>
                  <a:lnTo>
                    <a:pt x="736" y="585"/>
                  </a:lnTo>
                  <a:lnTo>
                    <a:pt x="734" y="585"/>
                  </a:lnTo>
                  <a:lnTo>
                    <a:pt x="733" y="585"/>
                  </a:lnTo>
                  <a:lnTo>
                    <a:pt x="732" y="585"/>
                  </a:lnTo>
                  <a:lnTo>
                    <a:pt x="730" y="585"/>
                  </a:lnTo>
                  <a:lnTo>
                    <a:pt x="729" y="585"/>
                  </a:lnTo>
                  <a:lnTo>
                    <a:pt x="732" y="587"/>
                  </a:lnTo>
                  <a:lnTo>
                    <a:pt x="732" y="588"/>
                  </a:lnTo>
                  <a:lnTo>
                    <a:pt x="733" y="588"/>
                  </a:lnTo>
                  <a:lnTo>
                    <a:pt x="734" y="587"/>
                  </a:lnTo>
                  <a:lnTo>
                    <a:pt x="737" y="587"/>
                  </a:lnTo>
                  <a:lnTo>
                    <a:pt x="737" y="588"/>
                  </a:lnTo>
                  <a:lnTo>
                    <a:pt x="737" y="590"/>
                  </a:lnTo>
                  <a:lnTo>
                    <a:pt x="736" y="592"/>
                  </a:lnTo>
                  <a:lnTo>
                    <a:pt x="736" y="594"/>
                  </a:lnTo>
                  <a:lnTo>
                    <a:pt x="737" y="597"/>
                  </a:lnTo>
                  <a:lnTo>
                    <a:pt x="737" y="598"/>
                  </a:lnTo>
                  <a:lnTo>
                    <a:pt x="736" y="598"/>
                  </a:lnTo>
                  <a:lnTo>
                    <a:pt x="734" y="597"/>
                  </a:lnTo>
                  <a:lnTo>
                    <a:pt x="733" y="597"/>
                  </a:lnTo>
                  <a:lnTo>
                    <a:pt x="733" y="597"/>
                  </a:lnTo>
                  <a:lnTo>
                    <a:pt x="732" y="597"/>
                  </a:lnTo>
                  <a:lnTo>
                    <a:pt x="730" y="597"/>
                  </a:lnTo>
                  <a:lnTo>
                    <a:pt x="729" y="597"/>
                  </a:lnTo>
                  <a:lnTo>
                    <a:pt x="730" y="598"/>
                  </a:lnTo>
                  <a:lnTo>
                    <a:pt x="730" y="600"/>
                  </a:lnTo>
                  <a:lnTo>
                    <a:pt x="732" y="601"/>
                  </a:lnTo>
                  <a:lnTo>
                    <a:pt x="730" y="601"/>
                  </a:lnTo>
                  <a:lnTo>
                    <a:pt x="727" y="601"/>
                  </a:lnTo>
                  <a:lnTo>
                    <a:pt x="726" y="601"/>
                  </a:lnTo>
                  <a:lnTo>
                    <a:pt x="726" y="602"/>
                  </a:lnTo>
                  <a:lnTo>
                    <a:pt x="726" y="604"/>
                  </a:lnTo>
                  <a:lnTo>
                    <a:pt x="726" y="605"/>
                  </a:lnTo>
                  <a:lnTo>
                    <a:pt x="725" y="607"/>
                  </a:lnTo>
                  <a:lnTo>
                    <a:pt x="722" y="607"/>
                  </a:lnTo>
                  <a:lnTo>
                    <a:pt x="722" y="608"/>
                  </a:lnTo>
                  <a:lnTo>
                    <a:pt x="722" y="608"/>
                  </a:lnTo>
                  <a:lnTo>
                    <a:pt x="722" y="608"/>
                  </a:lnTo>
                  <a:lnTo>
                    <a:pt x="723" y="610"/>
                  </a:lnTo>
                  <a:lnTo>
                    <a:pt x="722" y="611"/>
                  </a:lnTo>
                  <a:lnTo>
                    <a:pt x="720" y="612"/>
                  </a:lnTo>
                  <a:lnTo>
                    <a:pt x="717" y="611"/>
                  </a:lnTo>
                  <a:lnTo>
                    <a:pt x="716" y="612"/>
                  </a:lnTo>
                  <a:lnTo>
                    <a:pt x="715" y="611"/>
                  </a:lnTo>
                  <a:lnTo>
                    <a:pt x="712" y="611"/>
                  </a:lnTo>
                  <a:lnTo>
                    <a:pt x="712" y="612"/>
                  </a:lnTo>
                  <a:lnTo>
                    <a:pt x="712" y="614"/>
                  </a:lnTo>
                  <a:lnTo>
                    <a:pt x="710" y="614"/>
                  </a:lnTo>
                  <a:lnTo>
                    <a:pt x="709" y="614"/>
                  </a:lnTo>
                  <a:lnTo>
                    <a:pt x="709" y="614"/>
                  </a:lnTo>
                  <a:lnTo>
                    <a:pt x="709" y="614"/>
                  </a:lnTo>
                  <a:lnTo>
                    <a:pt x="709" y="615"/>
                  </a:lnTo>
                  <a:lnTo>
                    <a:pt x="712" y="615"/>
                  </a:lnTo>
                  <a:lnTo>
                    <a:pt x="712" y="617"/>
                  </a:lnTo>
                  <a:lnTo>
                    <a:pt x="712" y="618"/>
                  </a:lnTo>
                  <a:lnTo>
                    <a:pt x="709" y="620"/>
                  </a:lnTo>
                  <a:lnTo>
                    <a:pt x="709" y="622"/>
                  </a:lnTo>
                  <a:lnTo>
                    <a:pt x="707" y="622"/>
                  </a:lnTo>
                  <a:lnTo>
                    <a:pt x="706" y="624"/>
                  </a:lnTo>
                  <a:lnTo>
                    <a:pt x="705" y="625"/>
                  </a:lnTo>
                  <a:lnTo>
                    <a:pt x="705" y="625"/>
                  </a:lnTo>
                  <a:lnTo>
                    <a:pt x="703" y="625"/>
                  </a:lnTo>
                  <a:lnTo>
                    <a:pt x="702" y="625"/>
                  </a:lnTo>
                  <a:lnTo>
                    <a:pt x="702" y="627"/>
                  </a:lnTo>
                  <a:lnTo>
                    <a:pt x="702" y="627"/>
                  </a:lnTo>
                  <a:lnTo>
                    <a:pt x="702" y="628"/>
                  </a:lnTo>
                  <a:lnTo>
                    <a:pt x="700" y="630"/>
                  </a:lnTo>
                  <a:lnTo>
                    <a:pt x="700" y="628"/>
                  </a:lnTo>
                  <a:lnTo>
                    <a:pt x="700" y="627"/>
                  </a:lnTo>
                  <a:lnTo>
                    <a:pt x="700" y="627"/>
                  </a:lnTo>
                  <a:lnTo>
                    <a:pt x="699" y="628"/>
                  </a:lnTo>
                  <a:lnTo>
                    <a:pt x="697" y="630"/>
                  </a:lnTo>
                  <a:lnTo>
                    <a:pt x="696" y="630"/>
                  </a:lnTo>
                  <a:lnTo>
                    <a:pt x="696" y="628"/>
                  </a:lnTo>
                  <a:lnTo>
                    <a:pt x="693" y="628"/>
                  </a:lnTo>
                  <a:lnTo>
                    <a:pt x="693" y="631"/>
                  </a:lnTo>
                  <a:lnTo>
                    <a:pt x="692" y="632"/>
                  </a:lnTo>
                  <a:lnTo>
                    <a:pt x="690" y="634"/>
                  </a:lnTo>
                  <a:lnTo>
                    <a:pt x="689" y="634"/>
                  </a:lnTo>
                  <a:lnTo>
                    <a:pt x="690" y="634"/>
                  </a:lnTo>
                  <a:lnTo>
                    <a:pt x="690" y="635"/>
                  </a:lnTo>
                  <a:lnTo>
                    <a:pt x="690" y="635"/>
                  </a:lnTo>
                  <a:lnTo>
                    <a:pt x="689" y="635"/>
                  </a:lnTo>
                  <a:lnTo>
                    <a:pt x="687" y="637"/>
                  </a:lnTo>
                  <a:lnTo>
                    <a:pt x="687" y="640"/>
                  </a:lnTo>
                  <a:lnTo>
                    <a:pt x="686" y="641"/>
                  </a:lnTo>
                  <a:lnTo>
                    <a:pt x="685" y="641"/>
                  </a:lnTo>
                  <a:lnTo>
                    <a:pt x="683" y="640"/>
                  </a:lnTo>
                  <a:lnTo>
                    <a:pt x="683" y="641"/>
                  </a:lnTo>
                  <a:lnTo>
                    <a:pt x="682" y="641"/>
                  </a:lnTo>
                  <a:lnTo>
                    <a:pt x="682" y="641"/>
                  </a:lnTo>
                  <a:lnTo>
                    <a:pt x="680" y="641"/>
                  </a:lnTo>
                  <a:lnTo>
                    <a:pt x="676" y="642"/>
                  </a:lnTo>
                  <a:lnTo>
                    <a:pt x="675" y="642"/>
                  </a:lnTo>
                  <a:lnTo>
                    <a:pt x="673" y="642"/>
                  </a:lnTo>
                  <a:lnTo>
                    <a:pt x="672" y="642"/>
                  </a:lnTo>
                  <a:lnTo>
                    <a:pt x="672" y="644"/>
                  </a:lnTo>
                  <a:lnTo>
                    <a:pt x="670" y="644"/>
                  </a:lnTo>
                  <a:lnTo>
                    <a:pt x="669" y="644"/>
                  </a:lnTo>
                  <a:lnTo>
                    <a:pt x="667" y="644"/>
                  </a:lnTo>
                  <a:lnTo>
                    <a:pt x="666" y="642"/>
                  </a:lnTo>
                  <a:lnTo>
                    <a:pt x="665" y="644"/>
                  </a:lnTo>
                  <a:lnTo>
                    <a:pt x="663" y="644"/>
                  </a:lnTo>
                  <a:lnTo>
                    <a:pt x="662" y="645"/>
                  </a:lnTo>
                  <a:lnTo>
                    <a:pt x="662" y="645"/>
                  </a:lnTo>
                  <a:lnTo>
                    <a:pt x="660" y="647"/>
                  </a:lnTo>
                  <a:lnTo>
                    <a:pt x="659" y="645"/>
                  </a:lnTo>
                  <a:lnTo>
                    <a:pt x="659" y="644"/>
                  </a:lnTo>
                  <a:lnTo>
                    <a:pt x="657" y="644"/>
                  </a:lnTo>
                  <a:lnTo>
                    <a:pt x="656" y="645"/>
                  </a:lnTo>
                  <a:lnTo>
                    <a:pt x="656" y="645"/>
                  </a:lnTo>
                  <a:lnTo>
                    <a:pt x="656" y="647"/>
                  </a:lnTo>
                  <a:lnTo>
                    <a:pt x="656" y="648"/>
                  </a:lnTo>
                  <a:lnTo>
                    <a:pt x="655" y="648"/>
                  </a:lnTo>
                  <a:lnTo>
                    <a:pt x="653" y="647"/>
                  </a:lnTo>
                  <a:lnTo>
                    <a:pt x="652" y="647"/>
                  </a:lnTo>
                  <a:lnTo>
                    <a:pt x="652" y="647"/>
                  </a:lnTo>
                  <a:lnTo>
                    <a:pt x="650" y="647"/>
                  </a:lnTo>
                  <a:lnTo>
                    <a:pt x="650" y="647"/>
                  </a:lnTo>
                  <a:lnTo>
                    <a:pt x="649" y="647"/>
                  </a:lnTo>
                  <a:lnTo>
                    <a:pt x="649" y="647"/>
                  </a:lnTo>
                  <a:lnTo>
                    <a:pt x="647" y="647"/>
                  </a:lnTo>
                  <a:lnTo>
                    <a:pt x="647" y="648"/>
                  </a:lnTo>
                  <a:lnTo>
                    <a:pt x="647" y="648"/>
                  </a:lnTo>
                  <a:lnTo>
                    <a:pt x="646" y="648"/>
                  </a:lnTo>
                  <a:lnTo>
                    <a:pt x="645" y="647"/>
                  </a:lnTo>
                  <a:lnTo>
                    <a:pt x="643" y="644"/>
                  </a:lnTo>
                  <a:lnTo>
                    <a:pt x="642" y="642"/>
                  </a:lnTo>
                  <a:lnTo>
                    <a:pt x="640" y="642"/>
                  </a:lnTo>
                  <a:lnTo>
                    <a:pt x="640" y="640"/>
                  </a:lnTo>
                  <a:lnTo>
                    <a:pt x="640" y="640"/>
                  </a:lnTo>
                  <a:lnTo>
                    <a:pt x="640" y="638"/>
                  </a:lnTo>
                  <a:lnTo>
                    <a:pt x="640" y="637"/>
                  </a:lnTo>
                  <a:lnTo>
                    <a:pt x="639" y="638"/>
                  </a:lnTo>
                  <a:lnTo>
                    <a:pt x="637" y="638"/>
                  </a:lnTo>
                  <a:lnTo>
                    <a:pt x="639" y="640"/>
                  </a:lnTo>
                  <a:lnTo>
                    <a:pt x="637" y="641"/>
                  </a:lnTo>
                  <a:lnTo>
                    <a:pt x="636" y="641"/>
                  </a:lnTo>
                  <a:lnTo>
                    <a:pt x="636" y="641"/>
                  </a:lnTo>
                  <a:lnTo>
                    <a:pt x="636" y="642"/>
                  </a:lnTo>
                  <a:lnTo>
                    <a:pt x="637" y="644"/>
                  </a:lnTo>
                  <a:lnTo>
                    <a:pt x="637" y="644"/>
                  </a:lnTo>
                  <a:lnTo>
                    <a:pt x="639" y="645"/>
                  </a:lnTo>
                  <a:lnTo>
                    <a:pt x="640" y="647"/>
                  </a:lnTo>
                  <a:lnTo>
                    <a:pt x="640" y="650"/>
                  </a:lnTo>
                  <a:lnTo>
                    <a:pt x="640" y="651"/>
                  </a:lnTo>
                  <a:lnTo>
                    <a:pt x="640" y="651"/>
                  </a:lnTo>
                  <a:lnTo>
                    <a:pt x="640" y="652"/>
                  </a:lnTo>
                  <a:lnTo>
                    <a:pt x="639" y="652"/>
                  </a:lnTo>
                  <a:lnTo>
                    <a:pt x="639" y="652"/>
                  </a:lnTo>
                  <a:lnTo>
                    <a:pt x="639" y="652"/>
                  </a:lnTo>
                  <a:lnTo>
                    <a:pt x="639" y="652"/>
                  </a:lnTo>
                  <a:lnTo>
                    <a:pt x="639" y="654"/>
                  </a:lnTo>
                  <a:lnTo>
                    <a:pt x="639" y="654"/>
                  </a:lnTo>
                  <a:lnTo>
                    <a:pt x="637" y="654"/>
                  </a:lnTo>
                  <a:lnTo>
                    <a:pt x="636" y="654"/>
                  </a:lnTo>
                  <a:lnTo>
                    <a:pt x="636" y="654"/>
                  </a:lnTo>
                  <a:lnTo>
                    <a:pt x="635" y="655"/>
                  </a:lnTo>
                  <a:lnTo>
                    <a:pt x="633" y="655"/>
                  </a:lnTo>
                  <a:lnTo>
                    <a:pt x="632" y="654"/>
                  </a:lnTo>
                  <a:lnTo>
                    <a:pt x="630" y="655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29" y="658"/>
                  </a:lnTo>
                  <a:lnTo>
                    <a:pt x="628" y="658"/>
                  </a:lnTo>
                  <a:lnTo>
                    <a:pt x="626" y="658"/>
                  </a:lnTo>
                  <a:lnTo>
                    <a:pt x="626" y="660"/>
                  </a:lnTo>
                  <a:lnTo>
                    <a:pt x="625" y="660"/>
                  </a:lnTo>
                  <a:lnTo>
                    <a:pt x="625" y="661"/>
                  </a:lnTo>
                  <a:lnTo>
                    <a:pt x="623" y="660"/>
                  </a:lnTo>
                  <a:lnTo>
                    <a:pt x="622" y="658"/>
                  </a:lnTo>
                  <a:lnTo>
                    <a:pt x="622" y="658"/>
                  </a:lnTo>
                  <a:lnTo>
                    <a:pt x="622" y="658"/>
                  </a:lnTo>
                  <a:lnTo>
                    <a:pt x="622" y="657"/>
                  </a:lnTo>
                  <a:lnTo>
                    <a:pt x="620" y="657"/>
                  </a:lnTo>
                  <a:lnTo>
                    <a:pt x="620" y="658"/>
                  </a:lnTo>
                  <a:lnTo>
                    <a:pt x="620" y="660"/>
                  </a:lnTo>
                  <a:lnTo>
                    <a:pt x="620" y="661"/>
                  </a:lnTo>
                  <a:lnTo>
                    <a:pt x="620" y="661"/>
                  </a:lnTo>
                  <a:lnTo>
                    <a:pt x="618" y="661"/>
                  </a:lnTo>
                  <a:lnTo>
                    <a:pt x="616" y="660"/>
                  </a:lnTo>
                  <a:lnTo>
                    <a:pt x="615" y="660"/>
                  </a:lnTo>
                  <a:lnTo>
                    <a:pt x="613" y="660"/>
                  </a:lnTo>
                  <a:lnTo>
                    <a:pt x="613" y="661"/>
                  </a:lnTo>
                  <a:lnTo>
                    <a:pt x="613" y="661"/>
                  </a:lnTo>
                  <a:lnTo>
                    <a:pt x="612" y="662"/>
                  </a:lnTo>
                  <a:lnTo>
                    <a:pt x="612" y="661"/>
                  </a:lnTo>
                  <a:lnTo>
                    <a:pt x="610" y="662"/>
                  </a:lnTo>
                  <a:lnTo>
                    <a:pt x="610" y="664"/>
                  </a:lnTo>
                  <a:lnTo>
                    <a:pt x="609" y="664"/>
                  </a:lnTo>
                  <a:lnTo>
                    <a:pt x="605" y="665"/>
                  </a:lnTo>
                  <a:lnTo>
                    <a:pt x="603" y="665"/>
                  </a:lnTo>
                  <a:lnTo>
                    <a:pt x="602" y="665"/>
                  </a:lnTo>
                  <a:lnTo>
                    <a:pt x="600" y="665"/>
                  </a:lnTo>
                  <a:lnTo>
                    <a:pt x="600" y="665"/>
                  </a:lnTo>
                  <a:lnTo>
                    <a:pt x="600" y="665"/>
                  </a:lnTo>
                  <a:lnTo>
                    <a:pt x="599" y="665"/>
                  </a:lnTo>
                  <a:lnTo>
                    <a:pt x="599" y="667"/>
                  </a:lnTo>
                  <a:lnTo>
                    <a:pt x="596" y="667"/>
                  </a:lnTo>
                  <a:lnTo>
                    <a:pt x="595" y="667"/>
                  </a:lnTo>
                  <a:lnTo>
                    <a:pt x="593" y="670"/>
                  </a:lnTo>
                  <a:lnTo>
                    <a:pt x="592" y="670"/>
                  </a:lnTo>
                  <a:lnTo>
                    <a:pt x="590" y="671"/>
                  </a:lnTo>
                  <a:lnTo>
                    <a:pt x="590" y="670"/>
                  </a:lnTo>
                  <a:lnTo>
                    <a:pt x="590" y="668"/>
                  </a:lnTo>
                  <a:lnTo>
                    <a:pt x="589" y="668"/>
                  </a:lnTo>
                  <a:lnTo>
                    <a:pt x="589" y="670"/>
                  </a:lnTo>
                  <a:lnTo>
                    <a:pt x="589" y="671"/>
                  </a:lnTo>
                  <a:lnTo>
                    <a:pt x="588" y="671"/>
                  </a:lnTo>
                  <a:lnTo>
                    <a:pt x="586" y="674"/>
                  </a:lnTo>
                  <a:lnTo>
                    <a:pt x="585" y="675"/>
                  </a:lnTo>
                  <a:lnTo>
                    <a:pt x="586" y="677"/>
                  </a:lnTo>
                  <a:lnTo>
                    <a:pt x="589" y="677"/>
                  </a:lnTo>
                  <a:lnTo>
                    <a:pt x="589" y="678"/>
                  </a:lnTo>
                  <a:lnTo>
                    <a:pt x="589" y="678"/>
                  </a:lnTo>
                  <a:lnTo>
                    <a:pt x="588" y="678"/>
                  </a:lnTo>
                  <a:lnTo>
                    <a:pt x="588" y="680"/>
                  </a:lnTo>
                  <a:lnTo>
                    <a:pt x="590" y="682"/>
                  </a:lnTo>
                  <a:lnTo>
                    <a:pt x="590" y="684"/>
                  </a:lnTo>
                  <a:lnTo>
                    <a:pt x="590" y="684"/>
                  </a:lnTo>
                  <a:lnTo>
                    <a:pt x="590" y="685"/>
                  </a:lnTo>
                  <a:lnTo>
                    <a:pt x="589" y="685"/>
                  </a:lnTo>
                  <a:lnTo>
                    <a:pt x="585" y="687"/>
                  </a:lnTo>
                  <a:lnTo>
                    <a:pt x="582" y="685"/>
                  </a:lnTo>
                  <a:lnTo>
                    <a:pt x="580" y="685"/>
                  </a:lnTo>
                  <a:lnTo>
                    <a:pt x="580" y="684"/>
                  </a:lnTo>
                  <a:lnTo>
                    <a:pt x="582" y="684"/>
                  </a:lnTo>
                  <a:lnTo>
                    <a:pt x="582" y="684"/>
                  </a:lnTo>
                  <a:lnTo>
                    <a:pt x="582" y="684"/>
                  </a:lnTo>
                  <a:lnTo>
                    <a:pt x="582" y="682"/>
                  </a:lnTo>
                  <a:lnTo>
                    <a:pt x="580" y="682"/>
                  </a:lnTo>
                  <a:lnTo>
                    <a:pt x="579" y="681"/>
                  </a:lnTo>
                  <a:lnTo>
                    <a:pt x="579" y="680"/>
                  </a:lnTo>
                  <a:lnTo>
                    <a:pt x="579" y="678"/>
                  </a:lnTo>
                  <a:lnTo>
                    <a:pt x="579" y="677"/>
                  </a:lnTo>
                  <a:lnTo>
                    <a:pt x="578" y="677"/>
                  </a:lnTo>
                  <a:lnTo>
                    <a:pt x="578" y="675"/>
                  </a:lnTo>
                  <a:lnTo>
                    <a:pt x="578" y="672"/>
                  </a:lnTo>
                  <a:lnTo>
                    <a:pt x="578" y="671"/>
                  </a:lnTo>
                  <a:lnTo>
                    <a:pt x="579" y="670"/>
                  </a:lnTo>
                  <a:lnTo>
                    <a:pt x="579" y="668"/>
                  </a:lnTo>
                  <a:lnTo>
                    <a:pt x="582" y="668"/>
                  </a:lnTo>
                  <a:lnTo>
                    <a:pt x="582" y="665"/>
                  </a:lnTo>
                  <a:lnTo>
                    <a:pt x="580" y="665"/>
                  </a:lnTo>
                  <a:lnTo>
                    <a:pt x="579" y="664"/>
                  </a:lnTo>
                  <a:lnTo>
                    <a:pt x="579" y="665"/>
                  </a:lnTo>
                  <a:lnTo>
                    <a:pt x="578" y="665"/>
                  </a:lnTo>
                  <a:lnTo>
                    <a:pt x="576" y="662"/>
                  </a:lnTo>
                  <a:lnTo>
                    <a:pt x="576" y="662"/>
                  </a:lnTo>
                  <a:lnTo>
                    <a:pt x="575" y="662"/>
                  </a:lnTo>
                  <a:lnTo>
                    <a:pt x="576" y="665"/>
                  </a:lnTo>
                  <a:lnTo>
                    <a:pt x="573" y="665"/>
                  </a:lnTo>
                  <a:lnTo>
                    <a:pt x="572" y="667"/>
                  </a:lnTo>
                  <a:lnTo>
                    <a:pt x="570" y="667"/>
                  </a:lnTo>
                  <a:lnTo>
                    <a:pt x="569" y="667"/>
                  </a:lnTo>
                  <a:lnTo>
                    <a:pt x="568" y="667"/>
                  </a:lnTo>
                  <a:lnTo>
                    <a:pt x="569" y="665"/>
                  </a:lnTo>
                  <a:lnTo>
                    <a:pt x="569" y="665"/>
                  </a:lnTo>
                  <a:lnTo>
                    <a:pt x="569" y="664"/>
                  </a:lnTo>
                  <a:lnTo>
                    <a:pt x="568" y="664"/>
                  </a:lnTo>
                  <a:lnTo>
                    <a:pt x="566" y="664"/>
                  </a:lnTo>
                  <a:lnTo>
                    <a:pt x="565" y="662"/>
                  </a:lnTo>
                  <a:lnTo>
                    <a:pt x="563" y="664"/>
                  </a:lnTo>
                  <a:lnTo>
                    <a:pt x="563" y="662"/>
                  </a:lnTo>
                  <a:lnTo>
                    <a:pt x="562" y="661"/>
                  </a:lnTo>
                  <a:lnTo>
                    <a:pt x="560" y="661"/>
                  </a:lnTo>
                  <a:lnTo>
                    <a:pt x="560" y="660"/>
                  </a:lnTo>
                  <a:lnTo>
                    <a:pt x="560" y="660"/>
                  </a:lnTo>
                  <a:lnTo>
                    <a:pt x="560" y="658"/>
                  </a:lnTo>
                  <a:lnTo>
                    <a:pt x="559" y="658"/>
                  </a:lnTo>
                  <a:lnTo>
                    <a:pt x="559" y="660"/>
                  </a:lnTo>
                  <a:lnTo>
                    <a:pt x="559" y="661"/>
                  </a:lnTo>
                  <a:lnTo>
                    <a:pt x="559" y="662"/>
                  </a:lnTo>
                  <a:lnTo>
                    <a:pt x="559" y="662"/>
                  </a:lnTo>
                  <a:lnTo>
                    <a:pt x="558" y="664"/>
                  </a:lnTo>
                  <a:lnTo>
                    <a:pt x="556" y="662"/>
                  </a:lnTo>
                  <a:lnTo>
                    <a:pt x="556" y="662"/>
                  </a:lnTo>
                  <a:lnTo>
                    <a:pt x="556" y="662"/>
                  </a:lnTo>
                  <a:lnTo>
                    <a:pt x="556" y="664"/>
                  </a:lnTo>
                  <a:lnTo>
                    <a:pt x="555" y="664"/>
                  </a:lnTo>
                  <a:lnTo>
                    <a:pt x="553" y="664"/>
                  </a:lnTo>
                  <a:lnTo>
                    <a:pt x="552" y="665"/>
                  </a:lnTo>
                  <a:lnTo>
                    <a:pt x="550" y="665"/>
                  </a:lnTo>
                  <a:lnTo>
                    <a:pt x="549" y="664"/>
                  </a:lnTo>
                  <a:lnTo>
                    <a:pt x="548" y="662"/>
                  </a:lnTo>
                  <a:lnTo>
                    <a:pt x="548" y="662"/>
                  </a:lnTo>
                  <a:lnTo>
                    <a:pt x="545" y="664"/>
                  </a:lnTo>
                  <a:lnTo>
                    <a:pt x="542" y="664"/>
                  </a:lnTo>
                  <a:lnTo>
                    <a:pt x="542" y="662"/>
                  </a:lnTo>
                  <a:lnTo>
                    <a:pt x="540" y="664"/>
                  </a:lnTo>
                  <a:lnTo>
                    <a:pt x="539" y="662"/>
                  </a:lnTo>
                  <a:lnTo>
                    <a:pt x="538" y="661"/>
                  </a:lnTo>
                  <a:lnTo>
                    <a:pt x="536" y="661"/>
                  </a:lnTo>
                  <a:lnTo>
                    <a:pt x="535" y="660"/>
                  </a:lnTo>
                  <a:lnTo>
                    <a:pt x="535" y="658"/>
                  </a:lnTo>
                  <a:lnTo>
                    <a:pt x="535" y="658"/>
                  </a:lnTo>
                  <a:lnTo>
                    <a:pt x="533" y="658"/>
                  </a:lnTo>
                  <a:lnTo>
                    <a:pt x="533" y="658"/>
                  </a:lnTo>
                  <a:lnTo>
                    <a:pt x="532" y="657"/>
                  </a:lnTo>
                  <a:lnTo>
                    <a:pt x="531" y="657"/>
                  </a:lnTo>
                  <a:lnTo>
                    <a:pt x="531" y="657"/>
                  </a:lnTo>
                  <a:lnTo>
                    <a:pt x="529" y="657"/>
                  </a:lnTo>
                  <a:lnTo>
                    <a:pt x="529" y="657"/>
                  </a:lnTo>
                  <a:lnTo>
                    <a:pt x="529" y="654"/>
                  </a:lnTo>
                  <a:lnTo>
                    <a:pt x="529" y="652"/>
                  </a:lnTo>
                  <a:lnTo>
                    <a:pt x="529" y="652"/>
                  </a:lnTo>
                  <a:lnTo>
                    <a:pt x="528" y="651"/>
                  </a:lnTo>
                  <a:lnTo>
                    <a:pt x="528" y="651"/>
                  </a:lnTo>
                  <a:lnTo>
                    <a:pt x="528" y="650"/>
                  </a:lnTo>
                  <a:lnTo>
                    <a:pt x="528" y="648"/>
                  </a:lnTo>
                  <a:lnTo>
                    <a:pt x="528" y="647"/>
                  </a:lnTo>
                  <a:lnTo>
                    <a:pt x="529" y="647"/>
                  </a:lnTo>
                  <a:lnTo>
                    <a:pt x="531" y="645"/>
                  </a:lnTo>
                  <a:lnTo>
                    <a:pt x="531" y="644"/>
                  </a:lnTo>
                  <a:lnTo>
                    <a:pt x="532" y="644"/>
                  </a:lnTo>
                  <a:lnTo>
                    <a:pt x="529" y="641"/>
                  </a:lnTo>
                  <a:lnTo>
                    <a:pt x="528" y="641"/>
                  </a:lnTo>
                  <a:lnTo>
                    <a:pt x="526" y="641"/>
                  </a:lnTo>
                  <a:lnTo>
                    <a:pt x="525" y="642"/>
                  </a:lnTo>
                  <a:lnTo>
                    <a:pt x="523" y="642"/>
                  </a:lnTo>
                  <a:lnTo>
                    <a:pt x="523" y="642"/>
                  </a:lnTo>
                  <a:lnTo>
                    <a:pt x="522" y="640"/>
                  </a:lnTo>
                  <a:lnTo>
                    <a:pt x="521" y="640"/>
                  </a:lnTo>
                  <a:lnTo>
                    <a:pt x="521" y="640"/>
                  </a:lnTo>
                  <a:lnTo>
                    <a:pt x="519" y="640"/>
                  </a:lnTo>
                  <a:lnTo>
                    <a:pt x="518" y="641"/>
                  </a:lnTo>
                  <a:lnTo>
                    <a:pt x="518" y="641"/>
                  </a:lnTo>
                  <a:lnTo>
                    <a:pt x="516" y="641"/>
                  </a:lnTo>
                  <a:lnTo>
                    <a:pt x="515" y="640"/>
                  </a:lnTo>
                  <a:lnTo>
                    <a:pt x="513" y="640"/>
                  </a:lnTo>
                  <a:lnTo>
                    <a:pt x="512" y="638"/>
                  </a:lnTo>
                  <a:lnTo>
                    <a:pt x="511" y="637"/>
                  </a:lnTo>
                  <a:lnTo>
                    <a:pt x="511" y="637"/>
                  </a:lnTo>
                  <a:lnTo>
                    <a:pt x="509" y="635"/>
                  </a:lnTo>
                  <a:lnTo>
                    <a:pt x="508" y="634"/>
                  </a:lnTo>
                  <a:lnTo>
                    <a:pt x="508" y="634"/>
                  </a:lnTo>
                  <a:lnTo>
                    <a:pt x="506" y="634"/>
                  </a:lnTo>
                  <a:lnTo>
                    <a:pt x="506" y="635"/>
                  </a:lnTo>
                  <a:lnTo>
                    <a:pt x="502" y="637"/>
                  </a:lnTo>
                  <a:lnTo>
                    <a:pt x="502" y="637"/>
                  </a:lnTo>
                  <a:lnTo>
                    <a:pt x="501" y="637"/>
                  </a:lnTo>
                  <a:lnTo>
                    <a:pt x="501" y="638"/>
                  </a:lnTo>
                  <a:lnTo>
                    <a:pt x="499" y="640"/>
                  </a:lnTo>
                  <a:lnTo>
                    <a:pt x="499" y="641"/>
                  </a:lnTo>
                  <a:lnTo>
                    <a:pt x="499" y="642"/>
                  </a:lnTo>
                  <a:lnTo>
                    <a:pt x="498" y="642"/>
                  </a:lnTo>
                  <a:lnTo>
                    <a:pt x="496" y="642"/>
                  </a:lnTo>
                  <a:lnTo>
                    <a:pt x="496" y="642"/>
                  </a:lnTo>
                  <a:lnTo>
                    <a:pt x="495" y="642"/>
                  </a:lnTo>
                  <a:lnTo>
                    <a:pt x="492" y="645"/>
                  </a:lnTo>
                  <a:lnTo>
                    <a:pt x="492" y="644"/>
                  </a:lnTo>
                  <a:lnTo>
                    <a:pt x="491" y="644"/>
                  </a:lnTo>
                  <a:lnTo>
                    <a:pt x="491" y="642"/>
                  </a:lnTo>
                  <a:lnTo>
                    <a:pt x="489" y="642"/>
                  </a:lnTo>
                  <a:lnTo>
                    <a:pt x="488" y="644"/>
                  </a:lnTo>
                  <a:lnTo>
                    <a:pt x="486" y="645"/>
                  </a:lnTo>
                  <a:lnTo>
                    <a:pt x="486" y="647"/>
                  </a:lnTo>
                  <a:lnTo>
                    <a:pt x="486" y="647"/>
                  </a:lnTo>
                  <a:lnTo>
                    <a:pt x="486" y="647"/>
                  </a:lnTo>
                  <a:lnTo>
                    <a:pt x="485" y="648"/>
                  </a:lnTo>
                  <a:lnTo>
                    <a:pt x="481" y="644"/>
                  </a:lnTo>
                  <a:lnTo>
                    <a:pt x="481" y="644"/>
                  </a:lnTo>
                  <a:lnTo>
                    <a:pt x="479" y="644"/>
                  </a:lnTo>
                  <a:lnTo>
                    <a:pt x="479" y="647"/>
                  </a:lnTo>
                  <a:lnTo>
                    <a:pt x="479" y="647"/>
                  </a:lnTo>
                  <a:lnTo>
                    <a:pt x="478" y="647"/>
                  </a:lnTo>
                  <a:lnTo>
                    <a:pt x="476" y="644"/>
                  </a:lnTo>
                  <a:lnTo>
                    <a:pt x="476" y="644"/>
                  </a:lnTo>
                  <a:lnTo>
                    <a:pt x="475" y="644"/>
                  </a:lnTo>
                  <a:lnTo>
                    <a:pt x="475" y="644"/>
                  </a:lnTo>
                  <a:lnTo>
                    <a:pt x="473" y="645"/>
                  </a:lnTo>
                  <a:lnTo>
                    <a:pt x="473" y="647"/>
                  </a:lnTo>
                  <a:lnTo>
                    <a:pt x="473" y="647"/>
                  </a:lnTo>
                  <a:lnTo>
                    <a:pt x="472" y="648"/>
                  </a:lnTo>
                  <a:lnTo>
                    <a:pt x="471" y="650"/>
                  </a:lnTo>
                  <a:lnTo>
                    <a:pt x="471" y="650"/>
                  </a:lnTo>
                  <a:lnTo>
                    <a:pt x="469" y="648"/>
                  </a:lnTo>
                  <a:lnTo>
                    <a:pt x="469" y="648"/>
                  </a:lnTo>
                  <a:lnTo>
                    <a:pt x="468" y="647"/>
                  </a:lnTo>
                  <a:lnTo>
                    <a:pt x="466" y="645"/>
                  </a:lnTo>
                  <a:lnTo>
                    <a:pt x="465" y="645"/>
                  </a:lnTo>
                  <a:lnTo>
                    <a:pt x="463" y="644"/>
                  </a:lnTo>
                  <a:lnTo>
                    <a:pt x="462" y="644"/>
                  </a:lnTo>
                  <a:lnTo>
                    <a:pt x="462" y="644"/>
                  </a:lnTo>
                  <a:lnTo>
                    <a:pt x="461" y="644"/>
                  </a:lnTo>
                  <a:lnTo>
                    <a:pt x="461" y="645"/>
                  </a:lnTo>
                  <a:lnTo>
                    <a:pt x="459" y="647"/>
                  </a:lnTo>
                  <a:lnTo>
                    <a:pt x="458" y="648"/>
                  </a:lnTo>
                  <a:lnTo>
                    <a:pt x="458" y="650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5" y="650"/>
                  </a:lnTo>
                  <a:lnTo>
                    <a:pt x="453" y="650"/>
                  </a:lnTo>
                  <a:lnTo>
                    <a:pt x="452" y="650"/>
                  </a:lnTo>
                  <a:lnTo>
                    <a:pt x="451" y="648"/>
                  </a:lnTo>
                  <a:lnTo>
                    <a:pt x="451" y="648"/>
                  </a:lnTo>
                  <a:lnTo>
                    <a:pt x="451" y="648"/>
                  </a:lnTo>
                  <a:lnTo>
                    <a:pt x="449" y="648"/>
                  </a:lnTo>
                  <a:lnTo>
                    <a:pt x="449" y="650"/>
                  </a:lnTo>
                  <a:lnTo>
                    <a:pt x="449" y="651"/>
                  </a:lnTo>
                  <a:lnTo>
                    <a:pt x="448" y="652"/>
                  </a:lnTo>
                  <a:lnTo>
                    <a:pt x="446" y="652"/>
                  </a:lnTo>
                  <a:lnTo>
                    <a:pt x="448" y="652"/>
                  </a:lnTo>
                  <a:lnTo>
                    <a:pt x="448" y="654"/>
                  </a:lnTo>
                  <a:lnTo>
                    <a:pt x="448" y="655"/>
                  </a:lnTo>
                  <a:lnTo>
                    <a:pt x="448" y="655"/>
                  </a:lnTo>
                  <a:lnTo>
                    <a:pt x="448" y="657"/>
                  </a:lnTo>
                  <a:lnTo>
                    <a:pt x="449" y="658"/>
                  </a:lnTo>
                  <a:lnTo>
                    <a:pt x="451" y="660"/>
                  </a:lnTo>
                  <a:lnTo>
                    <a:pt x="451" y="661"/>
                  </a:lnTo>
                  <a:lnTo>
                    <a:pt x="451" y="664"/>
                  </a:lnTo>
                  <a:lnTo>
                    <a:pt x="451" y="665"/>
                  </a:lnTo>
                  <a:lnTo>
                    <a:pt x="451" y="667"/>
                  </a:lnTo>
                  <a:lnTo>
                    <a:pt x="451" y="668"/>
                  </a:lnTo>
                  <a:lnTo>
                    <a:pt x="451" y="670"/>
                  </a:lnTo>
                  <a:lnTo>
                    <a:pt x="452" y="670"/>
                  </a:lnTo>
                  <a:lnTo>
                    <a:pt x="452" y="670"/>
                  </a:lnTo>
                  <a:lnTo>
                    <a:pt x="451" y="671"/>
                  </a:lnTo>
                  <a:lnTo>
                    <a:pt x="451" y="671"/>
                  </a:lnTo>
                  <a:lnTo>
                    <a:pt x="451" y="671"/>
                  </a:lnTo>
                  <a:lnTo>
                    <a:pt x="449" y="671"/>
                  </a:lnTo>
                  <a:lnTo>
                    <a:pt x="449" y="671"/>
                  </a:lnTo>
                  <a:lnTo>
                    <a:pt x="448" y="671"/>
                  </a:lnTo>
                  <a:lnTo>
                    <a:pt x="448" y="670"/>
                  </a:lnTo>
                  <a:lnTo>
                    <a:pt x="446" y="670"/>
                  </a:lnTo>
                  <a:lnTo>
                    <a:pt x="444" y="671"/>
                  </a:lnTo>
                  <a:lnTo>
                    <a:pt x="442" y="671"/>
                  </a:lnTo>
                  <a:lnTo>
                    <a:pt x="442" y="670"/>
                  </a:lnTo>
                  <a:lnTo>
                    <a:pt x="442" y="670"/>
                  </a:lnTo>
                  <a:lnTo>
                    <a:pt x="442" y="668"/>
                  </a:lnTo>
                  <a:lnTo>
                    <a:pt x="442" y="667"/>
                  </a:lnTo>
                  <a:lnTo>
                    <a:pt x="442" y="667"/>
                  </a:lnTo>
                  <a:lnTo>
                    <a:pt x="442" y="665"/>
                  </a:lnTo>
                  <a:lnTo>
                    <a:pt x="441" y="664"/>
                  </a:lnTo>
                  <a:lnTo>
                    <a:pt x="441" y="664"/>
                  </a:lnTo>
                  <a:lnTo>
                    <a:pt x="441" y="662"/>
                  </a:lnTo>
                  <a:lnTo>
                    <a:pt x="441" y="661"/>
                  </a:lnTo>
                  <a:lnTo>
                    <a:pt x="441" y="661"/>
                  </a:lnTo>
                  <a:lnTo>
                    <a:pt x="441" y="661"/>
                  </a:lnTo>
                  <a:lnTo>
                    <a:pt x="439" y="661"/>
                  </a:lnTo>
                  <a:lnTo>
                    <a:pt x="436" y="662"/>
                  </a:lnTo>
                  <a:lnTo>
                    <a:pt x="434" y="665"/>
                  </a:lnTo>
                  <a:lnTo>
                    <a:pt x="432" y="665"/>
                  </a:lnTo>
                  <a:lnTo>
                    <a:pt x="431" y="667"/>
                  </a:lnTo>
                  <a:lnTo>
                    <a:pt x="429" y="665"/>
                  </a:lnTo>
                  <a:lnTo>
                    <a:pt x="428" y="665"/>
                  </a:lnTo>
                  <a:lnTo>
                    <a:pt x="426" y="665"/>
                  </a:lnTo>
                  <a:lnTo>
                    <a:pt x="425" y="665"/>
                  </a:lnTo>
                  <a:lnTo>
                    <a:pt x="425" y="665"/>
                  </a:lnTo>
                  <a:lnTo>
                    <a:pt x="424" y="664"/>
                  </a:lnTo>
                  <a:lnTo>
                    <a:pt x="425" y="664"/>
                  </a:lnTo>
                  <a:lnTo>
                    <a:pt x="424" y="662"/>
                  </a:lnTo>
                  <a:lnTo>
                    <a:pt x="424" y="662"/>
                  </a:lnTo>
                  <a:lnTo>
                    <a:pt x="422" y="662"/>
                  </a:lnTo>
                  <a:lnTo>
                    <a:pt x="422" y="661"/>
                  </a:lnTo>
                  <a:lnTo>
                    <a:pt x="422" y="660"/>
                  </a:lnTo>
                  <a:lnTo>
                    <a:pt x="422" y="658"/>
                  </a:lnTo>
                  <a:lnTo>
                    <a:pt x="422" y="657"/>
                  </a:lnTo>
                  <a:lnTo>
                    <a:pt x="421" y="657"/>
                  </a:lnTo>
                  <a:lnTo>
                    <a:pt x="419" y="655"/>
                  </a:lnTo>
                  <a:lnTo>
                    <a:pt x="416" y="655"/>
                  </a:lnTo>
                  <a:lnTo>
                    <a:pt x="414" y="655"/>
                  </a:lnTo>
                  <a:lnTo>
                    <a:pt x="412" y="655"/>
                  </a:lnTo>
                  <a:lnTo>
                    <a:pt x="411" y="655"/>
                  </a:lnTo>
                  <a:lnTo>
                    <a:pt x="409" y="654"/>
                  </a:lnTo>
                  <a:lnTo>
                    <a:pt x="409" y="654"/>
                  </a:lnTo>
                  <a:lnTo>
                    <a:pt x="409" y="654"/>
                  </a:lnTo>
                  <a:lnTo>
                    <a:pt x="409" y="652"/>
                  </a:lnTo>
                  <a:lnTo>
                    <a:pt x="411" y="651"/>
                  </a:lnTo>
                  <a:lnTo>
                    <a:pt x="412" y="648"/>
                  </a:lnTo>
                  <a:lnTo>
                    <a:pt x="412" y="647"/>
                  </a:lnTo>
                  <a:lnTo>
                    <a:pt x="412" y="645"/>
                  </a:lnTo>
                  <a:lnTo>
                    <a:pt x="412" y="642"/>
                  </a:lnTo>
                  <a:lnTo>
                    <a:pt x="414" y="641"/>
                  </a:lnTo>
                  <a:lnTo>
                    <a:pt x="415" y="640"/>
                  </a:lnTo>
                  <a:lnTo>
                    <a:pt x="415" y="640"/>
                  </a:lnTo>
                  <a:lnTo>
                    <a:pt x="414" y="638"/>
                  </a:lnTo>
                  <a:lnTo>
                    <a:pt x="414" y="638"/>
                  </a:lnTo>
                  <a:lnTo>
                    <a:pt x="412" y="638"/>
                  </a:lnTo>
                  <a:lnTo>
                    <a:pt x="411" y="638"/>
                  </a:lnTo>
                  <a:lnTo>
                    <a:pt x="408" y="637"/>
                  </a:lnTo>
                  <a:lnTo>
                    <a:pt x="405" y="637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5" y="632"/>
                  </a:lnTo>
                  <a:lnTo>
                    <a:pt x="404" y="631"/>
                  </a:lnTo>
                  <a:lnTo>
                    <a:pt x="404" y="631"/>
                  </a:lnTo>
                  <a:lnTo>
                    <a:pt x="404" y="628"/>
                  </a:lnTo>
                  <a:lnTo>
                    <a:pt x="404" y="627"/>
                  </a:lnTo>
                  <a:lnTo>
                    <a:pt x="402" y="625"/>
                  </a:lnTo>
                  <a:lnTo>
                    <a:pt x="402" y="625"/>
                  </a:lnTo>
                  <a:lnTo>
                    <a:pt x="402" y="624"/>
                  </a:lnTo>
                  <a:lnTo>
                    <a:pt x="402" y="622"/>
                  </a:lnTo>
                  <a:lnTo>
                    <a:pt x="404" y="621"/>
                  </a:lnTo>
                  <a:lnTo>
                    <a:pt x="404" y="620"/>
                  </a:lnTo>
                  <a:lnTo>
                    <a:pt x="404" y="620"/>
                  </a:lnTo>
                  <a:lnTo>
                    <a:pt x="404" y="620"/>
                  </a:lnTo>
                  <a:lnTo>
                    <a:pt x="401" y="621"/>
                  </a:lnTo>
                  <a:lnTo>
                    <a:pt x="399" y="621"/>
                  </a:lnTo>
                  <a:lnTo>
                    <a:pt x="399" y="620"/>
                  </a:lnTo>
                  <a:lnTo>
                    <a:pt x="396" y="620"/>
                  </a:lnTo>
                  <a:lnTo>
                    <a:pt x="394" y="620"/>
                  </a:lnTo>
                  <a:lnTo>
                    <a:pt x="391" y="621"/>
                  </a:lnTo>
                  <a:lnTo>
                    <a:pt x="388" y="622"/>
                  </a:lnTo>
                  <a:lnTo>
                    <a:pt x="386" y="624"/>
                  </a:lnTo>
                  <a:lnTo>
                    <a:pt x="385" y="624"/>
                  </a:lnTo>
                  <a:lnTo>
                    <a:pt x="385" y="624"/>
                  </a:lnTo>
                  <a:lnTo>
                    <a:pt x="384" y="624"/>
                  </a:lnTo>
                  <a:lnTo>
                    <a:pt x="384" y="622"/>
                  </a:lnTo>
                  <a:lnTo>
                    <a:pt x="385" y="620"/>
                  </a:lnTo>
                  <a:lnTo>
                    <a:pt x="386" y="618"/>
                  </a:lnTo>
                  <a:lnTo>
                    <a:pt x="385" y="617"/>
                  </a:lnTo>
                  <a:lnTo>
                    <a:pt x="385" y="615"/>
                  </a:lnTo>
                  <a:lnTo>
                    <a:pt x="385" y="615"/>
                  </a:lnTo>
                  <a:lnTo>
                    <a:pt x="384" y="614"/>
                  </a:lnTo>
                  <a:lnTo>
                    <a:pt x="384" y="614"/>
                  </a:lnTo>
                  <a:lnTo>
                    <a:pt x="384" y="611"/>
                  </a:lnTo>
                  <a:lnTo>
                    <a:pt x="384" y="608"/>
                  </a:lnTo>
                  <a:lnTo>
                    <a:pt x="385" y="608"/>
                  </a:lnTo>
                  <a:lnTo>
                    <a:pt x="386" y="607"/>
                  </a:lnTo>
                  <a:lnTo>
                    <a:pt x="386" y="607"/>
                  </a:lnTo>
                  <a:lnTo>
                    <a:pt x="386" y="605"/>
                  </a:lnTo>
                  <a:lnTo>
                    <a:pt x="386" y="604"/>
                  </a:lnTo>
                  <a:lnTo>
                    <a:pt x="386" y="602"/>
                  </a:lnTo>
                  <a:lnTo>
                    <a:pt x="388" y="600"/>
                  </a:lnTo>
                  <a:lnTo>
                    <a:pt x="389" y="601"/>
                  </a:lnTo>
                  <a:lnTo>
                    <a:pt x="391" y="600"/>
                  </a:lnTo>
                  <a:lnTo>
                    <a:pt x="391" y="600"/>
                  </a:lnTo>
                  <a:lnTo>
                    <a:pt x="392" y="598"/>
                  </a:lnTo>
                  <a:lnTo>
                    <a:pt x="392" y="597"/>
                  </a:lnTo>
                  <a:lnTo>
                    <a:pt x="394" y="594"/>
                  </a:lnTo>
                  <a:lnTo>
                    <a:pt x="394" y="594"/>
                  </a:lnTo>
                  <a:lnTo>
                    <a:pt x="395" y="594"/>
                  </a:lnTo>
                  <a:lnTo>
                    <a:pt x="396" y="594"/>
                  </a:lnTo>
                  <a:lnTo>
                    <a:pt x="396" y="592"/>
                  </a:lnTo>
                  <a:lnTo>
                    <a:pt x="398" y="591"/>
                  </a:lnTo>
                  <a:lnTo>
                    <a:pt x="399" y="590"/>
                  </a:lnTo>
                  <a:lnTo>
                    <a:pt x="401" y="590"/>
                  </a:lnTo>
                  <a:lnTo>
                    <a:pt x="401" y="590"/>
                  </a:lnTo>
                  <a:lnTo>
                    <a:pt x="401" y="588"/>
                  </a:lnTo>
                  <a:lnTo>
                    <a:pt x="401" y="587"/>
                  </a:lnTo>
                  <a:lnTo>
                    <a:pt x="399" y="585"/>
                  </a:lnTo>
                  <a:lnTo>
                    <a:pt x="399" y="585"/>
                  </a:lnTo>
                  <a:lnTo>
                    <a:pt x="401" y="584"/>
                  </a:lnTo>
                  <a:lnTo>
                    <a:pt x="402" y="584"/>
                  </a:lnTo>
                  <a:lnTo>
                    <a:pt x="401" y="581"/>
                  </a:lnTo>
                  <a:lnTo>
                    <a:pt x="402" y="580"/>
                  </a:lnTo>
                  <a:lnTo>
                    <a:pt x="402" y="577"/>
                  </a:lnTo>
                  <a:lnTo>
                    <a:pt x="402" y="574"/>
                  </a:lnTo>
                  <a:lnTo>
                    <a:pt x="402" y="572"/>
                  </a:lnTo>
                  <a:lnTo>
                    <a:pt x="402" y="571"/>
                  </a:lnTo>
                  <a:lnTo>
                    <a:pt x="402" y="568"/>
                  </a:lnTo>
                  <a:lnTo>
                    <a:pt x="402" y="565"/>
                  </a:lnTo>
                  <a:lnTo>
                    <a:pt x="402" y="565"/>
                  </a:lnTo>
                  <a:lnTo>
                    <a:pt x="402" y="561"/>
                  </a:lnTo>
                  <a:lnTo>
                    <a:pt x="401" y="558"/>
                  </a:lnTo>
                  <a:lnTo>
                    <a:pt x="401" y="558"/>
                  </a:lnTo>
                  <a:lnTo>
                    <a:pt x="399" y="557"/>
                  </a:lnTo>
                  <a:lnTo>
                    <a:pt x="398" y="557"/>
                  </a:lnTo>
                  <a:lnTo>
                    <a:pt x="398" y="558"/>
                  </a:lnTo>
                  <a:lnTo>
                    <a:pt x="396" y="558"/>
                  </a:lnTo>
                  <a:lnTo>
                    <a:pt x="396" y="560"/>
                  </a:lnTo>
                  <a:lnTo>
                    <a:pt x="395" y="560"/>
                  </a:lnTo>
                  <a:lnTo>
                    <a:pt x="395" y="558"/>
                  </a:lnTo>
                  <a:lnTo>
                    <a:pt x="395" y="557"/>
                  </a:lnTo>
                  <a:lnTo>
                    <a:pt x="392" y="551"/>
                  </a:lnTo>
                  <a:lnTo>
                    <a:pt x="392" y="550"/>
                  </a:lnTo>
                  <a:lnTo>
                    <a:pt x="392" y="548"/>
                  </a:lnTo>
                  <a:lnTo>
                    <a:pt x="392" y="548"/>
                  </a:lnTo>
                  <a:lnTo>
                    <a:pt x="391" y="547"/>
                  </a:lnTo>
                  <a:lnTo>
                    <a:pt x="389" y="545"/>
                  </a:lnTo>
                  <a:lnTo>
                    <a:pt x="389" y="545"/>
                  </a:lnTo>
                  <a:lnTo>
                    <a:pt x="388" y="544"/>
                  </a:lnTo>
                  <a:lnTo>
                    <a:pt x="388" y="545"/>
                  </a:lnTo>
                  <a:lnTo>
                    <a:pt x="386" y="545"/>
                  </a:lnTo>
                  <a:lnTo>
                    <a:pt x="386" y="544"/>
                  </a:lnTo>
                  <a:lnTo>
                    <a:pt x="386" y="542"/>
                  </a:lnTo>
                  <a:lnTo>
                    <a:pt x="385" y="542"/>
                  </a:lnTo>
                  <a:lnTo>
                    <a:pt x="384" y="541"/>
                  </a:lnTo>
                  <a:lnTo>
                    <a:pt x="384" y="542"/>
                  </a:lnTo>
                  <a:lnTo>
                    <a:pt x="382" y="542"/>
                  </a:lnTo>
                  <a:lnTo>
                    <a:pt x="382" y="544"/>
                  </a:lnTo>
                  <a:lnTo>
                    <a:pt x="382" y="545"/>
                  </a:lnTo>
                  <a:lnTo>
                    <a:pt x="381" y="547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6" y="545"/>
                  </a:lnTo>
                  <a:lnTo>
                    <a:pt x="376" y="544"/>
                  </a:lnTo>
                  <a:lnTo>
                    <a:pt x="374" y="545"/>
                  </a:lnTo>
                  <a:lnTo>
                    <a:pt x="372" y="544"/>
                  </a:lnTo>
                  <a:lnTo>
                    <a:pt x="371" y="544"/>
                  </a:lnTo>
                  <a:lnTo>
                    <a:pt x="369" y="542"/>
                  </a:lnTo>
                  <a:lnTo>
                    <a:pt x="368" y="542"/>
                  </a:lnTo>
                  <a:lnTo>
                    <a:pt x="365" y="544"/>
                  </a:lnTo>
                  <a:lnTo>
                    <a:pt x="365" y="544"/>
                  </a:lnTo>
                  <a:lnTo>
                    <a:pt x="365" y="544"/>
                  </a:lnTo>
                  <a:lnTo>
                    <a:pt x="364" y="544"/>
                  </a:lnTo>
                  <a:lnTo>
                    <a:pt x="364" y="544"/>
                  </a:lnTo>
                  <a:lnTo>
                    <a:pt x="364" y="544"/>
                  </a:lnTo>
                  <a:lnTo>
                    <a:pt x="364" y="542"/>
                  </a:lnTo>
                  <a:lnTo>
                    <a:pt x="364" y="542"/>
                  </a:lnTo>
                  <a:lnTo>
                    <a:pt x="364" y="541"/>
                  </a:lnTo>
                  <a:lnTo>
                    <a:pt x="365" y="540"/>
                  </a:lnTo>
                  <a:lnTo>
                    <a:pt x="368" y="537"/>
                  </a:lnTo>
                  <a:lnTo>
                    <a:pt x="368" y="535"/>
                  </a:lnTo>
                  <a:lnTo>
                    <a:pt x="366" y="534"/>
                  </a:lnTo>
                  <a:lnTo>
                    <a:pt x="366" y="532"/>
                  </a:lnTo>
                  <a:lnTo>
                    <a:pt x="365" y="532"/>
                  </a:lnTo>
                  <a:lnTo>
                    <a:pt x="364" y="532"/>
                  </a:lnTo>
                  <a:lnTo>
                    <a:pt x="361" y="534"/>
                  </a:lnTo>
                  <a:lnTo>
                    <a:pt x="361" y="534"/>
                  </a:lnTo>
                  <a:lnTo>
                    <a:pt x="361" y="534"/>
                  </a:lnTo>
                  <a:lnTo>
                    <a:pt x="361" y="531"/>
                  </a:lnTo>
                  <a:lnTo>
                    <a:pt x="362" y="531"/>
                  </a:lnTo>
                  <a:lnTo>
                    <a:pt x="364" y="530"/>
                  </a:lnTo>
                  <a:lnTo>
                    <a:pt x="364" y="530"/>
                  </a:lnTo>
                  <a:lnTo>
                    <a:pt x="364" y="528"/>
                  </a:lnTo>
                  <a:lnTo>
                    <a:pt x="364" y="528"/>
                  </a:lnTo>
                  <a:lnTo>
                    <a:pt x="362" y="528"/>
                  </a:lnTo>
                  <a:lnTo>
                    <a:pt x="362" y="528"/>
                  </a:lnTo>
                  <a:lnTo>
                    <a:pt x="361" y="525"/>
                  </a:lnTo>
                  <a:lnTo>
                    <a:pt x="359" y="525"/>
                  </a:lnTo>
                  <a:lnTo>
                    <a:pt x="359" y="525"/>
                  </a:lnTo>
                  <a:lnTo>
                    <a:pt x="356" y="525"/>
                  </a:lnTo>
                  <a:lnTo>
                    <a:pt x="354" y="527"/>
                  </a:lnTo>
                  <a:lnTo>
                    <a:pt x="351" y="530"/>
                  </a:lnTo>
                  <a:lnTo>
                    <a:pt x="351" y="530"/>
                  </a:lnTo>
                  <a:lnTo>
                    <a:pt x="351" y="531"/>
                  </a:lnTo>
                  <a:lnTo>
                    <a:pt x="349" y="531"/>
                  </a:lnTo>
                  <a:lnTo>
                    <a:pt x="349" y="532"/>
                  </a:lnTo>
                  <a:lnTo>
                    <a:pt x="349" y="532"/>
                  </a:lnTo>
                  <a:lnTo>
                    <a:pt x="348" y="532"/>
                  </a:lnTo>
                  <a:lnTo>
                    <a:pt x="347" y="532"/>
                  </a:lnTo>
                  <a:lnTo>
                    <a:pt x="345" y="531"/>
                  </a:lnTo>
                  <a:lnTo>
                    <a:pt x="342" y="530"/>
                  </a:lnTo>
                  <a:lnTo>
                    <a:pt x="342" y="530"/>
                  </a:lnTo>
                  <a:lnTo>
                    <a:pt x="339" y="530"/>
                  </a:lnTo>
                  <a:lnTo>
                    <a:pt x="339" y="530"/>
                  </a:lnTo>
                  <a:lnTo>
                    <a:pt x="338" y="528"/>
                  </a:lnTo>
                  <a:lnTo>
                    <a:pt x="338" y="528"/>
                  </a:lnTo>
                  <a:lnTo>
                    <a:pt x="337" y="527"/>
                  </a:lnTo>
                  <a:lnTo>
                    <a:pt x="334" y="530"/>
                  </a:lnTo>
                  <a:lnTo>
                    <a:pt x="331" y="530"/>
                  </a:lnTo>
                  <a:lnTo>
                    <a:pt x="329" y="532"/>
                  </a:lnTo>
                  <a:lnTo>
                    <a:pt x="328" y="534"/>
                  </a:lnTo>
                  <a:lnTo>
                    <a:pt x="327" y="534"/>
                  </a:lnTo>
                  <a:lnTo>
                    <a:pt x="327" y="534"/>
                  </a:lnTo>
                  <a:lnTo>
                    <a:pt x="327" y="535"/>
                  </a:lnTo>
                  <a:lnTo>
                    <a:pt x="325" y="537"/>
                  </a:lnTo>
                  <a:lnTo>
                    <a:pt x="322" y="538"/>
                  </a:lnTo>
                  <a:lnTo>
                    <a:pt x="321" y="538"/>
                  </a:lnTo>
                  <a:lnTo>
                    <a:pt x="317" y="540"/>
                  </a:lnTo>
                  <a:lnTo>
                    <a:pt x="315" y="540"/>
                  </a:lnTo>
                  <a:lnTo>
                    <a:pt x="314" y="541"/>
                  </a:lnTo>
                  <a:lnTo>
                    <a:pt x="314" y="542"/>
                  </a:lnTo>
                  <a:lnTo>
                    <a:pt x="312" y="544"/>
                  </a:lnTo>
                  <a:lnTo>
                    <a:pt x="311" y="545"/>
                  </a:lnTo>
                  <a:lnTo>
                    <a:pt x="308" y="547"/>
                  </a:lnTo>
                  <a:lnTo>
                    <a:pt x="305" y="548"/>
                  </a:lnTo>
                  <a:lnTo>
                    <a:pt x="305" y="550"/>
                  </a:lnTo>
                  <a:lnTo>
                    <a:pt x="305" y="550"/>
                  </a:lnTo>
                  <a:lnTo>
                    <a:pt x="305" y="550"/>
                  </a:lnTo>
                  <a:lnTo>
                    <a:pt x="305" y="551"/>
                  </a:lnTo>
                  <a:lnTo>
                    <a:pt x="305" y="551"/>
                  </a:lnTo>
                  <a:lnTo>
                    <a:pt x="305" y="552"/>
                  </a:lnTo>
                  <a:lnTo>
                    <a:pt x="304" y="554"/>
                  </a:lnTo>
                  <a:lnTo>
                    <a:pt x="302" y="554"/>
                  </a:lnTo>
                  <a:lnTo>
                    <a:pt x="301" y="554"/>
                  </a:lnTo>
                  <a:lnTo>
                    <a:pt x="299" y="554"/>
                  </a:lnTo>
                  <a:lnTo>
                    <a:pt x="299" y="554"/>
                  </a:lnTo>
                  <a:lnTo>
                    <a:pt x="298" y="554"/>
                  </a:lnTo>
                  <a:lnTo>
                    <a:pt x="298" y="554"/>
                  </a:lnTo>
                  <a:lnTo>
                    <a:pt x="297" y="554"/>
                  </a:lnTo>
                  <a:lnTo>
                    <a:pt x="297" y="554"/>
                  </a:lnTo>
                  <a:lnTo>
                    <a:pt x="294" y="555"/>
                  </a:lnTo>
                  <a:lnTo>
                    <a:pt x="294" y="555"/>
                  </a:lnTo>
                  <a:lnTo>
                    <a:pt x="292" y="555"/>
                  </a:lnTo>
                  <a:lnTo>
                    <a:pt x="289" y="555"/>
                  </a:lnTo>
                  <a:lnTo>
                    <a:pt x="288" y="555"/>
                  </a:lnTo>
                  <a:lnTo>
                    <a:pt x="288" y="555"/>
                  </a:lnTo>
                  <a:lnTo>
                    <a:pt x="289" y="552"/>
                  </a:lnTo>
                  <a:lnTo>
                    <a:pt x="288" y="552"/>
                  </a:lnTo>
                  <a:lnTo>
                    <a:pt x="287" y="551"/>
                  </a:lnTo>
                  <a:lnTo>
                    <a:pt x="284" y="551"/>
                  </a:lnTo>
                  <a:lnTo>
                    <a:pt x="284" y="550"/>
                  </a:lnTo>
                  <a:lnTo>
                    <a:pt x="282" y="550"/>
                  </a:lnTo>
                  <a:lnTo>
                    <a:pt x="282" y="550"/>
                  </a:lnTo>
                  <a:lnTo>
                    <a:pt x="281" y="551"/>
                  </a:lnTo>
                  <a:lnTo>
                    <a:pt x="279" y="551"/>
                  </a:lnTo>
                  <a:lnTo>
                    <a:pt x="279" y="551"/>
                  </a:lnTo>
                  <a:lnTo>
                    <a:pt x="278" y="551"/>
                  </a:lnTo>
                  <a:lnTo>
                    <a:pt x="277" y="551"/>
                  </a:lnTo>
                  <a:lnTo>
                    <a:pt x="274" y="550"/>
                  </a:lnTo>
                  <a:lnTo>
                    <a:pt x="272" y="550"/>
                  </a:lnTo>
                  <a:lnTo>
                    <a:pt x="269" y="550"/>
                  </a:lnTo>
                  <a:lnTo>
                    <a:pt x="268" y="550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8" y="548"/>
                  </a:lnTo>
                  <a:lnTo>
                    <a:pt x="268" y="547"/>
                  </a:lnTo>
                  <a:lnTo>
                    <a:pt x="268" y="547"/>
                  </a:lnTo>
                  <a:lnTo>
                    <a:pt x="267" y="545"/>
                  </a:lnTo>
                  <a:lnTo>
                    <a:pt x="264" y="545"/>
                  </a:lnTo>
                  <a:lnTo>
                    <a:pt x="262" y="545"/>
                  </a:lnTo>
                  <a:lnTo>
                    <a:pt x="261" y="545"/>
                  </a:lnTo>
                  <a:lnTo>
                    <a:pt x="259" y="547"/>
                  </a:lnTo>
                  <a:lnTo>
                    <a:pt x="258" y="548"/>
                  </a:lnTo>
                  <a:lnTo>
                    <a:pt x="257" y="548"/>
                  </a:lnTo>
                  <a:lnTo>
                    <a:pt x="255" y="550"/>
                  </a:lnTo>
                  <a:lnTo>
                    <a:pt x="254" y="550"/>
                  </a:lnTo>
                  <a:lnTo>
                    <a:pt x="252" y="552"/>
                  </a:lnTo>
                  <a:lnTo>
                    <a:pt x="251" y="554"/>
                  </a:lnTo>
                  <a:lnTo>
                    <a:pt x="250" y="557"/>
                  </a:lnTo>
                  <a:lnTo>
                    <a:pt x="248" y="558"/>
                  </a:lnTo>
                  <a:lnTo>
                    <a:pt x="247" y="560"/>
                  </a:lnTo>
                  <a:lnTo>
                    <a:pt x="245" y="561"/>
                  </a:lnTo>
                  <a:lnTo>
                    <a:pt x="245" y="564"/>
                  </a:lnTo>
                  <a:lnTo>
                    <a:pt x="244" y="562"/>
                  </a:lnTo>
                  <a:lnTo>
                    <a:pt x="242" y="561"/>
                  </a:lnTo>
                  <a:lnTo>
                    <a:pt x="242" y="560"/>
                  </a:lnTo>
                  <a:lnTo>
                    <a:pt x="244" y="555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4" y="551"/>
                  </a:lnTo>
                  <a:lnTo>
                    <a:pt x="242" y="551"/>
                  </a:lnTo>
                  <a:lnTo>
                    <a:pt x="241" y="550"/>
                  </a:lnTo>
                  <a:lnTo>
                    <a:pt x="240" y="550"/>
                  </a:lnTo>
                  <a:lnTo>
                    <a:pt x="240" y="550"/>
                  </a:lnTo>
                  <a:lnTo>
                    <a:pt x="238" y="551"/>
                  </a:lnTo>
                  <a:lnTo>
                    <a:pt x="237" y="551"/>
                  </a:lnTo>
                  <a:lnTo>
                    <a:pt x="235" y="551"/>
                  </a:lnTo>
                  <a:lnTo>
                    <a:pt x="232" y="552"/>
                  </a:lnTo>
                  <a:lnTo>
                    <a:pt x="232" y="552"/>
                  </a:lnTo>
                  <a:lnTo>
                    <a:pt x="232" y="552"/>
                  </a:lnTo>
                  <a:lnTo>
                    <a:pt x="232" y="554"/>
                  </a:lnTo>
                  <a:lnTo>
                    <a:pt x="231" y="554"/>
                  </a:lnTo>
                  <a:lnTo>
                    <a:pt x="230" y="552"/>
                  </a:lnTo>
                  <a:lnTo>
                    <a:pt x="228" y="552"/>
                  </a:lnTo>
                  <a:lnTo>
                    <a:pt x="225" y="554"/>
                  </a:lnTo>
                  <a:lnTo>
                    <a:pt x="224" y="554"/>
                  </a:lnTo>
                  <a:lnTo>
                    <a:pt x="224" y="554"/>
                  </a:lnTo>
                  <a:lnTo>
                    <a:pt x="222" y="554"/>
                  </a:lnTo>
                  <a:lnTo>
                    <a:pt x="220" y="554"/>
                  </a:lnTo>
                  <a:lnTo>
                    <a:pt x="217" y="554"/>
                  </a:lnTo>
                  <a:lnTo>
                    <a:pt x="215" y="552"/>
                  </a:lnTo>
                  <a:lnTo>
                    <a:pt x="214" y="551"/>
                  </a:lnTo>
                  <a:lnTo>
                    <a:pt x="212" y="551"/>
                  </a:lnTo>
                  <a:lnTo>
                    <a:pt x="211" y="551"/>
                  </a:lnTo>
                  <a:lnTo>
                    <a:pt x="210" y="550"/>
                  </a:lnTo>
                  <a:lnTo>
                    <a:pt x="210" y="550"/>
                  </a:lnTo>
                  <a:lnTo>
                    <a:pt x="208" y="550"/>
                  </a:lnTo>
                  <a:lnTo>
                    <a:pt x="207" y="550"/>
                  </a:lnTo>
                  <a:lnTo>
                    <a:pt x="207" y="552"/>
                  </a:lnTo>
                  <a:lnTo>
                    <a:pt x="207" y="552"/>
                  </a:lnTo>
                  <a:lnTo>
                    <a:pt x="205" y="552"/>
                  </a:lnTo>
                  <a:lnTo>
                    <a:pt x="204" y="552"/>
                  </a:lnTo>
                  <a:lnTo>
                    <a:pt x="202" y="551"/>
                  </a:lnTo>
                  <a:lnTo>
                    <a:pt x="201" y="550"/>
                  </a:lnTo>
                  <a:lnTo>
                    <a:pt x="201" y="550"/>
                  </a:lnTo>
                  <a:lnTo>
                    <a:pt x="200" y="550"/>
                  </a:lnTo>
                  <a:lnTo>
                    <a:pt x="200" y="551"/>
                  </a:lnTo>
                  <a:lnTo>
                    <a:pt x="200" y="552"/>
                  </a:lnTo>
                  <a:lnTo>
                    <a:pt x="198" y="552"/>
                  </a:lnTo>
                  <a:lnTo>
                    <a:pt x="198" y="552"/>
                  </a:lnTo>
                  <a:lnTo>
                    <a:pt x="197" y="551"/>
                  </a:lnTo>
                  <a:lnTo>
                    <a:pt x="195" y="548"/>
                  </a:lnTo>
                  <a:lnTo>
                    <a:pt x="195" y="547"/>
                  </a:lnTo>
                  <a:lnTo>
                    <a:pt x="194" y="547"/>
                  </a:lnTo>
                  <a:lnTo>
                    <a:pt x="190" y="547"/>
                  </a:lnTo>
                  <a:lnTo>
                    <a:pt x="185" y="545"/>
                  </a:lnTo>
                  <a:lnTo>
                    <a:pt x="184" y="545"/>
                  </a:lnTo>
                  <a:lnTo>
                    <a:pt x="184" y="544"/>
                  </a:lnTo>
                  <a:lnTo>
                    <a:pt x="184" y="542"/>
                  </a:lnTo>
                  <a:lnTo>
                    <a:pt x="185" y="541"/>
                  </a:lnTo>
                  <a:lnTo>
                    <a:pt x="185" y="541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0" y="541"/>
                  </a:lnTo>
                  <a:lnTo>
                    <a:pt x="180" y="541"/>
                  </a:lnTo>
                  <a:lnTo>
                    <a:pt x="178" y="541"/>
                  </a:lnTo>
                  <a:lnTo>
                    <a:pt x="178" y="541"/>
                  </a:lnTo>
                  <a:lnTo>
                    <a:pt x="177" y="540"/>
                  </a:lnTo>
                  <a:lnTo>
                    <a:pt x="177" y="540"/>
                  </a:lnTo>
                  <a:lnTo>
                    <a:pt x="174" y="538"/>
                  </a:lnTo>
                  <a:lnTo>
                    <a:pt x="172" y="537"/>
                  </a:lnTo>
                  <a:lnTo>
                    <a:pt x="171" y="535"/>
                  </a:lnTo>
                  <a:lnTo>
                    <a:pt x="170" y="534"/>
                  </a:lnTo>
                  <a:lnTo>
                    <a:pt x="170" y="532"/>
                  </a:lnTo>
                  <a:lnTo>
                    <a:pt x="168" y="530"/>
                  </a:lnTo>
                  <a:lnTo>
                    <a:pt x="168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2" y="528"/>
                  </a:lnTo>
                  <a:lnTo>
                    <a:pt x="161" y="530"/>
                  </a:lnTo>
                  <a:lnTo>
                    <a:pt x="160" y="530"/>
                  </a:lnTo>
                  <a:lnTo>
                    <a:pt x="158" y="527"/>
                  </a:lnTo>
                  <a:lnTo>
                    <a:pt x="157" y="525"/>
                  </a:lnTo>
                  <a:lnTo>
                    <a:pt x="154" y="522"/>
                  </a:lnTo>
                  <a:lnTo>
                    <a:pt x="153" y="522"/>
                  </a:lnTo>
                  <a:lnTo>
                    <a:pt x="151" y="521"/>
                  </a:lnTo>
                  <a:lnTo>
                    <a:pt x="148" y="521"/>
                  </a:lnTo>
                  <a:lnTo>
                    <a:pt x="145" y="518"/>
                  </a:lnTo>
                  <a:lnTo>
                    <a:pt x="143" y="515"/>
                  </a:lnTo>
                  <a:lnTo>
                    <a:pt x="138" y="514"/>
                  </a:lnTo>
                  <a:lnTo>
                    <a:pt x="137" y="512"/>
                  </a:lnTo>
                  <a:lnTo>
                    <a:pt x="137" y="511"/>
                  </a:lnTo>
                  <a:lnTo>
                    <a:pt x="135" y="510"/>
                  </a:lnTo>
                  <a:lnTo>
                    <a:pt x="135" y="508"/>
                  </a:lnTo>
                  <a:lnTo>
                    <a:pt x="133" y="508"/>
                  </a:lnTo>
                  <a:lnTo>
                    <a:pt x="128" y="508"/>
                  </a:lnTo>
                  <a:lnTo>
                    <a:pt x="125" y="508"/>
                  </a:lnTo>
                  <a:lnTo>
                    <a:pt x="123" y="512"/>
                  </a:lnTo>
                  <a:lnTo>
                    <a:pt x="121" y="514"/>
                  </a:lnTo>
                  <a:lnTo>
                    <a:pt x="120" y="514"/>
                  </a:lnTo>
                  <a:lnTo>
                    <a:pt x="120" y="512"/>
                  </a:lnTo>
                  <a:lnTo>
                    <a:pt x="118" y="511"/>
                  </a:lnTo>
                  <a:lnTo>
                    <a:pt x="118" y="510"/>
                  </a:lnTo>
                  <a:lnTo>
                    <a:pt x="117" y="510"/>
                  </a:lnTo>
                  <a:lnTo>
                    <a:pt x="114" y="508"/>
                  </a:lnTo>
                  <a:lnTo>
                    <a:pt x="114" y="507"/>
                  </a:lnTo>
                  <a:lnTo>
                    <a:pt x="113" y="507"/>
                  </a:lnTo>
                  <a:lnTo>
                    <a:pt x="111" y="507"/>
                  </a:lnTo>
                  <a:lnTo>
                    <a:pt x="108" y="505"/>
                  </a:lnTo>
                  <a:lnTo>
                    <a:pt x="107" y="504"/>
                  </a:lnTo>
                  <a:lnTo>
                    <a:pt x="105" y="504"/>
                  </a:lnTo>
                  <a:lnTo>
                    <a:pt x="105" y="504"/>
                  </a:lnTo>
                  <a:lnTo>
                    <a:pt x="105" y="502"/>
                  </a:lnTo>
                  <a:lnTo>
                    <a:pt x="105" y="501"/>
                  </a:lnTo>
                  <a:lnTo>
                    <a:pt x="105" y="500"/>
                  </a:lnTo>
                  <a:lnTo>
                    <a:pt x="104" y="500"/>
                  </a:lnTo>
                  <a:lnTo>
                    <a:pt x="101" y="498"/>
                  </a:lnTo>
                  <a:lnTo>
                    <a:pt x="101" y="498"/>
                  </a:lnTo>
                  <a:lnTo>
                    <a:pt x="100" y="498"/>
                  </a:lnTo>
                  <a:lnTo>
                    <a:pt x="100" y="497"/>
                  </a:lnTo>
                  <a:lnTo>
                    <a:pt x="97" y="497"/>
                  </a:lnTo>
                  <a:lnTo>
                    <a:pt x="95" y="497"/>
                  </a:lnTo>
                  <a:lnTo>
                    <a:pt x="94" y="497"/>
                  </a:lnTo>
                  <a:lnTo>
                    <a:pt x="93" y="495"/>
                  </a:lnTo>
                  <a:lnTo>
                    <a:pt x="93" y="495"/>
                  </a:lnTo>
                  <a:lnTo>
                    <a:pt x="91" y="494"/>
                  </a:lnTo>
                  <a:lnTo>
                    <a:pt x="90" y="491"/>
                  </a:lnTo>
                  <a:lnTo>
                    <a:pt x="88" y="488"/>
                  </a:lnTo>
                  <a:lnTo>
                    <a:pt x="87" y="488"/>
                  </a:lnTo>
                  <a:lnTo>
                    <a:pt x="87" y="488"/>
                  </a:lnTo>
                  <a:lnTo>
                    <a:pt x="85" y="490"/>
                  </a:lnTo>
                  <a:lnTo>
                    <a:pt x="85" y="490"/>
                  </a:lnTo>
                  <a:lnTo>
                    <a:pt x="85" y="490"/>
                  </a:lnTo>
                  <a:lnTo>
                    <a:pt x="84" y="491"/>
                  </a:lnTo>
                  <a:lnTo>
                    <a:pt x="83" y="491"/>
                  </a:lnTo>
                  <a:lnTo>
                    <a:pt x="83" y="491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3" y="487"/>
                  </a:lnTo>
                  <a:lnTo>
                    <a:pt x="83" y="485"/>
                  </a:lnTo>
                  <a:lnTo>
                    <a:pt x="83" y="484"/>
                  </a:lnTo>
                  <a:lnTo>
                    <a:pt x="83" y="484"/>
                  </a:lnTo>
                  <a:lnTo>
                    <a:pt x="81" y="482"/>
                  </a:lnTo>
                  <a:lnTo>
                    <a:pt x="81" y="481"/>
                  </a:lnTo>
                  <a:lnTo>
                    <a:pt x="83" y="480"/>
                  </a:lnTo>
                  <a:lnTo>
                    <a:pt x="83" y="478"/>
                  </a:lnTo>
                  <a:lnTo>
                    <a:pt x="83" y="478"/>
                  </a:lnTo>
                  <a:lnTo>
                    <a:pt x="81" y="477"/>
                  </a:lnTo>
                  <a:lnTo>
                    <a:pt x="78" y="474"/>
                  </a:lnTo>
                  <a:lnTo>
                    <a:pt x="78" y="472"/>
                  </a:lnTo>
                  <a:lnTo>
                    <a:pt x="78" y="471"/>
                  </a:lnTo>
                  <a:lnTo>
                    <a:pt x="77" y="470"/>
                  </a:lnTo>
                  <a:lnTo>
                    <a:pt x="77" y="468"/>
                  </a:lnTo>
                  <a:lnTo>
                    <a:pt x="77" y="468"/>
                  </a:lnTo>
                  <a:lnTo>
                    <a:pt x="77" y="467"/>
                  </a:lnTo>
                  <a:lnTo>
                    <a:pt x="77" y="467"/>
                  </a:lnTo>
                  <a:lnTo>
                    <a:pt x="78" y="467"/>
                  </a:lnTo>
                  <a:lnTo>
                    <a:pt x="81" y="467"/>
                  </a:lnTo>
                  <a:lnTo>
                    <a:pt x="81" y="467"/>
                  </a:lnTo>
                  <a:lnTo>
                    <a:pt x="83" y="467"/>
                  </a:lnTo>
                  <a:lnTo>
                    <a:pt x="83" y="468"/>
                  </a:lnTo>
                  <a:lnTo>
                    <a:pt x="83" y="468"/>
                  </a:lnTo>
                  <a:lnTo>
                    <a:pt x="84" y="470"/>
                  </a:lnTo>
                  <a:lnTo>
                    <a:pt x="85" y="471"/>
                  </a:lnTo>
                  <a:lnTo>
                    <a:pt x="87" y="471"/>
                  </a:lnTo>
                  <a:lnTo>
                    <a:pt x="87" y="470"/>
                  </a:lnTo>
                  <a:lnTo>
                    <a:pt x="88" y="468"/>
                  </a:lnTo>
                  <a:lnTo>
                    <a:pt x="90" y="468"/>
                  </a:lnTo>
                  <a:lnTo>
                    <a:pt x="90" y="468"/>
                  </a:lnTo>
                  <a:lnTo>
                    <a:pt x="90" y="468"/>
                  </a:lnTo>
                  <a:lnTo>
                    <a:pt x="90" y="467"/>
                  </a:lnTo>
                  <a:lnTo>
                    <a:pt x="90" y="464"/>
                  </a:lnTo>
                  <a:lnTo>
                    <a:pt x="90" y="463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0" y="460"/>
                  </a:lnTo>
                  <a:lnTo>
                    <a:pt x="88" y="458"/>
                  </a:lnTo>
                  <a:lnTo>
                    <a:pt x="88" y="458"/>
                  </a:lnTo>
                  <a:lnTo>
                    <a:pt x="88" y="457"/>
                  </a:lnTo>
                  <a:lnTo>
                    <a:pt x="88" y="457"/>
                  </a:lnTo>
                  <a:lnTo>
                    <a:pt x="88" y="455"/>
                  </a:lnTo>
                  <a:lnTo>
                    <a:pt x="88" y="454"/>
                  </a:lnTo>
                  <a:lnTo>
                    <a:pt x="88" y="454"/>
                  </a:lnTo>
                  <a:lnTo>
                    <a:pt x="87" y="454"/>
                  </a:lnTo>
                  <a:lnTo>
                    <a:pt x="87" y="453"/>
                  </a:lnTo>
                  <a:lnTo>
                    <a:pt x="85" y="453"/>
                  </a:lnTo>
                  <a:lnTo>
                    <a:pt x="85" y="451"/>
                  </a:lnTo>
                  <a:lnTo>
                    <a:pt x="84" y="450"/>
                  </a:lnTo>
                  <a:lnTo>
                    <a:pt x="83" y="450"/>
                  </a:lnTo>
                  <a:lnTo>
                    <a:pt x="83" y="447"/>
                  </a:lnTo>
                  <a:lnTo>
                    <a:pt x="83" y="443"/>
                  </a:lnTo>
                  <a:lnTo>
                    <a:pt x="83" y="441"/>
                  </a:lnTo>
                  <a:lnTo>
                    <a:pt x="83" y="440"/>
                  </a:lnTo>
                  <a:lnTo>
                    <a:pt x="83" y="438"/>
                  </a:lnTo>
                  <a:lnTo>
                    <a:pt x="83" y="438"/>
                  </a:lnTo>
                  <a:lnTo>
                    <a:pt x="85" y="435"/>
                  </a:lnTo>
                  <a:lnTo>
                    <a:pt x="85" y="435"/>
                  </a:lnTo>
                  <a:lnTo>
                    <a:pt x="85" y="434"/>
                  </a:lnTo>
                  <a:lnTo>
                    <a:pt x="85" y="434"/>
                  </a:lnTo>
                  <a:lnTo>
                    <a:pt x="85" y="433"/>
                  </a:lnTo>
                  <a:lnTo>
                    <a:pt x="84" y="433"/>
                  </a:lnTo>
                  <a:lnTo>
                    <a:pt x="83" y="431"/>
                  </a:lnTo>
                  <a:lnTo>
                    <a:pt x="81" y="430"/>
                  </a:lnTo>
                  <a:lnTo>
                    <a:pt x="78" y="428"/>
                  </a:lnTo>
                  <a:lnTo>
                    <a:pt x="75" y="428"/>
                  </a:lnTo>
                  <a:lnTo>
                    <a:pt x="75" y="427"/>
                  </a:lnTo>
                  <a:lnTo>
                    <a:pt x="74" y="424"/>
                  </a:lnTo>
                  <a:lnTo>
                    <a:pt x="73" y="421"/>
                  </a:lnTo>
                  <a:lnTo>
                    <a:pt x="71" y="417"/>
                  </a:lnTo>
                  <a:lnTo>
                    <a:pt x="71" y="415"/>
                  </a:lnTo>
                  <a:lnTo>
                    <a:pt x="71" y="414"/>
                  </a:lnTo>
                  <a:lnTo>
                    <a:pt x="71" y="411"/>
                  </a:lnTo>
                  <a:lnTo>
                    <a:pt x="71" y="411"/>
                  </a:lnTo>
                  <a:lnTo>
                    <a:pt x="71" y="411"/>
                  </a:lnTo>
                  <a:lnTo>
                    <a:pt x="70" y="411"/>
                  </a:lnTo>
                  <a:lnTo>
                    <a:pt x="68" y="411"/>
                  </a:lnTo>
                  <a:lnTo>
                    <a:pt x="68" y="411"/>
                  </a:lnTo>
                  <a:lnTo>
                    <a:pt x="67" y="411"/>
                  </a:lnTo>
                  <a:lnTo>
                    <a:pt x="67" y="410"/>
                  </a:lnTo>
                  <a:lnTo>
                    <a:pt x="67" y="410"/>
                  </a:lnTo>
                  <a:lnTo>
                    <a:pt x="65" y="411"/>
                  </a:lnTo>
                  <a:lnTo>
                    <a:pt x="64" y="411"/>
                  </a:lnTo>
                  <a:lnTo>
                    <a:pt x="63" y="411"/>
                  </a:lnTo>
                  <a:lnTo>
                    <a:pt x="61" y="411"/>
                  </a:lnTo>
                  <a:lnTo>
                    <a:pt x="60" y="410"/>
                  </a:lnTo>
                  <a:lnTo>
                    <a:pt x="56" y="410"/>
                  </a:lnTo>
                  <a:lnTo>
                    <a:pt x="53" y="408"/>
                  </a:lnTo>
                  <a:lnTo>
                    <a:pt x="51" y="407"/>
                  </a:lnTo>
                  <a:lnTo>
                    <a:pt x="50" y="407"/>
                  </a:lnTo>
                  <a:lnTo>
                    <a:pt x="48" y="405"/>
                  </a:lnTo>
                  <a:lnTo>
                    <a:pt x="47" y="405"/>
                  </a:lnTo>
                  <a:lnTo>
                    <a:pt x="47" y="403"/>
                  </a:lnTo>
                  <a:lnTo>
                    <a:pt x="47" y="403"/>
                  </a:lnTo>
                  <a:lnTo>
                    <a:pt x="44" y="404"/>
                  </a:lnTo>
                  <a:lnTo>
                    <a:pt x="43" y="404"/>
                  </a:lnTo>
                  <a:lnTo>
                    <a:pt x="41" y="404"/>
                  </a:lnTo>
                  <a:lnTo>
                    <a:pt x="41" y="404"/>
                  </a:lnTo>
                  <a:lnTo>
                    <a:pt x="40" y="401"/>
                  </a:lnTo>
                  <a:lnTo>
                    <a:pt x="40" y="401"/>
                  </a:lnTo>
                  <a:lnTo>
                    <a:pt x="38" y="401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8" y="397"/>
                  </a:lnTo>
                  <a:lnTo>
                    <a:pt x="38" y="393"/>
                  </a:lnTo>
                  <a:lnTo>
                    <a:pt x="37" y="391"/>
                  </a:lnTo>
                  <a:lnTo>
                    <a:pt x="37" y="390"/>
                  </a:lnTo>
                  <a:lnTo>
                    <a:pt x="37" y="388"/>
                  </a:lnTo>
                  <a:lnTo>
                    <a:pt x="36" y="388"/>
                  </a:lnTo>
                  <a:lnTo>
                    <a:pt x="34" y="387"/>
                  </a:lnTo>
                  <a:lnTo>
                    <a:pt x="33" y="385"/>
                  </a:lnTo>
                  <a:lnTo>
                    <a:pt x="31" y="385"/>
                  </a:lnTo>
                  <a:lnTo>
                    <a:pt x="30" y="385"/>
                  </a:lnTo>
                  <a:lnTo>
                    <a:pt x="30" y="385"/>
                  </a:lnTo>
                  <a:lnTo>
                    <a:pt x="28" y="383"/>
                  </a:lnTo>
                  <a:lnTo>
                    <a:pt x="28" y="383"/>
                  </a:lnTo>
                  <a:lnTo>
                    <a:pt x="24" y="381"/>
                  </a:lnTo>
                  <a:lnTo>
                    <a:pt x="23" y="381"/>
                  </a:lnTo>
                  <a:lnTo>
                    <a:pt x="21" y="381"/>
                  </a:lnTo>
                  <a:lnTo>
                    <a:pt x="21" y="381"/>
                  </a:lnTo>
                  <a:lnTo>
                    <a:pt x="20" y="381"/>
                  </a:lnTo>
                  <a:lnTo>
                    <a:pt x="18" y="380"/>
                  </a:lnTo>
                  <a:lnTo>
                    <a:pt x="17" y="380"/>
                  </a:lnTo>
                  <a:lnTo>
                    <a:pt x="16" y="380"/>
                  </a:lnTo>
                  <a:lnTo>
                    <a:pt x="16" y="380"/>
                  </a:lnTo>
                  <a:lnTo>
                    <a:pt x="14" y="380"/>
                  </a:lnTo>
                  <a:lnTo>
                    <a:pt x="14" y="380"/>
                  </a:lnTo>
                  <a:lnTo>
                    <a:pt x="13" y="378"/>
                  </a:lnTo>
                  <a:lnTo>
                    <a:pt x="13" y="377"/>
                  </a:lnTo>
                  <a:lnTo>
                    <a:pt x="16" y="375"/>
                  </a:lnTo>
                  <a:lnTo>
                    <a:pt x="17" y="375"/>
                  </a:lnTo>
                  <a:lnTo>
                    <a:pt x="18" y="375"/>
                  </a:lnTo>
                  <a:lnTo>
                    <a:pt x="18" y="375"/>
                  </a:lnTo>
                  <a:lnTo>
                    <a:pt x="18" y="375"/>
                  </a:lnTo>
                  <a:lnTo>
                    <a:pt x="20" y="375"/>
                  </a:lnTo>
                  <a:lnTo>
                    <a:pt x="21" y="375"/>
                  </a:lnTo>
                  <a:lnTo>
                    <a:pt x="21" y="375"/>
                  </a:lnTo>
                  <a:lnTo>
                    <a:pt x="23" y="375"/>
                  </a:lnTo>
                  <a:lnTo>
                    <a:pt x="24" y="374"/>
                  </a:lnTo>
                  <a:lnTo>
                    <a:pt x="24" y="373"/>
                  </a:lnTo>
                  <a:lnTo>
                    <a:pt x="24" y="371"/>
                  </a:lnTo>
                  <a:lnTo>
                    <a:pt x="23" y="370"/>
                  </a:lnTo>
                  <a:lnTo>
                    <a:pt x="21" y="370"/>
                  </a:lnTo>
                  <a:lnTo>
                    <a:pt x="21" y="368"/>
                  </a:lnTo>
                  <a:lnTo>
                    <a:pt x="21" y="367"/>
                  </a:lnTo>
                  <a:lnTo>
                    <a:pt x="21" y="365"/>
                  </a:lnTo>
                  <a:lnTo>
                    <a:pt x="21" y="364"/>
                  </a:lnTo>
                  <a:lnTo>
                    <a:pt x="21" y="364"/>
                  </a:lnTo>
                  <a:lnTo>
                    <a:pt x="20" y="363"/>
                  </a:lnTo>
                  <a:lnTo>
                    <a:pt x="20" y="360"/>
                  </a:lnTo>
                  <a:lnTo>
                    <a:pt x="18" y="358"/>
                  </a:lnTo>
                  <a:lnTo>
                    <a:pt x="18" y="357"/>
                  </a:lnTo>
                  <a:lnTo>
                    <a:pt x="18" y="355"/>
                  </a:lnTo>
                  <a:lnTo>
                    <a:pt x="20" y="353"/>
                  </a:lnTo>
                  <a:lnTo>
                    <a:pt x="20" y="351"/>
                  </a:lnTo>
                  <a:lnTo>
                    <a:pt x="18" y="350"/>
                  </a:lnTo>
                  <a:lnTo>
                    <a:pt x="14" y="348"/>
                  </a:lnTo>
                  <a:lnTo>
                    <a:pt x="11" y="347"/>
                  </a:lnTo>
                  <a:lnTo>
                    <a:pt x="10" y="347"/>
                  </a:lnTo>
                  <a:lnTo>
                    <a:pt x="8" y="347"/>
                  </a:lnTo>
                  <a:lnTo>
                    <a:pt x="7" y="348"/>
                  </a:lnTo>
                  <a:lnTo>
                    <a:pt x="7" y="350"/>
                  </a:lnTo>
                  <a:lnTo>
                    <a:pt x="6" y="350"/>
                  </a:lnTo>
                  <a:lnTo>
                    <a:pt x="4" y="350"/>
                  </a:lnTo>
                  <a:lnTo>
                    <a:pt x="3" y="348"/>
                  </a:lnTo>
                  <a:lnTo>
                    <a:pt x="3" y="347"/>
                  </a:lnTo>
                  <a:lnTo>
                    <a:pt x="1" y="344"/>
                  </a:lnTo>
                  <a:lnTo>
                    <a:pt x="1" y="343"/>
                  </a:lnTo>
                  <a:lnTo>
                    <a:pt x="1" y="343"/>
                  </a:lnTo>
                  <a:lnTo>
                    <a:pt x="1" y="341"/>
                  </a:lnTo>
                  <a:lnTo>
                    <a:pt x="3" y="341"/>
                  </a:lnTo>
                  <a:lnTo>
                    <a:pt x="3" y="341"/>
                  </a:lnTo>
                  <a:lnTo>
                    <a:pt x="3" y="340"/>
                  </a:lnTo>
                  <a:lnTo>
                    <a:pt x="3" y="340"/>
                  </a:lnTo>
                  <a:lnTo>
                    <a:pt x="1" y="338"/>
                  </a:lnTo>
                  <a:lnTo>
                    <a:pt x="0" y="335"/>
                  </a:lnTo>
                  <a:lnTo>
                    <a:pt x="0" y="334"/>
                  </a:lnTo>
                  <a:lnTo>
                    <a:pt x="0" y="333"/>
                  </a:lnTo>
                  <a:lnTo>
                    <a:pt x="0" y="331"/>
                  </a:lnTo>
                  <a:lnTo>
                    <a:pt x="1" y="331"/>
                  </a:lnTo>
                  <a:lnTo>
                    <a:pt x="4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6" y="327"/>
                  </a:lnTo>
                  <a:lnTo>
                    <a:pt x="4" y="325"/>
                  </a:lnTo>
                  <a:lnTo>
                    <a:pt x="4" y="324"/>
                  </a:lnTo>
                  <a:lnTo>
                    <a:pt x="4" y="324"/>
                  </a:lnTo>
                  <a:lnTo>
                    <a:pt x="4" y="323"/>
                  </a:lnTo>
                  <a:lnTo>
                    <a:pt x="4" y="323"/>
                  </a:lnTo>
                  <a:lnTo>
                    <a:pt x="6" y="320"/>
                  </a:lnTo>
                  <a:lnTo>
                    <a:pt x="6" y="318"/>
                  </a:lnTo>
                  <a:lnTo>
                    <a:pt x="7" y="318"/>
                  </a:lnTo>
                  <a:lnTo>
                    <a:pt x="7" y="318"/>
                  </a:lnTo>
                  <a:lnTo>
                    <a:pt x="10" y="317"/>
                  </a:lnTo>
                  <a:lnTo>
                    <a:pt x="13" y="317"/>
                  </a:lnTo>
                  <a:lnTo>
                    <a:pt x="16" y="314"/>
                  </a:lnTo>
                  <a:lnTo>
                    <a:pt x="17" y="313"/>
                  </a:lnTo>
                  <a:lnTo>
                    <a:pt x="18" y="313"/>
                  </a:lnTo>
                  <a:lnTo>
                    <a:pt x="20" y="313"/>
                  </a:lnTo>
                  <a:lnTo>
                    <a:pt x="20" y="313"/>
                  </a:lnTo>
                  <a:lnTo>
                    <a:pt x="18" y="310"/>
                  </a:lnTo>
                  <a:lnTo>
                    <a:pt x="20" y="310"/>
                  </a:lnTo>
                  <a:lnTo>
                    <a:pt x="20" y="310"/>
                  </a:lnTo>
                  <a:lnTo>
                    <a:pt x="20" y="310"/>
                  </a:lnTo>
                  <a:lnTo>
                    <a:pt x="23" y="310"/>
                  </a:lnTo>
                  <a:lnTo>
                    <a:pt x="24" y="310"/>
                  </a:lnTo>
                  <a:lnTo>
                    <a:pt x="26" y="310"/>
                  </a:lnTo>
                  <a:lnTo>
                    <a:pt x="31" y="307"/>
                  </a:lnTo>
                  <a:lnTo>
                    <a:pt x="31" y="307"/>
                  </a:lnTo>
                  <a:lnTo>
                    <a:pt x="31" y="307"/>
                  </a:lnTo>
                  <a:lnTo>
                    <a:pt x="33" y="308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7" y="313"/>
                  </a:lnTo>
                  <a:lnTo>
                    <a:pt x="38" y="311"/>
                  </a:lnTo>
                  <a:lnTo>
                    <a:pt x="40" y="311"/>
                  </a:lnTo>
                  <a:lnTo>
                    <a:pt x="41" y="311"/>
                  </a:lnTo>
                  <a:lnTo>
                    <a:pt x="41" y="311"/>
                  </a:lnTo>
                  <a:lnTo>
                    <a:pt x="43" y="310"/>
                  </a:lnTo>
                  <a:lnTo>
                    <a:pt x="44" y="313"/>
                  </a:lnTo>
                  <a:lnTo>
                    <a:pt x="44" y="311"/>
                  </a:lnTo>
                  <a:lnTo>
                    <a:pt x="46" y="310"/>
                  </a:lnTo>
                  <a:lnTo>
                    <a:pt x="47" y="308"/>
                  </a:lnTo>
                  <a:lnTo>
                    <a:pt x="47" y="307"/>
                  </a:lnTo>
                  <a:lnTo>
                    <a:pt x="48" y="305"/>
                  </a:lnTo>
                  <a:lnTo>
                    <a:pt x="48" y="304"/>
                  </a:lnTo>
                  <a:lnTo>
                    <a:pt x="48" y="303"/>
                  </a:lnTo>
                  <a:lnTo>
                    <a:pt x="50" y="303"/>
                  </a:lnTo>
                  <a:lnTo>
                    <a:pt x="51" y="298"/>
                  </a:lnTo>
                  <a:lnTo>
                    <a:pt x="53" y="298"/>
                  </a:lnTo>
                  <a:lnTo>
                    <a:pt x="54" y="297"/>
                  </a:lnTo>
                  <a:lnTo>
                    <a:pt x="57" y="298"/>
                  </a:lnTo>
                  <a:lnTo>
                    <a:pt x="58" y="298"/>
                  </a:lnTo>
                  <a:lnTo>
                    <a:pt x="64" y="298"/>
                  </a:lnTo>
                  <a:lnTo>
                    <a:pt x="65" y="298"/>
                  </a:lnTo>
                  <a:lnTo>
                    <a:pt x="67" y="297"/>
                  </a:lnTo>
                  <a:lnTo>
                    <a:pt x="70" y="297"/>
                  </a:lnTo>
                  <a:lnTo>
                    <a:pt x="73" y="297"/>
                  </a:lnTo>
                  <a:lnTo>
                    <a:pt x="75" y="293"/>
                  </a:lnTo>
                  <a:lnTo>
                    <a:pt x="75" y="291"/>
                  </a:lnTo>
                  <a:lnTo>
                    <a:pt x="75" y="291"/>
                  </a:lnTo>
                  <a:lnTo>
                    <a:pt x="77" y="290"/>
                  </a:lnTo>
                  <a:lnTo>
                    <a:pt x="80" y="288"/>
                  </a:lnTo>
                  <a:lnTo>
                    <a:pt x="83" y="287"/>
                  </a:lnTo>
                  <a:lnTo>
                    <a:pt x="88" y="283"/>
                  </a:lnTo>
                  <a:lnTo>
                    <a:pt x="91" y="281"/>
                  </a:lnTo>
                  <a:lnTo>
                    <a:pt x="93" y="281"/>
                  </a:lnTo>
                  <a:lnTo>
                    <a:pt x="94" y="281"/>
                  </a:lnTo>
                  <a:lnTo>
                    <a:pt x="98" y="280"/>
                  </a:lnTo>
                  <a:lnTo>
                    <a:pt x="100" y="277"/>
                  </a:lnTo>
                  <a:lnTo>
                    <a:pt x="101" y="277"/>
                  </a:lnTo>
                  <a:lnTo>
                    <a:pt x="105" y="277"/>
                  </a:lnTo>
                  <a:lnTo>
                    <a:pt x="107" y="275"/>
                  </a:lnTo>
                  <a:lnTo>
                    <a:pt x="107" y="275"/>
                  </a:lnTo>
                  <a:lnTo>
                    <a:pt x="105" y="274"/>
                  </a:lnTo>
                  <a:lnTo>
                    <a:pt x="105" y="273"/>
                  </a:lnTo>
                  <a:lnTo>
                    <a:pt x="105" y="273"/>
                  </a:lnTo>
                  <a:lnTo>
                    <a:pt x="107" y="273"/>
                  </a:lnTo>
                  <a:lnTo>
                    <a:pt x="107" y="271"/>
                  </a:lnTo>
                  <a:lnTo>
                    <a:pt x="105" y="268"/>
                  </a:lnTo>
                  <a:lnTo>
                    <a:pt x="105" y="265"/>
                  </a:lnTo>
                  <a:lnTo>
                    <a:pt x="105" y="264"/>
                  </a:lnTo>
                  <a:lnTo>
                    <a:pt x="105" y="263"/>
                  </a:lnTo>
                  <a:lnTo>
                    <a:pt x="105" y="261"/>
                  </a:lnTo>
                  <a:lnTo>
                    <a:pt x="107" y="260"/>
                  </a:lnTo>
                  <a:lnTo>
                    <a:pt x="110" y="258"/>
                  </a:lnTo>
                  <a:lnTo>
                    <a:pt x="111" y="258"/>
                  </a:lnTo>
                  <a:lnTo>
                    <a:pt x="111" y="257"/>
                  </a:lnTo>
                  <a:lnTo>
                    <a:pt x="110" y="257"/>
                  </a:lnTo>
                  <a:lnTo>
                    <a:pt x="108" y="256"/>
                  </a:lnTo>
                  <a:lnTo>
                    <a:pt x="108" y="256"/>
                  </a:lnTo>
                  <a:lnTo>
                    <a:pt x="108" y="256"/>
                  </a:lnTo>
                  <a:lnTo>
                    <a:pt x="108" y="254"/>
                  </a:lnTo>
                  <a:lnTo>
                    <a:pt x="111" y="254"/>
                  </a:lnTo>
                  <a:lnTo>
                    <a:pt x="113" y="253"/>
                  </a:lnTo>
                  <a:lnTo>
                    <a:pt x="114" y="253"/>
                  </a:lnTo>
                  <a:lnTo>
                    <a:pt x="115" y="253"/>
                  </a:lnTo>
                  <a:lnTo>
                    <a:pt x="115" y="251"/>
                  </a:lnTo>
                  <a:lnTo>
                    <a:pt x="114" y="251"/>
                  </a:lnTo>
                  <a:lnTo>
                    <a:pt x="114" y="250"/>
                  </a:lnTo>
                  <a:lnTo>
                    <a:pt x="113" y="248"/>
                  </a:lnTo>
                  <a:lnTo>
                    <a:pt x="113" y="248"/>
                  </a:lnTo>
                  <a:lnTo>
                    <a:pt x="114" y="246"/>
                  </a:lnTo>
                  <a:lnTo>
                    <a:pt x="113" y="243"/>
                  </a:lnTo>
                  <a:lnTo>
                    <a:pt x="113" y="240"/>
                  </a:lnTo>
                  <a:lnTo>
                    <a:pt x="110" y="236"/>
                  </a:lnTo>
                  <a:lnTo>
                    <a:pt x="110" y="234"/>
                  </a:lnTo>
                  <a:lnTo>
                    <a:pt x="108" y="233"/>
                  </a:lnTo>
                  <a:lnTo>
                    <a:pt x="108" y="231"/>
                  </a:lnTo>
                  <a:lnTo>
                    <a:pt x="108" y="230"/>
                  </a:lnTo>
                  <a:lnTo>
                    <a:pt x="108" y="228"/>
                  </a:lnTo>
                  <a:lnTo>
                    <a:pt x="108" y="226"/>
                  </a:lnTo>
                  <a:lnTo>
                    <a:pt x="108" y="224"/>
                  </a:lnTo>
                  <a:lnTo>
                    <a:pt x="108" y="221"/>
                  </a:lnTo>
                  <a:lnTo>
                    <a:pt x="108" y="220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10" y="218"/>
                  </a:lnTo>
                  <a:lnTo>
                    <a:pt x="110" y="217"/>
                  </a:lnTo>
                  <a:lnTo>
                    <a:pt x="110" y="217"/>
                  </a:lnTo>
                  <a:lnTo>
                    <a:pt x="108" y="216"/>
                  </a:lnTo>
                  <a:lnTo>
                    <a:pt x="107" y="216"/>
                  </a:lnTo>
                  <a:lnTo>
                    <a:pt x="104" y="216"/>
                  </a:lnTo>
                  <a:lnTo>
                    <a:pt x="103" y="216"/>
                  </a:lnTo>
                  <a:lnTo>
                    <a:pt x="101" y="216"/>
                  </a:lnTo>
                  <a:lnTo>
                    <a:pt x="100" y="214"/>
                  </a:lnTo>
                  <a:lnTo>
                    <a:pt x="100" y="214"/>
                  </a:lnTo>
                  <a:lnTo>
                    <a:pt x="101" y="213"/>
                  </a:lnTo>
                  <a:lnTo>
                    <a:pt x="104" y="211"/>
                  </a:lnTo>
                  <a:lnTo>
                    <a:pt x="105" y="210"/>
                  </a:lnTo>
                  <a:lnTo>
                    <a:pt x="110" y="210"/>
                  </a:lnTo>
                  <a:lnTo>
                    <a:pt x="111" y="208"/>
                  </a:lnTo>
                  <a:lnTo>
                    <a:pt x="113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20" y="207"/>
                  </a:lnTo>
                  <a:lnTo>
                    <a:pt x="124" y="206"/>
                  </a:lnTo>
                  <a:lnTo>
                    <a:pt x="128" y="204"/>
                  </a:lnTo>
                  <a:lnTo>
                    <a:pt x="130" y="203"/>
                  </a:lnTo>
                  <a:lnTo>
                    <a:pt x="131" y="204"/>
                  </a:lnTo>
                  <a:lnTo>
                    <a:pt x="131" y="206"/>
                  </a:lnTo>
                  <a:lnTo>
                    <a:pt x="133" y="207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7" y="207"/>
                  </a:lnTo>
                  <a:lnTo>
                    <a:pt x="138" y="206"/>
                  </a:lnTo>
                  <a:lnTo>
                    <a:pt x="140" y="207"/>
                  </a:lnTo>
                  <a:lnTo>
                    <a:pt x="141" y="207"/>
                  </a:lnTo>
                  <a:lnTo>
                    <a:pt x="143" y="208"/>
                  </a:lnTo>
                  <a:lnTo>
                    <a:pt x="143" y="208"/>
                  </a:lnTo>
                  <a:lnTo>
                    <a:pt x="144" y="207"/>
                  </a:lnTo>
                  <a:lnTo>
                    <a:pt x="144" y="206"/>
                  </a:lnTo>
                  <a:lnTo>
                    <a:pt x="144" y="204"/>
                  </a:lnTo>
                  <a:lnTo>
                    <a:pt x="144" y="203"/>
                  </a:lnTo>
                  <a:lnTo>
                    <a:pt x="144" y="201"/>
                  </a:lnTo>
                  <a:lnTo>
                    <a:pt x="144" y="201"/>
                  </a:lnTo>
                  <a:lnTo>
                    <a:pt x="141" y="200"/>
                  </a:lnTo>
                  <a:lnTo>
                    <a:pt x="140" y="200"/>
                  </a:lnTo>
                  <a:lnTo>
                    <a:pt x="140" y="198"/>
                  </a:lnTo>
                  <a:lnTo>
                    <a:pt x="140" y="197"/>
                  </a:lnTo>
                  <a:lnTo>
                    <a:pt x="140" y="196"/>
                  </a:lnTo>
                  <a:lnTo>
                    <a:pt x="141" y="193"/>
                  </a:lnTo>
                  <a:lnTo>
                    <a:pt x="143" y="188"/>
                  </a:lnTo>
                  <a:lnTo>
                    <a:pt x="144" y="184"/>
                  </a:lnTo>
                  <a:lnTo>
                    <a:pt x="145" y="180"/>
                  </a:lnTo>
                  <a:lnTo>
                    <a:pt x="147" y="174"/>
                  </a:lnTo>
                  <a:lnTo>
                    <a:pt x="150" y="166"/>
                  </a:lnTo>
                  <a:lnTo>
                    <a:pt x="151" y="164"/>
                  </a:lnTo>
                  <a:lnTo>
                    <a:pt x="151" y="161"/>
                  </a:lnTo>
                  <a:lnTo>
                    <a:pt x="151" y="161"/>
                  </a:lnTo>
                  <a:lnTo>
                    <a:pt x="153" y="160"/>
                  </a:lnTo>
                  <a:lnTo>
                    <a:pt x="154" y="161"/>
                  </a:lnTo>
                  <a:lnTo>
                    <a:pt x="158" y="163"/>
                  </a:lnTo>
                  <a:lnTo>
                    <a:pt x="161" y="164"/>
                  </a:lnTo>
                  <a:lnTo>
                    <a:pt x="162" y="164"/>
                  </a:lnTo>
                  <a:lnTo>
                    <a:pt x="164" y="166"/>
                  </a:lnTo>
                  <a:lnTo>
                    <a:pt x="167" y="166"/>
                  </a:lnTo>
                  <a:lnTo>
                    <a:pt x="168" y="166"/>
                  </a:lnTo>
                  <a:lnTo>
                    <a:pt x="170" y="166"/>
                  </a:lnTo>
                  <a:lnTo>
                    <a:pt x="172" y="166"/>
                  </a:lnTo>
                  <a:lnTo>
                    <a:pt x="175" y="166"/>
                  </a:lnTo>
                  <a:lnTo>
                    <a:pt x="175" y="166"/>
                  </a:lnTo>
                  <a:lnTo>
                    <a:pt x="177" y="166"/>
                  </a:lnTo>
                  <a:lnTo>
                    <a:pt x="178" y="167"/>
                  </a:lnTo>
                  <a:lnTo>
                    <a:pt x="178" y="168"/>
                  </a:lnTo>
                  <a:lnTo>
                    <a:pt x="180" y="168"/>
                  </a:lnTo>
                  <a:lnTo>
                    <a:pt x="180" y="168"/>
                  </a:lnTo>
                  <a:lnTo>
                    <a:pt x="182" y="167"/>
                  </a:lnTo>
                  <a:lnTo>
                    <a:pt x="184" y="166"/>
                  </a:lnTo>
                  <a:lnTo>
                    <a:pt x="187" y="164"/>
                  </a:lnTo>
                  <a:lnTo>
                    <a:pt x="188" y="164"/>
                  </a:lnTo>
                  <a:lnTo>
                    <a:pt x="190" y="164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2" y="158"/>
                  </a:lnTo>
                  <a:lnTo>
                    <a:pt x="194" y="157"/>
                  </a:lnTo>
                  <a:lnTo>
                    <a:pt x="192" y="156"/>
                  </a:lnTo>
                  <a:lnTo>
                    <a:pt x="192" y="153"/>
                  </a:lnTo>
                  <a:lnTo>
                    <a:pt x="192" y="151"/>
                  </a:lnTo>
                  <a:lnTo>
                    <a:pt x="191" y="147"/>
                  </a:lnTo>
                  <a:lnTo>
                    <a:pt x="191" y="143"/>
                  </a:lnTo>
                  <a:lnTo>
                    <a:pt x="191" y="140"/>
                  </a:lnTo>
                  <a:lnTo>
                    <a:pt x="192" y="137"/>
                  </a:lnTo>
                  <a:lnTo>
                    <a:pt x="192" y="136"/>
                  </a:lnTo>
                  <a:lnTo>
                    <a:pt x="194" y="134"/>
                  </a:lnTo>
                  <a:lnTo>
                    <a:pt x="194" y="133"/>
                  </a:lnTo>
                  <a:lnTo>
                    <a:pt x="195" y="131"/>
                  </a:lnTo>
                  <a:lnTo>
                    <a:pt x="200" y="131"/>
                  </a:lnTo>
                  <a:lnTo>
                    <a:pt x="202" y="130"/>
                  </a:lnTo>
                  <a:lnTo>
                    <a:pt x="204" y="130"/>
                  </a:lnTo>
                  <a:lnTo>
                    <a:pt x="207" y="130"/>
                  </a:lnTo>
                  <a:lnTo>
                    <a:pt x="207" y="128"/>
                  </a:lnTo>
                  <a:lnTo>
                    <a:pt x="210" y="126"/>
                  </a:lnTo>
                  <a:lnTo>
                    <a:pt x="210" y="124"/>
                  </a:lnTo>
                  <a:lnTo>
                    <a:pt x="211" y="121"/>
                  </a:lnTo>
                  <a:lnTo>
                    <a:pt x="210" y="118"/>
                  </a:lnTo>
                  <a:lnTo>
                    <a:pt x="211" y="117"/>
                  </a:lnTo>
                  <a:lnTo>
                    <a:pt x="211" y="116"/>
                  </a:lnTo>
                  <a:lnTo>
                    <a:pt x="212" y="116"/>
                  </a:lnTo>
                  <a:lnTo>
                    <a:pt x="214" y="114"/>
                  </a:lnTo>
                  <a:lnTo>
                    <a:pt x="215" y="114"/>
                  </a:lnTo>
                  <a:lnTo>
                    <a:pt x="218" y="114"/>
                  </a:lnTo>
                  <a:lnTo>
                    <a:pt x="220" y="116"/>
                  </a:lnTo>
                  <a:lnTo>
                    <a:pt x="221" y="116"/>
                  </a:lnTo>
                  <a:lnTo>
                    <a:pt x="222" y="116"/>
                  </a:lnTo>
                  <a:lnTo>
                    <a:pt x="222" y="114"/>
                  </a:lnTo>
                  <a:lnTo>
                    <a:pt x="224" y="114"/>
                  </a:lnTo>
                  <a:lnTo>
                    <a:pt x="225" y="114"/>
                  </a:lnTo>
                  <a:lnTo>
                    <a:pt x="227" y="113"/>
                  </a:lnTo>
                  <a:lnTo>
                    <a:pt x="228" y="113"/>
                  </a:lnTo>
                  <a:lnTo>
                    <a:pt x="228" y="114"/>
                  </a:lnTo>
                  <a:lnTo>
                    <a:pt x="228" y="116"/>
                  </a:lnTo>
                  <a:lnTo>
                    <a:pt x="228" y="117"/>
                  </a:lnTo>
                  <a:lnTo>
                    <a:pt x="228" y="117"/>
                  </a:lnTo>
                  <a:lnTo>
                    <a:pt x="228" y="118"/>
                  </a:lnTo>
                  <a:lnTo>
                    <a:pt x="228" y="118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8" y="121"/>
                  </a:lnTo>
                  <a:lnTo>
                    <a:pt x="228" y="123"/>
                  </a:lnTo>
                  <a:lnTo>
                    <a:pt x="230" y="123"/>
                  </a:lnTo>
                  <a:lnTo>
                    <a:pt x="231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31" y="126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0" y="128"/>
                  </a:lnTo>
                  <a:lnTo>
                    <a:pt x="231" y="128"/>
                  </a:lnTo>
                  <a:lnTo>
                    <a:pt x="232" y="128"/>
                  </a:lnTo>
                  <a:lnTo>
                    <a:pt x="235" y="130"/>
                  </a:lnTo>
                  <a:lnTo>
                    <a:pt x="237" y="131"/>
                  </a:lnTo>
                  <a:lnTo>
                    <a:pt x="240" y="133"/>
                  </a:lnTo>
                  <a:lnTo>
                    <a:pt x="240" y="134"/>
                  </a:lnTo>
                  <a:lnTo>
                    <a:pt x="240" y="136"/>
                  </a:lnTo>
                  <a:lnTo>
                    <a:pt x="241" y="137"/>
                  </a:lnTo>
                  <a:lnTo>
                    <a:pt x="244" y="138"/>
                  </a:lnTo>
                  <a:lnTo>
                    <a:pt x="245" y="140"/>
                  </a:lnTo>
                  <a:lnTo>
                    <a:pt x="247" y="140"/>
                  </a:lnTo>
                  <a:lnTo>
                    <a:pt x="247" y="141"/>
                  </a:lnTo>
                  <a:lnTo>
                    <a:pt x="248" y="141"/>
                  </a:lnTo>
                  <a:lnTo>
                    <a:pt x="250" y="141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5" y="141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4" y="146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5" y="148"/>
                  </a:lnTo>
                  <a:lnTo>
                    <a:pt x="268" y="148"/>
                  </a:lnTo>
                  <a:lnTo>
                    <a:pt x="268" y="150"/>
                  </a:lnTo>
                  <a:lnTo>
                    <a:pt x="268" y="151"/>
                  </a:lnTo>
                  <a:lnTo>
                    <a:pt x="268" y="151"/>
                  </a:lnTo>
                  <a:lnTo>
                    <a:pt x="269" y="153"/>
                  </a:lnTo>
                  <a:lnTo>
                    <a:pt x="269" y="156"/>
                  </a:lnTo>
                  <a:lnTo>
                    <a:pt x="271" y="157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2" y="163"/>
                  </a:lnTo>
                  <a:lnTo>
                    <a:pt x="274" y="166"/>
                  </a:lnTo>
                  <a:lnTo>
                    <a:pt x="275" y="166"/>
                  </a:lnTo>
                  <a:lnTo>
                    <a:pt x="277" y="166"/>
                  </a:lnTo>
                  <a:lnTo>
                    <a:pt x="277" y="167"/>
                  </a:lnTo>
                  <a:lnTo>
                    <a:pt x="278" y="171"/>
                  </a:lnTo>
                  <a:lnTo>
                    <a:pt x="278" y="173"/>
                  </a:lnTo>
                  <a:lnTo>
                    <a:pt x="278" y="174"/>
                  </a:lnTo>
                  <a:lnTo>
                    <a:pt x="279" y="176"/>
                  </a:lnTo>
                  <a:lnTo>
                    <a:pt x="279" y="176"/>
                  </a:lnTo>
                  <a:lnTo>
                    <a:pt x="278" y="180"/>
                  </a:lnTo>
                  <a:lnTo>
                    <a:pt x="277" y="181"/>
                  </a:lnTo>
                  <a:lnTo>
                    <a:pt x="277" y="181"/>
                  </a:lnTo>
                  <a:lnTo>
                    <a:pt x="278" y="184"/>
                  </a:lnTo>
                  <a:lnTo>
                    <a:pt x="278" y="186"/>
                  </a:lnTo>
                  <a:lnTo>
                    <a:pt x="278" y="187"/>
                  </a:lnTo>
                  <a:lnTo>
                    <a:pt x="278" y="188"/>
                  </a:lnTo>
                  <a:lnTo>
                    <a:pt x="277" y="190"/>
                  </a:lnTo>
                  <a:lnTo>
                    <a:pt x="277" y="191"/>
                  </a:lnTo>
                  <a:lnTo>
                    <a:pt x="275" y="191"/>
                  </a:lnTo>
                  <a:lnTo>
                    <a:pt x="274" y="194"/>
                  </a:lnTo>
                  <a:lnTo>
                    <a:pt x="274" y="197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5" y="201"/>
                  </a:lnTo>
                  <a:lnTo>
                    <a:pt x="275" y="203"/>
                  </a:lnTo>
                  <a:lnTo>
                    <a:pt x="277" y="206"/>
                  </a:lnTo>
                  <a:lnTo>
                    <a:pt x="277" y="207"/>
                  </a:lnTo>
                  <a:lnTo>
                    <a:pt x="277" y="207"/>
                  </a:lnTo>
                  <a:lnTo>
                    <a:pt x="278" y="206"/>
                  </a:lnTo>
                  <a:lnTo>
                    <a:pt x="279" y="206"/>
                  </a:lnTo>
                  <a:lnTo>
                    <a:pt x="281" y="207"/>
                  </a:lnTo>
                  <a:lnTo>
                    <a:pt x="282" y="208"/>
                  </a:lnTo>
                  <a:lnTo>
                    <a:pt x="284" y="208"/>
                  </a:lnTo>
                  <a:lnTo>
                    <a:pt x="285" y="208"/>
                  </a:lnTo>
                  <a:lnTo>
                    <a:pt x="287" y="208"/>
                  </a:lnTo>
                  <a:lnTo>
                    <a:pt x="288" y="210"/>
                  </a:lnTo>
                  <a:lnTo>
                    <a:pt x="291" y="210"/>
                  </a:lnTo>
                  <a:lnTo>
                    <a:pt x="292" y="210"/>
                  </a:lnTo>
                  <a:lnTo>
                    <a:pt x="295" y="210"/>
                  </a:lnTo>
                  <a:lnTo>
                    <a:pt x="298" y="210"/>
                  </a:lnTo>
                  <a:lnTo>
                    <a:pt x="301" y="211"/>
                  </a:lnTo>
                  <a:lnTo>
                    <a:pt x="304" y="211"/>
                  </a:lnTo>
                  <a:lnTo>
                    <a:pt x="307" y="210"/>
                  </a:lnTo>
                  <a:lnTo>
                    <a:pt x="309" y="210"/>
                  </a:lnTo>
                  <a:lnTo>
                    <a:pt x="315" y="211"/>
                  </a:lnTo>
                  <a:lnTo>
                    <a:pt x="319" y="213"/>
                  </a:lnTo>
                  <a:lnTo>
                    <a:pt x="321" y="213"/>
                  </a:lnTo>
                  <a:lnTo>
                    <a:pt x="322" y="214"/>
                  </a:lnTo>
                  <a:lnTo>
                    <a:pt x="325" y="217"/>
                  </a:lnTo>
                  <a:lnTo>
                    <a:pt x="327" y="218"/>
                  </a:lnTo>
                  <a:lnTo>
                    <a:pt x="329" y="218"/>
                  </a:lnTo>
                  <a:lnTo>
                    <a:pt x="332" y="221"/>
                  </a:lnTo>
                  <a:lnTo>
                    <a:pt x="335" y="223"/>
                  </a:lnTo>
                  <a:lnTo>
                    <a:pt x="338" y="226"/>
                  </a:lnTo>
                  <a:lnTo>
                    <a:pt x="341" y="227"/>
                  </a:lnTo>
                  <a:lnTo>
                    <a:pt x="344" y="227"/>
                  </a:lnTo>
                  <a:lnTo>
                    <a:pt x="348" y="227"/>
                  </a:lnTo>
                  <a:lnTo>
                    <a:pt x="348" y="227"/>
                  </a:lnTo>
                  <a:lnTo>
                    <a:pt x="348" y="228"/>
                  </a:lnTo>
                  <a:lnTo>
                    <a:pt x="348" y="231"/>
                  </a:lnTo>
                  <a:lnTo>
                    <a:pt x="348" y="233"/>
                  </a:lnTo>
                  <a:lnTo>
                    <a:pt x="348" y="233"/>
                  </a:lnTo>
                  <a:lnTo>
                    <a:pt x="351" y="234"/>
                  </a:lnTo>
                  <a:lnTo>
                    <a:pt x="351" y="234"/>
                  </a:lnTo>
                  <a:lnTo>
                    <a:pt x="352" y="236"/>
                  </a:lnTo>
                  <a:lnTo>
                    <a:pt x="352" y="237"/>
                  </a:lnTo>
                  <a:lnTo>
                    <a:pt x="354" y="241"/>
                  </a:lnTo>
                  <a:lnTo>
                    <a:pt x="356" y="247"/>
                  </a:lnTo>
                  <a:lnTo>
                    <a:pt x="356" y="250"/>
                  </a:lnTo>
                  <a:lnTo>
                    <a:pt x="358" y="251"/>
                  </a:lnTo>
                  <a:lnTo>
                    <a:pt x="359" y="253"/>
                  </a:lnTo>
                  <a:lnTo>
                    <a:pt x="361" y="256"/>
                  </a:lnTo>
                  <a:lnTo>
                    <a:pt x="364" y="257"/>
                  </a:lnTo>
                  <a:lnTo>
                    <a:pt x="364" y="258"/>
                  </a:lnTo>
                  <a:lnTo>
                    <a:pt x="364" y="261"/>
                  </a:lnTo>
                  <a:lnTo>
                    <a:pt x="365" y="261"/>
                  </a:lnTo>
                  <a:lnTo>
                    <a:pt x="369" y="261"/>
                  </a:lnTo>
                  <a:lnTo>
                    <a:pt x="372" y="261"/>
                  </a:lnTo>
                  <a:lnTo>
                    <a:pt x="378" y="260"/>
                  </a:lnTo>
                  <a:lnTo>
                    <a:pt x="386" y="261"/>
                  </a:lnTo>
                  <a:lnTo>
                    <a:pt x="395" y="263"/>
                  </a:lnTo>
                  <a:lnTo>
                    <a:pt x="402" y="263"/>
                  </a:lnTo>
                  <a:lnTo>
                    <a:pt x="406" y="264"/>
                  </a:lnTo>
                  <a:lnTo>
                    <a:pt x="414" y="265"/>
                  </a:lnTo>
                  <a:lnTo>
                    <a:pt x="419" y="264"/>
                  </a:lnTo>
                  <a:lnTo>
                    <a:pt x="422" y="263"/>
                  </a:lnTo>
                  <a:lnTo>
                    <a:pt x="424" y="263"/>
                  </a:lnTo>
                  <a:lnTo>
                    <a:pt x="431" y="264"/>
                  </a:lnTo>
                  <a:lnTo>
                    <a:pt x="435" y="264"/>
                  </a:lnTo>
                  <a:lnTo>
                    <a:pt x="441" y="265"/>
                  </a:lnTo>
                  <a:lnTo>
                    <a:pt x="444" y="265"/>
                  </a:lnTo>
                  <a:lnTo>
                    <a:pt x="446" y="265"/>
                  </a:lnTo>
                  <a:lnTo>
                    <a:pt x="448" y="265"/>
                  </a:lnTo>
                  <a:lnTo>
                    <a:pt x="449" y="267"/>
                  </a:lnTo>
                  <a:lnTo>
                    <a:pt x="451" y="267"/>
                  </a:lnTo>
                  <a:lnTo>
                    <a:pt x="453" y="271"/>
                  </a:lnTo>
                  <a:lnTo>
                    <a:pt x="455" y="273"/>
                  </a:lnTo>
                  <a:lnTo>
                    <a:pt x="458" y="274"/>
                  </a:lnTo>
                  <a:lnTo>
                    <a:pt x="463" y="275"/>
                  </a:lnTo>
                  <a:lnTo>
                    <a:pt x="468" y="275"/>
                  </a:lnTo>
                  <a:lnTo>
                    <a:pt x="472" y="277"/>
                  </a:lnTo>
                  <a:lnTo>
                    <a:pt x="475" y="278"/>
                  </a:lnTo>
                  <a:lnTo>
                    <a:pt x="478" y="280"/>
                  </a:lnTo>
                  <a:lnTo>
                    <a:pt x="482" y="283"/>
                  </a:lnTo>
                  <a:lnTo>
                    <a:pt x="486" y="281"/>
                  </a:lnTo>
                  <a:lnTo>
                    <a:pt x="492" y="280"/>
                  </a:lnTo>
                  <a:lnTo>
                    <a:pt x="495" y="280"/>
                  </a:lnTo>
                  <a:lnTo>
                    <a:pt x="495" y="284"/>
                  </a:lnTo>
                  <a:lnTo>
                    <a:pt x="499" y="284"/>
                  </a:lnTo>
                  <a:lnTo>
                    <a:pt x="501" y="284"/>
                  </a:lnTo>
                  <a:lnTo>
                    <a:pt x="502" y="285"/>
                  </a:lnTo>
                  <a:lnTo>
                    <a:pt x="503" y="285"/>
                  </a:lnTo>
                  <a:lnTo>
                    <a:pt x="505" y="284"/>
                  </a:lnTo>
                  <a:lnTo>
                    <a:pt x="506" y="283"/>
                  </a:lnTo>
                  <a:lnTo>
                    <a:pt x="508" y="283"/>
                  </a:lnTo>
                  <a:lnTo>
                    <a:pt x="511" y="280"/>
                  </a:lnTo>
                  <a:lnTo>
                    <a:pt x="512" y="280"/>
                  </a:lnTo>
                  <a:lnTo>
                    <a:pt x="516" y="277"/>
                  </a:lnTo>
                  <a:lnTo>
                    <a:pt x="523" y="274"/>
                  </a:lnTo>
                  <a:lnTo>
                    <a:pt x="528" y="273"/>
                  </a:lnTo>
                  <a:lnTo>
                    <a:pt x="528" y="273"/>
                  </a:lnTo>
                  <a:lnTo>
                    <a:pt x="531" y="271"/>
                  </a:lnTo>
                  <a:lnTo>
                    <a:pt x="531" y="271"/>
                  </a:lnTo>
                  <a:lnTo>
                    <a:pt x="533" y="270"/>
                  </a:lnTo>
                  <a:lnTo>
                    <a:pt x="536" y="270"/>
                  </a:lnTo>
                  <a:lnTo>
                    <a:pt x="539" y="270"/>
                  </a:lnTo>
                  <a:lnTo>
                    <a:pt x="546" y="268"/>
                  </a:lnTo>
                  <a:lnTo>
                    <a:pt x="548" y="268"/>
                  </a:lnTo>
                  <a:lnTo>
                    <a:pt x="552" y="268"/>
                  </a:lnTo>
                  <a:lnTo>
                    <a:pt x="553" y="267"/>
                  </a:lnTo>
                  <a:lnTo>
                    <a:pt x="556" y="267"/>
                  </a:lnTo>
                  <a:lnTo>
                    <a:pt x="559" y="268"/>
                  </a:lnTo>
                  <a:lnTo>
                    <a:pt x="562" y="268"/>
                  </a:lnTo>
                  <a:lnTo>
                    <a:pt x="565" y="268"/>
                  </a:lnTo>
                  <a:lnTo>
                    <a:pt x="569" y="267"/>
                  </a:lnTo>
                  <a:lnTo>
                    <a:pt x="572" y="267"/>
                  </a:lnTo>
                  <a:lnTo>
                    <a:pt x="573" y="267"/>
                  </a:lnTo>
                  <a:lnTo>
                    <a:pt x="576" y="265"/>
                  </a:lnTo>
                  <a:lnTo>
                    <a:pt x="578" y="265"/>
                  </a:lnTo>
                  <a:lnTo>
                    <a:pt x="580" y="264"/>
                  </a:lnTo>
                  <a:lnTo>
                    <a:pt x="583" y="263"/>
                  </a:lnTo>
                  <a:lnTo>
                    <a:pt x="586" y="261"/>
                  </a:lnTo>
                  <a:lnTo>
                    <a:pt x="588" y="261"/>
                  </a:lnTo>
                  <a:lnTo>
                    <a:pt x="589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2" y="258"/>
                  </a:lnTo>
                  <a:lnTo>
                    <a:pt x="593" y="256"/>
                  </a:lnTo>
                  <a:lnTo>
                    <a:pt x="595" y="254"/>
                  </a:lnTo>
                  <a:lnTo>
                    <a:pt x="595" y="253"/>
                  </a:lnTo>
                  <a:lnTo>
                    <a:pt x="596" y="251"/>
                  </a:lnTo>
                  <a:lnTo>
                    <a:pt x="598" y="250"/>
                  </a:lnTo>
                  <a:lnTo>
                    <a:pt x="599" y="248"/>
                  </a:lnTo>
                  <a:lnTo>
                    <a:pt x="600" y="247"/>
                  </a:lnTo>
                  <a:lnTo>
                    <a:pt x="602" y="247"/>
                  </a:lnTo>
                  <a:lnTo>
                    <a:pt x="606" y="246"/>
                  </a:lnTo>
                  <a:lnTo>
                    <a:pt x="608" y="244"/>
                  </a:lnTo>
                  <a:lnTo>
                    <a:pt x="608" y="244"/>
                  </a:lnTo>
                  <a:lnTo>
                    <a:pt x="609" y="243"/>
                  </a:lnTo>
                  <a:lnTo>
                    <a:pt x="610" y="241"/>
                  </a:lnTo>
                  <a:lnTo>
                    <a:pt x="612" y="241"/>
                  </a:lnTo>
                  <a:lnTo>
                    <a:pt x="613" y="240"/>
                  </a:lnTo>
                  <a:lnTo>
                    <a:pt x="613" y="240"/>
                  </a:lnTo>
                  <a:lnTo>
                    <a:pt x="613" y="238"/>
                  </a:lnTo>
                  <a:lnTo>
                    <a:pt x="613" y="237"/>
                  </a:lnTo>
                  <a:lnTo>
                    <a:pt x="613" y="236"/>
                  </a:lnTo>
                  <a:lnTo>
                    <a:pt x="612" y="236"/>
                  </a:lnTo>
                  <a:lnTo>
                    <a:pt x="610" y="233"/>
                  </a:lnTo>
                  <a:lnTo>
                    <a:pt x="609" y="231"/>
                  </a:lnTo>
                  <a:lnTo>
                    <a:pt x="608" y="230"/>
                  </a:lnTo>
                  <a:lnTo>
                    <a:pt x="606" y="227"/>
                  </a:lnTo>
                  <a:lnTo>
                    <a:pt x="606" y="226"/>
                  </a:lnTo>
                  <a:lnTo>
                    <a:pt x="605" y="226"/>
                  </a:lnTo>
                  <a:lnTo>
                    <a:pt x="606" y="224"/>
                  </a:lnTo>
                  <a:lnTo>
                    <a:pt x="606" y="223"/>
                  </a:lnTo>
                  <a:lnTo>
                    <a:pt x="608" y="221"/>
                  </a:lnTo>
                  <a:lnTo>
                    <a:pt x="608" y="218"/>
                  </a:lnTo>
                  <a:lnTo>
                    <a:pt x="609" y="216"/>
                  </a:lnTo>
                  <a:lnTo>
                    <a:pt x="610" y="213"/>
                  </a:lnTo>
                  <a:lnTo>
                    <a:pt x="610" y="211"/>
                  </a:lnTo>
                  <a:lnTo>
                    <a:pt x="613" y="210"/>
                  </a:lnTo>
                  <a:lnTo>
                    <a:pt x="615" y="210"/>
                  </a:lnTo>
                  <a:lnTo>
                    <a:pt x="616" y="210"/>
                  </a:lnTo>
                  <a:lnTo>
                    <a:pt x="619" y="210"/>
                  </a:lnTo>
                  <a:lnTo>
                    <a:pt x="622" y="210"/>
                  </a:lnTo>
                  <a:lnTo>
                    <a:pt x="623" y="211"/>
                  </a:lnTo>
                  <a:lnTo>
                    <a:pt x="625" y="213"/>
                  </a:lnTo>
                  <a:lnTo>
                    <a:pt x="626" y="214"/>
                  </a:lnTo>
                  <a:lnTo>
                    <a:pt x="632" y="216"/>
                  </a:lnTo>
                  <a:lnTo>
                    <a:pt x="635" y="216"/>
                  </a:lnTo>
                  <a:lnTo>
                    <a:pt x="636" y="216"/>
                  </a:lnTo>
                  <a:lnTo>
                    <a:pt x="637" y="217"/>
                  </a:lnTo>
                  <a:lnTo>
                    <a:pt x="639" y="217"/>
                  </a:lnTo>
                  <a:lnTo>
                    <a:pt x="640" y="217"/>
                  </a:lnTo>
                  <a:lnTo>
                    <a:pt x="642" y="217"/>
                  </a:lnTo>
                  <a:lnTo>
                    <a:pt x="643" y="216"/>
                  </a:lnTo>
                  <a:lnTo>
                    <a:pt x="645" y="213"/>
                  </a:lnTo>
                  <a:lnTo>
                    <a:pt x="646" y="213"/>
                  </a:lnTo>
                  <a:lnTo>
                    <a:pt x="647" y="213"/>
                  </a:lnTo>
                  <a:lnTo>
                    <a:pt x="647" y="211"/>
                  </a:lnTo>
                  <a:lnTo>
                    <a:pt x="649" y="210"/>
                  </a:lnTo>
                  <a:lnTo>
                    <a:pt x="652" y="208"/>
                  </a:lnTo>
                  <a:lnTo>
                    <a:pt x="653" y="207"/>
                  </a:lnTo>
                  <a:lnTo>
                    <a:pt x="655" y="206"/>
                  </a:lnTo>
                  <a:lnTo>
                    <a:pt x="655" y="204"/>
                  </a:lnTo>
                  <a:lnTo>
                    <a:pt x="655" y="203"/>
                  </a:lnTo>
                  <a:lnTo>
                    <a:pt x="656" y="203"/>
                  </a:lnTo>
                  <a:lnTo>
                    <a:pt x="657" y="201"/>
                  </a:lnTo>
                  <a:lnTo>
                    <a:pt x="659" y="201"/>
                  </a:lnTo>
                  <a:lnTo>
                    <a:pt x="662" y="203"/>
                  </a:lnTo>
                  <a:lnTo>
                    <a:pt x="666" y="203"/>
                  </a:lnTo>
                  <a:lnTo>
                    <a:pt x="666" y="203"/>
                  </a:lnTo>
                  <a:lnTo>
                    <a:pt x="670" y="201"/>
                  </a:lnTo>
                  <a:lnTo>
                    <a:pt x="672" y="201"/>
                  </a:lnTo>
                  <a:lnTo>
                    <a:pt x="673" y="201"/>
                  </a:lnTo>
                  <a:lnTo>
                    <a:pt x="676" y="198"/>
                  </a:lnTo>
                  <a:lnTo>
                    <a:pt x="677" y="197"/>
                  </a:lnTo>
                  <a:lnTo>
                    <a:pt x="679" y="196"/>
                  </a:lnTo>
                  <a:lnTo>
                    <a:pt x="680" y="196"/>
                  </a:lnTo>
                  <a:lnTo>
                    <a:pt x="682" y="194"/>
                  </a:lnTo>
                  <a:lnTo>
                    <a:pt x="683" y="193"/>
                  </a:lnTo>
                  <a:lnTo>
                    <a:pt x="683" y="191"/>
                  </a:lnTo>
                  <a:lnTo>
                    <a:pt x="682" y="191"/>
                  </a:lnTo>
                  <a:lnTo>
                    <a:pt x="683" y="188"/>
                  </a:lnTo>
                  <a:lnTo>
                    <a:pt x="685" y="186"/>
                  </a:lnTo>
                  <a:lnTo>
                    <a:pt x="686" y="184"/>
                  </a:lnTo>
                  <a:lnTo>
                    <a:pt x="687" y="183"/>
                  </a:lnTo>
                  <a:lnTo>
                    <a:pt x="687" y="181"/>
                  </a:lnTo>
                  <a:lnTo>
                    <a:pt x="689" y="181"/>
                  </a:lnTo>
                  <a:lnTo>
                    <a:pt x="690" y="181"/>
                  </a:lnTo>
                  <a:lnTo>
                    <a:pt x="692" y="180"/>
                  </a:lnTo>
                  <a:lnTo>
                    <a:pt x="693" y="180"/>
                  </a:lnTo>
                  <a:lnTo>
                    <a:pt x="695" y="180"/>
                  </a:lnTo>
                  <a:lnTo>
                    <a:pt x="697" y="180"/>
                  </a:lnTo>
                  <a:lnTo>
                    <a:pt x="699" y="180"/>
                  </a:lnTo>
                  <a:lnTo>
                    <a:pt x="700" y="180"/>
                  </a:lnTo>
                  <a:lnTo>
                    <a:pt x="700" y="180"/>
                  </a:lnTo>
                  <a:lnTo>
                    <a:pt x="700" y="178"/>
                  </a:lnTo>
                  <a:lnTo>
                    <a:pt x="702" y="176"/>
                  </a:lnTo>
                  <a:lnTo>
                    <a:pt x="702" y="176"/>
                  </a:lnTo>
                  <a:lnTo>
                    <a:pt x="702" y="174"/>
                  </a:lnTo>
                  <a:lnTo>
                    <a:pt x="703" y="174"/>
                  </a:lnTo>
                  <a:lnTo>
                    <a:pt x="705" y="176"/>
                  </a:lnTo>
                  <a:lnTo>
                    <a:pt x="706" y="176"/>
                  </a:lnTo>
                  <a:lnTo>
                    <a:pt x="707" y="176"/>
                  </a:lnTo>
                  <a:lnTo>
                    <a:pt x="707" y="176"/>
                  </a:lnTo>
                  <a:lnTo>
                    <a:pt x="709" y="174"/>
                  </a:lnTo>
                  <a:lnTo>
                    <a:pt x="712" y="173"/>
                  </a:lnTo>
                  <a:lnTo>
                    <a:pt x="713" y="173"/>
                  </a:lnTo>
                  <a:lnTo>
                    <a:pt x="716" y="171"/>
                  </a:lnTo>
                  <a:lnTo>
                    <a:pt x="717" y="171"/>
                  </a:lnTo>
                  <a:lnTo>
                    <a:pt x="720" y="173"/>
                  </a:lnTo>
                  <a:lnTo>
                    <a:pt x="722" y="171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6" y="171"/>
                  </a:lnTo>
                  <a:lnTo>
                    <a:pt x="727" y="173"/>
                  </a:lnTo>
                  <a:lnTo>
                    <a:pt x="730" y="174"/>
                  </a:lnTo>
                  <a:lnTo>
                    <a:pt x="732" y="174"/>
                  </a:lnTo>
                  <a:lnTo>
                    <a:pt x="734" y="174"/>
                  </a:lnTo>
                  <a:lnTo>
                    <a:pt x="737" y="174"/>
                  </a:lnTo>
                  <a:lnTo>
                    <a:pt x="739" y="174"/>
                  </a:lnTo>
                  <a:lnTo>
                    <a:pt x="739" y="174"/>
                  </a:lnTo>
                  <a:lnTo>
                    <a:pt x="740" y="173"/>
                  </a:lnTo>
                  <a:lnTo>
                    <a:pt x="742" y="171"/>
                  </a:lnTo>
                  <a:lnTo>
                    <a:pt x="742" y="170"/>
                  </a:lnTo>
                  <a:lnTo>
                    <a:pt x="742" y="168"/>
                  </a:lnTo>
                  <a:lnTo>
                    <a:pt x="740" y="167"/>
                  </a:lnTo>
                  <a:lnTo>
                    <a:pt x="740" y="166"/>
                  </a:lnTo>
                  <a:lnTo>
                    <a:pt x="739" y="164"/>
                  </a:lnTo>
                  <a:lnTo>
                    <a:pt x="739" y="163"/>
                  </a:lnTo>
                  <a:lnTo>
                    <a:pt x="739" y="161"/>
                  </a:lnTo>
                  <a:lnTo>
                    <a:pt x="736" y="160"/>
                  </a:lnTo>
                  <a:lnTo>
                    <a:pt x="736" y="158"/>
                  </a:lnTo>
                  <a:lnTo>
                    <a:pt x="733" y="156"/>
                  </a:lnTo>
                  <a:lnTo>
                    <a:pt x="732" y="156"/>
                  </a:lnTo>
                  <a:lnTo>
                    <a:pt x="732" y="156"/>
                  </a:lnTo>
                  <a:lnTo>
                    <a:pt x="732" y="154"/>
                  </a:lnTo>
                  <a:lnTo>
                    <a:pt x="730" y="153"/>
                  </a:lnTo>
                  <a:lnTo>
                    <a:pt x="729" y="153"/>
                  </a:lnTo>
                  <a:lnTo>
                    <a:pt x="729" y="151"/>
                  </a:lnTo>
                  <a:lnTo>
                    <a:pt x="729" y="150"/>
                  </a:lnTo>
                  <a:lnTo>
                    <a:pt x="729" y="150"/>
                  </a:lnTo>
                  <a:lnTo>
                    <a:pt x="727" y="148"/>
                  </a:lnTo>
                  <a:lnTo>
                    <a:pt x="726" y="148"/>
                  </a:lnTo>
                  <a:lnTo>
                    <a:pt x="725" y="148"/>
                  </a:lnTo>
                  <a:lnTo>
                    <a:pt x="723" y="147"/>
                  </a:lnTo>
                  <a:lnTo>
                    <a:pt x="722" y="146"/>
                  </a:lnTo>
                  <a:lnTo>
                    <a:pt x="720" y="143"/>
                  </a:lnTo>
                  <a:lnTo>
                    <a:pt x="719" y="141"/>
                  </a:lnTo>
                  <a:lnTo>
                    <a:pt x="715" y="141"/>
                  </a:lnTo>
                  <a:lnTo>
                    <a:pt x="713" y="141"/>
                  </a:lnTo>
                  <a:lnTo>
                    <a:pt x="712" y="141"/>
                  </a:lnTo>
                  <a:lnTo>
                    <a:pt x="710" y="141"/>
                  </a:lnTo>
                  <a:lnTo>
                    <a:pt x="709" y="141"/>
                  </a:lnTo>
                  <a:lnTo>
                    <a:pt x="707" y="141"/>
                  </a:lnTo>
                  <a:lnTo>
                    <a:pt x="706" y="144"/>
                  </a:lnTo>
                  <a:lnTo>
                    <a:pt x="703" y="146"/>
                  </a:lnTo>
                  <a:lnTo>
                    <a:pt x="702" y="147"/>
                  </a:lnTo>
                  <a:lnTo>
                    <a:pt x="702" y="148"/>
                  </a:lnTo>
                  <a:lnTo>
                    <a:pt x="700" y="150"/>
                  </a:lnTo>
                  <a:lnTo>
                    <a:pt x="699" y="150"/>
                  </a:lnTo>
                  <a:lnTo>
                    <a:pt x="697" y="147"/>
                  </a:lnTo>
                  <a:lnTo>
                    <a:pt x="696" y="146"/>
                  </a:lnTo>
                  <a:lnTo>
                    <a:pt x="695" y="146"/>
                  </a:lnTo>
                  <a:lnTo>
                    <a:pt x="693" y="144"/>
                  </a:lnTo>
                  <a:lnTo>
                    <a:pt x="692" y="144"/>
                  </a:lnTo>
                  <a:lnTo>
                    <a:pt x="689" y="144"/>
                  </a:lnTo>
                  <a:lnTo>
                    <a:pt x="687" y="146"/>
                  </a:lnTo>
                  <a:lnTo>
                    <a:pt x="685" y="146"/>
                  </a:lnTo>
                  <a:lnTo>
                    <a:pt x="685" y="144"/>
                  </a:lnTo>
                  <a:lnTo>
                    <a:pt x="683" y="144"/>
                  </a:lnTo>
                  <a:lnTo>
                    <a:pt x="680" y="147"/>
                  </a:lnTo>
                  <a:lnTo>
                    <a:pt x="679" y="148"/>
                  </a:lnTo>
                  <a:lnTo>
                    <a:pt x="677" y="148"/>
                  </a:lnTo>
                  <a:lnTo>
                    <a:pt x="676" y="147"/>
                  </a:lnTo>
                  <a:lnTo>
                    <a:pt x="675" y="146"/>
                  </a:lnTo>
                  <a:lnTo>
                    <a:pt x="673" y="144"/>
                  </a:lnTo>
                  <a:lnTo>
                    <a:pt x="672" y="143"/>
                  </a:lnTo>
                  <a:lnTo>
                    <a:pt x="672" y="138"/>
                  </a:lnTo>
                  <a:lnTo>
                    <a:pt x="673" y="137"/>
                  </a:lnTo>
                  <a:lnTo>
                    <a:pt x="676" y="136"/>
                  </a:lnTo>
                  <a:lnTo>
                    <a:pt x="676" y="133"/>
                  </a:lnTo>
                  <a:lnTo>
                    <a:pt x="676" y="130"/>
                  </a:lnTo>
                  <a:lnTo>
                    <a:pt x="676" y="127"/>
                  </a:lnTo>
                  <a:lnTo>
                    <a:pt x="677" y="124"/>
                  </a:lnTo>
                  <a:lnTo>
                    <a:pt x="679" y="123"/>
                  </a:lnTo>
                  <a:lnTo>
                    <a:pt x="679" y="121"/>
                  </a:lnTo>
                  <a:lnTo>
                    <a:pt x="680" y="118"/>
                  </a:lnTo>
                  <a:lnTo>
                    <a:pt x="682" y="117"/>
                  </a:lnTo>
                  <a:lnTo>
                    <a:pt x="683" y="113"/>
                  </a:lnTo>
                  <a:lnTo>
                    <a:pt x="685" y="107"/>
                  </a:lnTo>
                  <a:lnTo>
                    <a:pt x="689" y="100"/>
                  </a:lnTo>
                  <a:lnTo>
                    <a:pt x="690" y="97"/>
                  </a:lnTo>
                  <a:lnTo>
                    <a:pt x="693" y="98"/>
                  </a:lnTo>
                  <a:lnTo>
                    <a:pt x="695" y="100"/>
                  </a:lnTo>
                  <a:lnTo>
                    <a:pt x="699" y="101"/>
                  </a:lnTo>
                  <a:lnTo>
                    <a:pt x="703" y="103"/>
                  </a:lnTo>
                  <a:lnTo>
                    <a:pt x="706" y="104"/>
                  </a:lnTo>
                  <a:lnTo>
                    <a:pt x="707" y="104"/>
                  </a:lnTo>
                  <a:lnTo>
                    <a:pt x="709" y="104"/>
                  </a:lnTo>
                  <a:lnTo>
                    <a:pt x="713" y="100"/>
                  </a:lnTo>
                  <a:lnTo>
                    <a:pt x="717" y="97"/>
                  </a:lnTo>
                  <a:lnTo>
                    <a:pt x="723" y="94"/>
                  </a:lnTo>
                  <a:lnTo>
                    <a:pt x="726" y="93"/>
                  </a:lnTo>
                  <a:lnTo>
                    <a:pt x="729" y="93"/>
                  </a:lnTo>
                  <a:lnTo>
                    <a:pt x="732" y="91"/>
                  </a:lnTo>
                  <a:lnTo>
                    <a:pt x="732" y="88"/>
                  </a:lnTo>
                  <a:lnTo>
                    <a:pt x="733" y="86"/>
                  </a:lnTo>
                  <a:lnTo>
                    <a:pt x="732" y="84"/>
                  </a:lnTo>
                  <a:lnTo>
                    <a:pt x="730" y="83"/>
                  </a:lnTo>
                  <a:lnTo>
                    <a:pt x="729" y="83"/>
                  </a:lnTo>
                  <a:lnTo>
                    <a:pt x="730" y="81"/>
                  </a:lnTo>
                  <a:lnTo>
                    <a:pt x="730" y="80"/>
                  </a:lnTo>
                  <a:lnTo>
                    <a:pt x="732" y="78"/>
                  </a:lnTo>
                  <a:lnTo>
                    <a:pt x="732" y="77"/>
                  </a:lnTo>
                  <a:lnTo>
                    <a:pt x="734" y="76"/>
                  </a:lnTo>
                  <a:lnTo>
                    <a:pt x="734" y="73"/>
                  </a:lnTo>
                  <a:lnTo>
                    <a:pt x="734" y="71"/>
                  </a:lnTo>
                  <a:lnTo>
                    <a:pt x="736" y="68"/>
                  </a:lnTo>
                  <a:lnTo>
                    <a:pt x="737" y="67"/>
                  </a:lnTo>
                  <a:lnTo>
                    <a:pt x="739" y="64"/>
                  </a:lnTo>
                  <a:lnTo>
                    <a:pt x="739" y="63"/>
                  </a:lnTo>
                  <a:lnTo>
                    <a:pt x="740" y="61"/>
                  </a:lnTo>
                  <a:lnTo>
                    <a:pt x="742" y="57"/>
                  </a:lnTo>
                  <a:lnTo>
                    <a:pt x="744" y="53"/>
                  </a:lnTo>
                  <a:lnTo>
                    <a:pt x="747" y="48"/>
                  </a:lnTo>
                  <a:lnTo>
                    <a:pt x="752" y="46"/>
                  </a:lnTo>
                  <a:lnTo>
                    <a:pt x="754" y="43"/>
                  </a:lnTo>
                  <a:lnTo>
                    <a:pt x="754" y="40"/>
                  </a:lnTo>
                  <a:lnTo>
                    <a:pt x="754" y="37"/>
                  </a:lnTo>
                  <a:lnTo>
                    <a:pt x="753" y="34"/>
                  </a:lnTo>
                  <a:lnTo>
                    <a:pt x="753" y="31"/>
                  </a:lnTo>
                  <a:lnTo>
                    <a:pt x="754" y="29"/>
                  </a:lnTo>
                  <a:lnTo>
                    <a:pt x="753" y="27"/>
                  </a:lnTo>
                  <a:lnTo>
                    <a:pt x="752" y="26"/>
                  </a:lnTo>
                  <a:lnTo>
                    <a:pt x="749" y="26"/>
                  </a:lnTo>
                  <a:lnTo>
                    <a:pt x="746" y="26"/>
                  </a:lnTo>
                  <a:lnTo>
                    <a:pt x="744" y="26"/>
                  </a:lnTo>
                  <a:lnTo>
                    <a:pt x="743" y="23"/>
                  </a:lnTo>
                  <a:lnTo>
                    <a:pt x="744" y="21"/>
                  </a:lnTo>
                  <a:lnTo>
                    <a:pt x="746" y="20"/>
                  </a:lnTo>
                  <a:lnTo>
                    <a:pt x="750" y="16"/>
                  </a:lnTo>
                  <a:lnTo>
                    <a:pt x="754" y="11"/>
                  </a:lnTo>
                  <a:lnTo>
                    <a:pt x="759" y="9"/>
                  </a:lnTo>
                  <a:lnTo>
                    <a:pt x="766" y="7"/>
                  </a:lnTo>
                  <a:lnTo>
                    <a:pt x="770" y="6"/>
                  </a:lnTo>
                  <a:lnTo>
                    <a:pt x="776" y="3"/>
                  </a:lnTo>
                  <a:lnTo>
                    <a:pt x="780" y="3"/>
                  </a:lnTo>
                  <a:lnTo>
                    <a:pt x="782" y="3"/>
                  </a:lnTo>
                  <a:lnTo>
                    <a:pt x="783" y="3"/>
                  </a:lnTo>
                  <a:lnTo>
                    <a:pt x="787" y="3"/>
                  </a:lnTo>
                  <a:lnTo>
                    <a:pt x="790" y="3"/>
                  </a:lnTo>
                  <a:lnTo>
                    <a:pt x="793" y="1"/>
                  </a:lnTo>
                  <a:lnTo>
                    <a:pt x="796" y="0"/>
                  </a:lnTo>
                  <a:lnTo>
                    <a:pt x="797" y="1"/>
                  </a:lnTo>
                  <a:lnTo>
                    <a:pt x="799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186;p3"/>
            <p:cNvSpPr/>
            <p:nvPr/>
          </p:nvSpPr>
          <p:spPr>
            <a:xfrm>
              <a:off x="3064289" y="4248005"/>
              <a:ext cx="136052" cy="167619"/>
            </a:xfrm>
            <a:custGeom>
              <a:rect b="b" l="l" r="r" t="t"/>
              <a:pathLst>
                <a:path extrusionOk="0" h="267" w="194">
                  <a:moveTo>
                    <a:pt x="123" y="8"/>
                  </a:moveTo>
                  <a:lnTo>
                    <a:pt x="123" y="10"/>
                  </a:lnTo>
                  <a:lnTo>
                    <a:pt x="122" y="10"/>
                  </a:lnTo>
                  <a:lnTo>
                    <a:pt x="120" y="10"/>
                  </a:lnTo>
                  <a:lnTo>
                    <a:pt x="117" y="11"/>
                  </a:lnTo>
                  <a:lnTo>
                    <a:pt x="113" y="12"/>
                  </a:lnTo>
                  <a:lnTo>
                    <a:pt x="112" y="12"/>
                  </a:lnTo>
                  <a:lnTo>
                    <a:pt x="109" y="20"/>
                  </a:lnTo>
                  <a:lnTo>
                    <a:pt x="106" y="21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2" y="25"/>
                  </a:lnTo>
                  <a:lnTo>
                    <a:pt x="100" y="27"/>
                  </a:lnTo>
                  <a:lnTo>
                    <a:pt x="99" y="31"/>
                  </a:lnTo>
                  <a:lnTo>
                    <a:pt x="97" y="35"/>
                  </a:lnTo>
                  <a:lnTo>
                    <a:pt x="97" y="38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5" y="47"/>
                  </a:lnTo>
                  <a:lnTo>
                    <a:pt x="93" y="48"/>
                  </a:lnTo>
                  <a:lnTo>
                    <a:pt x="92" y="50"/>
                  </a:lnTo>
                  <a:lnTo>
                    <a:pt x="90" y="51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3" y="52"/>
                  </a:lnTo>
                  <a:lnTo>
                    <a:pt x="95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7" y="52"/>
                  </a:lnTo>
                  <a:lnTo>
                    <a:pt x="97" y="54"/>
                  </a:lnTo>
                  <a:lnTo>
                    <a:pt x="99" y="52"/>
                  </a:lnTo>
                  <a:lnTo>
                    <a:pt x="100" y="54"/>
                  </a:lnTo>
                  <a:lnTo>
                    <a:pt x="100" y="58"/>
                  </a:lnTo>
                  <a:lnTo>
                    <a:pt x="102" y="61"/>
                  </a:lnTo>
                  <a:lnTo>
                    <a:pt x="105" y="64"/>
                  </a:lnTo>
                  <a:lnTo>
                    <a:pt x="106" y="65"/>
                  </a:lnTo>
                  <a:lnTo>
                    <a:pt x="106" y="67"/>
                  </a:lnTo>
                  <a:lnTo>
                    <a:pt x="106" y="68"/>
                  </a:lnTo>
                  <a:lnTo>
                    <a:pt x="107" y="70"/>
                  </a:lnTo>
                  <a:lnTo>
                    <a:pt x="106" y="71"/>
                  </a:lnTo>
                  <a:lnTo>
                    <a:pt x="106" y="72"/>
                  </a:lnTo>
                  <a:lnTo>
                    <a:pt x="105" y="74"/>
                  </a:lnTo>
                  <a:lnTo>
                    <a:pt x="105" y="75"/>
                  </a:lnTo>
                  <a:lnTo>
                    <a:pt x="105" y="78"/>
                  </a:lnTo>
                  <a:lnTo>
                    <a:pt x="105" y="80"/>
                  </a:lnTo>
                  <a:lnTo>
                    <a:pt x="106" y="80"/>
                  </a:lnTo>
                  <a:lnTo>
                    <a:pt x="106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0" y="84"/>
                  </a:lnTo>
                  <a:lnTo>
                    <a:pt x="112" y="85"/>
                  </a:lnTo>
                  <a:lnTo>
                    <a:pt x="112" y="87"/>
                  </a:lnTo>
                  <a:lnTo>
                    <a:pt x="115" y="88"/>
                  </a:lnTo>
                  <a:lnTo>
                    <a:pt x="116" y="87"/>
                  </a:lnTo>
                  <a:lnTo>
                    <a:pt x="119" y="87"/>
                  </a:lnTo>
                  <a:lnTo>
                    <a:pt x="122" y="87"/>
                  </a:lnTo>
                  <a:lnTo>
                    <a:pt x="125" y="88"/>
                  </a:lnTo>
                  <a:lnTo>
                    <a:pt x="126" y="88"/>
                  </a:lnTo>
                  <a:lnTo>
                    <a:pt x="129" y="87"/>
                  </a:lnTo>
                  <a:lnTo>
                    <a:pt x="132" y="87"/>
                  </a:lnTo>
                  <a:lnTo>
                    <a:pt x="133" y="85"/>
                  </a:lnTo>
                  <a:lnTo>
                    <a:pt x="134" y="87"/>
                  </a:lnTo>
                  <a:lnTo>
                    <a:pt x="136" y="87"/>
                  </a:lnTo>
                  <a:lnTo>
                    <a:pt x="137" y="87"/>
                  </a:lnTo>
                  <a:lnTo>
                    <a:pt x="139" y="88"/>
                  </a:lnTo>
                  <a:lnTo>
                    <a:pt x="140" y="88"/>
                  </a:lnTo>
                  <a:lnTo>
                    <a:pt x="142" y="88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6" y="92"/>
                  </a:lnTo>
                  <a:lnTo>
                    <a:pt x="149" y="95"/>
                  </a:lnTo>
                  <a:lnTo>
                    <a:pt x="152" y="98"/>
                  </a:lnTo>
                  <a:lnTo>
                    <a:pt x="153" y="101"/>
                  </a:lnTo>
                  <a:lnTo>
                    <a:pt x="153" y="101"/>
                  </a:lnTo>
                  <a:lnTo>
                    <a:pt x="154" y="101"/>
                  </a:lnTo>
                  <a:lnTo>
                    <a:pt x="156" y="101"/>
                  </a:lnTo>
                  <a:lnTo>
                    <a:pt x="156" y="102"/>
                  </a:lnTo>
                  <a:lnTo>
                    <a:pt x="157" y="101"/>
                  </a:lnTo>
                  <a:lnTo>
                    <a:pt x="159" y="101"/>
                  </a:lnTo>
                  <a:lnTo>
                    <a:pt x="162" y="99"/>
                  </a:lnTo>
                  <a:lnTo>
                    <a:pt x="164" y="101"/>
                  </a:lnTo>
                  <a:lnTo>
                    <a:pt x="169" y="101"/>
                  </a:lnTo>
                  <a:lnTo>
                    <a:pt x="174" y="99"/>
                  </a:lnTo>
                  <a:lnTo>
                    <a:pt x="177" y="99"/>
                  </a:lnTo>
                  <a:lnTo>
                    <a:pt x="179" y="98"/>
                  </a:lnTo>
                  <a:lnTo>
                    <a:pt x="182" y="98"/>
                  </a:lnTo>
                  <a:lnTo>
                    <a:pt x="183" y="99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6" y="102"/>
                  </a:lnTo>
                  <a:lnTo>
                    <a:pt x="184" y="104"/>
                  </a:lnTo>
                  <a:lnTo>
                    <a:pt x="183" y="107"/>
                  </a:lnTo>
                  <a:lnTo>
                    <a:pt x="183" y="108"/>
                  </a:lnTo>
                  <a:lnTo>
                    <a:pt x="182" y="111"/>
                  </a:lnTo>
                  <a:lnTo>
                    <a:pt x="182" y="112"/>
                  </a:lnTo>
                  <a:lnTo>
                    <a:pt x="180" y="114"/>
                  </a:lnTo>
                  <a:lnTo>
                    <a:pt x="179" y="115"/>
                  </a:lnTo>
                  <a:lnTo>
                    <a:pt x="180" y="117"/>
                  </a:lnTo>
                  <a:lnTo>
                    <a:pt x="180" y="121"/>
                  </a:lnTo>
                  <a:lnTo>
                    <a:pt x="179" y="125"/>
                  </a:lnTo>
                  <a:lnTo>
                    <a:pt x="179" y="127"/>
                  </a:lnTo>
                  <a:lnTo>
                    <a:pt x="180" y="128"/>
                  </a:lnTo>
                  <a:lnTo>
                    <a:pt x="180" y="129"/>
                  </a:lnTo>
                  <a:lnTo>
                    <a:pt x="180" y="131"/>
                  </a:lnTo>
                  <a:lnTo>
                    <a:pt x="180" y="132"/>
                  </a:lnTo>
                  <a:lnTo>
                    <a:pt x="180" y="134"/>
                  </a:lnTo>
                  <a:lnTo>
                    <a:pt x="182" y="138"/>
                  </a:lnTo>
                  <a:lnTo>
                    <a:pt x="183" y="139"/>
                  </a:lnTo>
                  <a:lnTo>
                    <a:pt x="183" y="139"/>
                  </a:lnTo>
                  <a:lnTo>
                    <a:pt x="184" y="141"/>
                  </a:lnTo>
                  <a:lnTo>
                    <a:pt x="187" y="144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7" y="147"/>
                  </a:lnTo>
                  <a:lnTo>
                    <a:pt x="184" y="148"/>
                  </a:lnTo>
                  <a:lnTo>
                    <a:pt x="179" y="152"/>
                  </a:lnTo>
                  <a:lnTo>
                    <a:pt x="179" y="154"/>
                  </a:lnTo>
                  <a:lnTo>
                    <a:pt x="179" y="155"/>
                  </a:lnTo>
                  <a:lnTo>
                    <a:pt x="180" y="154"/>
                  </a:lnTo>
                  <a:lnTo>
                    <a:pt x="182" y="154"/>
                  </a:lnTo>
                  <a:lnTo>
                    <a:pt x="183" y="155"/>
                  </a:lnTo>
                  <a:lnTo>
                    <a:pt x="183" y="155"/>
                  </a:lnTo>
                  <a:lnTo>
                    <a:pt x="183" y="157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6" y="158"/>
                  </a:lnTo>
                  <a:lnTo>
                    <a:pt x="187" y="159"/>
                  </a:lnTo>
                  <a:lnTo>
                    <a:pt x="189" y="161"/>
                  </a:lnTo>
                  <a:lnTo>
                    <a:pt x="189" y="161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90" y="165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7"/>
                  </a:lnTo>
                  <a:lnTo>
                    <a:pt x="192" y="168"/>
                  </a:lnTo>
                  <a:lnTo>
                    <a:pt x="192" y="169"/>
                  </a:lnTo>
                  <a:lnTo>
                    <a:pt x="193" y="172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5"/>
                  </a:lnTo>
                  <a:lnTo>
                    <a:pt x="194" y="178"/>
                  </a:lnTo>
                  <a:lnTo>
                    <a:pt x="194" y="178"/>
                  </a:lnTo>
                  <a:lnTo>
                    <a:pt x="194" y="179"/>
                  </a:lnTo>
                  <a:lnTo>
                    <a:pt x="192" y="181"/>
                  </a:lnTo>
                  <a:lnTo>
                    <a:pt x="192" y="179"/>
                  </a:lnTo>
                  <a:lnTo>
                    <a:pt x="192" y="179"/>
                  </a:lnTo>
                  <a:lnTo>
                    <a:pt x="192" y="177"/>
                  </a:lnTo>
                  <a:lnTo>
                    <a:pt x="192" y="174"/>
                  </a:lnTo>
                  <a:lnTo>
                    <a:pt x="190" y="172"/>
                  </a:lnTo>
                  <a:lnTo>
                    <a:pt x="189" y="169"/>
                  </a:lnTo>
                  <a:lnTo>
                    <a:pt x="187" y="167"/>
                  </a:lnTo>
                  <a:lnTo>
                    <a:pt x="187" y="165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3" y="167"/>
                  </a:lnTo>
                  <a:lnTo>
                    <a:pt x="183" y="167"/>
                  </a:lnTo>
                  <a:lnTo>
                    <a:pt x="182" y="168"/>
                  </a:lnTo>
                  <a:lnTo>
                    <a:pt x="180" y="171"/>
                  </a:lnTo>
                  <a:lnTo>
                    <a:pt x="179" y="171"/>
                  </a:lnTo>
                  <a:lnTo>
                    <a:pt x="177" y="171"/>
                  </a:lnTo>
                  <a:lnTo>
                    <a:pt x="177" y="171"/>
                  </a:lnTo>
                  <a:lnTo>
                    <a:pt x="176" y="171"/>
                  </a:lnTo>
                  <a:lnTo>
                    <a:pt x="176" y="169"/>
                  </a:lnTo>
                  <a:lnTo>
                    <a:pt x="174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9"/>
                  </a:lnTo>
                  <a:lnTo>
                    <a:pt x="173" y="171"/>
                  </a:lnTo>
                  <a:lnTo>
                    <a:pt x="173" y="172"/>
                  </a:lnTo>
                  <a:lnTo>
                    <a:pt x="173" y="171"/>
                  </a:lnTo>
                  <a:lnTo>
                    <a:pt x="169" y="171"/>
                  </a:lnTo>
                  <a:lnTo>
                    <a:pt x="166" y="171"/>
                  </a:lnTo>
                  <a:lnTo>
                    <a:pt x="162" y="171"/>
                  </a:lnTo>
                  <a:lnTo>
                    <a:pt x="159" y="171"/>
                  </a:lnTo>
                  <a:lnTo>
                    <a:pt x="156" y="171"/>
                  </a:lnTo>
                  <a:lnTo>
                    <a:pt x="154" y="171"/>
                  </a:lnTo>
                  <a:lnTo>
                    <a:pt x="153" y="171"/>
                  </a:lnTo>
                  <a:lnTo>
                    <a:pt x="152" y="171"/>
                  </a:lnTo>
                  <a:lnTo>
                    <a:pt x="152" y="171"/>
                  </a:lnTo>
                  <a:lnTo>
                    <a:pt x="150" y="171"/>
                  </a:lnTo>
                  <a:lnTo>
                    <a:pt x="149" y="171"/>
                  </a:lnTo>
                  <a:lnTo>
                    <a:pt x="147" y="172"/>
                  </a:lnTo>
                  <a:lnTo>
                    <a:pt x="147" y="172"/>
                  </a:lnTo>
                  <a:lnTo>
                    <a:pt x="147" y="174"/>
                  </a:lnTo>
                  <a:lnTo>
                    <a:pt x="147" y="178"/>
                  </a:lnTo>
                  <a:lnTo>
                    <a:pt x="147" y="182"/>
                  </a:lnTo>
                  <a:lnTo>
                    <a:pt x="147" y="182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50" y="182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4" y="182"/>
                  </a:lnTo>
                  <a:lnTo>
                    <a:pt x="154" y="182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7" y="184"/>
                  </a:lnTo>
                  <a:lnTo>
                    <a:pt x="157" y="185"/>
                  </a:lnTo>
                  <a:lnTo>
                    <a:pt x="157" y="185"/>
                  </a:lnTo>
                  <a:lnTo>
                    <a:pt x="157" y="187"/>
                  </a:lnTo>
                  <a:lnTo>
                    <a:pt x="157" y="187"/>
                  </a:lnTo>
                  <a:lnTo>
                    <a:pt x="157" y="188"/>
                  </a:lnTo>
                  <a:lnTo>
                    <a:pt x="157" y="188"/>
                  </a:lnTo>
                  <a:lnTo>
                    <a:pt x="159" y="188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2" y="188"/>
                  </a:lnTo>
                  <a:lnTo>
                    <a:pt x="152" y="188"/>
                  </a:lnTo>
                  <a:lnTo>
                    <a:pt x="150" y="188"/>
                  </a:lnTo>
                  <a:lnTo>
                    <a:pt x="150" y="188"/>
                  </a:lnTo>
                  <a:lnTo>
                    <a:pt x="150" y="188"/>
                  </a:lnTo>
                  <a:lnTo>
                    <a:pt x="149" y="188"/>
                  </a:lnTo>
                  <a:lnTo>
                    <a:pt x="149" y="189"/>
                  </a:lnTo>
                  <a:lnTo>
                    <a:pt x="147" y="189"/>
                  </a:lnTo>
                  <a:lnTo>
                    <a:pt x="147" y="189"/>
                  </a:lnTo>
                  <a:lnTo>
                    <a:pt x="146" y="189"/>
                  </a:lnTo>
                  <a:lnTo>
                    <a:pt x="144" y="189"/>
                  </a:lnTo>
                  <a:lnTo>
                    <a:pt x="143" y="189"/>
                  </a:lnTo>
                  <a:lnTo>
                    <a:pt x="143" y="192"/>
                  </a:lnTo>
                  <a:lnTo>
                    <a:pt x="143" y="197"/>
                  </a:lnTo>
                  <a:lnTo>
                    <a:pt x="143" y="198"/>
                  </a:lnTo>
                  <a:lnTo>
                    <a:pt x="143" y="201"/>
                  </a:lnTo>
                  <a:lnTo>
                    <a:pt x="144" y="202"/>
                  </a:lnTo>
                  <a:lnTo>
                    <a:pt x="146" y="204"/>
                  </a:lnTo>
                  <a:lnTo>
                    <a:pt x="147" y="205"/>
                  </a:lnTo>
                  <a:lnTo>
                    <a:pt x="149" y="207"/>
                  </a:lnTo>
                  <a:lnTo>
                    <a:pt x="150" y="207"/>
                  </a:lnTo>
                  <a:lnTo>
                    <a:pt x="150" y="207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2" y="209"/>
                  </a:lnTo>
                  <a:lnTo>
                    <a:pt x="150" y="209"/>
                  </a:lnTo>
                  <a:lnTo>
                    <a:pt x="150" y="211"/>
                  </a:lnTo>
                  <a:lnTo>
                    <a:pt x="150" y="211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3" y="214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53" y="217"/>
                  </a:lnTo>
                  <a:lnTo>
                    <a:pt x="153" y="217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9"/>
                  </a:lnTo>
                  <a:lnTo>
                    <a:pt x="153" y="222"/>
                  </a:lnTo>
                  <a:lnTo>
                    <a:pt x="153" y="225"/>
                  </a:lnTo>
                  <a:lnTo>
                    <a:pt x="153" y="227"/>
                  </a:lnTo>
                  <a:lnTo>
                    <a:pt x="152" y="231"/>
                  </a:lnTo>
                  <a:lnTo>
                    <a:pt x="150" y="235"/>
                  </a:lnTo>
                  <a:lnTo>
                    <a:pt x="150" y="241"/>
                  </a:lnTo>
                  <a:lnTo>
                    <a:pt x="149" y="247"/>
                  </a:lnTo>
                  <a:lnTo>
                    <a:pt x="147" y="252"/>
                  </a:lnTo>
                  <a:lnTo>
                    <a:pt x="147" y="258"/>
                  </a:lnTo>
                  <a:lnTo>
                    <a:pt x="146" y="262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lnTo>
                    <a:pt x="143" y="264"/>
                  </a:lnTo>
                  <a:lnTo>
                    <a:pt x="142" y="264"/>
                  </a:lnTo>
                  <a:lnTo>
                    <a:pt x="142" y="262"/>
                  </a:lnTo>
                  <a:lnTo>
                    <a:pt x="140" y="261"/>
                  </a:lnTo>
                  <a:lnTo>
                    <a:pt x="140" y="261"/>
                  </a:lnTo>
                  <a:lnTo>
                    <a:pt x="139" y="259"/>
                  </a:lnTo>
                  <a:lnTo>
                    <a:pt x="139" y="259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6" y="261"/>
                  </a:lnTo>
                  <a:lnTo>
                    <a:pt x="133" y="259"/>
                  </a:lnTo>
                  <a:lnTo>
                    <a:pt x="133" y="259"/>
                  </a:lnTo>
                  <a:lnTo>
                    <a:pt x="134" y="257"/>
                  </a:lnTo>
                  <a:lnTo>
                    <a:pt x="137" y="251"/>
                  </a:lnTo>
                  <a:lnTo>
                    <a:pt x="140" y="248"/>
                  </a:lnTo>
                  <a:lnTo>
                    <a:pt x="142" y="245"/>
                  </a:lnTo>
                  <a:lnTo>
                    <a:pt x="143" y="242"/>
                  </a:lnTo>
                  <a:lnTo>
                    <a:pt x="143" y="242"/>
                  </a:lnTo>
                  <a:lnTo>
                    <a:pt x="143" y="242"/>
                  </a:lnTo>
                  <a:lnTo>
                    <a:pt x="143" y="241"/>
                  </a:lnTo>
                  <a:lnTo>
                    <a:pt x="142" y="241"/>
                  </a:lnTo>
                  <a:lnTo>
                    <a:pt x="140" y="241"/>
                  </a:lnTo>
                  <a:lnTo>
                    <a:pt x="140" y="239"/>
                  </a:lnTo>
                  <a:lnTo>
                    <a:pt x="139" y="239"/>
                  </a:lnTo>
                  <a:lnTo>
                    <a:pt x="137" y="238"/>
                  </a:lnTo>
                  <a:lnTo>
                    <a:pt x="136" y="238"/>
                  </a:lnTo>
                  <a:lnTo>
                    <a:pt x="136" y="238"/>
                  </a:lnTo>
                  <a:lnTo>
                    <a:pt x="134" y="238"/>
                  </a:lnTo>
                  <a:lnTo>
                    <a:pt x="133" y="237"/>
                  </a:lnTo>
                  <a:lnTo>
                    <a:pt x="130" y="234"/>
                  </a:lnTo>
                  <a:lnTo>
                    <a:pt x="129" y="234"/>
                  </a:lnTo>
                  <a:lnTo>
                    <a:pt x="127" y="235"/>
                  </a:lnTo>
                  <a:lnTo>
                    <a:pt x="127" y="235"/>
                  </a:lnTo>
                  <a:lnTo>
                    <a:pt x="126" y="235"/>
                  </a:lnTo>
                  <a:lnTo>
                    <a:pt x="123" y="237"/>
                  </a:lnTo>
                  <a:lnTo>
                    <a:pt x="122" y="237"/>
                  </a:lnTo>
                  <a:lnTo>
                    <a:pt x="122" y="235"/>
                  </a:lnTo>
                  <a:lnTo>
                    <a:pt x="120" y="235"/>
                  </a:lnTo>
                  <a:lnTo>
                    <a:pt x="120" y="235"/>
                  </a:lnTo>
                  <a:lnTo>
                    <a:pt x="117" y="234"/>
                  </a:lnTo>
                  <a:lnTo>
                    <a:pt x="116" y="234"/>
                  </a:lnTo>
                  <a:lnTo>
                    <a:pt x="116" y="234"/>
                  </a:lnTo>
                  <a:lnTo>
                    <a:pt x="115" y="235"/>
                  </a:lnTo>
                  <a:lnTo>
                    <a:pt x="113" y="235"/>
                  </a:lnTo>
                  <a:lnTo>
                    <a:pt x="113" y="237"/>
                  </a:lnTo>
                  <a:lnTo>
                    <a:pt x="112" y="237"/>
                  </a:lnTo>
                  <a:lnTo>
                    <a:pt x="110" y="237"/>
                  </a:lnTo>
                  <a:lnTo>
                    <a:pt x="109" y="237"/>
                  </a:lnTo>
                  <a:lnTo>
                    <a:pt x="107" y="238"/>
                  </a:lnTo>
                  <a:lnTo>
                    <a:pt x="106" y="238"/>
                  </a:lnTo>
                  <a:lnTo>
                    <a:pt x="105" y="237"/>
                  </a:lnTo>
                  <a:lnTo>
                    <a:pt x="103" y="237"/>
                  </a:lnTo>
                  <a:lnTo>
                    <a:pt x="103" y="237"/>
                  </a:lnTo>
                  <a:lnTo>
                    <a:pt x="102" y="237"/>
                  </a:lnTo>
                  <a:lnTo>
                    <a:pt x="102" y="237"/>
                  </a:lnTo>
                  <a:lnTo>
                    <a:pt x="99" y="238"/>
                  </a:lnTo>
                  <a:lnTo>
                    <a:pt x="99" y="238"/>
                  </a:lnTo>
                  <a:lnTo>
                    <a:pt x="97" y="237"/>
                  </a:lnTo>
                  <a:lnTo>
                    <a:pt x="96" y="237"/>
                  </a:lnTo>
                  <a:lnTo>
                    <a:pt x="96" y="235"/>
                  </a:lnTo>
                  <a:lnTo>
                    <a:pt x="95" y="235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5" y="232"/>
                  </a:lnTo>
                  <a:lnTo>
                    <a:pt x="95" y="231"/>
                  </a:lnTo>
                  <a:lnTo>
                    <a:pt x="93" y="229"/>
                  </a:lnTo>
                  <a:lnTo>
                    <a:pt x="93" y="228"/>
                  </a:lnTo>
                  <a:lnTo>
                    <a:pt x="93" y="228"/>
                  </a:lnTo>
                  <a:lnTo>
                    <a:pt x="92" y="227"/>
                  </a:lnTo>
                  <a:lnTo>
                    <a:pt x="90" y="228"/>
                  </a:lnTo>
                  <a:lnTo>
                    <a:pt x="89" y="227"/>
                  </a:lnTo>
                  <a:lnTo>
                    <a:pt x="89" y="227"/>
                  </a:lnTo>
                  <a:lnTo>
                    <a:pt x="87" y="225"/>
                  </a:lnTo>
                  <a:lnTo>
                    <a:pt x="89" y="224"/>
                  </a:lnTo>
                  <a:lnTo>
                    <a:pt x="87" y="222"/>
                  </a:lnTo>
                  <a:lnTo>
                    <a:pt x="87" y="221"/>
                  </a:lnTo>
                  <a:lnTo>
                    <a:pt x="86" y="219"/>
                  </a:lnTo>
                  <a:lnTo>
                    <a:pt x="86" y="219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8"/>
                  </a:lnTo>
                  <a:lnTo>
                    <a:pt x="82" y="217"/>
                  </a:lnTo>
                  <a:lnTo>
                    <a:pt x="80" y="217"/>
                  </a:lnTo>
                  <a:lnTo>
                    <a:pt x="80" y="215"/>
                  </a:lnTo>
                  <a:lnTo>
                    <a:pt x="77" y="215"/>
                  </a:lnTo>
                  <a:lnTo>
                    <a:pt x="76" y="215"/>
                  </a:lnTo>
                  <a:lnTo>
                    <a:pt x="76" y="214"/>
                  </a:lnTo>
                  <a:lnTo>
                    <a:pt x="75" y="212"/>
                  </a:lnTo>
                  <a:lnTo>
                    <a:pt x="75" y="212"/>
                  </a:lnTo>
                  <a:lnTo>
                    <a:pt x="75" y="211"/>
                  </a:lnTo>
                  <a:lnTo>
                    <a:pt x="75" y="209"/>
                  </a:lnTo>
                  <a:lnTo>
                    <a:pt x="73" y="208"/>
                  </a:lnTo>
                  <a:lnTo>
                    <a:pt x="73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0" y="205"/>
                  </a:lnTo>
                  <a:lnTo>
                    <a:pt x="69" y="204"/>
                  </a:lnTo>
                  <a:lnTo>
                    <a:pt x="69" y="204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6" y="202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3" y="201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0" y="199"/>
                  </a:lnTo>
                  <a:lnTo>
                    <a:pt x="60" y="201"/>
                  </a:lnTo>
                  <a:lnTo>
                    <a:pt x="57" y="199"/>
                  </a:lnTo>
                  <a:lnTo>
                    <a:pt x="55" y="198"/>
                  </a:lnTo>
                  <a:lnTo>
                    <a:pt x="52" y="198"/>
                  </a:lnTo>
                  <a:lnTo>
                    <a:pt x="50" y="197"/>
                  </a:lnTo>
                  <a:lnTo>
                    <a:pt x="49" y="195"/>
                  </a:lnTo>
                  <a:lnTo>
                    <a:pt x="47" y="194"/>
                  </a:lnTo>
                  <a:lnTo>
                    <a:pt x="47" y="194"/>
                  </a:lnTo>
                  <a:lnTo>
                    <a:pt x="45" y="192"/>
                  </a:lnTo>
                  <a:lnTo>
                    <a:pt x="43" y="192"/>
                  </a:lnTo>
                  <a:lnTo>
                    <a:pt x="42" y="192"/>
                  </a:lnTo>
                  <a:lnTo>
                    <a:pt x="42" y="192"/>
                  </a:lnTo>
                  <a:lnTo>
                    <a:pt x="42" y="194"/>
                  </a:lnTo>
                  <a:lnTo>
                    <a:pt x="42" y="195"/>
                  </a:lnTo>
                  <a:lnTo>
                    <a:pt x="40" y="195"/>
                  </a:lnTo>
                  <a:lnTo>
                    <a:pt x="39" y="195"/>
                  </a:lnTo>
                  <a:lnTo>
                    <a:pt x="37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5" y="195"/>
                  </a:lnTo>
                  <a:lnTo>
                    <a:pt x="33" y="195"/>
                  </a:lnTo>
                  <a:lnTo>
                    <a:pt x="32" y="194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28" y="194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5" y="189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3" y="188"/>
                  </a:lnTo>
                  <a:lnTo>
                    <a:pt x="22" y="188"/>
                  </a:lnTo>
                  <a:lnTo>
                    <a:pt x="22" y="187"/>
                  </a:lnTo>
                  <a:lnTo>
                    <a:pt x="22" y="185"/>
                  </a:lnTo>
                  <a:lnTo>
                    <a:pt x="19" y="185"/>
                  </a:lnTo>
                  <a:lnTo>
                    <a:pt x="16" y="185"/>
                  </a:lnTo>
                  <a:lnTo>
                    <a:pt x="13" y="184"/>
                  </a:lnTo>
                  <a:lnTo>
                    <a:pt x="12" y="182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6" y="178"/>
                  </a:lnTo>
                  <a:lnTo>
                    <a:pt x="5" y="178"/>
                  </a:lnTo>
                  <a:lnTo>
                    <a:pt x="3" y="177"/>
                  </a:lnTo>
                  <a:lnTo>
                    <a:pt x="3" y="175"/>
                  </a:lnTo>
                  <a:lnTo>
                    <a:pt x="2" y="175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3" y="169"/>
                  </a:lnTo>
                  <a:lnTo>
                    <a:pt x="8" y="171"/>
                  </a:lnTo>
                  <a:lnTo>
                    <a:pt x="8" y="168"/>
                  </a:lnTo>
                  <a:lnTo>
                    <a:pt x="6" y="167"/>
                  </a:lnTo>
                  <a:lnTo>
                    <a:pt x="6" y="162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9" y="159"/>
                  </a:lnTo>
                  <a:lnTo>
                    <a:pt x="10" y="159"/>
                  </a:lnTo>
                  <a:lnTo>
                    <a:pt x="10" y="159"/>
                  </a:lnTo>
                  <a:lnTo>
                    <a:pt x="12" y="159"/>
                  </a:lnTo>
                  <a:lnTo>
                    <a:pt x="15" y="159"/>
                  </a:lnTo>
                  <a:lnTo>
                    <a:pt x="15" y="159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20" y="155"/>
                  </a:lnTo>
                  <a:lnTo>
                    <a:pt x="22" y="154"/>
                  </a:lnTo>
                  <a:lnTo>
                    <a:pt x="22" y="152"/>
                  </a:lnTo>
                  <a:lnTo>
                    <a:pt x="22" y="151"/>
                  </a:lnTo>
                  <a:lnTo>
                    <a:pt x="22" y="151"/>
                  </a:lnTo>
                  <a:lnTo>
                    <a:pt x="22" y="151"/>
                  </a:lnTo>
                  <a:lnTo>
                    <a:pt x="23" y="149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6" y="145"/>
                  </a:lnTo>
                  <a:lnTo>
                    <a:pt x="26" y="145"/>
                  </a:lnTo>
                  <a:lnTo>
                    <a:pt x="28" y="144"/>
                  </a:lnTo>
                  <a:lnTo>
                    <a:pt x="29" y="142"/>
                  </a:lnTo>
                  <a:lnTo>
                    <a:pt x="32" y="137"/>
                  </a:lnTo>
                  <a:lnTo>
                    <a:pt x="30" y="137"/>
                  </a:lnTo>
                  <a:lnTo>
                    <a:pt x="30" y="138"/>
                  </a:lnTo>
                  <a:lnTo>
                    <a:pt x="29" y="138"/>
                  </a:lnTo>
                  <a:lnTo>
                    <a:pt x="28" y="137"/>
                  </a:lnTo>
                  <a:lnTo>
                    <a:pt x="29" y="135"/>
                  </a:lnTo>
                  <a:lnTo>
                    <a:pt x="28" y="134"/>
                  </a:lnTo>
                  <a:lnTo>
                    <a:pt x="26" y="137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2"/>
                  </a:lnTo>
                  <a:lnTo>
                    <a:pt x="26" y="131"/>
                  </a:lnTo>
                  <a:lnTo>
                    <a:pt x="25" y="132"/>
                  </a:lnTo>
                  <a:lnTo>
                    <a:pt x="25" y="131"/>
                  </a:lnTo>
                  <a:lnTo>
                    <a:pt x="25" y="131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8" y="128"/>
                  </a:lnTo>
                  <a:lnTo>
                    <a:pt x="28" y="125"/>
                  </a:lnTo>
                  <a:lnTo>
                    <a:pt x="28" y="124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26" y="118"/>
                  </a:lnTo>
                  <a:lnTo>
                    <a:pt x="26" y="115"/>
                  </a:lnTo>
                  <a:lnTo>
                    <a:pt x="26" y="114"/>
                  </a:lnTo>
                  <a:lnTo>
                    <a:pt x="26" y="112"/>
                  </a:lnTo>
                  <a:lnTo>
                    <a:pt x="23" y="111"/>
                  </a:lnTo>
                  <a:lnTo>
                    <a:pt x="28" y="108"/>
                  </a:lnTo>
                  <a:lnTo>
                    <a:pt x="29" y="107"/>
                  </a:lnTo>
                  <a:lnTo>
                    <a:pt x="28" y="104"/>
                  </a:lnTo>
                  <a:lnTo>
                    <a:pt x="25" y="101"/>
                  </a:lnTo>
                  <a:lnTo>
                    <a:pt x="25" y="98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95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5" y="92"/>
                  </a:lnTo>
                  <a:lnTo>
                    <a:pt x="23" y="89"/>
                  </a:lnTo>
                  <a:lnTo>
                    <a:pt x="22" y="89"/>
                  </a:lnTo>
                  <a:lnTo>
                    <a:pt x="22" y="88"/>
                  </a:lnTo>
                  <a:lnTo>
                    <a:pt x="19" y="85"/>
                  </a:lnTo>
                  <a:lnTo>
                    <a:pt x="18" y="84"/>
                  </a:lnTo>
                  <a:lnTo>
                    <a:pt x="19" y="80"/>
                  </a:lnTo>
                  <a:lnTo>
                    <a:pt x="20" y="80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8" y="74"/>
                  </a:lnTo>
                  <a:lnTo>
                    <a:pt x="28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1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6" y="65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8" y="61"/>
                  </a:lnTo>
                  <a:lnTo>
                    <a:pt x="28" y="64"/>
                  </a:lnTo>
                  <a:lnTo>
                    <a:pt x="30" y="65"/>
                  </a:lnTo>
                  <a:lnTo>
                    <a:pt x="33" y="67"/>
                  </a:lnTo>
                  <a:lnTo>
                    <a:pt x="33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5" y="61"/>
                  </a:lnTo>
                  <a:lnTo>
                    <a:pt x="36" y="61"/>
                  </a:lnTo>
                  <a:lnTo>
                    <a:pt x="37" y="60"/>
                  </a:lnTo>
                  <a:lnTo>
                    <a:pt x="45" y="55"/>
                  </a:lnTo>
                  <a:lnTo>
                    <a:pt x="46" y="51"/>
                  </a:lnTo>
                  <a:lnTo>
                    <a:pt x="47" y="50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5" y="48"/>
                  </a:lnTo>
                  <a:lnTo>
                    <a:pt x="55" y="47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5" y="41"/>
                  </a:lnTo>
                  <a:lnTo>
                    <a:pt x="55" y="40"/>
                  </a:lnTo>
                  <a:lnTo>
                    <a:pt x="55" y="37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5" y="37"/>
                  </a:lnTo>
                  <a:lnTo>
                    <a:pt x="53" y="37"/>
                  </a:lnTo>
                  <a:lnTo>
                    <a:pt x="53" y="35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57" y="30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3" y="25"/>
                  </a:lnTo>
                  <a:lnTo>
                    <a:pt x="66" y="22"/>
                  </a:lnTo>
                  <a:lnTo>
                    <a:pt x="67" y="21"/>
                  </a:lnTo>
                  <a:lnTo>
                    <a:pt x="73" y="22"/>
                  </a:lnTo>
                  <a:lnTo>
                    <a:pt x="75" y="22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3" y="24"/>
                  </a:lnTo>
                  <a:lnTo>
                    <a:pt x="72" y="25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6" y="24"/>
                  </a:lnTo>
                  <a:lnTo>
                    <a:pt x="77" y="21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2" y="18"/>
                  </a:lnTo>
                  <a:lnTo>
                    <a:pt x="83" y="18"/>
                  </a:lnTo>
                  <a:lnTo>
                    <a:pt x="86" y="18"/>
                  </a:lnTo>
                  <a:lnTo>
                    <a:pt x="92" y="18"/>
                  </a:lnTo>
                  <a:lnTo>
                    <a:pt x="100" y="11"/>
                  </a:lnTo>
                  <a:lnTo>
                    <a:pt x="106" y="10"/>
                  </a:lnTo>
                  <a:lnTo>
                    <a:pt x="107" y="8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2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3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5" y="1"/>
                  </a:lnTo>
                  <a:lnTo>
                    <a:pt x="126" y="4"/>
                  </a:lnTo>
                  <a:lnTo>
                    <a:pt x="126" y="5"/>
                  </a:lnTo>
                  <a:lnTo>
                    <a:pt x="125" y="8"/>
                  </a:lnTo>
                  <a:lnTo>
                    <a:pt x="123" y="8"/>
                  </a:lnTo>
                  <a:close/>
                  <a:moveTo>
                    <a:pt x="15" y="158"/>
                  </a:moveTo>
                  <a:lnTo>
                    <a:pt x="15" y="159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3" y="157"/>
                  </a:lnTo>
                  <a:lnTo>
                    <a:pt x="15" y="157"/>
                  </a:lnTo>
                  <a:lnTo>
                    <a:pt x="15" y="158"/>
                  </a:lnTo>
                  <a:lnTo>
                    <a:pt x="15" y="15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187;p3"/>
            <p:cNvSpPr/>
            <p:nvPr/>
          </p:nvSpPr>
          <p:spPr>
            <a:xfrm>
              <a:off x="2986445" y="4260561"/>
              <a:ext cx="37870" cy="31389"/>
            </a:xfrm>
            <a:custGeom>
              <a:rect b="b" l="l" r="r" t="t"/>
              <a:pathLst>
                <a:path extrusionOk="0" h="50" w="54">
                  <a:moveTo>
                    <a:pt x="37" y="4"/>
                  </a:moveTo>
                  <a:lnTo>
                    <a:pt x="37" y="5"/>
                  </a:lnTo>
                  <a:lnTo>
                    <a:pt x="37" y="5"/>
                  </a:lnTo>
                  <a:lnTo>
                    <a:pt x="39" y="7"/>
                  </a:lnTo>
                  <a:lnTo>
                    <a:pt x="40" y="11"/>
                  </a:lnTo>
                  <a:lnTo>
                    <a:pt x="42" y="14"/>
                  </a:lnTo>
                  <a:lnTo>
                    <a:pt x="46" y="18"/>
                  </a:lnTo>
                  <a:lnTo>
                    <a:pt x="47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1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9" y="31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50" y="35"/>
                  </a:lnTo>
                  <a:lnTo>
                    <a:pt x="51" y="35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0" y="38"/>
                  </a:lnTo>
                  <a:lnTo>
                    <a:pt x="49" y="38"/>
                  </a:lnTo>
                  <a:lnTo>
                    <a:pt x="49" y="40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48"/>
                  </a:lnTo>
                  <a:lnTo>
                    <a:pt x="47" y="47"/>
                  </a:lnTo>
                  <a:lnTo>
                    <a:pt x="46" y="45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3" y="41"/>
                  </a:lnTo>
                  <a:lnTo>
                    <a:pt x="42" y="40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3" y="42"/>
                  </a:lnTo>
                  <a:lnTo>
                    <a:pt x="43" y="44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0" y="44"/>
                  </a:lnTo>
                  <a:lnTo>
                    <a:pt x="39" y="44"/>
                  </a:lnTo>
                  <a:lnTo>
                    <a:pt x="37" y="44"/>
                  </a:lnTo>
                  <a:lnTo>
                    <a:pt x="36" y="41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6" y="32"/>
                  </a:lnTo>
                  <a:lnTo>
                    <a:pt x="33" y="31"/>
                  </a:lnTo>
                  <a:lnTo>
                    <a:pt x="29" y="30"/>
                  </a:lnTo>
                  <a:lnTo>
                    <a:pt x="27" y="28"/>
                  </a:lnTo>
                  <a:lnTo>
                    <a:pt x="23" y="27"/>
                  </a:lnTo>
                  <a:lnTo>
                    <a:pt x="22" y="25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2" y="22"/>
                  </a:lnTo>
                  <a:lnTo>
                    <a:pt x="20" y="21"/>
                  </a:lnTo>
                  <a:lnTo>
                    <a:pt x="14" y="17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7"/>
                  </a:lnTo>
                  <a:lnTo>
                    <a:pt x="13" y="18"/>
                  </a:lnTo>
                  <a:lnTo>
                    <a:pt x="16" y="20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0" y="22"/>
                  </a:lnTo>
                  <a:lnTo>
                    <a:pt x="6" y="21"/>
                  </a:lnTo>
                  <a:lnTo>
                    <a:pt x="4" y="20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9" y="1"/>
                  </a:lnTo>
                  <a:lnTo>
                    <a:pt x="13" y="2"/>
                  </a:lnTo>
                  <a:lnTo>
                    <a:pt x="17" y="4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4" y="4"/>
                  </a:lnTo>
                  <a:lnTo>
                    <a:pt x="26" y="2"/>
                  </a:lnTo>
                  <a:lnTo>
                    <a:pt x="27" y="4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7" y="5"/>
                  </a:lnTo>
                  <a:lnTo>
                    <a:pt x="37" y="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188;p3"/>
            <p:cNvSpPr/>
            <p:nvPr/>
          </p:nvSpPr>
          <p:spPr>
            <a:xfrm>
              <a:off x="2998367" y="4135004"/>
              <a:ext cx="121325" cy="35784"/>
            </a:xfrm>
            <a:custGeom>
              <a:rect b="b" l="l" r="r" t="t"/>
              <a:pathLst>
                <a:path extrusionOk="0" h="57" w="173">
                  <a:moveTo>
                    <a:pt x="49" y="0"/>
                  </a:moveTo>
                  <a:lnTo>
                    <a:pt x="53" y="1"/>
                  </a:lnTo>
                  <a:lnTo>
                    <a:pt x="56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7" y="1"/>
                  </a:lnTo>
                  <a:lnTo>
                    <a:pt x="69" y="1"/>
                  </a:lnTo>
                  <a:lnTo>
                    <a:pt x="70" y="3"/>
                  </a:lnTo>
                  <a:lnTo>
                    <a:pt x="72" y="3"/>
                  </a:lnTo>
                  <a:lnTo>
                    <a:pt x="73" y="4"/>
                  </a:lnTo>
                  <a:lnTo>
                    <a:pt x="74" y="4"/>
                  </a:lnTo>
                  <a:lnTo>
                    <a:pt x="76" y="4"/>
                  </a:lnTo>
                  <a:lnTo>
                    <a:pt x="77" y="4"/>
                  </a:lnTo>
                  <a:lnTo>
                    <a:pt x="79" y="4"/>
                  </a:lnTo>
                  <a:lnTo>
                    <a:pt x="80" y="5"/>
                  </a:lnTo>
                  <a:lnTo>
                    <a:pt x="82" y="4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6" y="10"/>
                  </a:lnTo>
                  <a:lnTo>
                    <a:pt x="87" y="11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6" y="13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109" y="18"/>
                  </a:lnTo>
                  <a:lnTo>
                    <a:pt x="110" y="20"/>
                  </a:lnTo>
                  <a:lnTo>
                    <a:pt x="113" y="21"/>
                  </a:lnTo>
                  <a:lnTo>
                    <a:pt x="116" y="23"/>
                  </a:lnTo>
                  <a:lnTo>
                    <a:pt x="117" y="24"/>
                  </a:lnTo>
                  <a:lnTo>
                    <a:pt x="119" y="24"/>
                  </a:lnTo>
                  <a:lnTo>
                    <a:pt x="119" y="23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23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0" y="27"/>
                  </a:lnTo>
                  <a:lnTo>
                    <a:pt x="122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4" y="28"/>
                  </a:lnTo>
                  <a:lnTo>
                    <a:pt x="124" y="27"/>
                  </a:lnTo>
                  <a:lnTo>
                    <a:pt x="127" y="30"/>
                  </a:lnTo>
                  <a:lnTo>
                    <a:pt x="129" y="30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1" y="31"/>
                  </a:lnTo>
                  <a:lnTo>
                    <a:pt x="131" y="33"/>
                  </a:lnTo>
                  <a:lnTo>
                    <a:pt x="133" y="33"/>
                  </a:lnTo>
                  <a:lnTo>
                    <a:pt x="136" y="33"/>
                  </a:lnTo>
                  <a:lnTo>
                    <a:pt x="139" y="33"/>
                  </a:lnTo>
                  <a:lnTo>
                    <a:pt x="141" y="34"/>
                  </a:lnTo>
                  <a:lnTo>
                    <a:pt x="144" y="35"/>
                  </a:lnTo>
                  <a:lnTo>
                    <a:pt x="147" y="35"/>
                  </a:lnTo>
                  <a:lnTo>
                    <a:pt x="149" y="35"/>
                  </a:lnTo>
                  <a:lnTo>
                    <a:pt x="149" y="37"/>
                  </a:lnTo>
                  <a:lnTo>
                    <a:pt x="149" y="38"/>
                  </a:lnTo>
                  <a:lnTo>
                    <a:pt x="147" y="38"/>
                  </a:lnTo>
                  <a:lnTo>
                    <a:pt x="149" y="40"/>
                  </a:lnTo>
                  <a:lnTo>
                    <a:pt x="147" y="40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7" y="41"/>
                  </a:lnTo>
                  <a:lnTo>
                    <a:pt x="149" y="41"/>
                  </a:lnTo>
                  <a:lnTo>
                    <a:pt x="150" y="41"/>
                  </a:lnTo>
                  <a:lnTo>
                    <a:pt x="153" y="43"/>
                  </a:lnTo>
                  <a:lnTo>
                    <a:pt x="154" y="41"/>
                  </a:lnTo>
                  <a:lnTo>
                    <a:pt x="159" y="43"/>
                  </a:lnTo>
                  <a:lnTo>
                    <a:pt x="160" y="43"/>
                  </a:lnTo>
                  <a:lnTo>
                    <a:pt x="163" y="44"/>
                  </a:lnTo>
                  <a:lnTo>
                    <a:pt x="164" y="45"/>
                  </a:lnTo>
                  <a:lnTo>
                    <a:pt x="166" y="47"/>
                  </a:lnTo>
                  <a:lnTo>
                    <a:pt x="169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3" y="50"/>
                  </a:lnTo>
                  <a:lnTo>
                    <a:pt x="171" y="51"/>
                  </a:lnTo>
                  <a:lnTo>
                    <a:pt x="171" y="52"/>
                  </a:lnTo>
                  <a:lnTo>
                    <a:pt x="170" y="52"/>
                  </a:lnTo>
                  <a:lnTo>
                    <a:pt x="167" y="52"/>
                  </a:lnTo>
                  <a:lnTo>
                    <a:pt x="164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59" y="55"/>
                  </a:lnTo>
                  <a:lnTo>
                    <a:pt x="157" y="55"/>
                  </a:lnTo>
                  <a:lnTo>
                    <a:pt x="156" y="55"/>
                  </a:lnTo>
                  <a:lnTo>
                    <a:pt x="156" y="54"/>
                  </a:lnTo>
                  <a:lnTo>
                    <a:pt x="156" y="54"/>
                  </a:lnTo>
                  <a:lnTo>
                    <a:pt x="156" y="54"/>
                  </a:lnTo>
                  <a:lnTo>
                    <a:pt x="154" y="55"/>
                  </a:lnTo>
                  <a:lnTo>
                    <a:pt x="154" y="55"/>
                  </a:lnTo>
                  <a:lnTo>
                    <a:pt x="150" y="55"/>
                  </a:lnTo>
                  <a:lnTo>
                    <a:pt x="147" y="55"/>
                  </a:lnTo>
                  <a:lnTo>
                    <a:pt x="146" y="54"/>
                  </a:lnTo>
                  <a:lnTo>
                    <a:pt x="140" y="54"/>
                  </a:lnTo>
                  <a:lnTo>
                    <a:pt x="139" y="54"/>
                  </a:lnTo>
                  <a:lnTo>
                    <a:pt x="134" y="54"/>
                  </a:lnTo>
                  <a:lnTo>
                    <a:pt x="130" y="55"/>
                  </a:lnTo>
                  <a:lnTo>
                    <a:pt x="129" y="55"/>
                  </a:lnTo>
                  <a:lnTo>
                    <a:pt x="126" y="55"/>
                  </a:lnTo>
                  <a:lnTo>
                    <a:pt x="123" y="55"/>
                  </a:lnTo>
                  <a:lnTo>
                    <a:pt x="119" y="57"/>
                  </a:lnTo>
                  <a:lnTo>
                    <a:pt x="114" y="57"/>
                  </a:lnTo>
                  <a:lnTo>
                    <a:pt x="117" y="52"/>
                  </a:lnTo>
                  <a:lnTo>
                    <a:pt x="123" y="48"/>
                  </a:lnTo>
                  <a:lnTo>
                    <a:pt x="124" y="48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4" y="45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19" y="43"/>
                  </a:lnTo>
                  <a:lnTo>
                    <a:pt x="117" y="43"/>
                  </a:lnTo>
                  <a:lnTo>
                    <a:pt x="113" y="41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06" y="38"/>
                  </a:lnTo>
                  <a:lnTo>
                    <a:pt x="104" y="37"/>
                  </a:lnTo>
                  <a:lnTo>
                    <a:pt x="103" y="37"/>
                  </a:lnTo>
                  <a:lnTo>
                    <a:pt x="103" y="35"/>
                  </a:lnTo>
                  <a:lnTo>
                    <a:pt x="102" y="31"/>
                  </a:lnTo>
                  <a:lnTo>
                    <a:pt x="102" y="30"/>
                  </a:lnTo>
                  <a:lnTo>
                    <a:pt x="100" y="28"/>
                  </a:lnTo>
                  <a:lnTo>
                    <a:pt x="99" y="27"/>
                  </a:lnTo>
                  <a:lnTo>
                    <a:pt x="97" y="27"/>
                  </a:lnTo>
                  <a:lnTo>
                    <a:pt x="92" y="27"/>
                  </a:lnTo>
                  <a:lnTo>
                    <a:pt x="90" y="27"/>
                  </a:lnTo>
                  <a:lnTo>
                    <a:pt x="89" y="27"/>
                  </a:lnTo>
                  <a:lnTo>
                    <a:pt x="80" y="24"/>
                  </a:lnTo>
                  <a:lnTo>
                    <a:pt x="76" y="23"/>
                  </a:lnTo>
                  <a:lnTo>
                    <a:pt x="74" y="23"/>
                  </a:lnTo>
                  <a:lnTo>
                    <a:pt x="73" y="21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59" y="15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7"/>
                  </a:lnTo>
                  <a:lnTo>
                    <a:pt x="49" y="17"/>
                  </a:lnTo>
                  <a:lnTo>
                    <a:pt x="49" y="15"/>
                  </a:lnTo>
                  <a:lnTo>
                    <a:pt x="47" y="15"/>
                  </a:lnTo>
                  <a:lnTo>
                    <a:pt x="44" y="13"/>
                  </a:lnTo>
                  <a:lnTo>
                    <a:pt x="47" y="13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9" y="8"/>
                  </a:lnTo>
                  <a:lnTo>
                    <a:pt x="47" y="8"/>
                  </a:lnTo>
                  <a:lnTo>
                    <a:pt x="34" y="8"/>
                  </a:lnTo>
                  <a:lnTo>
                    <a:pt x="33" y="8"/>
                  </a:lnTo>
                  <a:lnTo>
                    <a:pt x="33" y="10"/>
                  </a:lnTo>
                  <a:lnTo>
                    <a:pt x="30" y="11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3" y="17"/>
                  </a:lnTo>
                  <a:lnTo>
                    <a:pt x="22" y="15"/>
                  </a:lnTo>
                  <a:lnTo>
                    <a:pt x="20" y="15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5" y="18"/>
                  </a:lnTo>
                  <a:lnTo>
                    <a:pt x="15" y="20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0" y="21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7" y="15"/>
                  </a:lnTo>
                  <a:lnTo>
                    <a:pt x="9" y="13"/>
                  </a:lnTo>
                  <a:lnTo>
                    <a:pt x="10" y="11"/>
                  </a:lnTo>
                  <a:lnTo>
                    <a:pt x="12" y="10"/>
                  </a:lnTo>
                  <a:lnTo>
                    <a:pt x="13" y="8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9" y="0"/>
                  </a:lnTo>
                  <a:close/>
                  <a:moveTo>
                    <a:pt x="89" y="8"/>
                  </a:moveTo>
                  <a:lnTo>
                    <a:pt x="89" y="8"/>
                  </a:lnTo>
                  <a:lnTo>
                    <a:pt x="86" y="7"/>
                  </a:lnTo>
                  <a:lnTo>
                    <a:pt x="84" y="7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9" y="8"/>
                  </a:lnTo>
                  <a:lnTo>
                    <a:pt x="89" y="8"/>
                  </a:lnTo>
                  <a:close/>
                  <a:moveTo>
                    <a:pt x="100" y="10"/>
                  </a:moveTo>
                  <a:lnTo>
                    <a:pt x="103" y="11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3" y="11"/>
                  </a:lnTo>
                  <a:lnTo>
                    <a:pt x="102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100" y="10"/>
                  </a:lnTo>
                  <a:close/>
                  <a:moveTo>
                    <a:pt x="110" y="15"/>
                  </a:moveTo>
                  <a:lnTo>
                    <a:pt x="110" y="15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9" y="13"/>
                  </a:lnTo>
                  <a:lnTo>
                    <a:pt x="109" y="14"/>
                  </a:lnTo>
                  <a:lnTo>
                    <a:pt x="110" y="15"/>
                  </a:lnTo>
                  <a:close/>
                  <a:moveTo>
                    <a:pt x="113" y="17"/>
                  </a:moveTo>
                  <a:lnTo>
                    <a:pt x="112" y="18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15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3" y="17"/>
                  </a:lnTo>
                  <a:lnTo>
                    <a:pt x="113" y="17"/>
                  </a:lnTo>
                  <a:close/>
                  <a:moveTo>
                    <a:pt x="116" y="21"/>
                  </a:moveTo>
                  <a:lnTo>
                    <a:pt x="114" y="21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3" y="20"/>
                  </a:lnTo>
                  <a:lnTo>
                    <a:pt x="112" y="20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4" y="18"/>
                  </a:lnTo>
                  <a:lnTo>
                    <a:pt x="116" y="18"/>
                  </a:lnTo>
                  <a:lnTo>
                    <a:pt x="116" y="20"/>
                  </a:lnTo>
                  <a:lnTo>
                    <a:pt x="116" y="21"/>
                  </a:lnTo>
                  <a:close/>
                  <a:moveTo>
                    <a:pt x="37" y="27"/>
                  </a:moveTo>
                  <a:lnTo>
                    <a:pt x="36" y="28"/>
                  </a:lnTo>
                  <a:lnTo>
                    <a:pt x="33" y="30"/>
                  </a:lnTo>
                  <a:lnTo>
                    <a:pt x="30" y="30"/>
                  </a:lnTo>
                  <a:lnTo>
                    <a:pt x="29" y="28"/>
                  </a:lnTo>
                  <a:lnTo>
                    <a:pt x="27" y="2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30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7" y="27"/>
                  </a:lnTo>
                  <a:lnTo>
                    <a:pt x="37" y="2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89;p3"/>
            <p:cNvSpPr/>
            <p:nvPr/>
          </p:nvSpPr>
          <p:spPr>
            <a:xfrm>
              <a:off x="3174393" y="4248633"/>
              <a:ext cx="4909" cy="2511"/>
            </a:xfrm>
            <a:custGeom>
              <a:rect b="b" l="l" r="r" t="t"/>
              <a:pathLst>
                <a:path extrusionOk="0" h="4" w="7">
                  <a:moveTo>
                    <a:pt x="7" y="4"/>
                  </a:moveTo>
                  <a:lnTo>
                    <a:pt x="6" y="4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6" y="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90;p3"/>
            <p:cNvSpPr/>
            <p:nvPr/>
          </p:nvSpPr>
          <p:spPr>
            <a:xfrm>
              <a:off x="4314002" y="3990614"/>
              <a:ext cx="25948" cy="13184"/>
            </a:xfrm>
            <a:custGeom>
              <a:rect b="b" l="l" r="r" t="t"/>
              <a:pathLst>
                <a:path extrusionOk="0" h="21" w="37">
                  <a:moveTo>
                    <a:pt x="36" y="1"/>
                  </a:moveTo>
                  <a:lnTo>
                    <a:pt x="27" y="7"/>
                  </a:lnTo>
                  <a:lnTo>
                    <a:pt x="26" y="8"/>
                  </a:lnTo>
                  <a:lnTo>
                    <a:pt x="27" y="10"/>
                  </a:lnTo>
                  <a:lnTo>
                    <a:pt x="29" y="11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3" y="11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7" y="10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21" y="6"/>
                  </a:lnTo>
                  <a:lnTo>
                    <a:pt x="29" y="4"/>
                  </a:lnTo>
                  <a:lnTo>
                    <a:pt x="31" y="3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7" y="0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191;p3"/>
            <p:cNvSpPr/>
            <p:nvPr/>
          </p:nvSpPr>
          <p:spPr>
            <a:xfrm>
              <a:off x="4088184" y="3777167"/>
              <a:ext cx="75039" cy="37667"/>
            </a:xfrm>
            <a:custGeom>
              <a:rect b="b" l="l" r="r" t="t"/>
              <a:pathLst>
                <a:path extrusionOk="0" h="60" w="107">
                  <a:moveTo>
                    <a:pt x="42" y="4"/>
                  </a:moveTo>
                  <a:lnTo>
                    <a:pt x="44" y="4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0" y="3"/>
                  </a:lnTo>
                  <a:lnTo>
                    <a:pt x="51" y="4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8" y="7"/>
                  </a:lnTo>
                  <a:lnTo>
                    <a:pt x="60" y="9"/>
                  </a:lnTo>
                  <a:lnTo>
                    <a:pt x="61" y="9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2" y="10"/>
                  </a:lnTo>
                  <a:lnTo>
                    <a:pt x="67" y="9"/>
                  </a:lnTo>
                  <a:lnTo>
                    <a:pt x="67" y="10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7"/>
                  </a:lnTo>
                  <a:lnTo>
                    <a:pt x="70" y="20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4" y="23"/>
                  </a:lnTo>
                  <a:lnTo>
                    <a:pt x="74" y="21"/>
                  </a:lnTo>
                  <a:lnTo>
                    <a:pt x="75" y="21"/>
                  </a:lnTo>
                  <a:lnTo>
                    <a:pt x="75" y="20"/>
                  </a:lnTo>
                  <a:lnTo>
                    <a:pt x="78" y="20"/>
                  </a:lnTo>
                  <a:lnTo>
                    <a:pt x="78" y="19"/>
                  </a:lnTo>
                  <a:lnTo>
                    <a:pt x="77" y="17"/>
                  </a:lnTo>
                  <a:lnTo>
                    <a:pt x="75" y="16"/>
                  </a:lnTo>
                  <a:lnTo>
                    <a:pt x="75" y="14"/>
                  </a:lnTo>
                  <a:lnTo>
                    <a:pt x="77" y="16"/>
                  </a:lnTo>
                  <a:lnTo>
                    <a:pt x="80" y="16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90" y="24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7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4" y="31"/>
                  </a:lnTo>
                  <a:lnTo>
                    <a:pt x="107" y="36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105" y="39"/>
                  </a:lnTo>
                  <a:lnTo>
                    <a:pt x="104" y="39"/>
                  </a:lnTo>
                  <a:lnTo>
                    <a:pt x="104" y="39"/>
                  </a:lnTo>
                  <a:lnTo>
                    <a:pt x="102" y="39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7" y="44"/>
                  </a:lnTo>
                  <a:lnTo>
                    <a:pt x="95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9"/>
                  </a:lnTo>
                  <a:lnTo>
                    <a:pt x="94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1" y="51"/>
                  </a:lnTo>
                  <a:lnTo>
                    <a:pt x="90" y="53"/>
                  </a:lnTo>
                  <a:lnTo>
                    <a:pt x="88" y="54"/>
                  </a:lnTo>
                  <a:lnTo>
                    <a:pt x="85" y="54"/>
                  </a:lnTo>
                  <a:lnTo>
                    <a:pt x="82" y="54"/>
                  </a:lnTo>
                  <a:lnTo>
                    <a:pt x="81" y="54"/>
                  </a:lnTo>
                  <a:lnTo>
                    <a:pt x="80" y="54"/>
                  </a:lnTo>
                  <a:lnTo>
                    <a:pt x="78" y="56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4" y="57"/>
                  </a:lnTo>
                  <a:lnTo>
                    <a:pt x="72" y="57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7"/>
                  </a:lnTo>
                  <a:lnTo>
                    <a:pt x="65" y="57"/>
                  </a:lnTo>
                  <a:lnTo>
                    <a:pt x="62" y="56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7" y="54"/>
                  </a:lnTo>
                  <a:lnTo>
                    <a:pt x="55" y="53"/>
                  </a:lnTo>
                  <a:lnTo>
                    <a:pt x="52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4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41" y="60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5" y="60"/>
                  </a:lnTo>
                  <a:lnTo>
                    <a:pt x="32" y="60"/>
                  </a:lnTo>
                  <a:lnTo>
                    <a:pt x="31" y="60"/>
                  </a:lnTo>
                  <a:lnTo>
                    <a:pt x="30" y="57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2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18" y="47"/>
                  </a:lnTo>
                  <a:lnTo>
                    <a:pt x="17" y="47"/>
                  </a:lnTo>
                  <a:lnTo>
                    <a:pt x="15" y="46"/>
                  </a:lnTo>
                  <a:lnTo>
                    <a:pt x="14" y="44"/>
                  </a:lnTo>
                  <a:lnTo>
                    <a:pt x="12" y="41"/>
                  </a:lnTo>
                  <a:lnTo>
                    <a:pt x="11" y="43"/>
                  </a:lnTo>
                  <a:lnTo>
                    <a:pt x="10" y="41"/>
                  </a:lnTo>
                  <a:lnTo>
                    <a:pt x="8" y="40"/>
                  </a:lnTo>
                  <a:lnTo>
                    <a:pt x="8" y="39"/>
                  </a:lnTo>
                  <a:lnTo>
                    <a:pt x="7" y="36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1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4" y="19"/>
                  </a:lnTo>
                  <a:lnTo>
                    <a:pt x="5" y="17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1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7" y="13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5" y="7"/>
                  </a:lnTo>
                  <a:lnTo>
                    <a:pt x="28" y="7"/>
                  </a:lnTo>
                  <a:lnTo>
                    <a:pt x="30" y="6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1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192;p3"/>
            <p:cNvSpPr/>
            <p:nvPr/>
          </p:nvSpPr>
          <p:spPr>
            <a:xfrm>
              <a:off x="4018054" y="3709994"/>
              <a:ext cx="101688" cy="124301"/>
            </a:xfrm>
            <a:custGeom>
              <a:rect b="b" l="l" r="r" t="t"/>
              <a:pathLst>
                <a:path extrusionOk="0" h="198" w="145">
                  <a:moveTo>
                    <a:pt x="38" y="7"/>
                  </a:moveTo>
                  <a:lnTo>
                    <a:pt x="38" y="7"/>
                  </a:lnTo>
                  <a:lnTo>
                    <a:pt x="38" y="4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3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38" y="6"/>
                  </a:lnTo>
                  <a:lnTo>
                    <a:pt x="38" y="7"/>
                  </a:lnTo>
                  <a:close/>
                  <a:moveTo>
                    <a:pt x="61" y="6"/>
                  </a:moveTo>
                  <a:lnTo>
                    <a:pt x="61" y="7"/>
                  </a:lnTo>
                  <a:lnTo>
                    <a:pt x="64" y="7"/>
                  </a:lnTo>
                  <a:lnTo>
                    <a:pt x="65" y="9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71" y="17"/>
                  </a:lnTo>
                  <a:lnTo>
                    <a:pt x="77" y="20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3" y="21"/>
                  </a:lnTo>
                  <a:lnTo>
                    <a:pt x="81" y="24"/>
                  </a:lnTo>
                  <a:lnTo>
                    <a:pt x="78" y="27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3" y="29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3" y="26"/>
                  </a:lnTo>
                  <a:lnTo>
                    <a:pt x="94" y="24"/>
                  </a:lnTo>
                  <a:lnTo>
                    <a:pt x="100" y="24"/>
                  </a:lnTo>
                  <a:lnTo>
                    <a:pt x="100" y="23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7" y="16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5" y="21"/>
                  </a:lnTo>
                  <a:lnTo>
                    <a:pt x="121" y="24"/>
                  </a:lnTo>
                  <a:lnTo>
                    <a:pt x="125" y="24"/>
                  </a:lnTo>
                  <a:lnTo>
                    <a:pt x="127" y="29"/>
                  </a:lnTo>
                  <a:lnTo>
                    <a:pt x="127" y="33"/>
                  </a:lnTo>
                  <a:lnTo>
                    <a:pt x="128" y="34"/>
                  </a:lnTo>
                  <a:lnTo>
                    <a:pt x="130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4" y="41"/>
                  </a:lnTo>
                  <a:lnTo>
                    <a:pt x="137" y="49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5" y="53"/>
                  </a:lnTo>
                  <a:lnTo>
                    <a:pt x="134" y="54"/>
                  </a:lnTo>
                  <a:lnTo>
                    <a:pt x="132" y="56"/>
                  </a:lnTo>
                  <a:lnTo>
                    <a:pt x="132" y="57"/>
                  </a:lnTo>
                  <a:lnTo>
                    <a:pt x="131" y="59"/>
                  </a:lnTo>
                  <a:lnTo>
                    <a:pt x="134" y="61"/>
                  </a:lnTo>
                  <a:lnTo>
                    <a:pt x="138" y="64"/>
                  </a:lnTo>
                  <a:lnTo>
                    <a:pt x="140" y="69"/>
                  </a:lnTo>
                  <a:lnTo>
                    <a:pt x="138" y="70"/>
                  </a:lnTo>
                  <a:lnTo>
                    <a:pt x="138" y="73"/>
                  </a:lnTo>
                  <a:lnTo>
                    <a:pt x="138" y="74"/>
                  </a:lnTo>
                  <a:lnTo>
                    <a:pt x="140" y="74"/>
                  </a:lnTo>
                  <a:lnTo>
                    <a:pt x="141" y="76"/>
                  </a:lnTo>
                  <a:lnTo>
                    <a:pt x="141" y="77"/>
                  </a:lnTo>
                  <a:lnTo>
                    <a:pt x="141" y="79"/>
                  </a:lnTo>
                  <a:lnTo>
                    <a:pt x="141" y="79"/>
                  </a:lnTo>
                  <a:lnTo>
                    <a:pt x="141" y="80"/>
                  </a:lnTo>
                  <a:lnTo>
                    <a:pt x="141" y="80"/>
                  </a:lnTo>
                  <a:lnTo>
                    <a:pt x="141" y="81"/>
                  </a:lnTo>
                  <a:lnTo>
                    <a:pt x="141" y="83"/>
                  </a:lnTo>
                  <a:lnTo>
                    <a:pt x="141" y="84"/>
                  </a:lnTo>
                  <a:lnTo>
                    <a:pt x="140" y="86"/>
                  </a:lnTo>
                  <a:lnTo>
                    <a:pt x="140" y="87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1"/>
                  </a:lnTo>
                  <a:lnTo>
                    <a:pt x="141" y="94"/>
                  </a:lnTo>
                  <a:lnTo>
                    <a:pt x="141" y="94"/>
                  </a:lnTo>
                  <a:lnTo>
                    <a:pt x="144" y="96"/>
                  </a:lnTo>
                  <a:lnTo>
                    <a:pt x="144" y="97"/>
                  </a:lnTo>
                  <a:lnTo>
                    <a:pt x="145" y="98"/>
                  </a:lnTo>
                  <a:lnTo>
                    <a:pt x="145" y="101"/>
                  </a:lnTo>
                  <a:lnTo>
                    <a:pt x="145" y="106"/>
                  </a:lnTo>
                  <a:lnTo>
                    <a:pt x="144" y="107"/>
                  </a:lnTo>
                  <a:lnTo>
                    <a:pt x="142" y="111"/>
                  </a:lnTo>
                  <a:lnTo>
                    <a:pt x="142" y="111"/>
                  </a:lnTo>
                  <a:lnTo>
                    <a:pt x="142" y="111"/>
                  </a:lnTo>
                  <a:lnTo>
                    <a:pt x="142" y="113"/>
                  </a:lnTo>
                  <a:lnTo>
                    <a:pt x="141" y="113"/>
                  </a:lnTo>
                  <a:lnTo>
                    <a:pt x="140" y="111"/>
                  </a:lnTo>
                  <a:lnTo>
                    <a:pt x="140" y="111"/>
                  </a:lnTo>
                  <a:lnTo>
                    <a:pt x="140" y="110"/>
                  </a:lnTo>
                  <a:lnTo>
                    <a:pt x="140" y="110"/>
                  </a:lnTo>
                  <a:lnTo>
                    <a:pt x="138" y="108"/>
                  </a:lnTo>
                  <a:lnTo>
                    <a:pt x="138" y="107"/>
                  </a:lnTo>
                  <a:lnTo>
                    <a:pt x="138" y="107"/>
                  </a:lnTo>
                  <a:lnTo>
                    <a:pt x="135" y="107"/>
                  </a:lnTo>
                  <a:lnTo>
                    <a:pt x="135" y="107"/>
                  </a:lnTo>
                  <a:lnTo>
                    <a:pt x="134" y="107"/>
                  </a:lnTo>
                  <a:lnTo>
                    <a:pt x="134" y="107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2" y="111"/>
                  </a:lnTo>
                  <a:lnTo>
                    <a:pt x="131" y="111"/>
                  </a:lnTo>
                  <a:lnTo>
                    <a:pt x="130" y="113"/>
                  </a:lnTo>
                  <a:lnTo>
                    <a:pt x="128" y="114"/>
                  </a:lnTo>
                  <a:lnTo>
                    <a:pt x="125" y="114"/>
                  </a:lnTo>
                  <a:lnTo>
                    <a:pt x="122" y="116"/>
                  </a:lnTo>
                  <a:lnTo>
                    <a:pt x="122" y="116"/>
                  </a:lnTo>
                  <a:lnTo>
                    <a:pt x="121" y="117"/>
                  </a:lnTo>
                  <a:lnTo>
                    <a:pt x="121" y="117"/>
                  </a:lnTo>
                  <a:lnTo>
                    <a:pt x="120" y="117"/>
                  </a:lnTo>
                  <a:lnTo>
                    <a:pt x="120" y="117"/>
                  </a:lnTo>
                  <a:lnTo>
                    <a:pt x="120" y="117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4" y="120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2" y="123"/>
                  </a:lnTo>
                  <a:lnTo>
                    <a:pt x="111" y="123"/>
                  </a:lnTo>
                  <a:lnTo>
                    <a:pt x="110" y="121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7" y="123"/>
                  </a:lnTo>
                  <a:lnTo>
                    <a:pt x="105" y="124"/>
                  </a:lnTo>
                  <a:lnTo>
                    <a:pt x="104" y="126"/>
                  </a:lnTo>
                  <a:lnTo>
                    <a:pt x="102" y="127"/>
                  </a:lnTo>
                  <a:lnTo>
                    <a:pt x="102" y="128"/>
                  </a:lnTo>
                  <a:lnTo>
                    <a:pt x="101" y="127"/>
                  </a:lnTo>
                  <a:lnTo>
                    <a:pt x="100" y="126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6"/>
                  </a:lnTo>
                  <a:lnTo>
                    <a:pt x="100" y="126"/>
                  </a:lnTo>
                  <a:lnTo>
                    <a:pt x="100" y="127"/>
                  </a:lnTo>
                  <a:lnTo>
                    <a:pt x="100" y="128"/>
                  </a:lnTo>
                  <a:lnTo>
                    <a:pt x="101" y="128"/>
                  </a:lnTo>
                  <a:lnTo>
                    <a:pt x="101" y="130"/>
                  </a:lnTo>
                  <a:lnTo>
                    <a:pt x="102" y="131"/>
                  </a:lnTo>
                  <a:lnTo>
                    <a:pt x="104" y="133"/>
                  </a:lnTo>
                  <a:lnTo>
                    <a:pt x="105" y="134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4" y="138"/>
                  </a:lnTo>
                  <a:lnTo>
                    <a:pt x="104" y="140"/>
                  </a:lnTo>
                  <a:lnTo>
                    <a:pt x="105" y="140"/>
                  </a:lnTo>
                  <a:lnTo>
                    <a:pt x="105" y="141"/>
                  </a:lnTo>
                  <a:lnTo>
                    <a:pt x="107" y="143"/>
                  </a:lnTo>
                  <a:lnTo>
                    <a:pt x="108" y="146"/>
                  </a:lnTo>
                  <a:lnTo>
                    <a:pt x="108" y="147"/>
                  </a:lnTo>
                  <a:lnTo>
                    <a:pt x="110" y="148"/>
                  </a:lnTo>
                  <a:lnTo>
                    <a:pt x="111" y="150"/>
                  </a:lnTo>
                  <a:lnTo>
                    <a:pt x="112" y="148"/>
                  </a:lnTo>
                  <a:lnTo>
                    <a:pt x="114" y="151"/>
                  </a:lnTo>
                  <a:lnTo>
                    <a:pt x="115" y="153"/>
                  </a:lnTo>
                  <a:lnTo>
                    <a:pt x="117" y="154"/>
                  </a:lnTo>
                  <a:lnTo>
                    <a:pt x="118" y="154"/>
                  </a:lnTo>
                  <a:lnTo>
                    <a:pt x="120" y="156"/>
                  </a:lnTo>
                  <a:lnTo>
                    <a:pt x="120" y="157"/>
                  </a:lnTo>
                  <a:lnTo>
                    <a:pt x="120" y="158"/>
                  </a:lnTo>
                  <a:lnTo>
                    <a:pt x="121" y="158"/>
                  </a:lnTo>
                  <a:lnTo>
                    <a:pt x="122" y="158"/>
                  </a:lnTo>
                  <a:lnTo>
                    <a:pt x="124" y="160"/>
                  </a:lnTo>
                  <a:lnTo>
                    <a:pt x="125" y="161"/>
                  </a:lnTo>
                  <a:lnTo>
                    <a:pt x="127" y="163"/>
                  </a:lnTo>
                  <a:lnTo>
                    <a:pt x="127" y="163"/>
                  </a:lnTo>
                  <a:lnTo>
                    <a:pt x="127" y="164"/>
                  </a:lnTo>
                  <a:lnTo>
                    <a:pt x="127" y="167"/>
                  </a:lnTo>
                  <a:lnTo>
                    <a:pt x="127" y="167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4" y="168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8"/>
                  </a:lnTo>
                  <a:lnTo>
                    <a:pt x="120" y="171"/>
                  </a:lnTo>
                  <a:lnTo>
                    <a:pt x="120" y="173"/>
                  </a:lnTo>
                  <a:lnTo>
                    <a:pt x="118" y="173"/>
                  </a:lnTo>
                  <a:lnTo>
                    <a:pt x="117" y="174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2" y="177"/>
                  </a:lnTo>
                  <a:lnTo>
                    <a:pt x="111" y="177"/>
                  </a:lnTo>
                  <a:lnTo>
                    <a:pt x="110" y="178"/>
                  </a:lnTo>
                  <a:lnTo>
                    <a:pt x="110" y="180"/>
                  </a:lnTo>
                  <a:lnTo>
                    <a:pt x="111" y="181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7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14" y="188"/>
                  </a:lnTo>
                  <a:lnTo>
                    <a:pt x="114" y="188"/>
                  </a:lnTo>
                  <a:lnTo>
                    <a:pt x="114" y="190"/>
                  </a:lnTo>
                  <a:lnTo>
                    <a:pt x="114" y="191"/>
                  </a:lnTo>
                  <a:lnTo>
                    <a:pt x="114" y="193"/>
                  </a:lnTo>
                  <a:lnTo>
                    <a:pt x="114" y="194"/>
                  </a:lnTo>
                  <a:lnTo>
                    <a:pt x="112" y="194"/>
                  </a:lnTo>
                  <a:lnTo>
                    <a:pt x="111" y="193"/>
                  </a:lnTo>
                  <a:lnTo>
                    <a:pt x="111" y="193"/>
                  </a:lnTo>
                  <a:lnTo>
                    <a:pt x="110" y="191"/>
                  </a:lnTo>
                  <a:lnTo>
                    <a:pt x="110" y="191"/>
                  </a:lnTo>
                  <a:lnTo>
                    <a:pt x="110" y="191"/>
                  </a:lnTo>
                  <a:lnTo>
                    <a:pt x="110" y="190"/>
                  </a:lnTo>
                  <a:lnTo>
                    <a:pt x="108" y="190"/>
                  </a:lnTo>
                  <a:lnTo>
                    <a:pt x="107" y="190"/>
                  </a:lnTo>
                  <a:lnTo>
                    <a:pt x="105" y="190"/>
                  </a:lnTo>
                  <a:lnTo>
                    <a:pt x="105" y="190"/>
                  </a:lnTo>
                  <a:lnTo>
                    <a:pt x="104" y="190"/>
                  </a:lnTo>
                  <a:lnTo>
                    <a:pt x="104" y="188"/>
                  </a:lnTo>
                  <a:lnTo>
                    <a:pt x="102" y="188"/>
                  </a:lnTo>
                  <a:lnTo>
                    <a:pt x="101" y="188"/>
                  </a:lnTo>
                  <a:lnTo>
                    <a:pt x="101" y="188"/>
                  </a:lnTo>
                  <a:lnTo>
                    <a:pt x="101" y="190"/>
                  </a:lnTo>
                  <a:lnTo>
                    <a:pt x="101" y="190"/>
                  </a:lnTo>
                  <a:lnTo>
                    <a:pt x="93" y="191"/>
                  </a:lnTo>
                  <a:lnTo>
                    <a:pt x="91" y="193"/>
                  </a:lnTo>
                  <a:lnTo>
                    <a:pt x="90" y="193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87" y="196"/>
                  </a:lnTo>
                  <a:lnTo>
                    <a:pt x="85" y="196"/>
                  </a:lnTo>
                  <a:lnTo>
                    <a:pt x="84" y="196"/>
                  </a:lnTo>
                  <a:lnTo>
                    <a:pt x="84" y="196"/>
                  </a:lnTo>
                  <a:lnTo>
                    <a:pt x="83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7" y="193"/>
                  </a:lnTo>
                  <a:lnTo>
                    <a:pt x="75" y="193"/>
                  </a:lnTo>
                  <a:lnTo>
                    <a:pt x="74" y="193"/>
                  </a:lnTo>
                  <a:lnTo>
                    <a:pt x="73" y="193"/>
                  </a:lnTo>
                  <a:lnTo>
                    <a:pt x="73" y="193"/>
                  </a:lnTo>
                  <a:lnTo>
                    <a:pt x="73" y="196"/>
                  </a:lnTo>
                  <a:lnTo>
                    <a:pt x="71" y="197"/>
                  </a:lnTo>
                  <a:lnTo>
                    <a:pt x="71" y="197"/>
                  </a:lnTo>
                  <a:lnTo>
                    <a:pt x="70" y="198"/>
                  </a:lnTo>
                  <a:lnTo>
                    <a:pt x="68" y="198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4"/>
                  </a:lnTo>
                  <a:lnTo>
                    <a:pt x="65" y="194"/>
                  </a:lnTo>
                  <a:lnTo>
                    <a:pt x="65" y="193"/>
                  </a:lnTo>
                  <a:lnTo>
                    <a:pt x="63" y="191"/>
                  </a:lnTo>
                  <a:lnTo>
                    <a:pt x="61" y="191"/>
                  </a:lnTo>
                  <a:lnTo>
                    <a:pt x="61" y="193"/>
                  </a:lnTo>
                  <a:lnTo>
                    <a:pt x="60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5" y="191"/>
                  </a:lnTo>
                  <a:lnTo>
                    <a:pt x="53" y="190"/>
                  </a:lnTo>
                  <a:lnTo>
                    <a:pt x="51" y="190"/>
                  </a:lnTo>
                  <a:lnTo>
                    <a:pt x="48" y="190"/>
                  </a:lnTo>
                  <a:lnTo>
                    <a:pt x="47" y="190"/>
                  </a:lnTo>
                  <a:lnTo>
                    <a:pt x="47" y="188"/>
                  </a:lnTo>
                  <a:lnTo>
                    <a:pt x="47" y="188"/>
                  </a:lnTo>
                  <a:lnTo>
                    <a:pt x="45" y="188"/>
                  </a:lnTo>
                  <a:lnTo>
                    <a:pt x="45" y="188"/>
                  </a:lnTo>
                  <a:lnTo>
                    <a:pt x="45" y="188"/>
                  </a:lnTo>
                  <a:lnTo>
                    <a:pt x="44" y="187"/>
                  </a:lnTo>
                  <a:lnTo>
                    <a:pt x="43" y="187"/>
                  </a:lnTo>
                  <a:lnTo>
                    <a:pt x="41" y="187"/>
                  </a:lnTo>
                  <a:lnTo>
                    <a:pt x="41" y="188"/>
                  </a:lnTo>
                  <a:lnTo>
                    <a:pt x="40" y="188"/>
                  </a:lnTo>
                  <a:lnTo>
                    <a:pt x="40" y="190"/>
                  </a:lnTo>
                  <a:lnTo>
                    <a:pt x="41" y="190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0" y="191"/>
                  </a:lnTo>
                  <a:lnTo>
                    <a:pt x="40" y="191"/>
                  </a:lnTo>
                  <a:lnTo>
                    <a:pt x="38" y="191"/>
                  </a:lnTo>
                  <a:lnTo>
                    <a:pt x="37" y="191"/>
                  </a:lnTo>
                  <a:lnTo>
                    <a:pt x="35" y="191"/>
                  </a:lnTo>
                  <a:lnTo>
                    <a:pt x="33" y="191"/>
                  </a:lnTo>
                  <a:lnTo>
                    <a:pt x="28" y="191"/>
                  </a:lnTo>
                  <a:lnTo>
                    <a:pt x="27" y="191"/>
                  </a:lnTo>
                  <a:lnTo>
                    <a:pt x="27" y="191"/>
                  </a:lnTo>
                  <a:lnTo>
                    <a:pt x="25" y="188"/>
                  </a:lnTo>
                  <a:lnTo>
                    <a:pt x="25" y="187"/>
                  </a:lnTo>
                  <a:lnTo>
                    <a:pt x="27" y="184"/>
                  </a:lnTo>
                  <a:lnTo>
                    <a:pt x="27" y="181"/>
                  </a:lnTo>
                  <a:lnTo>
                    <a:pt x="27" y="180"/>
                  </a:lnTo>
                  <a:lnTo>
                    <a:pt x="27" y="177"/>
                  </a:lnTo>
                  <a:lnTo>
                    <a:pt x="28" y="174"/>
                  </a:lnTo>
                  <a:lnTo>
                    <a:pt x="30" y="171"/>
                  </a:lnTo>
                  <a:lnTo>
                    <a:pt x="30" y="168"/>
                  </a:lnTo>
                  <a:lnTo>
                    <a:pt x="31" y="166"/>
                  </a:lnTo>
                  <a:lnTo>
                    <a:pt x="33" y="164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5" y="158"/>
                  </a:lnTo>
                  <a:lnTo>
                    <a:pt x="35" y="157"/>
                  </a:lnTo>
                  <a:lnTo>
                    <a:pt x="34" y="157"/>
                  </a:lnTo>
                  <a:lnTo>
                    <a:pt x="30" y="156"/>
                  </a:lnTo>
                  <a:lnTo>
                    <a:pt x="27" y="156"/>
                  </a:lnTo>
                  <a:lnTo>
                    <a:pt x="25" y="156"/>
                  </a:lnTo>
                  <a:lnTo>
                    <a:pt x="24" y="154"/>
                  </a:lnTo>
                  <a:lnTo>
                    <a:pt x="24" y="154"/>
                  </a:lnTo>
                  <a:lnTo>
                    <a:pt x="23" y="154"/>
                  </a:lnTo>
                  <a:lnTo>
                    <a:pt x="21" y="154"/>
                  </a:lnTo>
                  <a:lnTo>
                    <a:pt x="20" y="154"/>
                  </a:lnTo>
                  <a:lnTo>
                    <a:pt x="18" y="154"/>
                  </a:lnTo>
                  <a:lnTo>
                    <a:pt x="18" y="154"/>
                  </a:lnTo>
                  <a:lnTo>
                    <a:pt x="18" y="154"/>
                  </a:lnTo>
                  <a:lnTo>
                    <a:pt x="17" y="153"/>
                  </a:lnTo>
                  <a:lnTo>
                    <a:pt x="17" y="153"/>
                  </a:lnTo>
                  <a:lnTo>
                    <a:pt x="15" y="153"/>
                  </a:lnTo>
                  <a:lnTo>
                    <a:pt x="15" y="153"/>
                  </a:lnTo>
                  <a:lnTo>
                    <a:pt x="14" y="153"/>
                  </a:lnTo>
                  <a:lnTo>
                    <a:pt x="14" y="154"/>
                  </a:lnTo>
                  <a:lnTo>
                    <a:pt x="13" y="153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48"/>
                  </a:lnTo>
                  <a:lnTo>
                    <a:pt x="10" y="147"/>
                  </a:lnTo>
                  <a:lnTo>
                    <a:pt x="8" y="147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8" y="141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0" y="138"/>
                  </a:lnTo>
                  <a:lnTo>
                    <a:pt x="10" y="137"/>
                  </a:lnTo>
                  <a:lnTo>
                    <a:pt x="8" y="137"/>
                  </a:lnTo>
                  <a:lnTo>
                    <a:pt x="7" y="137"/>
                  </a:lnTo>
                  <a:lnTo>
                    <a:pt x="5" y="136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3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4" y="128"/>
                  </a:lnTo>
                  <a:lnTo>
                    <a:pt x="4" y="127"/>
                  </a:lnTo>
                  <a:lnTo>
                    <a:pt x="7" y="124"/>
                  </a:lnTo>
                  <a:lnTo>
                    <a:pt x="7" y="123"/>
                  </a:lnTo>
                  <a:lnTo>
                    <a:pt x="7" y="121"/>
                  </a:lnTo>
                  <a:lnTo>
                    <a:pt x="5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8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3" y="116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3" y="110"/>
                  </a:lnTo>
                  <a:lnTo>
                    <a:pt x="1" y="108"/>
                  </a:lnTo>
                  <a:lnTo>
                    <a:pt x="1" y="108"/>
                  </a:lnTo>
                  <a:lnTo>
                    <a:pt x="0" y="108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1" y="106"/>
                  </a:lnTo>
                  <a:lnTo>
                    <a:pt x="4" y="104"/>
                  </a:lnTo>
                  <a:lnTo>
                    <a:pt x="4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1"/>
                  </a:lnTo>
                  <a:lnTo>
                    <a:pt x="4" y="98"/>
                  </a:lnTo>
                  <a:lnTo>
                    <a:pt x="4" y="97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3"/>
                  </a:lnTo>
                  <a:lnTo>
                    <a:pt x="3" y="93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4" y="84"/>
                  </a:lnTo>
                  <a:lnTo>
                    <a:pt x="5" y="86"/>
                  </a:lnTo>
                  <a:lnTo>
                    <a:pt x="7" y="87"/>
                  </a:lnTo>
                  <a:lnTo>
                    <a:pt x="7" y="86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3" y="84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3" y="81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4" y="80"/>
                  </a:lnTo>
                  <a:lnTo>
                    <a:pt x="14" y="79"/>
                  </a:lnTo>
                  <a:lnTo>
                    <a:pt x="15" y="79"/>
                  </a:lnTo>
                  <a:lnTo>
                    <a:pt x="17" y="77"/>
                  </a:lnTo>
                  <a:lnTo>
                    <a:pt x="18" y="74"/>
                  </a:lnTo>
                  <a:lnTo>
                    <a:pt x="18" y="73"/>
                  </a:lnTo>
                  <a:lnTo>
                    <a:pt x="18" y="71"/>
                  </a:lnTo>
                  <a:lnTo>
                    <a:pt x="17" y="71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4" y="66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3"/>
                  </a:lnTo>
                  <a:lnTo>
                    <a:pt x="20" y="59"/>
                  </a:lnTo>
                  <a:lnTo>
                    <a:pt x="20" y="57"/>
                  </a:lnTo>
                  <a:lnTo>
                    <a:pt x="21" y="56"/>
                  </a:lnTo>
                  <a:lnTo>
                    <a:pt x="21" y="50"/>
                  </a:lnTo>
                  <a:lnTo>
                    <a:pt x="21" y="49"/>
                  </a:lnTo>
                  <a:lnTo>
                    <a:pt x="20" y="47"/>
                  </a:lnTo>
                  <a:lnTo>
                    <a:pt x="18" y="46"/>
                  </a:lnTo>
                  <a:lnTo>
                    <a:pt x="18" y="43"/>
                  </a:lnTo>
                  <a:lnTo>
                    <a:pt x="20" y="41"/>
                  </a:lnTo>
                  <a:lnTo>
                    <a:pt x="21" y="39"/>
                  </a:lnTo>
                  <a:lnTo>
                    <a:pt x="23" y="37"/>
                  </a:lnTo>
                  <a:lnTo>
                    <a:pt x="27" y="37"/>
                  </a:lnTo>
                  <a:lnTo>
                    <a:pt x="34" y="37"/>
                  </a:lnTo>
                  <a:lnTo>
                    <a:pt x="35" y="41"/>
                  </a:lnTo>
                  <a:lnTo>
                    <a:pt x="35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1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6"/>
                  </a:lnTo>
                  <a:lnTo>
                    <a:pt x="43" y="41"/>
                  </a:lnTo>
                  <a:lnTo>
                    <a:pt x="41" y="37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4" y="31"/>
                  </a:lnTo>
                  <a:lnTo>
                    <a:pt x="48" y="33"/>
                  </a:lnTo>
                  <a:lnTo>
                    <a:pt x="53" y="33"/>
                  </a:lnTo>
                  <a:lnTo>
                    <a:pt x="54" y="34"/>
                  </a:lnTo>
                  <a:lnTo>
                    <a:pt x="58" y="40"/>
                  </a:lnTo>
                  <a:lnTo>
                    <a:pt x="60" y="40"/>
                  </a:lnTo>
                  <a:lnTo>
                    <a:pt x="63" y="41"/>
                  </a:lnTo>
                  <a:lnTo>
                    <a:pt x="60" y="40"/>
                  </a:lnTo>
                  <a:lnTo>
                    <a:pt x="54" y="33"/>
                  </a:lnTo>
                  <a:lnTo>
                    <a:pt x="53" y="31"/>
                  </a:lnTo>
                  <a:lnTo>
                    <a:pt x="51" y="31"/>
                  </a:lnTo>
                  <a:lnTo>
                    <a:pt x="50" y="31"/>
                  </a:lnTo>
                  <a:lnTo>
                    <a:pt x="48" y="30"/>
                  </a:lnTo>
                  <a:lnTo>
                    <a:pt x="48" y="29"/>
                  </a:lnTo>
                  <a:lnTo>
                    <a:pt x="48" y="21"/>
                  </a:lnTo>
                  <a:lnTo>
                    <a:pt x="47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7" y="17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8" y="13"/>
                  </a:lnTo>
                  <a:lnTo>
                    <a:pt x="45" y="10"/>
                  </a:lnTo>
                  <a:lnTo>
                    <a:pt x="44" y="7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53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close/>
                  <a:moveTo>
                    <a:pt x="43" y="9"/>
                  </a:moveTo>
                  <a:lnTo>
                    <a:pt x="43" y="10"/>
                  </a:lnTo>
                  <a:lnTo>
                    <a:pt x="41" y="10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9"/>
                  </a:lnTo>
                  <a:lnTo>
                    <a:pt x="43" y="9"/>
                  </a:lnTo>
                  <a:close/>
                  <a:moveTo>
                    <a:pt x="125" y="19"/>
                  </a:moveTo>
                  <a:lnTo>
                    <a:pt x="125" y="20"/>
                  </a:lnTo>
                  <a:lnTo>
                    <a:pt x="125" y="21"/>
                  </a:lnTo>
                  <a:lnTo>
                    <a:pt x="122" y="20"/>
                  </a:lnTo>
                  <a:lnTo>
                    <a:pt x="121" y="20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7" y="20"/>
                  </a:lnTo>
                  <a:lnTo>
                    <a:pt x="117" y="19"/>
                  </a:lnTo>
                  <a:lnTo>
                    <a:pt x="115" y="17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3"/>
                  </a:lnTo>
                  <a:lnTo>
                    <a:pt x="117" y="11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4"/>
                  </a:lnTo>
                  <a:lnTo>
                    <a:pt x="124" y="16"/>
                  </a:lnTo>
                  <a:lnTo>
                    <a:pt x="122" y="16"/>
                  </a:lnTo>
                  <a:lnTo>
                    <a:pt x="124" y="17"/>
                  </a:lnTo>
                  <a:lnTo>
                    <a:pt x="125" y="19"/>
                  </a:lnTo>
                  <a:close/>
                  <a:moveTo>
                    <a:pt x="85" y="17"/>
                  </a:moveTo>
                  <a:lnTo>
                    <a:pt x="84" y="17"/>
                  </a:lnTo>
                  <a:lnTo>
                    <a:pt x="83" y="16"/>
                  </a:lnTo>
                  <a:lnTo>
                    <a:pt x="81" y="16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5" y="14"/>
                  </a:lnTo>
                  <a:lnTo>
                    <a:pt x="85" y="17"/>
                  </a:lnTo>
                  <a:lnTo>
                    <a:pt x="85" y="17"/>
                  </a:lnTo>
                  <a:close/>
                  <a:moveTo>
                    <a:pt x="132" y="30"/>
                  </a:moveTo>
                  <a:lnTo>
                    <a:pt x="132" y="31"/>
                  </a:lnTo>
                  <a:lnTo>
                    <a:pt x="132" y="33"/>
                  </a:lnTo>
                  <a:lnTo>
                    <a:pt x="132" y="31"/>
                  </a:lnTo>
                  <a:lnTo>
                    <a:pt x="131" y="33"/>
                  </a:lnTo>
                  <a:lnTo>
                    <a:pt x="128" y="31"/>
                  </a:lnTo>
                  <a:lnTo>
                    <a:pt x="128" y="30"/>
                  </a:lnTo>
                  <a:lnTo>
                    <a:pt x="128" y="29"/>
                  </a:lnTo>
                  <a:lnTo>
                    <a:pt x="128" y="27"/>
                  </a:lnTo>
                  <a:lnTo>
                    <a:pt x="127" y="27"/>
                  </a:lnTo>
                  <a:lnTo>
                    <a:pt x="127" y="26"/>
                  </a:lnTo>
                  <a:lnTo>
                    <a:pt x="127" y="26"/>
                  </a:lnTo>
                  <a:lnTo>
                    <a:pt x="130" y="27"/>
                  </a:lnTo>
                  <a:lnTo>
                    <a:pt x="132" y="3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193;p3"/>
            <p:cNvSpPr/>
            <p:nvPr/>
          </p:nvSpPr>
          <p:spPr>
            <a:xfrm>
              <a:off x="4421300" y="4244867"/>
              <a:ext cx="17533" cy="18206"/>
            </a:xfrm>
            <a:custGeom>
              <a:rect b="b" l="l" r="r" t="t"/>
              <a:pathLst>
                <a:path extrusionOk="0" h="29" w="25">
                  <a:moveTo>
                    <a:pt x="22" y="20"/>
                  </a:moveTo>
                  <a:lnTo>
                    <a:pt x="21" y="22"/>
                  </a:lnTo>
                  <a:lnTo>
                    <a:pt x="20" y="25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5" y="27"/>
                  </a:lnTo>
                  <a:lnTo>
                    <a:pt x="4" y="29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5" y="9"/>
                  </a:lnTo>
                  <a:lnTo>
                    <a:pt x="7" y="6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5"/>
                  </a:lnTo>
                  <a:lnTo>
                    <a:pt x="15" y="16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Google Shape;194;p3"/>
            <p:cNvSpPr/>
            <p:nvPr/>
          </p:nvSpPr>
          <p:spPr>
            <a:xfrm>
              <a:off x="4042600" y="3660399"/>
              <a:ext cx="79247" cy="56501"/>
            </a:xfrm>
            <a:custGeom>
              <a:rect b="b" l="l" r="r" t="t"/>
              <a:pathLst>
                <a:path extrusionOk="0" h="90" w="113">
                  <a:moveTo>
                    <a:pt x="26" y="85"/>
                  </a:moveTo>
                  <a:lnTo>
                    <a:pt x="26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2" y="85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8" y="85"/>
                  </a:lnTo>
                  <a:lnTo>
                    <a:pt x="13" y="83"/>
                  </a:lnTo>
                  <a:lnTo>
                    <a:pt x="12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79"/>
                  </a:lnTo>
                  <a:lnTo>
                    <a:pt x="8" y="76"/>
                  </a:lnTo>
                  <a:lnTo>
                    <a:pt x="9" y="76"/>
                  </a:lnTo>
                  <a:lnTo>
                    <a:pt x="9" y="70"/>
                  </a:lnTo>
                  <a:lnTo>
                    <a:pt x="9" y="69"/>
                  </a:lnTo>
                  <a:lnTo>
                    <a:pt x="3" y="66"/>
                  </a:lnTo>
                  <a:lnTo>
                    <a:pt x="0" y="63"/>
                  </a:lnTo>
                  <a:lnTo>
                    <a:pt x="2" y="55"/>
                  </a:lnTo>
                  <a:lnTo>
                    <a:pt x="2" y="52"/>
                  </a:lnTo>
                  <a:lnTo>
                    <a:pt x="0" y="48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9" y="38"/>
                  </a:lnTo>
                  <a:lnTo>
                    <a:pt x="10" y="36"/>
                  </a:lnTo>
                  <a:lnTo>
                    <a:pt x="10" y="33"/>
                  </a:lnTo>
                  <a:lnTo>
                    <a:pt x="13" y="30"/>
                  </a:lnTo>
                  <a:lnTo>
                    <a:pt x="15" y="29"/>
                  </a:lnTo>
                  <a:lnTo>
                    <a:pt x="16" y="29"/>
                  </a:lnTo>
                  <a:lnTo>
                    <a:pt x="16" y="30"/>
                  </a:lnTo>
                  <a:lnTo>
                    <a:pt x="18" y="32"/>
                  </a:lnTo>
                  <a:lnTo>
                    <a:pt x="18" y="29"/>
                  </a:lnTo>
                  <a:lnTo>
                    <a:pt x="19" y="23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2" y="26"/>
                  </a:lnTo>
                  <a:lnTo>
                    <a:pt x="10" y="30"/>
                  </a:lnTo>
                  <a:lnTo>
                    <a:pt x="8" y="32"/>
                  </a:lnTo>
                  <a:lnTo>
                    <a:pt x="6" y="33"/>
                  </a:lnTo>
                  <a:lnTo>
                    <a:pt x="5" y="32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5" y="23"/>
                  </a:lnTo>
                  <a:lnTo>
                    <a:pt x="9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5" y="19"/>
                  </a:lnTo>
                  <a:lnTo>
                    <a:pt x="19" y="19"/>
                  </a:lnTo>
                  <a:lnTo>
                    <a:pt x="22" y="18"/>
                  </a:lnTo>
                  <a:lnTo>
                    <a:pt x="23" y="16"/>
                  </a:lnTo>
                  <a:lnTo>
                    <a:pt x="28" y="9"/>
                  </a:lnTo>
                  <a:lnTo>
                    <a:pt x="30" y="6"/>
                  </a:lnTo>
                  <a:lnTo>
                    <a:pt x="35" y="5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38" y="3"/>
                  </a:lnTo>
                  <a:lnTo>
                    <a:pt x="38" y="5"/>
                  </a:lnTo>
                  <a:lnTo>
                    <a:pt x="38" y="6"/>
                  </a:lnTo>
                  <a:lnTo>
                    <a:pt x="39" y="9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8" y="18"/>
                  </a:lnTo>
                  <a:lnTo>
                    <a:pt x="36" y="22"/>
                  </a:lnTo>
                  <a:lnTo>
                    <a:pt x="35" y="23"/>
                  </a:lnTo>
                  <a:lnTo>
                    <a:pt x="35" y="28"/>
                  </a:lnTo>
                  <a:lnTo>
                    <a:pt x="35" y="29"/>
                  </a:lnTo>
                  <a:lnTo>
                    <a:pt x="35" y="35"/>
                  </a:lnTo>
                  <a:lnTo>
                    <a:pt x="36" y="36"/>
                  </a:lnTo>
                  <a:lnTo>
                    <a:pt x="39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5" y="43"/>
                  </a:lnTo>
                  <a:lnTo>
                    <a:pt x="43" y="45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8" y="43"/>
                  </a:lnTo>
                  <a:lnTo>
                    <a:pt x="36" y="45"/>
                  </a:lnTo>
                  <a:lnTo>
                    <a:pt x="36" y="46"/>
                  </a:lnTo>
                  <a:lnTo>
                    <a:pt x="35" y="52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29" y="56"/>
                  </a:lnTo>
                  <a:lnTo>
                    <a:pt x="30" y="58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29" y="60"/>
                  </a:lnTo>
                  <a:lnTo>
                    <a:pt x="28" y="62"/>
                  </a:lnTo>
                  <a:lnTo>
                    <a:pt x="28" y="63"/>
                  </a:lnTo>
                  <a:lnTo>
                    <a:pt x="25" y="65"/>
                  </a:lnTo>
                  <a:lnTo>
                    <a:pt x="23" y="66"/>
                  </a:lnTo>
                  <a:lnTo>
                    <a:pt x="25" y="69"/>
                  </a:lnTo>
                  <a:lnTo>
                    <a:pt x="25" y="70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8"/>
                  </a:lnTo>
                  <a:lnTo>
                    <a:pt x="22" y="79"/>
                  </a:lnTo>
                  <a:lnTo>
                    <a:pt x="23" y="79"/>
                  </a:lnTo>
                  <a:lnTo>
                    <a:pt x="25" y="79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2"/>
                  </a:lnTo>
                  <a:lnTo>
                    <a:pt x="26" y="85"/>
                  </a:lnTo>
                  <a:close/>
                  <a:moveTo>
                    <a:pt x="48" y="16"/>
                  </a:moveTo>
                  <a:lnTo>
                    <a:pt x="46" y="16"/>
                  </a:lnTo>
                  <a:lnTo>
                    <a:pt x="45" y="15"/>
                  </a:lnTo>
                  <a:lnTo>
                    <a:pt x="46" y="13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48" y="15"/>
                  </a:lnTo>
                  <a:lnTo>
                    <a:pt x="48" y="16"/>
                  </a:lnTo>
                  <a:close/>
                  <a:moveTo>
                    <a:pt x="72" y="58"/>
                  </a:moveTo>
                  <a:lnTo>
                    <a:pt x="72" y="60"/>
                  </a:lnTo>
                  <a:lnTo>
                    <a:pt x="72" y="62"/>
                  </a:lnTo>
                  <a:lnTo>
                    <a:pt x="70" y="62"/>
                  </a:lnTo>
                  <a:lnTo>
                    <a:pt x="69" y="63"/>
                  </a:lnTo>
                  <a:lnTo>
                    <a:pt x="67" y="63"/>
                  </a:lnTo>
                  <a:lnTo>
                    <a:pt x="66" y="65"/>
                  </a:lnTo>
                  <a:lnTo>
                    <a:pt x="66" y="68"/>
                  </a:lnTo>
                  <a:lnTo>
                    <a:pt x="67" y="69"/>
                  </a:lnTo>
                  <a:lnTo>
                    <a:pt x="69" y="69"/>
                  </a:lnTo>
                  <a:lnTo>
                    <a:pt x="69" y="72"/>
                  </a:lnTo>
                  <a:lnTo>
                    <a:pt x="67" y="73"/>
                  </a:lnTo>
                  <a:lnTo>
                    <a:pt x="65" y="75"/>
                  </a:lnTo>
                  <a:lnTo>
                    <a:pt x="63" y="78"/>
                  </a:lnTo>
                  <a:lnTo>
                    <a:pt x="63" y="80"/>
                  </a:lnTo>
                  <a:lnTo>
                    <a:pt x="63" y="83"/>
                  </a:lnTo>
                  <a:lnTo>
                    <a:pt x="63" y="85"/>
                  </a:lnTo>
                  <a:lnTo>
                    <a:pt x="60" y="86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8" y="78"/>
                  </a:lnTo>
                  <a:lnTo>
                    <a:pt x="58" y="75"/>
                  </a:lnTo>
                  <a:lnTo>
                    <a:pt x="55" y="75"/>
                  </a:lnTo>
                  <a:lnTo>
                    <a:pt x="53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49" y="70"/>
                  </a:lnTo>
                  <a:lnTo>
                    <a:pt x="49" y="68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63"/>
                  </a:lnTo>
                  <a:lnTo>
                    <a:pt x="48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8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2" y="59"/>
                  </a:lnTo>
                  <a:lnTo>
                    <a:pt x="55" y="55"/>
                  </a:lnTo>
                  <a:lnTo>
                    <a:pt x="53" y="55"/>
                  </a:lnTo>
                  <a:lnTo>
                    <a:pt x="55" y="53"/>
                  </a:lnTo>
                  <a:lnTo>
                    <a:pt x="56" y="53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8" y="59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0" y="53"/>
                  </a:lnTo>
                  <a:lnTo>
                    <a:pt x="63" y="50"/>
                  </a:lnTo>
                  <a:lnTo>
                    <a:pt x="66" y="49"/>
                  </a:lnTo>
                  <a:lnTo>
                    <a:pt x="67" y="49"/>
                  </a:lnTo>
                  <a:lnTo>
                    <a:pt x="69" y="49"/>
                  </a:lnTo>
                  <a:lnTo>
                    <a:pt x="70" y="49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3"/>
                  </a:lnTo>
                  <a:lnTo>
                    <a:pt x="70" y="55"/>
                  </a:lnTo>
                  <a:lnTo>
                    <a:pt x="72" y="58"/>
                  </a:lnTo>
                  <a:close/>
                  <a:moveTo>
                    <a:pt x="40" y="58"/>
                  </a:moveTo>
                  <a:lnTo>
                    <a:pt x="40" y="59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8"/>
                  </a:lnTo>
                  <a:close/>
                  <a:moveTo>
                    <a:pt x="73" y="63"/>
                  </a:moveTo>
                  <a:lnTo>
                    <a:pt x="72" y="65"/>
                  </a:lnTo>
                  <a:lnTo>
                    <a:pt x="72" y="65"/>
                  </a:lnTo>
                  <a:lnTo>
                    <a:pt x="70" y="63"/>
                  </a:lnTo>
                  <a:lnTo>
                    <a:pt x="72" y="6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3" y="62"/>
                  </a:lnTo>
                  <a:lnTo>
                    <a:pt x="73" y="63"/>
                  </a:lnTo>
                  <a:close/>
                  <a:moveTo>
                    <a:pt x="40" y="63"/>
                  </a:moveTo>
                  <a:lnTo>
                    <a:pt x="42" y="65"/>
                  </a:lnTo>
                  <a:lnTo>
                    <a:pt x="42" y="68"/>
                  </a:lnTo>
                  <a:lnTo>
                    <a:pt x="43" y="70"/>
                  </a:lnTo>
                  <a:lnTo>
                    <a:pt x="43" y="73"/>
                  </a:lnTo>
                  <a:lnTo>
                    <a:pt x="43" y="75"/>
                  </a:lnTo>
                  <a:lnTo>
                    <a:pt x="43" y="76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5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9" y="73"/>
                  </a:lnTo>
                  <a:lnTo>
                    <a:pt x="28" y="70"/>
                  </a:lnTo>
                  <a:lnTo>
                    <a:pt x="28" y="66"/>
                  </a:lnTo>
                  <a:lnTo>
                    <a:pt x="30" y="65"/>
                  </a:lnTo>
                  <a:lnTo>
                    <a:pt x="35" y="63"/>
                  </a:lnTo>
                  <a:lnTo>
                    <a:pt x="36" y="63"/>
                  </a:lnTo>
                  <a:lnTo>
                    <a:pt x="38" y="65"/>
                  </a:lnTo>
                  <a:lnTo>
                    <a:pt x="39" y="65"/>
                  </a:lnTo>
                  <a:lnTo>
                    <a:pt x="40" y="63"/>
                  </a:lnTo>
                  <a:lnTo>
                    <a:pt x="40" y="63"/>
                  </a:lnTo>
                  <a:close/>
                  <a:moveTo>
                    <a:pt x="112" y="79"/>
                  </a:moveTo>
                  <a:lnTo>
                    <a:pt x="112" y="80"/>
                  </a:lnTo>
                  <a:lnTo>
                    <a:pt x="109" y="79"/>
                  </a:lnTo>
                  <a:lnTo>
                    <a:pt x="106" y="78"/>
                  </a:lnTo>
                  <a:lnTo>
                    <a:pt x="106" y="73"/>
                  </a:lnTo>
                  <a:lnTo>
                    <a:pt x="107" y="72"/>
                  </a:lnTo>
                  <a:lnTo>
                    <a:pt x="113" y="76"/>
                  </a:lnTo>
                  <a:lnTo>
                    <a:pt x="113" y="78"/>
                  </a:lnTo>
                  <a:lnTo>
                    <a:pt x="112" y="79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2" y="83"/>
                  </a:lnTo>
                  <a:lnTo>
                    <a:pt x="42" y="82"/>
                  </a:lnTo>
                  <a:lnTo>
                    <a:pt x="45" y="79"/>
                  </a:lnTo>
                  <a:lnTo>
                    <a:pt x="45" y="76"/>
                  </a:lnTo>
                  <a:lnTo>
                    <a:pt x="46" y="76"/>
                  </a:lnTo>
                  <a:lnTo>
                    <a:pt x="45" y="79"/>
                  </a:lnTo>
                  <a:lnTo>
                    <a:pt x="43" y="86"/>
                  </a:lnTo>
                  <a:lnTo>
                    <a:pt x="42" y="88"/>
                  </a:lnTo>
                  <a:close/>
                  <a:moveTo>
                    <a:pt x="32" y="83"/>
                  </a:moveTo>
                  <a:lnTo>
                    <a:pt x="30" y="83"/>
                  </a:lnTo>
                  <a:lnTo>
                    <a:pt x="29" y="83"/>
                  </a:lnTo>
                  <a:lnTo>
                    <a:pt x="28" y="83"/>
                  </a:lnTo>
                  <a:lnTo>
                    <a:pt x="26" y="79"/>
                  </a:lnTo>
                  <a:lnTo>
                    <a:pt x="28" y="78"/>
                  </a:lnTo>
                  <a:lnTo>
                    <a:pt x="28" y="79"/>
                  </a:lnTo>
                  <a:lnTo>
                    <a:pt x="30" y="80"/>
                  </a:lnTo>
                  <a:lnTo>
                    <a:pt x="32" y="83"/>
                  </a:lnTo>
                  <a:lnTo>
                    <a:pt x="32" y="83"/>
                  </a:lnTo>
                  <a:close/>
                  <a:moveTo>
                    <a:pt x="72" y="80"/>
                  </a:moveTo>
                  <a:lnTo>
                    <a:pt x="70" y="82"/>
                  </a:lnTo>
                  <a:lnTo>
                    <a:pt x="69" y="82"/>
                  </a:lnTo>
                  <a:lnTo>
                    <a:pt x="66" y="83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0"/>
                  </a:lnTo>
                  <a:lnTo>
                    <a:pt x="66" y="80"/>
                  </a:lnTo>
                  <a:lnTo>
                    <a:pt x="66" y="79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69" y="79"/>
                  </a:lnTo>
                  <a:lnTo>
                    <a:pt x="70" y="79"/>
                  </a:lnTo>
                  <a:lnTo>
                    <a:pt x="70" y="80"/>
                  </a:lnTo>
                  <a:lnTo>
                    <a:pt x="72" y="80"/>
                  </a:lnTo>
                  <a:close/>
                  <a:moveTo>
                    <a:pt x="38" y="85"/>
                  </a:moveTo>
                  <a:lnTo>
                    <a:pt x="38" y="85"/>
                  </a:lnTo>
                  <a:lnTo>
                    <a:pt x="36" y="85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5" y="82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9" y="85"/>
                  </a:lnTo>
                  <a:lnTo>
                    <a:pt x="38" y="85"/>
                  </a:lnTo>
                  <a:close/>
                  <a:moveTo>
                    <a:pt x="52" y="83"/>
                  </a:moveTo>
                  <a:lnTo>
                    <a:pt x="55" y="85"/>
                  </a:lnTo>
                  <a:lnTo>
                    <a:pt x="58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9"/>
                  </a:lnTo>
                  <a:lnTo>
                    <a:pt x="58" y="90"/>
                  </a:lnTo>
                  <a:lnTo>
                    <a:pt x="56" y="89"/>
                  </a:lnTo>
                  <a:lnTo>
                    <a:pt x="53" y="90"/>
                  </a:lnTo>
                  <a:lnTo>
                    <a:pt x="48" y="86"/>
                  </a:lnTo>
                  <a:lnTo>
                    <a:pt x="48" y="83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2" y="8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Google Shape;195;p3"/>
            <p:cNvSpPr/>
            <p:nvPr/>
          </p:nvSpPr>
          <p:spPr>
            <a:xfrm>
              <a:off x="3143536" y="4169533"/>
              <a:ext cx="41377" cy="24484"/>
            </a:xfrm>
            <a:custGeom>
              <a:rect b="b" l="l" r="r" t="t"/>
              <a:pathLst>
                <a:path extrusionOk="0" h="39" w="59">
                  <a:moveTo>
                    <a:pt x="3" y="32"/>
                  </a:move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26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0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4" y="12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4" y="9"/>
                  </a:lnTo>
                  <a:lnTo>
                    <a:pt x="4" y="7"/>
                  </a:lnTo>
                  <a:lnTo>
                    <a:pt x="3" y="5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9"/>
                  </a:lnTo>
                  <a:lnTo>
                    <a:pt x="36" y="10"/>
                  </a:lnTo>
                  <a:lnTo>
                    <a:pt x="43" y="10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40" y="13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7" y="16"/>
                  </a:lnTo>
                  <a:lnTo>
                    <a:pt x="49" y="16"/>
                  </a:lnTo>
                  <a:lnTo>
                    <a:pt x="53" y="17"/>
                  </a:lnTo>
                  <a:lnTo>
                    <a:pt x="56" y="20"/>
                  </a:lnTo>
                  <a:lnTo>
                    <a:pt x="57" y="22"/>
                  </a:lnTo>
                  <a:lnTo>
                    <a:pt x="59" y="22"/>
                  </a:lnTo>
                  <a:lnTo>
                    <a:pt x="57" y="23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4" y="26"/>
                  </a:lnTo>
                  <a:lnTo>
                    <a:pt x="54" y="27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1" y="29"/>
                  </a:lnTo>
                  <a:lnTo>
                    <a:pt x="51" y="27"/>
                  </a:lnTo>
                  <a:lnTo>
                    <a:pt x="50" y="27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3" y="25"/>
                  </a:lnTo>
                  <a:lnTo>
                    <a:pt x="41" y="26"/>
                  </a:lnTo>
                  <a:lnTo>
                    <a:pt x="39" y="26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3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29" y="27"/>
                  </a:lnTo>
                  <a:lnTo>
                    <a:pt x="29" y="29"/>
                  </a:lnTo>
                  <a:lnTo>
                    <a:pt x="24" y="29"/>
                  </a:lnTo>
                  <a:lnTo>
                    <a:pt x="23" y="27"/>
                  </a:lnTo>
                  <a:lnTo>
                    <a:pt x="21" y="27"/>
                  </a:lnTo>
                  <a:lnTo>
                    <a:pt x="19" y="26"/>
                  </a:lnTo>
                  <a:lnTo>
                    <a:pt x="17" y="27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2" y="35"/>
                  </a:lnTo>
                  <a:lnTo>
                    <a:pt x="10" y="37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7" y="37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Google Shape;196;p3"/>
            <p:cNvSpPr/>
            <p:nvPr/>
          </p:nvSpPr>
          <p:spPr>
            <a:xfrm>
              <a:off x="3853950" y="3972408"/>
              <a:ext cx="232130" cy="207169"/>
            </a:xfrm>
            <a:custGeom>
              <a:rect b="b" l="l" r="r" t="t"/>
              <a:pathLst>
                <a:path extrusionOk="0" h="330" w="331">
                  <a:moveTo>
                    <a:pt x="277" y="3"/>
                  </a:moveTo>
                  <a:lnTo>
                    <a:pt x="277" y="5"/>
                  </a:lnTo>
                  <a:lnTo>
                    <a:pt x="277" y="6"/>
                  </a:lnTo>
                  <a:lnTo>
                    <a:pt x="275" y="7"/>
                  </a:lnTo>
                  <a:lnTo>
                    <a:pt x="275" y="7"/>
                  </a:lnTo>
                  <a:lnTo>
                    <a:pt x="274" y="10"/>
                  </a:lnTo>
                  <a:lnTo>
                    <a:pt x="271" y="12"/>
                  </a:lnTo>
                  <a:lnTo>
                    <a:pt x="271" y="12"/>
                  </a:lnTo>
                  <a:lnTo>
                    <a:pt x="271" y="13"/>
                  </a:lnTo>
                  <a:lnTo>
                    <a:pt x="272" y="13"/>
                  </a:lnTo>
                  <a:lnTo>
                    <a:pt x="272" y="15"/>
                  </a:lnTo>
                  <a:lnTo>
                    <a:pt x="274" y="15"/>
                  </a:lnTo>
                  <a:lnTo>
                    <a:pt x="272" y="19"/>
                  </a:lnTo>
                  <a:lnTo>
                    <a:pt x="272" y="22"/>
                  </a:lnTo>
                  <a:lnTo>
                    <a:pt x="271" y="25"/>
                  </a:lnTo>
                  <a:lnTo>
                    <a:pt x="271" y="26"/>
                  </a:lnTo>
                  <a:lnTo>
                    <a:pt x="272" y="27"/>
                  </a:lnTo>
                  <a:lnTo>
                    <a:pt x="272" y="29"/>
                  </a:lnTo>
                  <a:lnTo>
                    <a:pt x="272" y="30"/>
                  </a:lnTo>
                  <a:lnTo>
                    <a:pt x="272" y="35"/>
                  </a:lnTo>
                  <a:lnTo>
                    <a:pt x="274" y="36"/>
                  </a:lnTo>
                  <a:lnTo>
                    <a:pt x="274" y="37"/>
                  </a:lnTo>
                  <a:lnTo>
                    <a:pt x="272" y="40"/>
                  </a:lnTo>
                  <a:lnTo>
                    <a:pt x="272" y="43"/>
                  </a:lnTo>
                  <a:lnTo>
                    <a:pt x="271" y="46"/>
                  </a:lnTo>
                  <a:lnTo>
                    <a:pt x="271" y="47"/>
                  </a:lnTo>
                  <a:lnTo>
                    <a:pt x="271" y="49"/>
                  </a:lnTo>
                  <a:lnTo>
                    <a:pt x="269" y="50"/>
                  </a:lnTo>
                  <a:lnTo>
                    <a:pt x="268" y="52"/>
                  </a:lnTo>
                  <a:lnTo>
                    <a:pt x="267" y="52"/>
                  </a:lnTo>
                  <a:lnTo>
                    <a:pt x="265" y="53"/>
                  </a:lnTo>
                  <a:lnTo>
                    <a:pt x="264" y="56"/>
                  </a:lnTo>
                  <a:lnTo>
                    <a:pt x="261" y="59"/>
                  </a:lnTo>
                  <a:lnTo>
                    <a:pt x="259" y="60"/>
                  </a:lnTo>
                  <a:lnTo>
                    <a:pt x="259" y="62"/>
                  </a:lnTo>
                  <a:lnTo>
                    <a:pt x="259" y="65"/>
                  </a:lnTo>
                  <a:lnTo>
                    <a:pt x="259" y="67"/>
                  </a:lnTo>
                  <a:lnTo>
                    <a:pt x="261" y="70"/>
                  </a:lnTo>
                  <a:lnTo>
                    <a:pt x="262" y="73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5" y="77"/>
                  </a:lnTo>
                  <a:lnTo>
                    <a:pt x="268" y="79"/>
                  </a:lnTo>
                  <a:lnTo>
                    <a:pt x="269" y="79"/>
                  </a:lnTo>
                  <a:lnTo>
                    <a:pt x="271" y="82"/>
                  </a:lnTo>
                  <a:lnTo>
                    <a:pt x="272" y="86"/>
                  </a:lnTo>
                  <a:lnTo>
                    <a:pt x="272" y="89"/>
                  </a:lnTo>
                  <a:lnTo>
                    <a:pt x="275" y="92"/>
                  </a:lnTo>
                  <a:lnTo>
                    <a:pt x="278" y="93"/>
                  </a:lnTo>
                  <a:lnTo>
                    <a:pt x="281" y="96"/>
                  </a:lnTo>
                  <a:lnTo>
                    <a:pt x="284" y="97"/>
                  </a:lnTo>
                  <a:lnTo>
                    <a:pt x="284" y="97"/>
                  </a:lnTo>
                  <a:lnTo>
                    <a:pt x="285" y="102"/>
                  </a:lnTo>
                  <a:lnTo>
                    <a:pt x="287" y="106"/>
                  </a:lnTo>
                  <a:lnTo>
                    <a:pt x="287" y="112"/>
                  </a:lnTo>
                  <a:lnTo>
                    <a:pt x="288" y="116"/>
                  </a:lnTo>
                  <a:lnTo>
                    <a:pt x="289" y="122"/>
                  </a:lnTo>
                  <a:lnTo>
                    <a:pt x="289" y="124"/>
                  </a:lnTo>
                  <a:lnTo>
                    <a:pt x="291" y="127"/>
                  </a:lnTo>
                  <a:lnTo>
                    <a:pt x="292" y="133"/>
                  </a:lnTo>
                  <a:lnTo>
                    <a:pt x="291" y="133"/>
                  </a:lnTo>
                  <a:lnTo>
                    <a:pt x="288" y="134"/>
                  </a:lnTo>
                  <a:lnTo>
                    <a:pt x="289" y="137"/>
                  </a:lnTo>
                  <a:lnTo>
                    <a:pt x="292" y="140"/>
                  </a:lnTo>
                  <a:lnTo>
                    <a:pt x="294" y="143"/>
                  </a:lnTo>
                  <a:lnTo>
                    <a:pt x="294" y="144"/>
                  </a:lnTo>
                  <a:lnTo>
                    <a:pt x="295" y="149"/>
                  </a:lnTo>
                  <a:lnTo>
                    <a:pt x="297" y="152"/>
                  </a:lnTo>
                  <a:lnTo>
                    <a:pt x="297" y="153"/>
                  </a:lnTo>
                  <a:lnTo>
                    <a:pt x="297" y="156"/>
                  </a:lnTo>
                  <a:lnTo>
                    <a:pt x="297" y="163"/>
                  </a:lnTo>
                  <a:lnTo>
                    <a:pt x="297" y="173"/>
                  </a:lnTo>
                  <a:lnTo>
                    <a:pt x="298" y="177"/>
                  </a:lnTo>
                  <a:lnTo>
                    <a:pt x="297" y="182"/>
                  </a:lnTo>
                  <a:lnTo>
                    <a:pt x="295" y="184"/>
                  </a:lnTo>
                  <a:lnTo>
                    <a:pt x="295" y="187"/>
                  </a:lnTo>
                  <a:lnTo>
                    <a:pt x="297" y="190"/>
                  </a:lnTo>
                  <a:lnTo>
                    <a:pt x="297" y="193"/>
                  </a:lnTo>
                  <a:lnTo>
                    <a:pt x="298" y="194"/>
                  </a:lnTo>
                  <a:lnTo>
                    <a:pt x="298" y="197"/>
                  </a:lnTo>
                  <a:lnTo>
                    <a:pt x="298" y="199"/>
                  </a:lnTo>
                  <a:lnTo>
                    <a:pt x="295" y="202"/>
                  </a:lnTo>
                  <a:lnTo>
                    <a:pt x="291" y="203"/>
                  </a:lnTo>
                  <a:lnTo>
                    <a:pt x="291" y="204"/>
                  </a:lnTo>
                  <a:lnTo>
                    <a:pt x="291" y="206"/>
                  </a:lnTo>
                  <a:lnTo>
                    <a:pt x="291" y="207"/>
                  </a:lnTo>
                  <a:lnTo>
                    <a:pt x="292" y="210"/>
                  </a:lnTo>
                  <a:lnTo>
                    <a:pt x="297" y="216"/>
                  </a:lnTo>
                  <a:lnTo>
                    <a:pt x="299" y="220"/>
                  </a:lnTo>
                  <a:lnTo>
                    <a:pt x="299" y="222"/>
                  </a:lnTo>
                  <a:lnTo>
                    <a:pt x="299" y="226"/>
                  </a:lnTo>
                  <a:lnTo>
                    <a:pt x="301" y="230"/>
                  </a:lnTo>
                  <a:lnTo>
                    <a:pt x="304" y="232"/>
                  </a:lnTo>
                  <a:lnTo>
                    <a:pt x="304" y="234"/>
                  </a:lnTo>
                  <a:lnTo>
                    <a:pt x="305" y="234"/>
                  </a:lnTo>
                  <a:lnTo>
                    <a:pt x="307" y="236"/>
                  </a:lnTo>
                  <a:lnTo>
                    <a:pt x="307" y="236"/>
                  </a:lnTo>
                  <a:lnTo>
                    <a:pt x="311" y="234"/>
                  </a:lnTo>
                  <a:lnTo>
                    <a:pt x="318" y="236"/>
                  </a:lnTo>
                  <a:lnTo>
                    <a:pt x="324" y="239"/>
                  </a:lnTo>
                  <a:lnTo>
                    <a:pt x="324" y="239"/>
                  </a:lnTo>
                  <a:lnTo>
                    <a:pt x="325" y="242"/>
                  </a:lnTo>
                  <a:lnTo>
                    <a:pt x="328" y="246"/>
                  </a:lnTo>
                  <a:lnTo>
                    <a:pt x="329" y="249"/>
                  </a:lnTo>
                  <a:lnTo>
                    <a:pt x="331" y="253"/>
                  </a:lnTo>
                  <a:lnTo>
                    <a:pt x="322" y="257"/>
                  </a:lnTo>
                  <a:lnTo>
                    <a:pt x="315" y="263"/>
                  </a:lnTo>
                  <a:lnTo>
                    <a:pt x="307" y="269"/>
                  </a:lnTo>
                  <a:lnTo>
                    <a:pt x="298" y="273"/>
                  </a:lnTo>
                  <a:lnTo>
                    <a:pt x="289" y="279"/>
                  </a:lnTo>
                  <a:lnTo>
                    <a:pt x="281" y="284"/>
                  </a:lnTo>
                  <a:lnTo>
                    <a:pt x="272" y="289"/>
                  </a:lnTo>
                  <a:lnTo>
                    <a:pt x="265" y="294"/>
                  </a:lnTo>
                  <a:lnTo>
                    <a:pt x="259" y="299"/>
                  </a:lnTo>
                  <a:lnTo>
                    <a:pt x="255" y="302"/>
                  </a:lnTo>
                  <a:lnTo>
                    <a:pt x="251" y="304"/>
                  </a:lnTo>
                  <a:lnTo>
                    <a:pt x="247" y="309"/>
                  </a:lnTo>
                  <a:lnTo>
                    <a:pt x="244" y="311"/>
                  </a:lnTo>
                  <a:lnTo>
                    <a:pt x="239" y="316"/>
                  </a:lnTo>
                  <a:lnTo>
                    <a:pt x="238" y="317"/>
                  </a:lnTo>
                  <a:lnTo>
                    <a:pt x="232" y="321"/>
                  </a:lnTo>
                  <a:lnTo>
                    <a:pt x="231" y="323"/>
                  </a:lnTo>
                  <a:lnTo>
                    <a:pt x="225" y="324"/>
                  </a:lnTo>
                  <a:lnTo>
                    <a:pt x="220" y="324"/>
                  </a:lnTo>
                  <a:lnTo>
                    <a:pt x="214" y="326"/>
                  </a:lnTo>
                  <a:lnTo>
                    <a:pt x="211" y="327"/>
                  </a:lnTo>
                  <a:lnTo>
                    <a:pt x="207" y="327"/>
                  </a:lnTo>
                  <a:lnTo>
                    <a:pt x="202" y="329"/>
                  </a:lnTo>
                  <a:lnTo>
                    <a:pt x="198" y="329"/>
                  </a:lnTo>
                  <a:lnTo>
                    <a:pt x="194" y="330"/>
                  </a:lnTo>
                  <a:lnTo>
                    <a:pt x="194" y="330"/>
                  </a:lnTo>
                  <a:lnTo>
                    <a:pt x="194" y="330"/>
                  </a:lnTo>
                  <a:lnTo>
                    <a:pt x="192" y="330"/>
                  </a:lnTo>
                  <a:lnTo>
                    <a:pt x="191" y="330"/>
                  </a:lnTo>
                  <a:lnTo>
                    <a:pt x="190" y="329"/>
                  </a:lnTo>
                  <a:lnTo>
                    <a:pt x="190" y="329"/>
                  </a:lnTo>
                  <a:lnTo>
                    <a:pt x="190" y="327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1" y="324"/>
                  </a:lnTo>
                  <a:lnTo>
                    <a:pt x="191" y="324"/>
                  </a:lnTo>
                  <a:lnTo>
                    <a:pt x="191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91" y="320"/>
                  </a:lnTo>
                  <a:lnTo>
                    <a:pt x="191" y="317"/>
                  </a:lnTo>
                  <a:lnTo>
                    <a:pt x="191" y="317"/>
                  </a:lnTo>
                  <a:lnTo>
                    <a:pt x="191" y="316"/>
                  </a:lnTo>
                  <a:lnTo>
                    <a:pt x="190" y="316"/>
                  </a:lnTo>
                  <a:lnTo>
                    <a:pt x="187" y="314"/>
                  </a:lnTo>
                  <a:lnTo>
                    <a:pt x="185" y="313"/>
                  </a:lnTo>
                  <a:lnTo>
                    <a:pt x="184" y="313"/>
                  </a:lnTo>
                  <a:lnTo>
                    <a:pt x="182" y="313"/>
                  </a:lnTo>
                  <a:lnTo>
                    <a:pt x="180" y="313"/>
                  </a:lnTo>
                  <a:lnTo>
                    <a:pt x="178" y="311"/>
                  </a:lnTo>
                  <a:lnTo>
                    <a:pt x="175" y="309"/>
                  </a:lnTo>
                  <a:lnTo>
                    <a:pt x="175" y="309"/>
                  </a:lnTo>
                  <a:lnTo>
                    <a:pt x="170" y="309"/>
                  </a:lnTo>
                  <a:lnTo>
                    <a:pt x="168" y="307"/>
                  </a:lnTo>
                  <a:lnTo>
                    <a:pt x="168" y="307"/>
                  </a:lnTo>
                  <a:lnTo>
                    <a:pt x="167" y="306"/>
                  </a:lnTo>
                  <a:lnTo>
                    <a:pt x="165" y="304"/>
                  </a:lnTo>
                  <a:lnTo>
                    <a:pt x="165" y="304"/>
                  </a:lnTo>
                  <a:lnTo>
                    <a:pt x="165" y="303"/>
                  </a:lnTo>
                  <a:lnTo>
                    <a:pt x="160" y="300"/>
                  </a:lnTo>
                  <a:lnTo>
                    <a:pt x="158" y="300"/>
                  </a:lnTo>
                  <a:lnTo>
                    <a:pt x="158" y="299"/>
                  </a:lnTo>
                  <a:lnTo>
                    <a:pt x="158" y="297"/>
                  </a:lnTo>
                  <a:lnTo>
                    <a:pt x="158" y="296"/>
                  </a:lnTo>
                  <a:lnTo>
                    <a:pt x="158" y="294"/>
                  </a:lnTo>
                  <a:lnTo>
                    <a:pt x="158" y="294"/>
                  </a:lnTo>
                  <a:lnTo>
                    <a:pt x="155" y="293"/>
                  </a:lnTo>
                  <a:lnTo>
                    <a:pt x="150" y="289"/>
                  </a:lnTo>
                  <a:lnTo>
                    <a:pt x="145" y="286"/>
                  </a:lnTo>
                  <a:lnTo>
                    <a:pt x="140" y="282"/>
                  </a:lnTo>
                  <a:lnTo>
                    <a:pt x="134" y="277"/>
                  </a:lnTo>
                  <a:lnTo>
                    <a:pt x="130" y="274"/>
                  </a:lnTo>
                  <a:lnTo>
                    <a:pt x="124" y="270"/>
                  </a:lnTo>
                  <a:lnTo>
                    <a:pt x="118" y="267"/>
                  </a:lnTo>
                  <a:lnTo>
                    <a:pt x="114" y="263"/>
                  </a:lnTo>
                  <a:lnTo>
                    <a:pt x="108" y="259"/>
                  </a:lnTo>
                  <a:lnTo>
                    <a:pt x="103" y="256"/>
                  </a:lnTo>
                  <a:lnTo>
                    <a:pt x="98" y="252"/>
                  </a:lnTo>
                  <a:lnTo>
                    <a:pt x="93" y="249"/>
                  </a:lnTo>
                  <a:lnTo>
                    <a:pt x="87" y="244"/>
                  </a:lnTo>
                  <a:lnTo>
                    <a:pt x="83" y="240"/>
                  </a:lnTo>
                  <a:lnTo>
                    <a:pt x="77" y="237"/>
                  </a:lnTo>
                  <a:lnTo>
                    <a:pt x="71" y="233"/>
                  </a:lnTo>
                  <a:lnTo>
                    <a:pt x="67" y="230"/>
                  </a:lnTo>
                  <a:lnTo>
                    <a:pt x="63" y="227"/>
                  </a:lnTo>
                  <a:lnTo>
                    <a:pt x="58" y="224"/>
                  </a:lnTo>
                  <a:lnTo>
                    <a:pt x="55" y="222"/>
                  </a:lnTo>
                  <a:lnTo>
                    <a:pt x="51" y="219"/>
                  </a:lnTo>
                  <a:lnTo>
                    <a:pt x="48" y="217"/>
                  </a:lnTo>
                  <a:lnTo>
                    <a:pt x="46" y="216"/>
                  </a:lnTo>
                  <a:lnTo>
                    <a:pt x="43" y="213"/>
                  </a:lnTo>
                  <a:lnTo>
                    <a:pt x="40" y="212"/>
                  </a:lnTo>
                  <a:lnTo>
                    <a:pt x="37" y="210"/>
                  </a:lnTo>
                  <a:lnTo>
                    <a:pt x="34" y="207"/>
                  </a:lnTo>
                  <a:lnTo>
                    <a:pt x="30" y="206"/>
                  </a:lnTo>
                  <a:lnTo>
                    <a:pt x="27" y="204"/>
                  </a:lnTo>
                  <a:lnTo>
                    <a:pt x="24" y="202"/>
                  </a:lnTo>
                  <a:lnTo>
                    <a:pt x="21" y="200"/>
                  </a:lnTo>
                  <a:lnTo>
                    <a:pt x="18" y="197"/>
                  </a:lnTo>
                  <a:lnTo>
                    <a:pt x="16" y="196"/>
                  </a:lnTo>
                  <a:lnTo>
                    <a:pt x="13" y="194"/>
                  </a:lnTo>
                  <a:lnTo>
                    <a:pt x="10" y="192"/>
                  </a:lnTo>
                  <a:lnTo>
                    <a:pt x="7" y="190"/>
                  </a:lnTo>
                  <a:lnTo>
                    <a:pt x="3" y="187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0" y="179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4"/>
                  </a:lnTo>
                  <a:lnTo>
                    <a:pt x="0" y="162"/>
                  </a:lnTo>
                  <a:lnTo>
                    <a:pt x="0" y="160"/>
                  </a:lnTo>
                  <a:lnTo>
                    <a:pt x="1" y="160"/>
                  </a:lnTo>
                  <a:lnTo>
                    <a:pt x="3" y="159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7" y="156"/>
                  </a:lnTo>
                  <a:lnTo>
                    <a:pt x="11" y="153"/>
                  </a:lnTo>
                  <a:lnTo>
                    <a:pt x="13" y="152"/>
                  </a:lnTo>
                  <a:lnTo>
                    <a:pt x="17" y="149"/>
                  </a:lnTo>
                  <a:lnTo>
                    <a:pt x="17" y="149"/>
                  </a:lnTo>
                  <a:lnTo>
                    <a:pt x="20" y="147"/>
                  </a:lnTo>
                  <a:lnTo>
                    <a:pt x="20" y="147"/>
                  </a:lnTo>
                  <a:lnTo>
                    <a:pt x="21" y="146"/>
                  </a:lnTo>
                  <a:lnTo>
                    <a:pt x="24" y="144"/>
                  </a:lnTo>
                  <a:lnTo>
                    <a:pt x="24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30" y="144"/>
                  </a:lnTo>
                  <a:lnTo>
                    <a:pt x="31" y="144"/>
                  </a:lnTo>
                  <a:lnTo>
                    <a:pt x="33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6" y="143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7" y="140"/>
                  </a:lnTo>
                  <a:lnTo>
                    <a:pt x="37" y="140"/>
                  </a:lnTo>
                  <a:lnTo>
                    <a:pt x="40" y="140"/>
                  </a:lnTo>
                  <a:lnTo>
                    <a:pt x="41" y="140"/>
                  </a:lnTo>
                  <a:lnTo>
                    <a:pt x="43" y="140"/>
                  </a:lnTo>
                  <a:lnTo>
                    <a:pt x="47" y="139"/>
                  </a:lnTo>
                  <a:lnTo>
                    <a:pt x="50" y="139"/>
                  </a:lnTo>
                  <a:lnTo>
                    <a:pt x="53" y="137"/>
                  </a:lnTo>
                  <a:lnTo>
                    <a:pt x="54" y="136"/>
                  </a:lnTo>
                  <a:lnTo>
                    <a:pt x="57" y="133"/>
                  </a:lnTo>
                  <a:lnTo>
                    <a:pt x="58" y="130"/>
                  </a:lnTo>
                  <a:lnTo>
                    <a:pt x="60" y="127"/>
                  </a:lnTo>
                  <a:lnTo>
                    <a:pt x="63" y="126"/>
                  </a:lnTo>
                  <a:lnTo>
                    <a:pt x="65" y="126"/>
                  </a:lnTo>
                  <a:lnTo>
                    <a:pt x="67" y="124"/>
                  </a:lnTo>
                  <a:lnTo>
                    <a:pt x="70" y="123"/>
                  </a:lnTo>
                  <a:lnTo>
                    <a:pt x="73" y="122"/>
                  </a:lnTo>
                  <a:lnTo>
                    <a:pt x="75" y="120"/>
                  </a:lnTo>
                  <a:lnTo>
                    <a:pt x="78" y="119"/>
                  </a:lnTo>
                  <a:lnTo>
                    <a:pt x="80" y="119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81" y="117"/>
                  </a:lnTo>
                  <a:lnTo>
                    <a:pt x="81" y="116"/>
                  </a:lnTo>
                  <a:lnTo>
                    <a:pt x="80" y="116"/>
                  </a:lnTo>
                  <a:lnTo>
                    <a:pt x="80" y="114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8" y="110"/>
                  </a:lnTo>
                  <a:lnTo>
                    <a:pt x="78" y="109"/>
                  </a:lnTo>
                  <a:lnTo>
                    <a:pt x="78" y="107"/>
                  </a:lnTo>
                  <a:lnTo>
                    <a:pt x="78" y="106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0" y="104"/>
                  </a:lnTo>
                  <a:lnTo>
                    <a:pt x="81" y="106"/>
                  </a:lnTo>
                  <a:lnTo>
                    <a:pt x="84" y="104"/>
                  </a:lnTo>
                  <a:lnTo>
                    <a:pt x="91" y="103"/>
                  </a:lnTo>
                  <a:lnTo>
                    <a:pt x="91" y="102"/>
                  </a:lnTo>
                  <a:lnTo>
                    <a:pt x="93" y="100"/>
                  </a:lnTo>
                  <a:lnTo>
                    <a:pt x="93" y="99"/>
                  </a:lnTo>
                  <a:lnTo>
                    <a:pt x="93" y="99"/>
                  </a:lnTo>
                  <a:lnTo>
                    <a:pt x="94" y="97"/>
                  </a:lnTo>
                  <a:lnTo>
                    <a:pt x="95" y="97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4" y="97"/>
                  </a:lnTo>
                  <a:lnTo>
                    <a:pt x="107" y="97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5" y="97"/>
                  </a:lnTo>
                  <a:lnTo>
                    <a:pt x="120" y="97"/>
                  </a:lnTo>
                  <a:lnTo>
                    <a:pt x="120" y="97"/>
                  </a:lnTo>
                  <a:lnTo>
                    <a:pt x="120" y="96"/>
                  </a:lnTo>
                  <a:lnTo>
                    <a:pt x="120" y="94"/>
                  </a:lnTo>
                  <a:lnTo>
                    <a:pt x="120" y="93"/>
                  </a:lnTo>
                  <a:lnTo>
                    <a:pt x="121" y="92"/>
                  </a:lnTo>
                  <a:lnTo>
                    <a:pt x="123" y="90"/>
                  </a:lnTo>
                  <a:lnTo>
                    <a:pt x="121" y="89"/>
                  </a:lnTo>
                  <a:lnTo>
                    <a:pt x="121" y="87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17" y="85"/>
                  </a:lnTo>
                  <a:lnTo>
                    <a:pt x="115" y="83"/>
                  </a:lnTo>
                  <a:lnTo>
                    <a:pt x="114" y="79"/>
                  </a:lnTo>
                  <a:lnTo>
                    <a:pt x="114" y="77"/>
                  </a:lnTo>
                  <a:lnTo>
                    <a:pt x="113" y="75"/>
                  </a:lnTo>
                  <a:lnTo>
                    <a:pt x="114" y="70"/>
                  </a:lnTo>
                  <a:lnTo>
                    <a:pt x="113" y="67"/>
                  </a:lnTo>
                  <a:lnTo>
                    <a:pt x="113" y="66"/>
                  </a:lnTo>
                  <a:lnTo>
                    <a:pt x="113" y="65"/>
                  </a:lnTo>
                  <a:lnTo>
                    <a:pt x="113" y="62"/>
                  </a:lnTo>
                  <a:lnTo>
                    <a:pt x="113" y="57"/>
                  </a:lnTo>
                  <a:lnTo>
                    <a:pt x="111" y="55"/>
                  </a:lnTo>
                  <a:lnTo>
                    <a:pt x="111" y="53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49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08" y="45"/>
                  </a:lnTo>
                  <a:lnTo>
                    <a:pt x="105" y="43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08" y="40"/>
                  </a:lnTo>
                  <a:lnTo>
                    <a:pt x="113" y="39"/>
                  </a:lnTo>
                  <a:lnTo>
                    <a:pt x="115" y="36"/>
                  </a:lnTo>
                  <a:lnTo>
                    <a:pt x="118" y="35"/>
                  </a:lnTo>
                  <a:lnTo>
                    <a:pt x="120" y="32"/>
                  </a:lnTo>
                  <a:lnTo>
                    <a:pt x="123" y="30"/>
                  </a:lnTo>
                  <a:lnTo>
                    <a:pt x="125" y="29"/>
                  </a:lnTo>
                  <a:lnTo>
                    <a:pt x="133" y="25"/>
                  </a:lnTo>
                  <a:lnTo>
                    <a:pt x="134" y="25"/>
                  </a:lnTo>
                  <a:lnTo>
                    <a:pt x="137" y="26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3" y="22"/>
                  </a:lnTo>
                  <a:lnTo>
                    <a:pt x="144" y="19"/>
                  </a:lnTo>
                  <a:lnTo>
                    <a:pt x="148" y="17"/>
                  </a:lnTo>
                  <a:lnTo>
                    <a:pt x="152" y="16"/>
                  </a:lnTo>
                  <a:lnTo>
                    <a:pt x="155" y="13"/>
                  </a:lnTo>
                  <a:lnTo>
                    <a:pt x="160" y="12"/>
                  </a:lnTo>
                  <a:lnTo>
                    <a:pt x="171" y="12"/>
                  </a:lnTo>
                  <a:lnTo>
                    <a:pt x="177" y="10"/>
                  </a:lnTo>
                  <a:lnTo>
                    <a:pt x="181" y="10"/>
                  </a:lnTo>
                  <a:lnTo>
                    <a:pt x="185" y="7"/>
                  </a:lnTo>
                  <a:lnTo>
                    <a:pt x="187" y="7"/>
                  </a:lnTo>
                  <a:lnTo>
                    <a:pt x="195" y="6"/>
                  </a:lnTo>
                  <a:lnTo>
                    <a:pt x="200" y="5"/>
                  </a:lnTo>
                  <a:lnTo>
                    <a:pt x="215" y="5"/>
                  </a:lnTo>
                  <a:lnTo>
                    <a:pt x="218" y="6"/>
                  </a:lnTo>
                  <a:lnTo>
                    <a:pt x="220" y="6"/>
                  </a:lnTo>
                  <a:lnTo>
                    <a:pt x="222" y="9"/>
                  </a:lnTo>
                  <a:lnTo>
                    <a:pt x="224" y="9"/>
                  </a:lnTo>
                  <a:lnTo>
                    <a:pt x="227" y="9"/>
                  </a:lnTo>
                  <a:lnTo>
                    <a:pt x="231" y="6"/>
                  </a:lnTo>
                  <a:lnTo>
                    <a:pt x="237" y="5"/>
                  </a:lnTo>
                  <a:lnTo>
                    <a:pt x="239" y="3"/>
                  </a:lnTo>
                  <a:lnTo>
                    <a:pt x="241" y="2"/>
                  </a:lnTo>
                  <a:lnTo>
                    <a:pt x="244" y="0"/>
                  </a:lnTo>
                  <a:lnTo>
                    <a:pt x="245" y="3"/>
                  </a:lnTo>
                  <a:lnTo>
                    <a:pt x="251" y="5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5" y="0"/>
                  </a:lnTo>
                  <a:lnTo>
                    <a:pt x="258" y="2"/>
                  </a:lnTo>
                  <a:lnTo>
                    <a:pt x="261" y="3"/>
                  </a:lnTo>
                  <a:lnTo>
                    <a:pt x="264" y="5"/>
                  </a:lnTo>
                  <a:lnTo>
                    <a:pt x="267" y="6"/>
                  </a:lnTo>
                  <a:lnTo>
                    <a:pt x="269" y="5"/>
                  </a:lnTo>
                  <a:lnTo>
                    <a:pt x="277" y="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Google Shape;197;p3"/>
            <p:cNvSpPr/>
            <p:nvPr/>
          </p:nvSpPr>
          <p:spPr>
            <a:xfrm>
              <a:off x="2922626" y="4357868"/>
              <a:ext cx="183740" cy="64662"/>
            </a:xfrm>
            <a:custGeom>
              <a:rect b="b" l="l" r="r" t="t"/>
              <a:pathLst>
                <a:path extrusionOk="0" h="103" w="262">
                  <a:moveTo>
                    <a:pt x="262" y="26"/>
                  </a:moveTo>
                  <a:lnTo>
                    <a:pt x="261" y="26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9" y="29"/>
                  </a:lnTo>
                  <a:lnTo>
                    <a:pt x="259" y="30"/>
                  </a:lnTo>
                  <a:lnTo>
                    <a:pt x="261" y="32"/>
                  </a:lnTo>
                  <a:lnTo>
                    <a:pt x="262" y="33"/>
                  </a:lnTo>
                  <a:lnTo>
                    <a:pt x="262" y="33"/>
                  </a:lnTo>
                  <a:lnTo>
                    <a:pt x="262" y="34"/>
                  </a:lnTo>
                  <a:lnTo>
                    <a:pt x="262" y="36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1" y="39"/>
                  </a:lnTo>
                  <a:lnTo>
                    <a:pt x="261" y="39"/>
                  </a:lnTo>
                  <a:lnTo>
                    <a:pt x="261" y="39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9" y="42"/>
                  </a:lnTo>
                  <a:lnTo>
                    <a:pt x="258" y="44"/>
                  </a:lnTo>
                  <a:lnTo>
                    <a:pt x="257" y="49"/>
                  </a:lnTo>
                  <a:lnTo>
                    <a:pt x="257" y="50"/>
                  </a:lnTo>
                  <a:lnTo>
                    <a:pt x="254" y="52"/>
                  </a:lnTo>
                  <a:lnTo>
                    <a:pt x="252" y="54"/>
                  </a:lnTo>
                  <a:lnTo>
                    <a:pt x="249" y="57"/>
                  </a:lnTo>
                  <a:lnTo>
                    <a:pt x="247" y="60"/>
                  </a:lnTo>
                  <a:lnTo>
                    <a:pt x="245" y="62"/>
                  </a:lnTo>
                  <a:lnTo>
                    <a:pt x="242" y="63"/>
                  </a:lnTo>
                  <a:lnTo>
                    <a:pt x="239" y="64"/>
                  </a:lnTo>
                  <a:lnTo>
                    <a:pt x="237" y="66"/>
                  </a:lnTo>
                  <a:lnTo>
                    <a:pt x="232" y="67"/>
                  </a:lnTo>
                  <a:lnTo>
                    <a:pt x="228" y="69"/>
                  </a:lnTo>
                  <a:lnTo>
                    <a:pt x="227" y="70"/>
                  </a:lnTo>
                  <a:lnTo>
                    <a:pt x="224" y="70"/>
                  </a:lnTo>
                  <a:lnTo>
                    <a:pt x="221" y="72"/>
                  </a:lnTo>
                  <a:lnTo>
                    <a:pt x="220" y="73"/>
                  </a:lnTo>
                  <a:lnTo>
                    <a:pt x="217" y="74"/>
                  </a:lnTo>
                  <a:lnTo>
                    <a:pt x="217" y="76"/>
                  </a:lnTo>
                  <a:lnTo>
                    <a:pt x="215" y="77"/>
                  </a:lnTo>
                  <a:lnTo>
                    <a:pt x="215" y="77"/>
                  </a:lnTo>
                  <a:lnTo>
                    <a:pt x="215" y="79"/>
                  </a:lnTo>
                  <a:lnTo>
                    <a:pt x="215" y="79"/>
                  </a:lnTo>
                  <a:lnTo>
                    <a:pt x="215" y="79"/>
                  </a:lnTo>
                  <a:lnTo>
                    <a:pt x="215" y="80"/>
                  </a:lnTo>
                  <a:lnTo>
                    <a:pt x="215" y="80"/>
                  </a:lnTo>
                  <a:lnTo>
                    <a:pt x="214" y="79"/>
                  </a:lnTo>
                  <a:lnTo>
                    <a:pt x="214" y="79"/>
                  </a:lnTo>
                  <a:lnTo>
                    <a:pt x="214" y="79"/>
                  </a:lnTo>
                  <a:lnTo>
                    <a:pt x="214" y="77"/>
                  </a:lnTo>
                  <a:lnTo>
                    <a:pt x="212" y="79"/>
                  </a:lnTo>
                  <a:lnTo>
                    <a:pt x="212" y="79"/>
                  </a:lnTo>
                  <a:lnTo>
                    <a:pt x="212" y="82"/>
                  </a:lnTo>
                  <a:lnTo>
                    <a:pt x="212" y="83"/>
                  </a:lnTo>
                  <a:lnTo>
                    <a:pt x="211" y="83"/>
                  </a:lnTo>
                  <a:lnTo>
                    <a:pt x="211" y="84"/>
                  </a:lnTo>
                  <a:lnTo>
                    <a:pt x="211" y="86"/>
                  </a:lnTo>
                  <a:lnTo>
                    <a:pt x="211" y="86"/>
                  </a:lnTo>
                  <a:lnTo>
                    <a:pt x="210" y="87"/>
                  </a:lnTo>
                  <a:lnTo>
                    <a:pt x="210" y="87"/>
                  </a:lnTo>
                  <a:lnTo>
                    <a:pt x="210" y="89"/>
                  </a:lnTo>
                  <a:lnTo>
                    <a:pt x="208" y="90"/>
                  </a:lnTo>
                  <a:lnTo>
                    <a:pt x="208" y="92"/>
                  </a:lnTo>
                  <a:lnTo>
                    <a:pt x="208" y="93"/>
                  </a:lnTo>
                  <a:lnTo>
                    <a:pt x="207" y="94"/>
                  </a:lnTo>
                  <a:lnTo>
                    <a:pt x="208" y="94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5" y="99"/>
                  </a:lnTo>
                  <a:lnTo>
                    <a:pt x="204" y="99"/>
                  </a:lnTo>
                  <a:lnTo>
                    <a:pt x="204" y="100"/>
                  </a:lnTo>
                  <a:lnTo>
                    <a:pt x="204" y="100"/>
                  </a:lnTo>
                  <a:lnTo>
                    <a:pt x="204" y="102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2" y="103"/>
                  </a:lnTo>
                  <a:lnTo>
                    <a:pt x="201" y="103"/>
                  </a:lnTo>
                  <a:lnTo>
                    <a:pt x="200" y="103"/>
                  </a:lnTo>
                  <a:lnTo>
                    <a:pt x="198" y="103"/>
                  </a:lnTo>
                  <a:lnTo>
                    <a:pt x="197" y="103"/>
                  </a:lnTo>
                  <a:lnTo>
                    <a:pt x="195" y="102"/>
                  </a:lnTo>
                  <a:lnTo>
                    <a:pt x="195" y="100"/>
                  </a:lnTo>
                  <a:lnTo>
                    <a:pt x="194" y="99"/>
                  </a:lnTo>
                  <a:lnTo>
                    <a:pt x="194" y="96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1" y="96"/>
                  </a:lnTo>
                  <a:lnTo>
                    <a:pt x="190" y="96"/>
                  </a:lnTo>
                  <a:lnTo>
                    <a:pt x="188" y="94"/>
                  </a:lnTo>
                  <a:lnTo>
                    <a:pt x="187" y="94"/>
                  </a:lnTo>
                  <a:lnTo>
                    <a:pt x="185" y="93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2" y="93"/>
                  </a:lnTo>
                  <a:lnTo>
                    <a:pt x="181" y="94"/>
                  </a:lnTo>
                  <a:lnTo>
                    <a:pt x="180" y="94"/>
                  </a:lnTo>
                  <a:lnTo>
                    <a:pt x="180" y="94"/>
                  </a:lnTo>
                  <a:lnTo>
                    <a:pt x="178" y="94"/>
                  </a:lnTo>
                  <a:lnTo>
                    <a:pt x="178" y="94"/>
                  </a:lnTo>
                  <a:lnTo>
                    <a:pt x="180" y="93"/>
                  </a:lnTo>
                  <a:lnTo>
                    <a:pt x="181" y="92"/>
                  </a:lnTo>
                  <a:lnTo>
                    <a:pt x="180" y="92"/>
                  </a:lnTo>
                  <a:lnTo>
                    <a:pt x="178" y="90"/>
                  </a:lnTo>
                  <a:lnTo>
                    <a:pt x="178" y="90"/>
                  </a:lnTo>
                  <a:lnTo>
                    <a:pt x="178" y="89"/>
                  </a:lnTo>
                  <a:lnTo>
                    <a:pt x="178" y="87"/>
                  </a:lnTo>
                  <a:lnTo>
                    <a:pt x="180" y="87"/>
                  </a:lnTo>
                  <a:lnTo>
                    <a:pt x="181" y="87"/>
                  </a:lnTo>
                  <a:lnTo>
                    <a:pt x="181" y="87"/>
                  </a:lnTo>
                  <a:lnTo>
                    <a:pt x="182" y="87"/>
                  </a:lnTo>
                  <a:lnTo>
                    <a:pt x="182" y="86"/>
                  </a:lnTo>
                  <a:lnTo>
                    <a:pt x="184" y="86"/>
                  </a:lnTo>
                  <a:lnTo>
                    <a:pt x="184" y="86"/>
                  </a:lnTo>
                  <a:lnTo>
                    <a:pt x="182" y="84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2" y="79"/>
                  </a:lnTo>
                  <a:lnTo>
                    <a:pt x="182" y="79"/>
                  </a:lnTo>
                  <a:lnTo>
                    <a:pt x="181" y="79"/>
                  </a:lnTo>
                  <a:lnTo>
                    <a:pt x="181" y="77"/>
                  </a:lnTo>
                  <a:lnTo>
                    <a:pt x="181" y="77"/>
                  </a:lnTo>
                  <a:lnTo>
                    <a:pt x="184" y="77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7" y="74"/>
                  </a:lnTo>
                  <a:lnTo>
                    <a:pt x="188" y="73"/>
                  </a:lnTo>
                  <a:lnTo>
                    <a:pt x="190" y="69"/>
                  </a:lnTo>
                  <a:lnTo>
                    <a:pt x="191" y="64"/>
                  </a:lnTo>
                  <a:lnTo>
                    <a:pt x="191" y="63"/>
                  </a:lnTo>
                  <a:lnTo>
                    <a:pt x="190" y="62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88" y="57"/>
                  </a:lnTo>
                  <a:lnTo>
                    <a:pt x="188" y="59"/>
                  </a:lnTo>
                  <a:lnTo>
                    <a:pt x="188" y="63"/>
                  </a:lnTo>
                  <a:lnTo>
                    <a:pt x="188" y="64"/>
                  </a:lnTo>
                  <a:lnTo>
                    <a:pt x="187" y="64"/>
                  </a:lnTo>
                  <a:lnTo>
                    <a:pt x="185" y="64"/>
                  </a:lnTo>
                  <a:lnTo>
                    <a:pt x="187" y="62"/>
                  </a:lnTo>
                  <a:lnTo>
                    <a:pt x="185" y="62"/>
                  </a:lnTo>
                  <a:lnTo>
                    <a:pt x="184" y="64"/>
                  </a:lnTo>
                  <a:lnTo>
                    <a:pt x="182" y="66"/>
                  </a:lnTo>
                  <a:lnTo>
                    <a:pt x="182" y="66"/>
                  </a:lnTo>
                  <a:lnTo>
                    <a:pt x="182" y="67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75" y="62"/>
                  </a:lnTo>
                  <a:lnTo>
                    <a:pt x="172" y="62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59"/>
                  </a:lnTo>
                  <a:lnTo>
                    <a:pt x="172" y="59"/>
                  </a:lnTo>
                  <a:lnTo>
                    <a:pt x="174" y="57"/>
                  </a:lnTo>
                  <a:lnTo>
                    <a:pt x="174" y="54"/>
                  </a:lnTo>
                  <a:lnTo>
                    <a:pt x="174" y="53"/>
                  </a:lnTo>
                  <a:lnTo>
                    <a:pt x="172" y="50"/>
                  </a:lnTo>
                  <a:lnTo>
                    <a:pt x="174" y="46"/>
                  </a:lnTo>
                  <a:lnTo>
                    <a:pt x="174" y="44"/>
                  </a:lnTo>
                  <a:lnTo>
                    <a:pt x="172" y="42"/>
                  </a:lnTo>
                  <a:lnTo>
                    <a:pt x="172" y="40"/>
                  </a:lnTo>
                  <a:lnTo>
                    <a:pt x="177" y="39"/>
                  </a:lnTo>
                  <a:lnTo>
                    <a:pt x="177" y="37"/>
                  </a:lnTo>
                  <a:lnTo>
                    <a:pt x="178" y="34"/>
                  </a:lnTo>
                  <a:lnTo>
                    <a:pt x="180" y="33"/>
                  </a:lnTo>
                  <a:lnTo>
                    <a:pt x="181" y="34"/>
                  </a:lnTo>
                  <a:lnTo>
                    <a:pt x="182" y="34"/>
                  </a:lnTo>
                  <a:lnTo>
                    <a:pt x="180" y="33"/>
                  </a:lnTo>
                  <a:lnTo>
                    <a:pt x="178" y="32"/>
                  </a:lnTo>
                  <a:lnTo>
                    <a:pt x="178" y="30"/>
                  </a:lnTo>
                  <a:lnTo>
                    <a:pt x="181" y="26"/>
                  </a:lnTo>
                  <a:lnTo>
                    <a:pt x="182" y="26"/>
                  </a:lnTo>
                  <a:lnTo>
                    <a:pt x="184" y="24"/>
                  </a:lnTo>
                  <a:lnTo>
                    <a:pt x="185" y="22"/>
                  </a:lnTo>
                  <a:lnTo>
                    <a:pt x="185" y="17"/>
                  </a:lnTo>
                  <a:lnTo>
                    <a:pt x="185" y="14"/>
                  </a:lnTo>
                  <a:lnTo>
                    <a:pt x="185" y="12"/>
                  </a:lnTo>
                  <a:lnTo>
                    <a:pt x="185" y="10"/>
                  </a:lnTo>
                  <a:lnTo>
                    <a:pt x="188" y="10"/>
                  </a:lnTo>
                  <a:lnTo>
                    <a:pt x="190" y="9"/>
                  </a:lnTo>
                  <a:lnTo>
                    <a:pt x="191" y="9"/>
                  </a:lnTo>
                  <a:lnTo>
                    <a:pt x="192" y="9"/>
                  </a:lnTo>
                  <a:lnTo>
                    <a:pt x="195" y="7"/>
                  </a:lnTo>
                  <a:lnTo>
                    <a:pt x="198" y="6"/>
                  </a:lnTo>
                  <a:lnTo>
                    <a:pt x="204" y="4"/>
                  </a:lnTo>
                  <a:lnTo>
                    <a:pt x="205" y="3"/>
                  </a:lnTo>
                  <a:lnTo>
                    <a:pt x="205" y="0"/>
                  </a:lnTo>
                  <a:lnTo>
                    <a:pt x="205" y="2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10" y="4"/>
                  </a:lnTo>
                  <a:lnTo>
                    <a:pt x="210" y="4"/>
                  </a:lnTo>
                  <a:lnTo>
                    <a:pt x="214" y="7"/>
                  </a:lnTo>
                  <a:lnTo>
                    <a:pt x="215" y="9"/>
                  </a:lnTo>
                  <a:lnTo>
                    <a:pt x="218" y="10"/>
                  </a:lnTo>
                  <a:lnTo>
                    <a:pt x="221" y="10"/>
                  </a:lnTo>
                  <a:lnTo>
                    <a:pt x="222" y="10"/>
                  </a:lnTo>
                  <a:lnTo>
                    <a:pt x="224" y="12"/>
                  </a:lnTo>
                  <a:lnTo>
                    <a:pt x="224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7" y="13"/>
                  </a:lnTo>
                  <a:lnTo>
                    <a:pt x="227" y="14"/>
                  </a:lnTo>
                  <a:lnTo>
                    <a:pt x="228" y="17"/>
                  </a:lnTo>
                  <a:lnTo>
                    <a:pt x="228" y="17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19"/>
                  </a:lnTo>
                  <a:lnTo>
                    <a:pt x="234" y="19"/>
                  </a:lnTo>
                  <a:lnTo>
                    <a:pt x="235" y="20"/>
                  </a:lnTo>
                  <a:lnTo>
                    <a:pt x="237" y="20"/>
                  </a:lnTo>
                  <a:lnTo>
                    <a:pt x="238" y="20"/>
                  </a:lnTo>
                  <a:lnTo>
                    <a:pt x="238" y="20"/>
                  </a:lnTo>
                  <a:lnTo>
                    <a:pt x="238" y="20"/>
                  </a:lnTo>
                  <a:lnTo>
                    <a:pt x="239" y="20"/>
                  </a:lnTo>
                  <a:lnTo>
                    <a:pt x="241" y="20"/>
                  </a:lnTo>
                  <a:lnTo>
                    <a:pt x="242" y="20"/>
                  </a:lnTo>
                  <a:lnTo>
                    <a:pt x="244" y="20"/>
                  </a:lnTo>
                  <a:lnTo>
                    <a:pt x="244" y="19"/>
                  </a:lnTo>
                  <a:lnTo>
                    <a:pt x="244" y="17"/>
                  </a:lnTo>
                  <a:lnTo>
                    <a:pt x="244" y="17"/>
                  </a:lnTo>
                  <a:lnTo>
                    <a:pt x="245" y="17"/>
                  </a:lnTo>
                  <a:lnTo>
                    <a:pt x="247" y="17"/>
                  </a:lnTo>
                  <a:lnTo>
                    <a:pt x="249" y="19"/>
                  </a:lnTo>
                  <a:lnTo>
                    <a:pt x="249" y="19"/>
                  </a:lnTo>
                  <a:lnTo>
                    <a:pt x="251" y="20"/>
                  </a:lnTo>
                  <a:lnTo>
                    <a:pt x="252" y="22"/>
                  </a:lnTo>
                  <a:lnTo>
                    <a:pt x="254" y="23"/>
                  </a:lnTo>
                  <a:lnTo>
                    <a:pt x="257" y="23"/>
                  </a:lnTo>
                  <a:lnTo>
                    <a:pt x="259" y="24"/>
                  </a:lnTo>
                  <a:lnTo>
                    <a:pt x="262" y="26"/>
                  </a:lnTo>
                  <a:close/>
                  <a:moveTo>
                    <a:pt x="204" y="4"/>
                  </a:moveTo>
                  <a:lnTo>
                    <a:pt x="202" y="4"/>
                  </a:lnTo>
                  <a:lnTo>
                    <a:pt x="202" y="3"/>
                  </a:lnTo>
                  <a:lnTo>
                    <a:pt x="204" y="3"/>
                  </a:lnTo>
                  <a:lnTo>
                    <a:pt x="204" y="3"/>
                  </a:lnTo>
                  <a:lnTo>
                    <a:pt x="204" y="4"/>
                  </a:lnTo>
                  <a:close/>
                  <a:moveTo>
                    <a:pt x="6" y="23"/>
                  </a:moveTo>
                  <a:lnTo>
                    <a:pt x="7" y="24"/>
                  </a:lnTo>
                  <a:lnTo>
                    <a:pt x="7" y="27"/>
                  </a:lnTo>
                  <a:lnTo>
                    <a:pt x="11" y="30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3" y="34"/>
                  </a:lnTo>
                  <a:lnTo>
                    <a:pt x="13" y="36"/>
                  </a:lnTo>
                  <a:lnTo>
                    <a:pt x="11" y="39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4" y="36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6" y="30"/>
                  </a:lnTo>
                  <a:lnTo>
                    <a:pt x="4" y="29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2"/>
                  </a:lnTo>
                  <a:lnTo>
                    <a:pt x="6" y="23"/>
                  </a:lnTo>
                  <a:lnTo>
                    <a:pt x="6" y="23"/>
                  </a:lnTo>
                  <a:close/>
                  <a:moveTo>
                    <a:pt x="17" y="29"/>
                  </a:moveTo>
                  <a:lnTo>
                    <a:pt x="17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4" y="26"/>
                  </a:lnTo>
                  <a:lnTo>
                    <a:pt x="16" y="27"/>
                  </a:lnTo>
                  <a:lnTo>
                    <a:pt x="17" y="29"/>
                  </a:lnTo>
                  <a:lnTo>
                    <a:pt x="17" y="29"/>
                  </a:lnTo>
                  <a:close/>
                  <a:moveTo>
                    <a:pt x="3" y="32"/>
                  </a:moveTo>
                  <a:lnTo>
                    <a:pt x="1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30"/>
                  </a:lnTo>
                  <a:lnTo>
                    <a:pt x="3" y="32"/>
                  </a:lnTo>
                  <a:close/>
                  <a:moveTo>
                    <a:pt x="21" y="36"/>
                  </a:moveTo>
                  <a:lnTo>
                    <a:pt x="20" y="36"/>
                  </a:lnTo>
                  <a:lnTo>
                    <a:pt x="17" y="34"/>
                  </a:lnTo>
                  <a:lnTo>
                    <a:pt x="17" y="33"/>
                  </a:lnTo>
                  <a:lnTo>
                    <a:pt x="18" y="32"/>
                  </a:lnTo>
                  <a:lnTo>
                    <a:pt x="21" y="32"/>
                  </a:lnTo>
                  <a:lnTo>
                    <a:pt x="23" y="33"/>
                  </a:lnTo>
                  <a:lnTo>
                    <a:pt x="23" y="34"/>
                  </a:lnTo>
                  <a:lnTo>
                    <a:pt x="23" y="36"/>
                  </a:lnTo>
                  <a:lnTo>
                    <a:pt x="21" y="36"/>
                  </a:lnTo>
                  <a:lnTo>
                    <a:pt x="21" y="36"/>
                  </a:lnTo>
                  <a:close/>
                  <a:moveTo>
                    <a:pt x="36" y="39"/>
                  </a:moveTo>
                  <a:lnTo>
                    <a:pt x="34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6" y="36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6" y="39"/>
                  </a:lnTo>
                  <a:close/>
                  <a:moveTo>
                    <a:pt x="20" y="46"/>
                  </a:moveTo>
                  <a:lnTo>
                    <a:pt x="18" y="46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6"/>
                  </a:lnTo>
                  <a:close/>
                  <a:moveTo>
                    <a:pt x="184" y="72"/>
                  </a:moveTo>
                  <a:lnTo>
                    <a:pt x="184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69"/>
                  </a:lnTo>
                  <a:lnTo>
                    <a:pt x="182" y="67"/>
                  </a:lnTo>
                  <a:lnTo>
                    <a:pt x="184" y="67"/>
                  </a:lnTo>
                  <a:lnTo>
                    <a:pt x="185" y="66"/>
                  </a:lnTo>
                  <a:lnTo>
                    <a:pt x="187" y="66"/>
                  </a:lnTo>
                  <a:lnTo>
                    <a:pt x="188" y="67"/>
                  </a:lnTo>
                  <a:lnTo>
                    <a:pt x="187" y="69"/>
                  </a:lnTo>
                  <a:lnTo>
                    <a:pt x="185" y="69"/>
                  </a:lnTo>
                  <a:lnTo>
                    <a:pt x="185" y="69"/>
                  </a:lnTo>
                  <a:lnTo>
                    <a:pt x="184" y="7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Google Shape;198;p3"/>
            <p:cNvSpPr/>
            <p:nvPr/>
          </p:nvSpPr>
          <p:spPr>
            <a:xfrm>
              <a:off x="4229145" y="4038953"/>
              <a:ext cx="136753" cy="108607"/>
            </a:xfrm>
            <a:custGeom>
              <a:rect b="b" l="l" r="r" t="t"/>
              <a:pathLst>
                <a:path extrusionOk="0" h="173" w="195">
                  <a:moveTo>
                    <a:pt x="152" y="6"/>
                  </a:moveTo>
                  <a:lnTo>
                    <a:pt x="152" y="7"/>
                  </a:lnTo>
                  <a:lnTo>
                    <a:pt x="152" y="8"/>
                  </a:lnTo>
                  <a:lnTo>
                    <a:pt x="154" y="13"/>
                  </a:lnTo>
                  <a:lnTo>
                    <a:pt x="155" y="16"/>
                  </a:lnTo>
                  <a:lnTo>
                    <a:pt x="157" y="20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60" y="27"/>
                  </a:lnTo>
                  <a:lnTo>
                    <a:pt x="161" y="31"/>
                  </a:lnTo>
                  <a:lnTo>
                    <a:pt x="161" y="34"/>
                  </a:lnTo>
                  <a:lnTo>
                    <a:pt x="162" y="38"/>
                  </a:lnTo>
                  <a:lnTo>
                    <a:pt x="164" y="40"/>
                  </a:lnTo>
                  <a:lnTo>
                    <a:pt x="162" y="41"/>
                  </a:lnTo>
                  <a:lnTo>
                    <a:pt x="161" y="44"/>
                  </a:lnTo>
                  <a:lnTo>
                    <a:pt x="158" y="53"/>
                  </a:lnTo>
                  <a:lnTo>
                    <a:pt x="155" y="61"/>
                  </a:lnTo>
                  <a:lnTo>
                    <a:pt x="155" y="66"/>
                  </a:lnTo>
                  <a:lnTo>
                    <a:pt x="155" y="67"/>
                  </a:lnTo>
                  <a:lnTo>
                    <a:pt x="154" y="68"/>
                  </a:lnTo>
                  <a:lnTo>
                    <a:pt x="152" y="71"/>
                  </a:lnTo>
                  <a:lnTo>
                    <a:pt x="150" y="70"/>
                  </a:lnTo>
                  <a:lnTo>
                    <a:pt x="145" y="66"/>
                  </a:lnTo>
                  <a:lnTo>
                    <a:pt x="142" y="63"/>
                  </a:lnTo>
                  <a:lnTo>
                    <a:pt x="140" y="60"/>
                  </a:lnTo>
                  <a:lnTo>
                    <a:pt x="137" y="57"/>
                  </a:lnTo>
                  <a:lnTo>
                    <a:pt x="137" y="54"/>
                  </a:lnTo>
                  <a:lnTo>
                    <a:pt x="137" y="53"/>
                  </a:lnTo>
                  <a:lnTo>
                    <a:pt x="135" y="50"/>
                  </a:lnTo>
                  <a:lnTo>
                    <a:pt x="134" y="47"/>
                  </a:lnTo>
                  <a:lnTo>
                    <a:pt x="131" y="44"/>
                  </a:lnTo>
                  <a:lnTo>
                    <a:pt x="130" y="41"/>
                  </a:lnTo>
                  <a:lnTo>
                    <a:pt x="130" y="41"/>
                  </a:lnTo>
                  <a:lnTo>
                    <a:pt x="128" y="40"/>
                  </a:lnTo>
                  <a:lnTo>
                    <a:pt x="127" y="34"/>
                  </a:lnTo>
                  <a:lnTo>
                    <a:pt x="125" y="31"/>
                  </a:lnTo>
                  <a:lnTo>
                    <a:pt x="124" y="31"/>
                  </a:lnTo>
                  <a:lnTo>
                    <a:pt x="125" y="33"/>
                  </a:lnTo>
                  <a:lnTo>
                    <a:pt x="124" y="36"/>
                  </a:lnTo>
                  <a:lnTo>
                    <a:pt x="122" y="37"/>
                  </a:lnTo>
                  <a:lnTo>
                    <a:pt x="122" y="40"/>
                  </a:lnTo>
                  <a:lnTo>
                    <a:pt x="125" y="41"/>
                  </a:lnTo>
                  <a:lnTo>
                    <a:pt x="127" y="43"/>
                  </a:lnTo>
                  <a:lnTo>
                    <a:pt x="127" y="46"/>
                  </a:lnTo>
                  <a:lnTo>
                    <a:pt x="127" y="48"/>
                  </a:lnTo>
                  <a:lnTo>
                    <a:pt x="127" y="50"/>
                  </a:lnTo>
                  <a:lnTo>
                    <a:pt x="130" y="53"/>
                  </a:lnTo>
                  <a:lnTo>
                    <a:pt x="130" y="54"/>
                  </a:lnTo>
                  <a:lnTo>
                    <a:pt x="131" y="56"/>
                  </a:lnTo>
                  <a:lnTo>
                    <a:pt x="131" y="57"/>
                  </a:lnTo>
                  <a:lnTo>
                    <a:pt x="134" y="58"/>
                  </a:lnTo>
                  <a:lnTo>
                    <a:pt x="137" y="63"/>
                  </a:lnTo>
                  <a:lnTo>
                    <a:pt x="138" y="66"/>
                  </a:lnTo>
                  <a:lnTo>
                    <a:pt x="141" y="67"/>
                  </a:lnTo>
                  <a:lnTo>
                    <a:pt x="141" y="68"/>
                  </a:lnTo>
                  <a:lnTo>
                    <a:pt x="142" y="73"/>
                  </a:lnTo>
                  <a:lnTo>
                    <a:pt x="141" y="74"/>
                  </a:lnTo>
                  <a:lnTo>
                    <a:pt x="144" y="77"/>
                  </a:lnTo>
                  <a:lnTo>
                    <a:pt x="144" y="78"/>
                  </a:lnTo>
                  <a:lnTo>
                    <a:pt x="145" y="80"/>
                  </a:lnTo>
                  <a:lnTo>
                    <a:pt x="147" y="81"/>
                  </a:lnTo>
                  <a:lnTo>
                    <a:pt x="147" y="84"/>
                  </a:lnTo>
                  <a:lnTo>
                    <a:pt x="148" y="91"/>
                  </a:lnTo>
                  <a:lnTo>
                    <a:pt x="150" y="93"/>
                  </a:lnTo>
                  <a:lnTo>
                    <a:pt x="154" y="103"/>
                  </a:lnTo>
                  <a:lnTo>
                    <a:pt x="158" y="108"/>
                  </a:lnTo>
                  <a:lnTo>
                    <a:pt x="160" y="113"/>
                  </a:lnTo>
                  <a:lnTo>
                    <a:pt x="162" y="118"/>
                  </a:lnTo>
                  <a:lnTo>
                    <a:pt x="168" y="130"/>
                  </a:lnTo>
                  <a:lnTo>
                    <a:pt x="171" y="133"/>
                  </a:lnTo>
                  <a:lnTo>
                    <a:pt x="172" y="136"/>
                  </a:lnTo>
                  <a:lnTo>
                    <a:pt x="175" y="137"/>
                  </a:lnTo>
                  <a:lnTo>
                    <a:pt x="178" y="140"/>
                  </a:lnTo>
                  <a:lnTo>
                    <a:pt x="175" y="138"/>
                  </a:lnTo>
                  <a:lnTo>
                    <a:pt x="174" y="138"/>
                  </a:lnTo>
                  <a:lnTo>
                    <a:pt x="174" y="140"/>
                  </a:lnTo>
                  <a:lnTo>
                    <a:pt x="172" y="141"/>
                  </a:lnTo>
                  <a:lnTo>
                    <a:pt x="172" y="141"/>
                  </a:lnTo>
                  <a:lnTo>
                    <a:pt x="174" y="148"/>
                  </a:lnTo>
                  <a:lnTo>
                    <a:pt x="174" y="151"/>
                  </a:lnTo>
                  <a:lnTo>
                    <a:pt x="177" y="157"/>
                  </a:lnTo>
                  <a:lnTo>
                    <a:pt x="178" y="158"/>
                  </a:lnTo>
                  <a:lnTo>
                    <a:pt x="178" y="160"/>
                  </a:lnTo>
                  <a:lnTo>
                    <a:pt x="179" y="160"/>
                  </a:lnTo>
                  <a:lnTo>
                    <a:pt x="185" y="161"/>
                  </a:lnTo>
                  <a:lnTo>
                    <a:pt x="188" y="166"/>
                  </a:lnTo>
                  <a:lnTo>
                    <a:pt x="194" y="171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89" y="173"/>
                  </a:lnTo>
                  <a:lnTo>
                    <a:pt x="184" y="173"/>
                  </a:lnTo>
                  <a:lnTo>
                    <a:pt x="179" y="173"/>
                  </a:lnTo>
                  <a:lnTo>
                    <a:pt x="174" y="173"/>
                  </a:lnTo>
                  <a:lnTo>
                    <a:pt x="168" y="173"/>
                  </a:lnTo>
                  <a:lnTo>
                    <a:pt x="164" y="173"/>
                  </a:lnTo>
                  <a:lnTo>
                    <a:pt x="158" y="173"/>
                  </a:lnTo>
                  <a:lnTo>
                    <a:pt x="152" y="173"/>
                  </a:lnTo>
                  <a:lnTo>
                    <a:pt x="148" y="173"/>
                  </a:lnTo>
                  <a:lnTo>
                    <a:pt x="142" y="173"/>
                  </a:lnTo>
                  <a:lnTo>
                    <a:pt x="137" y="173"/>
                  </a:lnTo>
                  <a:lnTo>
                    <a:pt x="132" y="173"/>
                  </a:lnTo>
                  <a:lnTo>
                    <a:pt x="127" y="173"/>
                  </a:lnTo>
                  <a:lnTo>
                    <a:pt x="121" y="173"/>
                  </a:lnTo>
                  <a:lnTo>
                    <a:pt x="115" y="173"/>
                  </a:lnTo>
                  <a:lnTo>
                    <a:pt x="111" y="173"/>
                  </a:lnTo>
                  <a:lnTo>
                    <a:pt x="108" y="173"/>
                  </a:lnTo>
                  <a:lnTo>
                    <a:pt x="108" y="171"/>
                  </a:lnTo>
                  <a:lnTo>
                    <a:pt x="108" y="170"/>
                  </a:lnTo>
                  <a:lnTo>
                    <a:pt x="108" y="170"/>
                  </a:lnTo>
                  <a:lnTo>
                    <a:pt x="107" y="170"/>
                  </a:lnTo>
                  <a:lnTo>
                    <a:pt x="107" y="170"/>
                  </a:lnTo>
                  <a:lnTo>
                    <a:pt x="105" y="173"/>
                  </a:lnTo>
                  <a:lnTo>
                    <a:pt x="104" y="173"/>
                  </a:lnTo>
                  <a:lnTo>
                    <a:pt x="102" y="173"/>
                  </a:lnTo>
                  <a:lnTo>
                    <a:pt x="97" y="173"/>
                  </a:lnTo>
                  <a:lnTo>
                    <a:pt x="90" y="173"/>
                  </a:lnTo>
                  <a:lnTo>
                    <a:pt x="84" y="173"/>
                  </a:lnTo>
                  <a:lnTo>
                    <a:pt x="78" y="173"/>
                  </a:lnTo>
                  <a:lnTo>
                    <a:pt x="71" y="173"/>
                  </a:lnTo>
                  <a:lnTo>
                    <a:pt x="65" y="173"/>
                  </a:lnTo>
                  <a:lnTo>
                    <a:pt x="60" y="173"/>
                  </a:lnTo>
                  <a:lnTo>
                    <a:pt x="54" y="173"/>
                  </a:lnTo>
                  <a:lnTo>
                    <a:pt x="47" y="173"/>
                  </a:lnTo>
                  <a:lnTo>
                    <a:pt x="41" y="173"/>
                  </a:lnTo>
                  <a:lnTo>
                    <a:pt x="35" y="173"/>
                  </a:lnTo>
                  <a:lnTo>
                    <a:pt x="28" y="173"/>
                  </a:lnTo>
                  <a:lnTo>
                    <a:pt x="23" y="173"/>
                  </a:lnTo>
                  <a:lnTo>
                    <a:pt x="17" y="173"/>
                  </a:lnTo>
                  <a:lnTo>
                    <a:pt x="11" y="173"/>
                  </a:lnTo>
                  <a:lnTo>
                    <a:pt x="4" y="173"/>
                  </a:lnTo>
                  <a:lnTo>
                    <a:pt x="4" y="168"/>
                  </a:lnTo>
                  <a:lnTo>
                    <a:pt x="4" y="166"/>
                  </a:lnTo>
                  <a:lnTo>
                    <a:pt x="4" y="161"/>
                  </a:lnTo>
                  <a:lnTo>
                    <a:pt x="4" y="157"/>
                  </a:lnTo>
                  <a:lnTo>
                    <a:pt x="4" y="153"/>
                  </a:lnTo>
                  <a:lnTo>
                    <a:pt x="4" y="150"/>
                  </a:lnTo>
                  <a:lnTo>
                    <a:pt x="4" y="146"/>
                  </a:lnTo>
                  <a:lnTo>
                    <a:pt x="4" y="141"/>
                  </a:lnTo>
                  <a:lnTo>
                    <a:pt x="4" y="138"/>
                  </a:lnTo>
                  <a:lnTo>
                    <a:pt x="4" y="134"/>
                  </a:lnTo>
                  <a:lnTo>
                    <a:pt x="4" y="130"/>
                  </a:lnTo>
                  <a:lnTo>
                    <a:pt x="4" y="126"/>
                  </a:lnTo>
                  <a:lnTo>
                    <a:pt x="4" y="123"/>
                  </a:lnTo>
                  <a:lnTo>
                    <a:pt x="4" y="118"/>
                  </a:lnTo>
                  <a:lnTo>
                    <a:pt x="4" y="114"/>
                  </a:lnTo>
                  <a:lnTo>
                    <a:pt x="4" y="110"/>
                  </a:lnTo>
                  <a:lnTo>
                    <a:pt x="4" y="106"/>
                  </a:lnTo>
                  <a:lnTo>
                    <a:pt x="4" y="103"/>
                  </a:lnTo>
                  <a:lnTo>
                    <a:pt x="4" y="98"/>
                  </a:lnTo>
                  <a:lnTo>
                    <a:pt x="4" y="94"/>
                  </a:lnTo>
                  <a:lnTo>
                    <a:pt x="4" y="90"/>
                  </a:lnTo>
                  <a:lnTo>
                    <a:pt x="4" y="86"/>
                  </a:lnTo>
                  <a:lnTo>
                    <a:pt x="4" y="83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4" y="66"/>
                  </a:lnTo>
                  <a:lnTo>
                    <a:pt x="4" y="61"/>
                  </a:lnTo>
                  <a:lnTo>
                    <a:pt x="4" y="58"/>
                  </a:lnTo>
                  <a:lnTo>
                    <a:pt x="4" y="54"/>
                  </a:lnTo>
                  <a:lnTo>
                    <a:pt x="4" y="50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3"/>
                  </a:lnTo>
                  <a:lnTo>
                    <a:pt x="3" y="38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3" y="23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3" y="11"/>
                  </a:lnTo>
                  <a:lnTo>
                    <a:pt x="3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5" y="3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8" y="0"/>
                  </a:lnTo>
                  <a:lnTo>
                    <a:pt x="28" y="3"/>
                  </a:lnTo>
                  <a:lnTo>
                    <a:pt x="33" y="3"/>
                  </a:lnTo>
                  <a:lnTo>
                    <a:pt x="41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50" y="8"/>
                  </a:lnTo>
                  <a:lnTo>
                    <a:pt x="53" y="10"/>
                  </a:lnTo>
                  <a:lnTo>
                    <a:pt x="61" y="11"/>
                  </a:lnTo>
                  <a:lnTo>
                    <a:pt x="65" y="13"/>
                  </a:lnTo>
                  <a:lnTo>
                    <a:pt x="68" y="14"/>
                  </a:lnTo>
                  <a:lnTo>
                    <a:pt x="70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5" y="13"/>
                  </a:lnTo>
                  <a:lnTo>
                    <a:pt x="78" y="11"/>
                  </a:lnTo>
                  <a:lnTo>
                    <a:pt x="84" y="8"/>
                  </a:lnTo>
                  <a:lnTo>
                    <a:pt x="85" y="7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4" y="3"/>
                  </a:lnTo>
                  <a:lnTo>
                    <a:pt x="100" y="1"/>
                  </a:lnTo>
                  <a:lnTo>
                    <a:pt x="100" y="3"/>
                  </a:lnTo>
                  <a:lnTo>
                    <a:pt x="94" y="4"/>
                  </a:lnTo>
                  <a:lnTo>
                    <a:pt x="95" y="4"/>
                  </a:lnTo>
                  <a:lnTo>
                    <a:pt x="98" y="4"/>
                  </a:lnTo>
                  <a:lnTo>
                    <a:pt x="101" y="4"/>
                  </a:lnTo>
                  <a:lnTo>
                    <a:pt x="101" y="3"/>
                  </a:lnTo>
                  <a:lnTo>
                    <a:pt x="101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10" y="4"/>
                  </a:lnTo>
                  <a:lnTo>
                    <a:pt x="111" y="4"/>
                  </a:lnTo>
                  <a:lnTo>
                    <a:pt x="114" y="3"/>
                  </a:lnTo>
                  <a:lnTo>
                    <a:pt x="115" y="1"/>
                  </a:lnTo>
                  <a:lnTo>
                    <a:pt x="117" y="3"/>
                  </a:lnTo>
                  <a:lnTo>
                    <a:pt x="120" y="6"/>
                  </a:lnTo>
                  <a:lnTo>
                    <a:pt x="118" y="6"/>
                  </a:lnTo>
                  <a:lnTo>
                    <a:pt x="115" y="3"/>
                  </a:lnTo>
                  <a:lnTo>
                    <a:pt x="115" y="4"/>
                  </a:lnTo>
                  <a:lnTo>
                    <a:pt x="112" y="7"/>
                  </a:lnTo>
                  <a:lnTo>
                    <a:pt x="115" y="7"/>
                  </a:lnTo>
                  <a:lnTo>
                    <a:pt x="117" y="8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20" y="10"/>
                  </a:lnTo>
                  <a:lnTo>
                    <a:pt x="121" y="8"/>
                  </a:lnTo>
                  <a:lnTo>
                    <a:pt x="121" y="7"/>
                  </a:lnTo>
                  <a:lnTo>
                    <a:pt x="120" y="7"/>
                  </a:lnTo>
                  <a:lnTo>
                    <a:pt x="121" y="7"/>
                  </a:lnTo>
                  <a:lnTo>
                    <a:pt x="122" y="7"/>
                  </a:lnTo>
                  <a:lnTo>
                    <a:pt x="125" y="10"/>
                  </a:lnTo>
                  <a:lnTo>
                    <a:pt x="127" y="11"/>
                  </a:lnTo>
                  <a:lnTo>
                    <a:pt x="128" y="11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40" y="10"/>
                  </a:lnTo>
                  <a:lnTo>
                    <a:pt x="144" y="10"/>
                  </a:lnTo>
                  <a:lnTo>
                    <a:pt x="147" y="8"/>
                  </a:lnTo>
                  <a:lnTo>
                    <a:pt x="151" y="7"/>
                  </a:lnTo>
                  <a:lnTo>
                    <a:pt x="152" y="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9" name="Google Shape;199;p3"/>
            <p:cNvSpPr/>
            <p:nvPr/>
          </p:nvSpPr>
          <p:spPr>
            <a:xfrm>
              <a:off x="4196885" y="3623988"/>
              <a:ext cx="70831" cy="41434"/>
            </a:xfrm>
            <a:custGeom>
              <a:rect b="b" l="l" r="r" t="t"/>
              <a:pathLst>
                <a:path extrusionOk="0" h="66" w="101">
                  <a:moveTo>
                    <a:pt x="99" y="6"/>
                  </a:moveTo>
                  <a:lnTo>
                    <a:pt x="100" y="7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9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4"/>
                  </a:lnTo>
                  <a:lnTo>
                    <a:pt x="94" y="18"/>
                  </a:lnTo>
                  <a:lnTo>
                    <a:pt x="93" y="23"/>
                  </a:lnTo>
                  <a:lnTo>
                    <a:pt x="91" y="24"/>
                  </a:lnTo>
                  <a:lnTo>
                    <a:pt x="90" y="26"/>
                  </a:lnTo>
                  <a:lnTo>
                    <a:pt x="90" y="27"/>
                  </a:lnTo>
                  <a:lnTo>
                    <a:pt x="90" y="28"/>
                  </a:lnTo>
                  <a:lnTo>
                    <a:pt x="91" y="38"/>
                  </a:lnTo>
                  <a:lnTo>
                    <a:pt x="91" y="40"/>
                  </a:lnTo>
                  <a:lnTo>
                    <a:pt x="91" y="41"/>
                  </a:lnTo>
                  <a:lnTo>
                    <a:pt x="90" y="43"/>
                  </a:lnTo>
                  <a:lnTo>
                    <a:pt x="91" y="44"/>
                  </a:lnTo>
                  <a:lnTo>
                    <a:pt x="91" y="47"/>
                  </a:lnTo>
                  <a:lnTo>
                    <a:pt x="93" y="51"/>
                  </a:lnTo>
                  <a:lnTo>
                    <a:pt x="93" y="53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4" y="56"/>
                  </a:lnTo>
                  <a:lnTo>
                    <a:pt x="91" y="57"/>
                  </a:lnTo>
                  <a:lnTo>
                    <a:pt x="91" y="58"/>
                  </a:lnTo>
                  <a:lnTo>
                    <a:pt x="90" y="60"/>
                  </a:lnTo>
                  <a:lnTo>
                    <a:pt x="89" y="61"/>
                  </a:lnTo>
                  <a:lnTo>
                    <a:pt x="89" y="63"/>
                  </a:lnTo>
                  <a:lnTo>
                    <a:pt x="89" y="64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6" y="66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1" y="63"/>
                  </a:lnTo>
                  <a:lnTo>
                    <a:pt x="80" y="64"/>
                  </a:lnTo>
                  <a:lnTo>
                    <a:pt x="76" y="66"/>
                  </a:lnTo>
                  <a:lnTo>
                    <a:pt x="74" y="64"/>
                  </a:lnTo>
                  <a:lnTo>
                    <a:pt x="71" y="63"/>
                  </a:lnTo>
                  <a:lnTo>
                    <a:pt x="70" y="61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6"/>
                  </a:lnTo>
                  <a:lnTo>
                    <a:pt x="63" y="56"/>
                  </a:lnTo>
                  <a:lnTo>
                    <a:pt x="63" y="54"/>
                  </a:lnTo>
                  <a:lnTo>
                    <a:pt x="61" y="54"/>
                  </a:lnTo>
                  <a:lnTo>
                    <a:pt x="60" y="53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4" y="50"/>
                  </a:lnTo>
                  <a:lnTo>
                    <a:pt x="56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7" y="51"/>
                  </a:lnTo>
                  <a:lnTo>
                    <a:pt x="41" y="54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1" y="48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1"/>
                  </a:lnTo>
                  <a:lnTo>
                    <a:pt x="43" y="40"/>
                  </a:lnTo>
                  <a:lnTo>
                    <a:pt x="41" y="40"/>
                  </a:lnTo>
                  <a:lnTo>
                    <a:pt x="40" y="40"/>
                  </a:lnTo>
                  <a:lnTo>
                    <a:pt x="39" y="41"/>
                  </a:lnTo>
                  <a:lnTo>
                    <a:pt x="39" y="43"/>
                  </a:lnTo>
                  <a:lnTo>
                    <a:pt x="36" y="43"/>
                  </a:lnTo>
                  <a:lnTo>
                    <a:pt x="34" y="41"/>
                  </a:lnTo>
                  <a:lnTo>
                    <a:pt x="32" y="40"/>
                  </a:lnTo>
                  <a:lnTo>
                    <a:pt x="30" y="38"/>
                  </a:lnTo>
                  <a:lnTo>
                    <a:pt x="30" y="36"/>
                  </a:lnTo>
                  <a:lnTo>
                    <a:pt x="27" y="34"/>
                  </a:lnTo>
                  <a:lnTo>
                    <a:pt x="27" y="31"/>
                  </a:lnTo>
                  <a:lnTo>
                    <a:pt x="27" y="30"/>
                  </a:lnTo>
                  <a:lnTo>
                    <a:pt x="29" y="28"/>
                  </a:lnTo>
                  <a:lnTo>
                    <a:pt x="30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3"/>
                  </a:lnTo>
                  <a:lnTo>
                    <a:pt x="26" y="21"/>
                  </a:lnTo>
                  <a:lnTo>
                    <a:pt x="27" y="20"/>
                  </a:lnTo>
                  <a:lnTo>
                    <a:pt x="26" y="20"/>
                  </a:lnTo>
                  <a:lnTo>
                    <a:pt x="26" y="18"/>
                  </a:lnTo>
                  <a:lnTo>
                    <a:pt x="27" y="17"/>
                  </a:lnTo>
                  <a:lnTo>
                    <a:pt x="27" y="14"/>
                  </a:lnTo>
                  <a:lnTo>
                    <a:pt x="29" y="13"/>
                  </a:lnTo>
                  <a:lnTo>
                    <a:pt x="32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9" y="4"/>
                  </a:lnTo>
                  <a:lnTo>
                    <a:pt x="57" y="4"/>
                  </a:lnTo>
                  <a:lnTo>
                    <a:pt x="59" y="3"/>
                  </a:lnTo>
                  <a:lnTo>
                    <a:pt x="59" y="1"/>
                  </a:lnTo>
                  <a:lnTo>
                    <a:pt x="59" y="0"/>
                  </a:lnTo>
                  <a:lnTo>
                    <a:pt x="60" y="1"/>
                  </a:lnTo>
                  <a:lnTo>
                    <a:pt x="63" y="0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80" y="6"/>
                  </a:lnTo>
                  <a:lnTo>
                    <a:pt x="83" y="7"/>
                  </a:lnTo>
                  <a:lnTo>
                    <a:pt x="89" y="7"/>
                  </a:lnTo>
                  <a:lnTo>
                    <a:pt x="97" y="7"/>
                  </a:lnTo>
                  <a:lnTo>
                    <a:pt x="99" y="6"/>
                  </a:lnTo>
                  <a:lnTo>
                    <a:pt x="99" y="6"/>
                  </a:lnTo>
                  <a:close/>
                  <a:moveTo>
                    <a:pt x="17" y="26"/>
                  </a:moveTo>
                  <a:lnTo>
                    <a:pt x="16" y="27"/>
                  </a:lnTo>
                  <a:lnTo>
                    <a:pt x="16" y="27"/>
                  </a:lnTo>
                  <a:lnTo>
                    <a:pt x="14" y="26"/>
                  </a:lnTo>
                  <a:lnTo>
                    <a:pt x="13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10" y="28"/>
                  </a:lnTo>
                  <a:lnTo>
                    <a:pt x="9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3" y="23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7" y="21"/>
                  </a:lnTo>
                  <a:lnTo>
                    <a:pt x="19" y="23"/>
                  </a:lnTo>
                  <a:lnTo>
                    <a:pt x="19" y="26"/>
                  </a:lnTo>
                  <a:lnTo>
                    <a:pt x="17" y="26"/>
                  </a:lnTo>
                  <a:close/>
                  <a:moveTo>
                    <a:pt x="24" y="34"/>
                  </a:moveTo>
                  <a:lnTo>
                    <a:pt x="23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0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4" y="34"/>
                  </a:lnTo>
                  <a:close/>
                  <a:moveTo>
                    <a:pt x="13" y="33"/>
                  </a:moveTo>
                  <a:lnTo>
                    <a:pt x="13" y="33"/>
                  </a:lnTo>
                  <a:lnTo>
                    <a:pt x="14" y="33"/>
                  </a:lnTo>
                  <a:lnTo>
                    <a:pt x="16" y="33"/>
                  </a:lnTo>
                  <a:lnTo>
                    <a:pt x="19" y="33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7" y="41"/>
                  </a:lnTo>
                  <a:lnTo>
                    <a:pt x="14" y="43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7" y="46"/>
                  </a:lnTo>
                  <a:lnTo>
                    <a:pt x="6" y="50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1"/>
                  </a:lnTo>
                  <a:lnTo>
                    <a:pt x="4" y="47"/>
                  </a:lnTo>
                  <a:lnTo>
                    <a:pt x="6" y="47"/>
                  </a:lnTo>
                  <a:lnTo>
                    <a:pt x="4" y="46"/>
                  </a:lnTo>
                  <a:lnTo>
                    <a:pt x="3" y="44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3" y="36"/>
                  </a:lnTo>
                  <a:lnTo>
                    <a:pt x="4" y="37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3" y="3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3"/>
            <p:cNvSpPr/>
            <p:nvPr/>
          </p:nvSpPr>
          <p:spPr>
            <a:xfrm>
              <a:off x="3759976" y="4084781"/>
              <a:ext cx="93974" cy="75334"/>
            </a:xfrm>
            <a:custGeom>
              <a:rect b="b" l="l" r="r" t="t"/>
              <a:pathLst>
                <a:path extrusionOk="0" h="120" w="134">
                  <a:moveTo>
                    <a:pt x="134" y="7"/>
                  </a:moveTo>
                  <a:lnTo>
                    <a:pt x="134" y="10"/>
                  </a:lnTo>
                  <a:lnTo>
                    <a:pt x="134" y="14"/>
                  </a:lnTo>
                  <a:lnTo>
                    <a:pt x="134" y="17"/>
                  </a:lnTo>
                  <a:lnTo>
                    <a:pt x="134" y="21"/>
                  </a:lnTo>
                  <a:lnTo>
                    <a:pt x="134" y="25"/>
                  </a:lnTo>
                  <a:lnTo>
                    <a:pt x="134" y="28"/>
                  </a:lnTo>
                  <a:lnTo>
                    <a:pt x="134" y="30"/>
                  </a:lnTo>
                  <a:lnTo>
                    <a:pt x="131" y="30"/>
                  </a:lnTo>
                  <a:lnTo>
                    <a:pt x="128" y="30"/>
                  </a:lnTo>
                  <a:lnTo>
                    <a:pt x="125" y="30"/>
                  </a:lnTo>
                  <a:lnTo>
                    <a:pt x="122" y="30"/>
                  </a:lnTo>
                  <a:lnTo>
                    <a:pt x="120" y="30"/>
                  </a:lnTo>
                  <a:lnTo>
                    <a:pt x="117" y="30"/>
                  </a:lnTo>
                  <a:lnTo>
                    <a:pt x="114" y="30"/>
                  </a:lnTo>
                  <a:lnTo>
                    <a:pt x="110" y="30"/>
                  </a:lnTo>
                  <a:lnTo>
                    <a:pt x="107" y="30"/>
                  </a:lnTo>
                  <a:lnTo>
                    <a:pt x="104" y="30"/>
                  </a:lnTo>
                  <a:lnTo>
                    <a:pt x="101" y="30"/>
                  </a:lnTo>
                  <a:lnTo>
                    <a:pt x="98" y="30"/>
                  </a:lnTo>
                  <a:lnTo>
                    <a:pt x="95" y="30"/>
                  </a:lnTo>
                  <a:lnTo>
                    <a:pt x="92" y="30"/>
                  </a:lnTo>
                  <a:lnTo>
                    <a:pt x="90" y="30"/>
                  </a:lnTo>
                  <a:lnTo>
                    <a:pt x="87" y="30"/>
                  </a:lnTo>
                  <a:lnTo>
                    <a:pt x="84" y="30"/>
                  </a:lnTo>
                  <a:lnTo>
                    <a:pt x="81" y="30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1" y="37"/>
                  </a:lnTo>
                  <a:lnTo>
                    <a:pt x="81" y="40"/>
                  </a:lnTo>
                  <a:lnTo>
                    <a:pt x="81" y="41"/>
                  </a:lnTo>
                  <a:lnTo>
                    <a:pt x="81" y="44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81" y="51"/>
                  </a:lnTo>
                  <a:lnTo>
                    <a:pt x="81" y="54"/>
                  </a:lnTo>
                  <a:lnTo>
                    <a:pt x="81" y="55"/>
                  </a:lnTo>
                  <a:lnTo>
                    <a:pt x="81" y="58"/>
                  </a:lnTo>
                  <a:lnTo>
                    <a:pt x="81" y="61"/>
                  </a:lnTo>
                  <a:lnTo>
                    <a:pt x="81" y="63"/>
                  </a:lnTo>
                  <a:lnTo>
                    <a:pt x="81" y="65"/>
                  </a:lnTo>
                  <a:lnTo>
                    <a:pt x="81" y="68"/>
                  </a:lnTo>
                  <a:lnTo>
                    <a:pt x="81" y="70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0" y="75"/>
                  </a:lnTo>
                  <a:lnTo>
                    <a:pt x="78" y="75"/>
                  </a:lnTo>
                  <a:lnTo>
                    <a:pt x="75" y="77"/>
                  </a:lnTo>
                  <a:lnTo>
                    <a:pt x="73" y="77"/>
                  </a:lnTo>
                  <a:lnTo>
                    <a:pt x="71" y="78"/>
                  </a:lnTo>
                  <a:lnTo>
                    <a:pt x="70" y="80"/>
                  </a:lnTo>
                  <a:lnTo>
                    <a:pt x="67" y="81"/>
                  </a:lnTo>
                  <a:lnTo>
                    <a:pt x="65" y="83"/>
                  </a:lnTo>
                  <a:lnTo>
                    <a:pt x="64" y="84"/>
                  </a:lnTo>
                  <a:lnTo>
                    <a:pt x="63" y="85"/>
                  </a:lnTo>
                  <a:lnTo>
                    <a:pt x="63" y="87"/>
                  </a:lnTo>
                  <a:lnTo>
                    <a:pt x="63" y="88"/>
                  </a:lnTo>
                  <a:lnTo>
                    <a:pt x="64" y="90"/>
                  </a:lnTo>
                  <a:lnTo>
                    <a:pt x="64" y="91"/>
                  </a:lnTo>
                  <a:lnTo>
                    <a:pt x="64" y="93"/>
                  </a:lnTo>
                  <a:lnTo>
                    <a:pt x="64" y="95"/>
                  </a:lnTo>
                  <a:lnTo>
                    <a:pt x="64" y="97"/>
                  </a:lnTo>
                  <a:lnTo>
                    <a:pt x="64" y="100"/>
                  </a:lnTo>
                  <a:lnTo>
                    <a:pt x="64" y="103"/>
                  </a:lnTo>
                  <a:lnTo>
                    <a:pt x="64" y="104"/>
                  </a:lnTo>
                  <a:lnTo>
                    <a:pt x="65" y="107"/>
                  </a:lnTo>
                  <a:lnTo>
                    <a:pt x="65" y="108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58" y="111"/>
                  </a:lnTo>
                  <a:lnTo>
                    <a:pt x="55" y="111"/>
                  </a:lnTo>
                  <a:lnTo>
                    <a:pt x="51" y="111"/>
                  </a:lnTo>
                  <a:lnTo>
                    <a:pt x="48" y="111"/>
                  </a:lnTo>
                  <a:lnTo>
                    <a:pt x="44" y="111"/>
                  </a:lnTo>
                  <a:lnTo>
                    <a:pt x="41" y="111"/>
                  </a:lnTo>
                  <a:lnTo>
                    <a:pt x="37" y="111"/>
                  </a:lnTo>
                  <a:lnTo>
                    <a:pt x="33" y="111"/>
                  </a:lnTo>
                  <a:lnTo>
                    <a:pt x="30" y="111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18" y="111"/>
                  </a:lnTo>
                  <a:lnTo>
                    <a:pt x="15" y="111"/>
                  </a:lnTo>
                  <a:lnTo>
                    <a:pt x="11" y="111"/>
                  </a:lnTo>
                  <a:lnTo>
                    <a:pt x="7" y="111"/>
                  </a:lnTo>
                  <a:lnTo>
                    <a:pt x="4" y="111"/>
                  </a:lnTo>
                  <a:lnTo>
                    <a:pt x="1" y="111"/>
                  </a:lnTo>
                  <a:lnTo>
                    <a:pt x="1" y="114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11"/>
                  </a:lnTo>
                  <a:lnTo>
                    <a:pt x="1" y="110"/>
                  </a:lnTo>
                  <a:lnTo>
                    <a:pt x="3" y="101"/>
                  </a:lnTo>
                  <a:lnTo>
                    <a:pt x="4" y="97"/>
                  </a:lnTo>
                  <a:lnTo>
                    <a:pt x="7" y="95"/>
                  </a:lnTo>
                  <a:lnTo>
                    <a:pt x="8" y="94"/>
                  </a:lnTo>
                  <a:lnTo>
                    <a:pt x="11" y="90"/>
                  </a:lnTo>
                  <a:lnTo>
                    <a:pt x="13" y="85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5" y="78"/>
                  </a:lnTo>
                  <a:lnTo>
                    <a:pt x="17" y="75"/>
                  </a:lnTo>
                  <a:lnTo>
                    <a:pt x="18" y="73"/>
                  </a:lnTo>
                  <a:lnTo>
                    <a:pt x="20" y="70"/>
                  </a:lnTo>
                  <a:lnTo>
                    <a:pt x="21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8" y="70"/>
                  </a:lnTo>
                  <a:lnTo>
                    <a:pt x="17" y="71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21" y="65"/>
                  </a:lnTo>
                  <a:lnTo>
                    <a:pt x="24" y="64"/>
                  </a:lnTo>
                  <a:lnTo>
                    <a:pt x="30" y="57"/>
                  </a:lnTo>
                  <a:lnTo>
                    <a:pt x="33" y="55"/>
                  </a:lnTo>
                  <a:lnTo>
                    <a:pt x="34" y="53"/>
                  </a:lnTo>
                  <a:lnTo>
                    <a:pt x="35" y="50"/>
                  </a:lnTo>
                  <a:lnTo>
                    <a:pt x="35" y="44"/>
                  </a:lnTo>
                  <a:lnTo>
                    <a:pt x="37" y="41"/>
                  </a:lnTo>
                  <a:lnTo>
                    <a:pt x="38" y="38"/>
                  </a:lnTo>
                  <a:lnTo>
                    <a:pt x="40" y="34"/>
                  </a:lnTo>
                  <a:lnTo>
                    <a:pt x="41" y="31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44" y="24"/>
                  </a:lnTo>
                  <a:lnTo>
                    <a:pt x="47" y="23"/>
                  </a:lnTo>
                  <a:lnTo>
                    <a:pt x="50" y="21"/>
                  </a:lnTo>
                  <a:lnTo>
                    <a:pt x="54" y="18"/>
                  </a:lnTo>
                  <a:lnTo>
                    <a:pt x="55" y="17"/>
                  </a:lnTo>
                  <a:lnTo>
                    <a:pt x="57" y="14"/>
                  </a:lnTo>
                  <a:lnTo>
                    <a:pt x="58" y="10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3"/>
                  </a:lnTo>
                  <a:lnTo>
                    <a:pt x="134" y="7"/>
                  </a:lnTo>
                  <a:lnTo>
                    <a:pt x="134" y="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" name="Google Shape;201;p3"/>
            <p:cNvSpPr/>
            <p:nvPr/>
          </p:nvSpPr>
          <p:spPr>
            <a:xfrm>
              <a:off x="4360989" y="4189622"/>
              <a:ext cx="75039" cy="59012"/>
            </a:xfrm>
            <a:custGeom>
              <a:rect b="b" l="l" r="r" t="t"/>
              <a:pathLst>
                <a:path extrusionOk="0" h="94" w="107">
                  <a:moveTo>
                    <a:pt x="107" y="88"/>
                  </a:moveTo>
                  <a:lnTo>
                    <a:pt x="106" y="88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1" y="93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7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4" y="90"/>
                  </a:lnTo>
                  <a:lnTo>
                    <a:pt x="93" y="88"/>
                  </a:lnTo>
                  <a:lnTo>
                    <a:pt x="91" y="87"/>
                  </a:lnTo>
                  <a:lnTo>
                    <a:pt x="90" y="85"/>
                  </a:lnTo>
                  <a:lnTo>
                    <a:pt x="88" y="85"/>
                  </a:lnTo>
                  <a:lnTo>
                    <a:pt x="87" y="83"/>
                  </a:lnTo>
                  <a:lnTo>
                    <a:pt x="86" y="80"/>
                  </a:lnTo>
                  <a:lnTo>
                    <a:pt x="83" y="78"/>
                  </a:lnTo>
                  <a:lnTo>
                    <a:pt x="79" y="75"/>
                  </a:lnTo>
                  <a:lnTo>
                    <a:pt x="74" y="71"/>
                  </a:lnTo>
                  <a:lnTo>
                    <a:pt x="71" y="67"/>
                  </a:lnTo>
                  <a:lnTo>
                    <a:pt x="70" y="65"/>
                  </a:lnTo>
                  <a:lnTo>
                    <a:pt x="69" y="64"/>
                  </a:lnTo>
                  <a:lnTo>
                    <a:pt x="66" y="63"/>
                  </a:lnTo>
                  <a:lnTo>
                    <a:pt x="63" y="61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6" y="60"/>
                  </a:lnTo>
                  <a:lnTo>
                    <a:pt x="53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9" y="58"/>
                  </a:lnTo>
                  <a:lnTo>
                    <a:pt x="46" y="60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37" y="58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9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1" y="55"/>
                  </a:lnTo>
                  <a:lnTo>
                    <a:pt x="20" y="60"/>
                  </a:lnTo>
                  <a:lnTo>
                    <a:pt x="19" y="61"/>
                  </a:lnTo>
                  <a:lnTo>
                    <a:pt x="19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4" y="61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0" y="61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7" y="63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0" y="58"/>
                  </a:lnTo>
                  <a:lnTo>
                    <a:pt x="0" y="54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1" y="47"/>
                  </a:lnTo>
                  <a:lnTo>
                    <a:pt x="1" y="44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7" y="28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15"/>
                  </a:lnTo>
                  <a:lnTo>
                    <a:pt x="17" y="13"/>
                  </a:lnTo>
                  <a:lnTo>
                    <a:pt x="17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1"/>
                  </a:lnTo>
                  <a:lnTo>
                    <a:pt x="34" y="0"/>
                  </a:lnTo>
                  <a:lnTo>
                    <a:pt x="40" y="10"/>
                  </a:lnTo>
                  <a:lnTo>
                    <a:pt x="41" y="15"/>
                  </a:lnTo>
                  <a:lnTo>
                    <a:pt x="43" y="21"/>
                  </a:lnTo>
                  <a:lnTo>
                    <a:pt x="44" y="31"/>
                  </a:lnTo>
                  <a:lnTo>
                    <a:pt x="46" y="35"/>
                  </a:lnTo>
                  <a:lnTo>
                    <a:pt x="47" y="37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1" y="43"/>
                  </a:lnTo>
                  <a:lnTo>
                    <a:pt x="53" y="47"/>
                  </a:lnTo>
                  <a:lnTo>
                    <a:pt x="53" y="48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5"/>
                  </a:lnTo>
                  <a:lnTo>
                    <a:pt x="54" y="44"/>
                  </a:lnTo>
                  <a:lnTo>
                    <a:pt x="54" y="43"/>
                  </a:lnTo>
                  <a:lnTo>
                    <a:pt x="57" y="44"/>
                  </a:lnTo>
                  <a:lnTo>
                    <a:pt x="57" y="45"/>
                  </a:lnTo>
                  <a:lnTo>
                    <a:pt x="57" y="47"/>
                  </a:lnTo>
                  <a:lnTo>
                    <a:pt x="59" y="48"/>
                  </a:lnTo>
                  <a:lnTo>
                    <a:pt x="60" y="50"/>
                  </a:lnTo>
                  <a:lnTo>
                    <a:pt x="61" y="51"/>
                  </a:lnTo>
                  <a:lnTo>
                    <a:pt x="64" y="51"/>
                  </a:lnTo>
                  <a:lnTo>
                    <a:pt x="66" y="51"/>
                  </a:lnTo>
                  <a:lnTo>
                    <a:pt x="67" y="53"/>
                  </a:lnTo>
                  <a:lnTo>
                    <a:pt x="70" y="54"/>
                  </a:lnTo>
                  <a:lnTo>
                    <a:pt x="76" y="57"/>
                  </a:lnTo>
                  <a:lnTo>
                    <a:pt x="80" y="63"/>
                  </a:lnTo>
                  <a:lnTo>
                    <a:pt x="83" y="67"/>
                  </a:lnTo>
                  <a:lnTo>
                    <a:pt x="93" y="74"/>
                  </a:lnTo>
                  <a:lnTo>
                    <a:pt x="94" y="77"/>
                  </a:lnTo>
                  <a:lnTo>
                    <a:pt x="96" y="80"/>
                  </a:lnTo>
                  <a:lnTo>
                    <a:pt x="97" y="80"/>
                  </a:lnTo>
                  <a:lnTo>
                    <a:pt x="101" y="83"/>
                  </a:lnTo>
                  <a:lnTo>
                    <a:pt x="101" y="85"/>
                  </a:lnTo>
                  <a:lnTo>
                    <a:pt x="104" y="87"/>
                  </a:lnTo>
                  <a:lnTo>
                    <a:pt x="104" y="85"/>
                  </a:lnTo>
                  <a:lnTo>
                    <a:pt x="106" y="85"/>
                  </a:lnTo>
                  <a:lnTo>
                    <a:pt x="107" y="88"/>
                  </a:lnTo>
                  <a:close/>
                  <a:moveTo>
                    <a:pt x="59" y="33"/>
                  </a:moveTo>
                  <a:lnTo>
                    <a:pt x="59" y="34"/>
                  </a:lnTo>
                  <a:lnTo>
                    <a:pt x="57" y="34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9" y="33"/>
                  </a:lnTo>
                  <a:close/>
                  <a:moveTo>
                    <a:pt x="59" y="38"/>
                  </a:move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1" y="38"/>
                  </a:lnTo>
                  <a:lnTo>
                    <a:pt x="63" y="40"/>
                  </a:lnTo>
                  <a:lnTo>
                    <a:pt x="63" y="41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7" y="40"/>
                  </a:lnTo>
                  <a:lnTo>
                    <a:pt x="56" y="38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7" y="38"/>
                  </a:lnTo>
                  <a:lnTo>
                    <a:pt x="56" y="38"/>
                  </a:lnTo>
                  <a:lnTo>
                    <a:pt x="56" y="37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Google Shape;202;p3"/>
            <p:cNvSpPr/>
            <p:nvPr/>
          </p:nvSpPr>
          <p:spPr>
            <a:xfrm>
              <a:off x="3748054" y="3884518"/>
              <a:ext cx="251766" cy="200891"/>
            </a:xfrm>
            <a:custGeom>
              <a:rect b="b" l="l" r="r" t="t"/>
              <a:pathLst>
                <a:path extrusionOk="0" h="320" w="359">
                  <a:moveTo>
                    <a:pt x="262" y="9"/>
                  </a:moveTo>
                  <a:lnTo>
                    <a:pt x="262" y="9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6" y="12"/>
                  </a:lnTo>
                  <a:lnTo>
                    <a:pt x="268" y="12"/>
                  </a:lnTo>
                  <a:lnTo>
                    <a:pt x="268" y="13"/>
                  </a:lnTo>
                  <a:lnTo>
                    <a:pt x="268" y="15"/>
                  </a:lnTo>
                  <a:lnTo>
                    <a:pt x="266" y="15"/>
                  </a:lnTo>
                  <a:lnTo>
                    <a:pt x="266" y="16"/>
                  </a:lnTo>
                  <a:lnTo>
                    <a:pt x="266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69" y="16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72" y="18"/>
                  </a:lnTo>
                  <a:lnTo>
                    <a:pt x="275" y="19"/>
                  </a:lnTo>
                  <a:lnTo>
                    <a:pt x="276" y="19"/>
                  </a:lnTo>
                  <a:lnTo>
                    <a:pt x="278" y="19"/>
                  </a:lnTo>
                  <a:lnTo>
                    <a:pt x="279" y="19"/>
                  </a:lnTo>
                  <a:lnTo>
                    <a:pt x="281" y="22"/>
                  </a:lnTo>
                  <a:lnTo>
                    <a:pt x="282" y="22"/>
                  </a:lnTo>
                  <a:lnTo>
                    <a:pt x="282" y="22"/>
                  </a:lnTo>
                  <a:lnTo>
                    <a:pt x="284" y="22"/>
                  </a:lnTo>
                  <a:lnTo>
                    <a:pt x="285" y="22"/>
                  </a:lnTo>
                  <a:lnTo>
                    <a:pt x="285" y="22"/>
                  </a:lnTo>
                  <a:lnTo>
                    <a:pt x="286" y="22"/>
                  </a:lnTo>
                  <a:lnTo>
                    <a:pt x="288" y="22"/>
                  </a:lnTo>
                  <a:lnTo>
                    <a:pt x="288" y="23"/>
                  </a:lnTo>
                  <a:lnTo>
                    <a:pt x="289" y="23"/>
                  </a:lnTo>
                  <a:lnTo>
                    <a:pt x="289" y="25"/>
                  </a:lnTo>
                  <a:lnTo>
                    <a:pt x="294" y="23"/>
                  </a:lnTo>
                  <a:lnTo>
                    <a:pt x="295" y="25"/>
                  </a:lnTo>
                  <a:lnTo>
                    <a:pt x="295" y="25"/>
                  </a:lnTo>
                  <a:lnTo>
                    <a:pt x="296" y="25"/>
                  </a:lnTo>
                  <a:lnTo>
                    <a:pt x="299" y="25"/>
                  </a:lnTo>
                  <a:lnTo>
                    <a:pt x="301" y="25"/>
                  </a:lnTo>
                  <a:lnTo>
                    <a:pt x="301" y="25"/>
                  </a:lnTo>
                  <a:lnTo>
                    <a:pt x="301" y="22"/>
                  </a:lnTo>
                  <a:lnTo>
                    <a:pt x="301" y="20"/>
                  </a:lnTo>
                  <a:lnTo>
                    <a:pt x="302" y="20"/>
                  </a:lnTo>
                  <a:lnTo>
                    <a:pt x="302" y="20"/>
                  </a:lnTo>
                  <a:lnTo>
                    <a:pt x="306" y="22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11" y="23"/>
                  </a:lnTo>
                  <a:lnTo>
                    <a:pt x="312" y="25"/>
                  </a:lnTo>
                  <a:lnTo>
                    <a:pt x="313" y="26"/>
                  </a:lnTo>
                  <a:lnTo>
                    <a:pt x="313" y="27"/>
                  </a:lnTo>
                  <a:lnTo>
                    <a:pt x="313" y="27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30"/>
                  </a:lnTo>
                  <a:lnTo>
                    <a:pt x="313" y="30"/>
                  </a:lnTo>
                  <a:lnTo>
                    <a:pt x="315" y="29"/>
                  </a:lnTo>
                  <a:lnTo>
                    <a:pt x="316" y="29"/>
                  </a:lnTo>
                  <a:lnTo>
                    <a:pt x="318" y="29"/>
                  </a:lnTo>
                  <a:lnTo>
                    <a:pt x="318" y="29"/>
                  </a:lnTo>
                  <a:lnTo>
                    <a:pt x="321" y="29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32"/>
                  </a:lnTo>
                  <a:lnTo>
                    <a:pt x="323" y="32"/>
                  </a:lnTo>
                  <a:lnTo>
                    <a:pt x="323" y="30"/>
                  </a:lnTo>
                  <a:lnTo>
                    <a:pt x="326" y="30"/>
                  </a:lnTo>
                  <a:lnTo>
                    <a:pt x="328" y="30"/>
                  </a:lnTo>
                  <a:lnTo>
                    <a:pt x="332" y="32"/>
                  </a:lnTo>
                  <a:lnTo>
                    <a:pt x="333" y="32"/>
                  </a:lnTo>
                  <a:lnTo>
                    <a:pt x="333" y="32"/>
                  </a:lnTo>
                  <a:lnTo>
                    <a:pt x="333" y="30"/>
                  </a:lnTo>
                  <a:lnTo>
                    <a:pt x="333" y="30"/>
                  </a:lnTo>
                  <a:lnTo>
                    <a:pt x="335" y="30"/>
                  </a:lnTo>
                  <a:lnTo>
                    <a:pt x="335" y="30"/>
                  </a:lnTo>
                  <a:lnTo>
                    <a:pt x="336" y="29"/>
                  </a:lnTo>
                  <a:lnTo>
                    <a:pt x="338" y="29"/>
                  </a:lnTo>
                  <a:lnTo>
                    <a:pt x="339" y="29"/>
                  </a:lnTo>
                  <a:lnTo>
                    <a:pt x="341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3" y="32"/>
                  </a:lnTo>
                  <a:lnTo>
                    <a:pt x="343" y="33"/>
                  </a:lnTo>
                  <a:lnTo>
                    <a:pt x="342" y="33"/>
                  </a:lnTo>
                  <a:lnTo>
                    <a:pt x="341" y="33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2" y="36"/>
                  </a:lnTo>
                  <a:lnTo>
                    <a:pt x="342" y="37"/>
                  </a:lnTo>
                  <a:lnTo>
                    <a:pt x="342" y="40"/>
                  </a:lnTo>
                  <a:lnTo>
                    <a:pt x="341" y="42"/>
                  </a:lnTo>
                  <a:lnTo>
                    <a:pt x="339" y="45"/>
                  </a:lnTo>
                  <a:lnTo>
                    <a:pt x="328" y="50"/>
                  </a:lnTo>
                  <a:lnTo>
                    <a:pt x="325" y="53"/>
                  </a:lnTo>
                  <a:lnTo>
                    <a:pt x="323" y="55"/>
                  </a:lnTo>
                  <a:lnTo>
                    <a:pt x="315" y="56"/>
                  </a:lnTo>
                  <a:lnTo>
                    <a:pt x="309" y="59"/>
                  </a:lnTo>
                  <a:lnTo>
                    <a:pt x="306" y="59"/>
                  </a:lnTo>
                  <a:lnTo>
                    <a:pt x="303" y="63"/>
                  </a:lnTo>
                  <a:lnTo>
                    <a:pt x="302" y="65"/>
                  </a:lnTo>
                  <a:lnTo>
                    <a:pt x="303" y="65"/>
                  </a:lnTo>
                  <a:lnTo>
                    <a:pt x="305" y="66"/>
                  </a:lnTo>
                  <a:lnTo>
                    <a:pt x="303" y="67"/>
                  </a:lnTo>
                  <a:lnTo>
                    <a:pt x="302" y="69"/>
                  </a:lnTo>
                  <a:lnTo>
                    <a:pt x="301" y="69"/>
                  </a:lnTo>
                  <a:lnTo>
                    <a:pt x="301" y="69"/>
                  </a:lnTo>
                  <a:lnTo>
                    <a:pt x="299" y="69"/>
                  </a:lnTo>
                  <a:lnTo>
                    <a:pt x="296" y="75"/>
                  </a:lnTo>
                  <a:lnTo>
                    <a:pt x="294" y="79"/>
                  </a:lnTo>
                  <a:lnTo>
                    <a:pt x="291" y="82"/>
                  </a:lnTo>
                  <a:lnTo>
                    <a:pt x="289" y="85"/>
                  </a:lnTo>
                  <a:lnTo>
                    <a:pt x="285" y="92"/>
                  </a:lnTo>
                  <a:lnTo>
                    <a:pt x="285" y="93"/>
                  </a:lnTo>
                  <a:lnTo>
                    <a:pt x="288" y="100"/>
                  </a:lnTo>
                  <a:lnTo>
                    <a:pt x="288" y="103"/>
                  </a:lnTo>
                  <a:lnTo>
                    <a:pt x="289" y="105"/>
                  </a:lnTo>
                  <a:lnTo>
                    <a:pt x="294" y="106"/>
                  </a:lnTo>
                  <a:lnTo>
                    <a:pt x="294" y="107"/>
                  </a:lnTo>
                  <a:lnTo>
                    <a:pt x="292" y="109"/>
                  </a:lnTo>
                  <a:lnTo>
                    <a:pt x="289" y="110"/>
                  </a:lnTo>
                  <a:lnTo>
                    <a:pt x="285" y="113"/>
                  </a:lnTo>
                  <a:lnTo>
                    <a:pt x="282" y="116"/>
                  </a:lnTo>
                  <a:lnTo>
                    <a:pt x="282" y="119"/>
                  </a:lnTo>
                  <a:lnTo>
                    <a:pt x="281" y="119"/>
                  </a:lnTo>
                  <a:lnTo>
                    <a:pt x="279" y="123"/>
                  </a:lnTo>
                  <a:lnTo>
                    <a:pt x="278" y="125"/>
                  </a:lnTo>
                  <a:lnTo>
                    <a:pt x="278" y="126"/>
                  </a:lnTo>
                  <a:lnTo>
                    <a:pt x="278" y="127"/>
                  </a:lnTo>
                  <a:lnTo>
                    <a:pt x="278" y="129"/>
                  </a:lnTo>
                  <a:lnTo>
                    <a:pt x="279" y="130"/>
                  </a:lnTo>
                  <a:lnTo>
                    <a:pt x="278" y="130"/>
                  </a:lnTo>
                  <a:lnTo>
                    <a:pt x="278" y="130"/>
                  </a:lnTo>
                  <a:lnTo>
                    <a:pt x="275" y="132"/>
                  </a:lnTo>
                  <a:lnTo>
                    <a:pt x="269" y="132"/>
                  </a:lnTo>
                  <a:lnTo>
                    <a:pt x="264" y="135"/>
                  </a:lnTo>
                  <a:lnTo>
                    <a:pt x="262" y="137"/>
                  </a:lnTo>
                  <a:lnTo>
                    <a:pt x="259" y="143"/>
                  </a:lnTo>
                  <a:lnTo>
                    <a:pt x="256" y="147"/>
                  </a:lnTo>
                  <a:lnTo>
                    <a:pt x="255" y="147"/>
                  </a:lnTo>
                  <a:lnTo>
                    <a:pt x="254" y="146"/>
                  </a:lnTo>
                  <a:lnTo>
                    <a:pt x="251" y="146"/>
                  </a:lnTo>
                  <a:lnTo>
                    <a:pt x="249" y="146"/>
                  </a:lnTo>
                  <a:lnTo>
                    <a:pt x="248" y="147"/>
                  </a:lnTo>
                  <a:lnTo>
                    <a:pt x="246" y="149"/>
                  </a:lnTo>
                  <a:lnTo>
                    <a:pt x="244" y="147"/>
                  </a:lnTo>
                  <a:lnTo>
                    <a:pt x="239" y="147"/>
                  </a:lnTo>
                  <a:lnTo>
                    <a:pt x="238" y="147"/>
                  </a:lnTo>
                  <a:lnTo>
                    <a:pt x="235" y="149"/>
                  </a:lnTo>
                  <a:lnTo>
                    <a:pt x="234" y="147"/>
                  </a:lnTo>
                  <a:lnTo>
                    <a:pt x="229" y="147"/>
                  </a:lnTo>
                  <a:lnTo>
                    <a:pt x="221" y="149"/>
                  </a:lnTo>
                  <a:lnTo>
                    <a:pt x="219" y="149"/>
                  </a:lnTo>
                  <a:lnTo>
                    <a:pt x="218" y="150"/>
                  </a:lnTo>
                  <a:lnTo>
                    <a:pt x="215" y="153"/>
                  </a:lnTo>
                  <a:lnTo>
                    <a:pt x="211" y="153"/>
                  </a:lnTo>
                  <a:lnTo>
                    <a:pt x="208" y="155"/>
                  </a:lnTo>
                  <a:lnTo>
                    <a:pt x="206" y="155"/>
                  </a:lnTo>
                  <a:lnTo>
                    <a:pt x="205" y="157"/>
                  </a:lnTo>
                  <a:lnTo>
                    <a:pt x="205" y="160"/>
                  </a:lnTo>
                  <a:lnTo>
                    <a:pt x="204" y="160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1" y="162"/>
                  </a:lnTo>
                  <a:lnTo>
                    <a:pt x="198" y="160"/>
                  </a:lnTo>
                  <a:lnTo>
                    <a:pt x="195" y="159"/>
                  </a:lnTo>
                  <a:lnTo>
                    <a:pt x="194" y="159"/>
                  </a:lnTo>
                  <a:lnTo>
                    <a:pt x="192" y="156"/>
                  </a:lnTo>
                  <a:lnTo>
                    <a:pt x="191" y="155"/>
                  </a:lnTo>
                  <a:lnTo>
                    <a:pt x="189" y="152"/>
                  </a:lnTo>
                  <a:lnTo>
                    <a:pt x="191" y="152"/>
                  </a:lnTo>
                  <a:lnTo>
                    <a:pt x="189" y="150"/>
                  </a:lnTo>
                  <a:lnTo>
                    <a:pt x="188" y="150"/>
                  </a:lnTo>
                  <a:lnTo>
                    <a:pt x="188" y="147"/>
                  </a:lnTo>
                  <a:lnTo>
                    <a:pt x="189" y="146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89" y="145"/>
                  </a:lnTo>
                  <a:lnTo>
                    <a:pt x="188" y="146"/>
                  </a:lnTo>
                  <a:lnTo>
                    <a:pt x="187" y="143"/>
                  </a:lnTo>
                  <a:lnTo>
                    <a:pt x="181" y="139"/>
                  </a:lnTo>
                  <a:lnTo>
                    <a:pt x="181" y="137"/>
                  </a:lnTo>
                  <a:lnTo>
                    <a:pt x="181" y="137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5" y="139"/>
                  </a:lnTo>
                  <a:lnTo>
                    <a:pt x="172" y="139"/>
                  </a:lnTo>
                  <a:lnTo>
                    <a:pt x="171" y="135"/>
                  </a:lnTo>
                  <a:lnTo>
                    <a:pt x="171" y="132"/>
                  </a:lnTo>
                  <a:lnTo>
                    <a:pt x="171" y="130"/>
                  </a:lnTo>
                  <a:lnTo>
                    <a:pt x="171" y="127"/>
                  </a:lnTo>
                  <a:lnTo>
                    <a:pt x="172" y="127"/>
                  </a:lnTo>
                  <a:lnTo>
                    <a:pt x="174" y="125"/>
                  </a:lnTo>
                  <a:lnTo>
                    <a:pt x="175" y="122"/>
                  </a:lnTo>
                  <a:lnTo>
                    <a:pt x="177" y="122"/>
                  </a:lnTo>
                  <a:lnTo>
                    <a:pt x="178" y="122"/>
                  </a:lnTo>
                  <a:lnTo>
                    <a:pt x="178" y="120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7" y="119"/>
                  </a:lnTo>
                  <a:lnTo>
                    <a:pt x="172" y="113"/>
                  </a:lnTo>
                  <a:lnTo>
                    <a:pt x="172" y="112"/>
                  </a:lnTo>
                  <a:lnTo>
                    <a:pt x="174" y="110"/>
                  </a:lnTo>
                  <a:lnTo>
                    <a:pt x="174" y="109"/>
                  </a:lnTo>
                  <a:lnTo>
                    <a:pt x="174" y="107"/>
                  </a:lnTo>
                  <a:lnTo>
                    <a:pt x="175" y="107"/>
                  </a:lnTo>
                  <a:lnTo>
                    <a:pt x="177" y="106"/>
                  </a:lnTo>
                  <a:lnTo>
                    <a:pt x="178" y="105"/>
                  </a:lnTo>
                  <a:lnTo>
                    <a:pt x="178" y="102"/>
                  </a:lnTo>
                  <a:lnTo>
                    <a:pt x="178" y="100"/>
                  </a:lnTo>
                  <a:lnTo>
                    <a:pt x="178" y="100"/>
                  </a:lnTo>
                  <a:lnTo>
                    <a:pt x="175" y="99"/>
                  </a:lnTo>
                  <a:lnTo>
                    <a:pt x="174" y="95"/>
                  </a:lnTo>
                  <a:lnTo>
                    <a:pt x="172" y="93"/>
                  </a:lnTo>
                  <a:lnTo>
                    <a:pt x="172" y="92"/>
                  </a:lnTo>
                  <a:lnTo>
                    <a:pt x="171" y="92"/>
                  </a:lnTo>
                  <a:lnTo>
                    <a:pt x="169" y="89"/>
                  </a:lnTo>
                  <a:lnTo>
                    <a:pt x="169" y="89"/>
                  </a:lnTo>
                  <a:lnTo>
                    <a:pt x="171" y="87"/>
                  </a:lnTo>
                  <a:lnTo>
                    <a:pt x="177" y="87"/>
                  </a:lnTo>
                  <a:lnTo>
                    <a:pt x="178" y="87"/>
                  </a:lnTo>
                  <a:lnTo>
                    <a:pt x="178" y="87"/>
                  </a:lnTo>
                  <a:lnTo>
                    <a:pt x="179" y="86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8" y="79"/>
                  </a:lnTo>
                  <a:lnTo>
                    <a:pt x="178" y="77"/>
                  </a:lnTo>
                  <a:lnTo>
                    <a:pt x="178" y="77"/>
                  </a:lnTo>
                  <a:lnTo>
                    <a:pt x="179" y="76"/>
                  </a:lnTo>
                  <a:lnTo>
                    <a:pt x="181" y="75"/>
                  </a:lnTo>
                  <a:lnTo>
                    <a:pt x="181" y="75"/>
                  </a:lnTo>
                  <a:lnTo>
                    <a:pt x="181" y="73"/>
                  </a:lnTo>
                  <a:lnTo>
                    <a:pt x="181" y="73"/>
                  </a:lnTo>
                  <a:lnTo>
                    <a:pt x="181" y="72"/>
                  </a:lnTo>
                  <a:lnTo>
                    <a:pt x="181" y="72"/>
                  </a:lnTo>
                  <a:lnTo>
                    <a:pt x="181" y="69"/>
                  </a:lnTo>
                  <a:lnTo>
                    <a:pt x="181" y="67"/>
                  </a:lnTo>
                  <a:lnTo>
                    <a:pt x="181" y="65"/>
                  </a:lnTo>
                  <a:lnTo>
                    <a:pt x="181" y="63"/>
                  </a:lnTo>
                  <a:lnTo>
                    <a:pt x="179" y="60"/>
                  </a:lnTo>
                  <a:lnTo>
                    <a:pt x="179" y="60"/>
                  </a:lnTo>
                  <a:lnTo>
                    <a:pt x="181" y="59"/>
                  </a:lnTo>
                  <a:lnTo>
                    <a:pt x="182" y="57"/>
                  </a:lnTo>
                  <a:lnTo>
                    <a:pt x="184" y="56"/>
                  </a:lnTo>
                  <a:lnTo>
                    <a:pt x="185" y="55"/>
                  </a:lnTo>
                  <a:lnTo>
                    <a:pt x="188" y="53"/>
                  </a:lnTo>
                  <a:lnTo>
                    <a:pt x="189" y="50"/>
                  </a:lnTo>
                  <a:lnTo>
                    <a:pt x="191" y="49"/>
                  </a:lnTo>
                  <a:lnTo>
                    <a:pt x="191" y="49"/>
                  </a:lnTo>
                  <a:lnTo>
                    <a:pt x="191" y="49"/>
                  </a:lnTo>
                  <a:lnTo>
                    <a:pt x="191" y="47"/>
                  </a:lnTo>
                  <a:lnTo>
                    <a:pt x="189" y="47"/>
                  </a:lnTo>
                  <a:lnTo>
                    <a:pt x="188" y="46"/>
                  </a:lnTo>
                  <a:lnTo>
                    <a:pt x="187" y="46"/>
                  </a:lnTo>
                  <a:lnTo>
                    <a:pt x="185" y="46"/>
                  </a:lnTo>
                  <a:lnTo>
                    <a:pt x="185" y="46"/>
                  </a:lnTo>
                  <a:lnTo>
                    <a:pt x="185" y="43"/>
                  </a:lnTo>
                  <a:lnTo>
                    <a:pt x="185" y="42"/>
                  </a:lnTo>
                  <a:lnTo>
                    <a:pt x="185" y="40"/>
                  </a:lnTo>
                  <a:lnTo>
                    <a:pt x="185" y="40"/>
                  </a:lnTo>
                  <a:lnTo>
                    <a:pt x="184" y="40"/>
                  </a:lnTo>
                  <a:lnTo>
                    <a:pt x="182" y="40"/>
                  </a:lnTo>
                  <a:lnTo>
                    <a:pt x="181" y="40"/>
                  </a:lnTo>
                  <a:lnTo>
                    <a:pt x="181" y="40"/>
                  </a:lnTo>
                  <a:lnTo>
                    <a:pt x="178" y="40"/>
                  </a:lnTo>
                  <a:lnTo>
                    <a:pt x="177" y="40"/>
                  </a:lnTo>
                  <a:lnTo>
                    <a:pt x="177" y="39"/>
                  </a:lnTo>
                  <a:lnTo>
                    <a:pt x="175" y="40"/>
                  </a:lnTo>
                  <a:lnTo>
                    <a:pt x="175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4" y="42"/>
                  </a:lnTo>
                  <a:lnTo>
                    <a:pt x="172" y="43"/>
                  </a:lnTo>
                  <a:lnTo>
                    <a:pt x="169" y="43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67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2" y="42"/>
                  </a:lnTo>
                  <a:lnTo>
                    <a:pt x="161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58" y="42"/>
                  </a:lnTo>
                  <a:lnTo>
                    <a:pt x="159" y="40"/>
                  </a:lnTo>
                  <a:lnTo>
                    <a:pt x="161" y="39"/>
                  </a:lnTo>
                  <a:lnTo>
                    <a:pt x="159" y="39"/>
                  </a:lnTo>
                  <a:lnTo>
                    <a:pt x="159" y="37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8" y="36"/>
                  </a:lnTo>
                  <a:lnTo>
                    <a:pt x="157" y="36"/>
                  </a:lnTo>
                  <a:lnTo>
                    <a:pt x="154" y="37"/>
                  </a:lnTo>
                  <a:lnTo>
                    <a:pt x="152" y="37"/>
                  </a:lnTo>
                  <a:lnTo>
                    <a:pt x="151" y="39"/>
                  </a:lnTo>
                  <a:lnTo>
                    <a:pt x="149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37"/>
                  </a:lnTo>
                  <a:lnTo>
                    <a:pt x="149" y="35"/>
                  </a:lnTo>
                  <a:lnTo>
                    <a:pt x="151" y="33"/>
                  </a:lnTo>
                  <a:lnTo>
                    <a:pt x="151" y="33"/>
                  </a:lnTo>
                  <a:lnTo>
                    <a:pt x="149" y="33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51" y="30"/>
                  </a:lnTo>
                  <a:lnTo>
                    <a:pt x="149" y="30"/>
                  </a:lnTo>
                  <a:lnTo>
                    <a:pt x="149" y="29"/>
                  </a:lnTo>
                  <a:lnTo>
                    <a:pt x="149" y="27"/>
                  </a:lnTo>
                  <a:lnTo>
                    <a:pt x="149" y="26"/>
                  </a:lnTo>
                  <a:lnTo>
                    <a:pt x="149" y="25"/>
                  </a:lnTo>
                  <a:lnTo>
                    <a:pt x="147" y="26"/>
                  </a:lnTo>
                  <a:lnTo>
                    <a:pt x="145" y="26"/>
                  </a:lnTo>
                  <a:lnTo>
                    <a:pt x="145" y="25"/>
                  </a:lnTo>
                  <a:lnTo>
                    <a:pt x="147" y="23"/>
                  </a:lnTo>
                  <a:lnTo>
                    <a:pt x="148" y="22"/>
                  </a:lnTo>
                  <a:lnTo>
                    <a:pt x="145" y="22"/>
                  </a:lnTo>
                  <a:lnTo>
                    <a:pt x="144" y="20"/>
                  </a:lnTo>
                  <a:lnTo>
                    <a:pt x="144" y="19"/>
                  </a:lnTo>
                  <a:lnTo>
                    <a:pt x="142" y="18"/>
                  </a:lnTo>
                  <a:lnTo>
                    <a:pt x="142" y="16"/>
                  </a:lnTo>
                  <a:lnTo>
                    <a:pt x="144" y="13"/>
                  </a:lnTo>
                  <a:lnTo>
                    <a:pt x="145" y="13"/>
                  </a:lnTo>
                  <a:lnTo>
                    <a:pt x="147" y="12"/>
                  </a:lnTo>
                  <a:lnTo>
                    <a:pt x="148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5" y="9"/>
                  </a:lnTo>
                  <a:lnTo>
                    <a:pt x="157" y="9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58" y="6"/>
                  </a:lnTo>
                  <a:lnTo>
                    <a:pt x="158" y="5"/>
                  </a:lnTo>
                  <a:lnTo>
                    <a:pt x="159" y="3"/>
                  </a:lnTo>
                  <a:lnTo>
                    <a:pt x="162" y="2"/>
                  </a:lnTo>
                  <a:lnTo>
                    <a:pt x="165" y="2"/>
                  </a:lnTo>
                  <a:lnTo>
                    <a:pt x="167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2" y="2"/>
                  </a:lnTo>
                  <a:lnTo>
                    <a:pt x="174" y="5"/>
                  </a:lnTo>
                  <a:lnTo>
                    <a:pt x="178" y="5"/>
                  </a:lnTo>
                  <a:lnTo>
                    <a:pt x="179" y="5"/>
                  </a:lnTo>
                  <a:lnTo>
                    <a:pt x="185" y="5"/>
                  </a:lnTo>
                  <a:lnTo>
                    <a:pt x="187" y="5"/>
                  </a:lnTo>
                  <a:lnTo>
                    <a:pt x="191" y="5"/>
                  </a:lnTo>
                  <a:lnTo>
                    <a:pt x="194" y="5"/>
                  </a:lnTo>
                  <a:lnTo>
                    <a:pt x="197" y="3"/>
                  </a:lnTo>
                  <a:lnTo>
                    <a:pt x="199" y="5"/>
                  </a:lnTo>
                  <a:lnTo>
                    <a:pt x="205" y="5"/>
                  </a:lnTo>
                  <a:lnTo>
                    <a:pt x="208" y="6"/>
                  </a:lnTo>
                  <a:lnTo>
                    <a:pt x="218" y="9"/>
                  </a:lnTo>
                  <a:lnTo>
                    <a:pt x="221" y="9"/>
                  </a:lnTo>
                  <a:lnTo>
                    <a:pt x="226" y="8"/>
                  </a:lnTo>
                  <a:lnTo>
                    <a:pt x="228" y="6"/>
                  </a:lnTo>
                  <a:lnTo>
                    <a:pt x="229" y="8"/>
                  </a:lnTo>
                  <a:lnTo>
                    <a:pt x="232" y="6"/>
                  </a:lnTo>
                  <a:lnTo>
                    <a:pt x="234" y="6"/>
                  </a:lnTo>
                  <a:lnTo>
                    <a:pt x="235" y="8"/>
                  </a:lnTo>
                  <a:lnTo>
                    <a:pt x="242" y="9"/>
                  </a:lnTo>
                  <a:lnTo>
                    <a:pt x="244" y="8"/>
                  </a:lnTo>
                  <a:lnTo>
                    <a:pt x="245" y="8"/>
                  </a:lnTo>
                  <a:lnTo>
                    <a:pt x="249" y="9"/>
                  </a:lnTo>
                  <a:lnTo>
                    <a:pt x="254" y="10"/>
                  </a:lnTo>
                  <a:lnTo>
                    <a:pt x="255" y="10"/>
                  </a:lnTo>
                  <a:lnTo>
                    <a:pt x="258" y="10"/>
                  </a:lnTo>
                  <a:lnTo>
                    <a:pt x="261" y="9"/>
                  </a:lnTo>
                  <a:lnTo>
                    <a:pt x="262" y="9"/>
                  </a:lnTo>
                  <a:close/>
                  <a:moveTo>
                    <a:pt x="359" y="85"/>
                  </a:moveTo>
                  <a:lnTo>
                    <a:pt x="359" y="85"/>
                  </a:lnTo>
                  <a:lnTo>
                    <a:pt x="353" y="83"/>
                  </a:lnTo>
                  <a:lnTo>
                    <a:pt x="352" y="82"/>
                  </a:lnTo>
                  <a:lnTo>
                    <a:pt x="352" y="82"/>
                  </a:lnTo>
                  <a:lnTo>
                    <a:pt x="352" y="80"/>
                  </a:lnTo>
                  <a:lnTo>
                    <a:pt x="352" y="80"/>
                  </a:lnTo>
                  <a:lnTo>
                    <a:pt x="355" y="80"/>
                  </a:lnTo>
                  <a:lnTo>
                    <a:pt x="358" y="80"/>
                  </a:lnTo>
                  <a:lnTo>
                    <a:pt x="359" y="83"/>
                  </a:lnTo>
                  <a:lnTo>
                    <a:pt x="359" y="83"/>
                  </a:lnTo>
                  <a:lnTo>
                    <a:pt x="359" y="85"/>
                  </a:lnTo>
                  <a:close/>
                  <a:moveTo>
                    <a:pt x="341" y="86"/>
                  </a:moveTo>
                  <a:lnTo>
                    <a:pt x="342" y="86"/>
                  </a:lnTo>
                  <a:lnTo>
                    <a:pt x="343" y="86"/>
                  </a:lnTo>
                  <a:lnTo>
                    <a:pt x="345" y="86"/>
                  </a:lnTo>
                  <a:lnTo>
                    <a:pt x="346" y="86"/>
                  </a:lnTo>
                  <a:lnTo>
                    <a:pt x="346" y="87"/>
                  </a:lnTo>
                  <a:lnTo>
                    <a:pt x="345" y="89"/>
                  </a:lnTo>
                  <a:lnTo>
                    <a:pt x="343" y="90"/>
                  </a:lnTo>
                  <a:lnTo>
                    <a:pt x="343" y="92"/>
                  </a:lnTo>
                  <a:lnTo>
                    <a:pt x="342" y="95"/>
                  </a:lnTo>
                  <a:lnTo>
                    <a:pt x="341" y="95"/>
                  </a:lnTo>
                  <a:lnTo>
                    <a:pt x="339" y="96"/>
                  </a:lnTo>
                  <a:lnTo>
                    <a:pt x="336" y="95"/>
                  </a:lnTo>
                  <a:lnTo>
                    <a:pt x="335" y="95"/>
                  </a:lnTo>
                  <a:lnTo>
                    <a:pt x="335" y="93"/>
                  </a:lnTo>
                  <a:lnTo>
                    <a:pt x="335" y="92"/>
                  </a:lnTo>
                  <a:lnTo>
                    <a:pt x="333" y="90"/>
                  </a:lnTo>
                  <a:lnTo>
                    <a:pt x="332" y="90"/>
                  </a:lnTo>
                  <a:lnTo>
                    <a:pt x="332" y="92"/>
                  </a:lnTo>
                  <a:lnTo>
                    <a:pt x="331" y="92"/>
                  </a:lnTo>
                  <a:lnTo>
                    <a:pt x="329" y="92"/>
                  </a:lnTo>
                  <a:lnTo>
                    <a:pt x="329" y="90"/>
                  </a:lnTo>
                  <a:lnTo>
                    <a:pt x="328" y="90"/>
                  </a:lnTo>
                  <a:lnTo>
                    <a:pt x="328" y="89"/>
                  </a:lnTo>
                  <a:lnTo>
                    <a:pt x="335" y="85"/>
                  </a:lnTo>
                  <a:lnTo>
                    <a:pt x="336" y="83"/>
                  </a:lnTo>
                  <a:lnTo>
                    <a:pt x="341" y="82"/>
                  </a:lnTo>
                  <a:lnTo>
                    <a:pt x="342" y="82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2" y="83"/>
                  </a:lnTo>
                  <a:lnTo>
                    <a:pt x="342" y="85"/>
                  </a:lnTo>
                  <a:lnTo>
                    <a:pt x="341" y="85"/>
                  </a:lnTo>
                  <a:lnTo>
                    <a:pt x="341" y="86"/>
                  </a:lnTo>
                  <a:close/>
                  <a:moveTo>
                    <a:pt x="313" y="103"/>
                  </a:moveTo>
                  <a:lnTo>
                    <a:pt x="313" y="105"/>
                  </a:lnTo>
                  <a:lnTo>
                    <a:pt x="311" y="105"/>
                  </a:lnTo>
                  <a:lnTo>
                    <a:pt x="311" y="105"/>
                  </a:lnTo>
                  <a:lnTo>
                    <a:pt x="311" y="103"/>
                  </a:lnTo>
                  <a:lnTo>
                    <a:pt x="311" y="103"/>
                  </a:lnTo>
                  <a:lnTo>
                    <a:pt x="311" y="102"/>
                  </a:lnTo>
                  <a:lnTo>
                    <a:pt x="312" y="100"/>
                  </a:lnTo>
                  <a:lnTo>
                    <a:pt x="315" y="99"/>
                  </a:lnTo>
                  <a:lnTo>
                    <a:pt x="316" y="100"/>
                  </a:lnTo>
                  <a:lnTo>
                    <a:pt x="316" y="102"/>
                  </a:lnTo>
                  <a:lnTo>
                    <a:pt x="315" y="103"/>
                  </a:lnTo>
                  <a:lnTo>
                    <a:pt x="313" y="103"/>
                  </a:lnTo>
                  <a:close/>
                  <a:moveTo>
                    <a:pt x="316" y="109"/>
                  </a:moveTo>
                  <a:lnTo>
                    <a:pt x="315" y="109"/>
                  </a:lnTo>
                  <a:lnTo>
                    <a:pt x="315" y="109"/>
                  </a:lnTo>
                  <a:lnTo>
                    <a:pt x="313" y="109"/>
                  </a:lnTo>
                  <a:lnTo>
                    <a:pt x="313" y="107"/>
                  </a:lnTo>
                  <a:lnTo>
                    <a:pt x="313" y="107"/>
                  </a:lnTo>
                  <a:lnTo>
                    <a:pt x="313" y="107"/>
                  </a:lnTo>
                  <a:lnTo>
                    <a:pt x="315" y="107"/>
                  </a:lnTo>
                  <a:lnTo>
                    <a:pt x="316" y="109"/>
                  </a:lnTo>
                  <a:lnTo>
                    <a:pt x="316" y="109"/>
                  </a:lnTo>
                  <a:close/>
                  <a:moveTo>
                    <a:pt x="71" y="296"/>
                  </a:moveTo>
                  <a:lnTo>
                    <a:pt x="70" y="297"/>
                  </a:lnTo>
                  <a:lnTo>
                    <a:pt x="68" y="297"/>
                  </a:lnTo>
                  <a:lnTo>
                    <a:pt x="70" y="294"/>
                  </a:lnTo>
                  <a:lnTo>
                    <a:pt x="70" y="294"/>
                  </a:lnTo>
                  <a:lnTo>
                    <a:pt x="72" y="293"/>
                  </a:lnTo>
                  <a:lnTo>
                    <a:pt x="74" y="293"/>
                  </a:lnTo>
                  <a:lnTo>
                    <a:pt x="74" y="292"/>
                  </a:lnTo>
                  <a:lnTo>
                    <a:pt x="75" y="290"/>
                  </a:lnTo>
                  <a:lnTo>
                    <a:pt x="75" y="292"/>
                  </a:lnTo>
                  <a:lnTo>
                    <a:pt x="75" y="292"/>
                  </a:lnTo>
                  <a:lnTo>
                    <a:pt x="75" y="294"/>
                  </a:lnTo>
                  <a:lnTo>
                    <a:pt x="74" y="296"/>
                  </a:lnTo>
                  <a:lnTo>
                    <a:pt x="71" y="296"/>
                  </a:lnTo>
                  <a:close/>
                  <a:moveTo>
                    <a:pt x="5" y="304"/>
                  </a:moveTo>
                  <a:lnTo>
                    <a:pt x="4" y="304"/>
                  </a:lnTo>
                  <a:lnTo>
                    <a:pt x="4" y="303"/>
                  </a:lnTo>
                  <a:lnTo>
                    <a:pt x="3" y="299"/>
                  </a:lnTo>
                  <a:lnTo>
                    <a:pt x="4" y="297"/>
                  </a:lnTo>
                  <a:lnTo>
                    <a:pt x="5" y="297"/>
                  </a:lnTo>
                  <a:lnTo>
                    <a:pt x="7" y="299"/>
                  </a:lnTo>
                  <a:lnTo>
                    <a:pt x="7" y="300"/>
                  </a:lnTo>
                  <a:lnTo>
                    <a:pt x="7" y="300"/>
                  </a:lnTo>
                  <a:lnTo>
                    <a:pt x="7" y="302"/>
                  </a:lnTo>
                  <a:lnTo>
                    <a:pt x="5" y="303"/>
                  </a:lnTo>
                  <a:lnTo>
                    <a:pt x="5" y="304"/>
                  </a:lnTo>
                  <a:close/>
                  <a:moveTo>
                    <a:pt x="62" y="310"/>
                  </a:moveTo>
                  <a:lnTo>
                    <a:pt x="61" y="312"/>
                  </a:lnTo>
                  <a:lnTo>
                    <a:pt x="58" y="312"/>
                  </a:lnTo>
                  <a:lnTo>
                    <a:pt x="58" y="312"/>
                  </a:lnTo>
                  <a:lnTo>
                    <a:pt x="61" y="310"/>
                  </a:lnTo>
                  <a:lnTo>
                    <a:pt x="62" y="309"/>
                  </a:lnTo>
                  <a:lnTo>
                    <a:pt x="64" y="306"/>
                  </a:lnTo>
                  <a:lnTo>
                    <a:pt x="65" y="302"/>
                  </a:lnTo>
                  <a:lnTo>
                    <a:pt x="67" y="300"/>
                  </a:lnTo>
                  <a:lnTo>
                    <a:pt x="67" y="300"/>
                  </a:lnTo>
                  <a:lnTo>
                    <a:pt x="68" y="300"/>
                  </a:lnTo>
                  <a:lnTo>
                    <a:pt x="68" y="300"/>
                  </a:lnTo>
                  <a:lnTo>
                    <a:pt x="70" y="300"/>
                  </a:lnTo>
                  <a:lnTo>
                    <a:pt x="70" y="303"/>
                  </a:lnTo>
                  <a:lnTo>
                    <a:pt x="68" y="306"/>
                  </a:lnTo>
                  <a:lnTo>
                    <a:pt x="67" y="309"/>
                  </a:lnTo>
                  <a:lnTo>
                    <a:pt x="62" y="310"/>
                  </a:lnTo>
                  <a:close/>
                  <a:moveTo>
                    <a:pt x="28" y="306"/>
                  </a:moveTo>
                  <a:lnTo>
                    <a:pt x="27" y="310"/>
                  </a:lnTo>
                  <a:lnTo>
                    <a:pt x="27" y="312"/>
                  </a:lnTo>
                  <a:lnTo>
                    <a:pt x="25" y="313"/>
                  </a:lnTo>
                  <a:lnTo>
                    <a:pt x="24" y="313"/>
                  </a:lnTo>
                  <a:lnTo>
                    <a:pt x="21" y="310"/>
                  </a:lnTo>
                  <a:lnTo>
                    <a:pt x="20" y="307"/>
                  </a:lnTo>
                  <a:lnTo>
                    <a:pt x="20" y="307"/>
                  </a:lnTo>
                  <a:lnTo>
                    <a:pt x="21" y="306"/>
                  </a:lnTo>
                  <a:lnTo>
                    <a:pt x="22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30" y="303"/>
                  </a:lnTo>
                  <a:lnTo>
                    <a:pt x="32" y="303"/>
                  </a:lnTo>
                  <a:lnTo>
                    <a:pt x="32" y="303"/>
                  </a:lnTo>
                  <a:lnTo>
                    <a:pt x="28" y="306"/>
                  </a:lnTo>
                  <a:close/>
                  <a:moveTo>
                    <a:pt x="15" y="313"/>
                  </a:moveTo>
                  <a:lnTo>
                    <a:pt x="14" y="313"/>
                  </a:lnTo>
                  <a:lnTo>
                    <a:pt x="14" y="313"/>
                  </a:lnTo>
                  <a:lnTo>
                    <a:pt x="12" y="312"/>
                  </a:lnTo>
                  <a:lnTo>
                    <a:pt x="14" y="310"/>
                  </a:lnTo>
                  <a:lnTo>
                    <a:pt x="14" y="309"/>
                  </a:lnTo>
                  <a:lnTo>
                    <a:pt x="15" y="310"/>
                  </a:lnTo>
                  <a:lnTo>
                    <a:pt x="15" y="310"/>
                  </a:lnTo>
                  <a:lnTo>
                    <a:pt x="17" y="312"/>
                  </a:lnTo>
                  <a:lnTo>
                    <a:pt x="17" y="312"/>
                  </a:lnTo>
                  <a:lnTo>
                    <a:pt x="15" y="313"/>
                  </a:lnTo>
                  <a:close/>
                  <a:moveTo>
                    <a:pt x="44" y="310"/>
                  </a:moveTo>
                  <a:lnTo>
                    <a:pt x="44" y="312"/>
                  </a:lnTo>
                  <a:lnTo>
                    <a:pt x="44" y="313"/>
                  </a:lnTo>
                  <a:lnTo>
                    <a:pt x="44" y="316"/>
                  </a:lnTo>
                  <a:lnTo>
                    <a:pt x="44" y="316"/>
                  </a:lnTo>
                  <a:lnTo>
                    <a:pt x="41" y="317"/>
                  </a:lnTo>
                  <a:lnTo>
                    <a:pt x="40" y="317"/>
                  </a:lnTo>
                  <a:lnTo>
                    <a:pt x="38" y="317"/>
                  </a:lnTo>
                  <a:lnTo>
                    <a:pt x="37" y="314"/>
                  </a:lnTo>
                  <a:lnTo>
                    <a:pt x="37" y="313"/>
                  </a:lnTo>
                  <a:lnTo>
                    <a:pt x="38" y="312"/>
                  </a:lnTo>
                  <a:lnTo>
                    <a:pt x="40" y="310"/>
                  </a:lnTo>
                  <a:lnTo>
                    <a:pt x="42" y="310"/>
                  </a:lnTo>
                  <a:lnTo>
                    <a:pt x="44" y="310"/>
                  </a:lnTo>
                  <a:lnTo>
                    <a:pt x="44" y="310"/>
                  </a:lnTo>
                  <a:lnTo>
                    <a:pt x="44" y="310"/>
                  </a:lnTo>
                  <a:close/>
                  <a:moveTo>
                    <a:pt x="4" y="316"/>
                  </a:moveTo>
                  <a:lnTo>
                    <a:pt x="3" y="320"/>
                  </a:lnTo>
                  <a:lnTo>
                    <a:pt x="1" y="319"/>
                  </a:lnTo>
                  <a:lnTo>
                    <a:pt x="0" y="319"/>
                  </a:lnTo>
                  <a:lnTo>
                    <a:pt x="0" y="317"/>
                  </a:lnTo>
                  <a:lnTo>
                    <a:pt x="1" y="317"/>
                  </a:lnTo>
                  <a:lnTo>
                    <a:pt x="4" y="316"/>
                  </a:lnTo>
                  <a:lnTo>
                    <a:pt x="4" y="31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Google Shape;203;p3"/>
            <p:cNvSpPr/>
            <p:nvPr/>
          </p:nvSpPr>
          <p:spPr>
            <a:xfrm>
              <a:off x="4321716" y="4222894"/>
              <a:ext cx="168312" cy="115512"/>
            </a:xfrm>
            <a:custGeom>
              <a:rect b="b" l="l" r="r" t="t"/>
              <a:pathLst>
                <a:path extrusionOk="0" h="184" w="240">
                  <a:moveTo>
                    <a:pt x="87" y="7"/>
                  </a:moveTo>
                  <a:lnTo>
                    <a:pt x="89" y="7"/>
                  </a:lnTo>
                  <a:lnTo>
                    <a:pt x="95" y="5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9" y="4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12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7"/>
                  </a:lnTo>
                  <a:lnTo>
                    <a:pt x="119" y="8"/>
                  </a:lnTo>
                  <a:lnTo>
                    <a:pt x="122" y="10"/>
                  </a:lnTo>
                  <a:lnTo>
                    <a:pt x="125" y="11"/>
                  </a:lnTo>
                  <a:lnTo>
                    <a:pt x="126" y="12"/>
                  </a:lnTo>
                  <a:lnTo>
                    <a:pt x="127" y="14"/>
                  </a:lnTo>
                  <a:lnTo>
                    <a:pt x="130" y="18"/>
                  </a:lnTo>
                  <a:lnTo>
                    <a:pt x="135" y="22"/>
                  </a:lnTo>
                  <a:lnTo>
                    <a:pt x="139" y="25"/>
                  </a:lnTo>
                  <a:lnTo>
                    <a:pt x="142" y="27"/>
                  </a:lnTo>
                  <a:lnTo>
                    <a:pt x="143" y="30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7" y="34"/>
                  </a:lnTo>
                  <a:lnTo>
                    <a:pt x="149" y="35"/>
                  </a:lnTo>
                  <a:lnTo>
                    <a:pt x="150" y="37"/>
                  </a:lnTo>
                  <a:lnTo>
                    <a:pt x="152" y="40"/>
                  </a:lnTo>
                  <a:lnTo>
                    <a:pt x="149" y="41"/>
                  </a:lnTo>
                  <a:lnTo>
                    <a:pt x="147" y="44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4"/>
                  </a:lnTo>
                  <a:lnTo>
                    <a:pt x="142" y="57"/>
                  </a:lnTo>
                  <a:lnTo>
                    <a:pt x="142" y="60"/>
                  </a:lnTo>
                  <a:lnTo>
                    <a:pt x="142" y="62"/>
                  </a:lnTo>
                  <a:lnTo>
                    <a:pt x="143" y="64"/>
                  </a:lnTo>
                  <a:lnTo>
                    <a:pt x="144" y="64"/>
                  </a:lnTo>
                  <a:lnTo>
                    <a:pt x="146" y="64"/>
                  </a:lnTo>
                  <a:lnTo>
                    <a:pt x="147" y="62"/>
                  </a:lnTo>
                  <a:lnTo>
                    <a:pt x="150" y="62"/>
                  </a:lnTo>
                  <a:lnTo>
                    <a:pt x="153" y="62"/>
                  </a:lnTo>
                  <a:lnTo>
                    <a:pt x="154" y="61"/>
                  </a:lnTo>
                  <a:lnTo>
                    <a:pt x="156" y="61"/>
                  </a:lnTo>
                  <a:lnTo>
                    <a:pt x="157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60" y="62"/>
                  </a:lnTo>
                  <a:lnTo>
                    <a:pt x="159" y="64"/>
                  </a:lnTo>
                  <a:lnTo>
                    <a:pt x="159" y="64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6" y="71"/>
                  </a:lnTo>
                  <a:lnTo>
                    <a:pt x="157" y="72"/>
                  </a:lnTo>
                  <a:lnTo>
                    <a:pt x="157" y="75"/>
                  </a:lnTo>
                  <a:lnTo>
                    <a:pt x="159" y="75"/>
                  </a:lnTo>
                  <a:lnTo>
                    <a:pt x="160" y="77"/>
                  </a:lnTo>
                  <a:lnTo>
                    <a:pt x="162" y="78"/>
                  </a:lnTo>
                  <a:lnTo>
                    <a:pt x="162" y="80"/>
                  </a:lnTo>
                  <a:lnTo>
                    <a:pt x="164" y="81"/>
                  </a:lnTo>
                  <a:lnTo>
                    <a:pt x="164" y="82"/>
                  </a:lnTo>
                  <a:lnTo>
                    <a:pt x="166" y="85"/>
                  </a:lnTo>
                  <a:lnTo>
                    <a:pt x="167" y="87"/>
                  </a:lnTo>
                  <a:lnTo>
                    <a:pt x="169" y="90"/>
                  </a:lnTo>
                  <a:lnTo>
                    <a:pt x="170" y="90"/>
                  </a:lnTo>
                  <a:lnTo>
                    <a:pt x="170" y="90"/>
                  </a:lnTo>
                  <a:lnTo>
                    <a:pt x="174" y="92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82" y="97"/>
                  </a:lnTo>
                  <a:lnTo>
                    <a:pt x="187" y="98"/>
                  </a:lnTo>
                  <a:lnTo>
                    <a:pt x="192" y="100"/>
                  </a:lnTo>
                  <a:lnTo>
                    <a:pt x="197" y="102"/>
                  </a:lnTo>
                  <a:lnTo>
                    <a:pt x="202" y="104"/>
                  </a:lnTo>
                  <a:lnTo>
                    <a:pt x="207" y="105"/>
                  </a:lnTo>
                  <a:lnTo>
                    <a:pt x="214" y="108"/>
                  </a:lnTo>
                  <a:lnTo>
                    <a:pt x="219" y="110"/>
                  </a:lnTo>
                  <a:lnTo>
                    <a:pt x="224" y="111"/>
                  </a:lnTo>
                  <a:lnTo>
                    <a:pt x="224" y="111"/>
                  </a:lnTo>
                  <a:lnTo>
                    <a:pt x="230" y="111"/>
                  </a:lnTo>
                  <a:lnTo>
                    <a:pt x="236" y="111"/>
                  </a:lnTo>
                  <a:lnTo>
                    <a:pt x="240" y="111"/>
                  </a:lnTo>
                  <a:lnTo>
                    <a:pt x="237" y="115"/>
                  </a:lnTo>
                  <a:lnTo>
                    <a:pt x="233" y="120"/>
                  </a:lnTo>
                  <a:lnTo>
                    <a:pt x="227" y="124"/>
                  </a:lnTo>
                  <a:lnTo>
                    <a:pt x="224" y="127"/>
                  </a:lnTo>
                  <a:lnTo>
                    <a:pt x="220" y="131"/>
                  </a:lnTo>
                  <a:lnTo>
                    <a:pt x="216" y="135"/>
                  </a:lnTo>
                  <a:lnTo>
                    <a:pt x="212" y="139"/>
                  </a:lnTo>
                  <a:lnTo>
                    <a:pt x="207" y="144"/>
                  </a:lnTo>
                  <a:lnTo>
                    <a:pt x="203" y="148"/>
                  </a:lnTo>
                  <a:lnTo>
                    <a:pt x="200" y="152"/>
                  </a:lnTo>
                  <a:lnTo>
                    <a:pt x="194" y="158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87" y="161"/>
                  </a:lnTo>
                  <a:lnTo>
                    <a:pt x="183" y="161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6" y="161"/>
                  </a:lnTo>
                  <a:lnTo>
                    <a:pt x="174" y="161"/>
                  </a:lnTo>
                  <a:lnTo>
                    <a:pt x="170" y="161"/>
                  </a:lnTo>
                  <a:lnTo>
                    <a:pt x="170" y="162"/>
                  </a:lnTo>
                  <a:lnTo>
                    <a:pt x="166" y="164"/>
                  </a:lnTo>
                  <a:lnTo>
                    <a:pt x="163" y="165"/>
                  </a:lnTo>
                  <a:lnTo>
                    <a:pt x="162" y="167"/>
                  </a:lnTo>
                  <a:lnTo>
                    <a:pt x="160" y="168"/>
                  </a:lnTo>
                  <a:lnTo>
                    <a:pt x="159" y="169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0" y="172"/>
                  </a:lnTo>
                  <a:lnTo>
                    <a:pt x="149" y="172"/>
                  </a:lnTo>
                  <a:lnTo>
                    <a:pt x="146" y="174"/>
                  </a:lnTo>
                  <a:lnTo>
                    <a:pt x="143" y="175"/>
                  </a:lnTo>
                  <a:lnTo>
                    <a:pt x="143" y="175"/>
                  </a:lnTo>
                  <a:lnTo>
                    <a:pt x="140" y="175"/>
                  </a:lnTo>
                  <a:lnTo>
                    <a:pt x="136" y="175"/>
                  </a:lnTo>
                  <a:lnTo>
                    <a:pt x="135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2" y="175"/>
                  </a:lnTo>
                  <a:lnTo>
                    <a:pt x="130" y="175"/>
                  </a:lnTo>
                  <a:lnTo>
                    <a:pt x="129" y="174"/>
                  </a:lnTo>
                  <a:lnTo>
                    <a:pt x="127" y="172"/>
                  </a:lnTo>
                  <a:lnTo>
                    <a:pt x="125" y="171"/>
                  </a:lnTo>
                  <a:lnTo>
                    <a:pt x="122" y="172"/>
                  </a:lnTo>
                  <a:lnTo>
                    <a:pt x="117" y="174"/>
                  </a:lnTo>
                  <a:lnTo>
                    <a:pt x="113" y="177"/>
                  </a:lnTo>
                  <a:lnTo>
                    <a:pt x="110" y="178"/>
                  </a:lnTo>
                  <a:lnTo>
                    <a:pt x="109" y="179"/>
                  </a:lnTo>
                  <a:lnTo>
                    <a:pt x="107" y="182"/>
                  </a:lnTo>
                  <a:lnTo>
                    <a:pt x="106" y="184"/>
                  </a:lnTo>
                  <a:lnTo>
                    <a:pt x="105" y="184"/>
                  </a:lnTo>
                  <a:lnTo>
                    <a:pt x="100" y="184"/>
                  </a:lnTo>
                  <a:lnTo>
                    <a:pt x="99" y="184"/>
                  </a:lnTo>
                  <a:lnTo>
                    <a:pt x="96" y="182"/>
                  </a:lnTo>
                  <a:lnTo>
                    <a:pt x="93" y="182"/>
                  </a:lnTo>
                  <a:lnTo>
                    <a:pt x="90" y="182"/>
                  </a:lnTo>
                  <a:lnTo>
                    <a:pt x="87" y="181"/>
                  </a:lnTo>
                  <a:lnTo>
                    <a:pt x="85" y="181"/>
                  </a:lnTo>
                  <a:lnTo>
                    <a:pt x="82" y="181"/>
                  </a:lnTo>
                  <a:lnTo>
                    <a:pt x="80" y="179"/>
                  </a:lnTo>
                  <a:lnTo>
                    <a:pt x="77" y="178"/>
                  </a:lnTo>
                  <a:lnTo>
                    <a:pt x="75" y="175"/>
                  </a:lnTo>
                  <a:lnTo>
                    <a:pt x="70" y="174"/>
                  </a:lnTo>
                  <a:lnTo>
                    <a:pt x="67" y="171"/>
                  </a:lnTo>
                  <a:lnTo>
                    <a:pt x="63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57" y="168"/>
                  </a:lnTo>
                  <a:lnTo>
                    <a:pt x="53" y="168"/>
                  </a:lnTo>
                  <a:lnTo>
                    <a:pt x="50" y="168"/>
                  </a:lnTo>
                  <a:lnTo>
                    <a:pt x="49" y="168"/>
                  </a:lnTo>
                  <a:lnTo>
                    <a:pt x="49" y="167"/>
                  </a:lnTo>
                  <a:lnTo>
                    <a:pt x="47" y="165"/>
                  </a:lnTo>
                  <a:lnTo>
                    <a:pt x="46" y="164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8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5"/>
                  </a:lnTo>
                  <a:lnTo>
                    <a:pt x="45" y="154"/>
                  </a:lnTo>
                  <a:lnTo>
                    <a:pt x="40" y="152"/>
                  </a:lnTo>
                  <a:lnTo>
                    <a:pt x="39" y="152"/>
                  </a:lnTo>
                  <a:lnTo>
                    <a:pt x="39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6" y="149"/>
                  </a:lnTo>
                  <a:lnTo>
                    <a:pt x="35" y="148"/>
                  </a:lnTo>
                  <a:lnTo>
                    <a:pt x="33" y="147"/>
                  </a:lnTo>
                  <a:lnTo>
                    <a:pt x="33" y="145"/>
                  </a:lnTo>
                  <a:lnTo>
                    <a:pt x="32" y="142"/>
                  </a:lnTo>
                  <a:lnTo>
                    <a:pt x="32" y="141"/>
                  </a:lnTo>
                  <a:lnTo>
                    <a:pt x="30" y="138"/>
                  </a:lnTo>
                  <a:lnTo>
                    <a:pt x="29" y="134"/>
                  </a:lnTo>
                  <a:lnTo>
                    <a:pt x="28" y="132"/>
                  </a:lnTo>
                  <a:lnTo>
                    <a:pt x="28" y="132"/>
                  </a:lnTo>
                  <a:lnTo>
                    <a:pt x="26" y="131"/>
                  </a:lnTo>
                  <a:lnTo>
                    <a:pt x="25" y="129"/>
                  </a:lnTo>
                  <a:lnTo>
                    <a:pt x="22" y="127"/>
                  </a:lnTo>
                  <a:lnTo>
                    <a:pt x="20" y="125"/>
                  </a:lnTo>
                  <a:lnTo>
                    <a:pt x="18" y="124"/>
                  </a:lnTo>
                  <a:lnTo>
                    <a:pt x="18" y="122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5" y="120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9" y="115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2" y="114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2" y="111"/>
                  </a:lnTo>
                  <a:lnTo>
                    <a:pt x="3" y="107"/>
                  </a:lnTo>
                  <a:lnTo>
                    <a:pt x="5" y="105"/>
                  </a:lnTo>
                  <a:lnTo>
                    <a:pt x="5" y="104"/>
                  </a:lnTo>
                  <a:lnTo>
                    <a:pt x="8" y="104"/>
                  </a:lnTo>
                  <a:lnTo>
                    <a:pt x="9" y="104"/>
                  </a:lnTo>
                  <a:lnTo>
                    <a:pt x="10" y="104"/>
                  </a:lnTo>
                  <a:lnTo>
                    <a:pt x="13" y="104"/>
                  </a:lnTo>
                  <a:lnTo>
                    <a:pt x="16" y="104"/>
                  </a:lnTo>
                  <a:lnTo>
                    <a:pt x="18" y="104"/>
                  </a:lnTo>
                  <a:lnTo>
                    <a:pt x="18" y="102"/>
                  </a:lnTo>
                  <a:lnTo>
                    <a:pt x="19" y="102"/>
                  </a:lnTo>
                  <a:lnTo>
                    <a:pt x="19" y="101"/>
                  </a:lnTo>
                  <a:lnTo>
                    <a:pt x="19" y="100"/>
                  </a:lnTo>
                  <a:lnTo>
                    <a:pt x="19" y="94"/>
                  </a:lnTo>
                  <a:lnTo>
                    <a:pt x="18" y="91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9" y="84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2" y="77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1"/>
                  </a:lnTo>
                  <a:lnTo>
                    <a:pt x="22" y="68"/>
                  </a:lnTo>
                  <a:lnTo>
                    <a:pt x="23" y="67"/>
                  </a:lnTo>
                  <a:lnTo>
                    <a:pt x="25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9" y="67"/>
                  </a:lnTo>
                  <a:lnTo>
                    <a:pt x="30" y="67"/>
                  </a:lnTo>
                  <a:lnTo>
                    <a:pt x="30" y="65"/>
                  </a:lnTo>
                  <a:lnTo>
                    <a:pt x="32" y="65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8"/>
                  </a:lnTo>
                  <a:lnTo>
                    <a:pt x="33" y="55"/>
                  </a:lnTo>
                  <a:lnTo>
                    <a:pt x="33" y="52"/>
                  </a:lnTo>
                  <a:lnTo>
                    <a:pt x="35" y="51"/>
                  </a:lnTo>
                  <a:lnTo>
                    <a:pt x="35" y="50"/>
                  </a:lnTo>
                  <a:lnTo>
                    <a:pt x="38" y="47"/>
                  </a:lnTo>
                  <a:lnTo>
                    <a:pt x="39" y="44"/>
                  </a:lnTo>
                  <a:lnTo>
                    <a:pt x="40" y="41"/>
                  </a:lnTo>
                  <a:lnTo>
                    <a:pt x="42" y="38"/>
                  </a:lnTo>
                  <a:lnTo>
                    <a:pt x="43" y="37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1"/>
                  </a:lnTo>
                  <a:lnTo>
                    <a:pt x="52" y="28"/>
                  </a:lnTo>
                  <a:lnTo>
                    <a:pt x="52" y="25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5" y="21"/>
                  </a:lnTo>
                  <a:lnTo>
                    <a:pt x="55" y="20"/>
                  </a:lnTo>
                  <a:lnTo>
                    <a:pt x="56" y="17"/>
                  </a:lnTo>
                  <a:lnTo>
                    <a:pt x="56" y="14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6" y="10"/>
                  </a:lnTo>
                  <a:lnTo>
                    <a:pt x="66" y="8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9" y="7"/>
                  </a:lnTo>
                  <a:lnTo>
                    <a:pt x="70" y="8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8"/>
                  </a:lnTo>
                  <a:lnTo>
                    <a:pt x="76" y="7"/>
                  </a:lnTo>
                  <a:lnTo>
                    <a:pt x="77" y="2"/>
                  </a:lnTo>
                  <a:lnTo>
                    <a:pt x="79" y="0"/>
                  </a:lnTo>
                  <a:lnTo>
                    <a:pt x="80" y="1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5" y="4"/>
                  </a:lnTo>
                  <a:lnTo>
                    <a:pt x="87" y="7"/>
                  </a:lnTo>
                  <a:lnTo>
                    <a:pt x="87" y="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Google Shape;204;p3"/>
            <p:cNvSpPr/>
            <p:nvPr/>
          </p:nvSpPr>
          <p:spPr>
            <a:xfrm>
              <a:off x="4182859" y="3374129"/>
              <a:ext cx="123428" cy="246092"/>
            </a:xfrm>
            <a:custGeom>
              <a:rect b="b" l="l" r="r" t="t"/>
              <a:pathLst>
                <a:path extrusionOk="0" h="392" w="176">
                  <a:moveTo>
                    <a:pt x="134" y="48"/>
                  </a:moveTo>
                  <a:lnTo>
                    <a:pt x="133" y="48"/>
                  </a:lnTo>
                  <a:lnTo>
                    <a:pt x="130" y="51"/>
                  </a:lnTo>
                  <a:lnTo>
                    <a:pt x="127" y="52"/>
                  </a:lnTo>
                  <a:lnTo>
                    <a:pt x="126" y="54"/>
                  </a:lnTo>
                  <a:lnTo>
                    <a:pt x="126" y="55"/>
                  </a:lnTo>
                  <a:lnTo>
                    <a:pt x="130" y="55"/>
                  </a:lnTo>
                  <a:lnTo>
                    <a:pt x="130" y="55"/>
                  </a:lnTo>
                  <a:lnTo>
                    <a:pt x="131" y="57"/>
                  </a:lnTo>
                  <a:lnTo>
                    <a:pt x="131" y="57"/>
                  </a:lnTo>
                  <a:lnTo>
                    <a:pt x="131" y="60"/>
                  </a:lnTo>
                  <a:lnTo>
                    <a:pt x="127" y="70"/>
                  </a:lnTo>
                  <a:lnTo>
                    <a:pt x="126" y="71"/>
                  </a:lnTo>
                  <a:lnTo>
                    <a:pt x="127" y="78"/>
                  </a:lnTo>
                  <a:lnTo>
                    <a:pt x="130" y="84"/>
                  </a:lnTo>
                  <a:lnTo>
                    <a:pt x="136" y="88"/>
                  </a:lnTo>
                  <a:lnTo>
                    <a:pt x="140" y="90"/>
                  </a:lnTo>
                  <a:lnTo>
                    <a:pt x="143" y="95"/>
                  </a:lnTo>
                  <a:lnTo>
                    <a:pt x="149" y="102"/>
                  </a:lnTo>
                  <a:lnTo>
                    <a:pt x="150" y="105"/>
                  </a:lnTo>
                  <a:lnTo>
                    <a:pt x="150" y="107"/>
                  </a:lnTo>
                  <a:lnTo>
                    <a:pt x="150" y="112"/>
                  </a:lnTo>
                  <a:lnTo>
                    <a:pt x="147" y="117"/>
                  </a:lnTo>
                  <a:lnTo>
                    <a:pt x="144" y="121"/>
                  </a:lnTo>
                  <a:lnTo>
                    <a:pt x="141" y="127"/>
                  </a:lnTo>
                  <a:lnTo>
                    <a:pt x="139" y="131"/>
                  </a:lnTo>
                  <a:lnTo>
                    <a:pt x="136" y="135"/>
                  </a:lnTo>
                  <a:lnTo>
                    <a:pt x="136" y="137"/>
                  </a:lnTo>
                  <a:lnTo>
                    <a:pt x="136" y="140"/>
                  </a:lnTo>
                  <a:lnTo>
                    <a:pt x="136" y="141"/>
                  </a:lnTo>
                  <a:lnTo>
                    <a:pt x="140" y="147"/>
                  </a:lnTo>
                  <a:lnTo>
                    <a:pt x="141" y="150"/>
                  </a:lnTo>
                  <a:lnTo>
                    <a:pt x="143" y="154"/>
                  </a:lnTo>
                  <a:lnTo>
                    <a:pt x="143" y="157"/>
                  </a:lnTo>
                  <a:lnTo>
                    <a:pt x="144" y="161"/>
                  </a:lnTo>
                  <a:lnTo>
                    <a:pt x="146" y="164"/>
                  </a:lnTo>
                  <a:lnTo>
                    <a:pt x="146" y="165"/>
                  </a:lnTo>
                  <a:lnTo>
                    <a:pt x="147" y="168"/>
                  </a:lnTo>
                  <a:lnTo>
                    <a:pt x="149" y="171"/>
                  </a:lnTo>
                  <a:lnTo>
                    <a:pt x="150" y="174"/>
                  </a:lnTo>
                  <a:lnTo>
                    <a:pt x="153" y="182"/>
                  </a:lnTo>
                  <a:lnTo>
                    <a:pt x="153" y="185"/>
                  </a:lnTo>
                  <a:lnTo>
                    <a:pt x="153" y="187"/>
                  </a:lnTo>
                  <a:lnTo>
                    <a:pt x="151" y="188"/>
                  </a:lnTo>
                  <a:lnTo>
                    <a:pt x="149" y="188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9" y="191"/>
                  </a:lnTo>
                  <a:lnTo>
                    <a:pt x="147" y="195"/>
                  </a:lnTo>
                  <a:lnTo>
                    <a:pt x="146" y="201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5"/>
                  </a:lnTo>
                  <a:lnTo>
                    <a:pt x="147" y="205"/>
                  </a:lnTo>
                  <a:lnTo>
                    <a:pt x="149" y="207"/>
                  </a:lnTo>
                  <a:lnTo>
                    <a:pt x="149" y="208"/>
                  </a:lnTo>
                  <a:lnTo>
                    <a:pt x="147" y="209"/>
                  </a:lnTo>
                  <a:lnTo>
                    <a:pt x="146" y="211"/>
                  </a:lnTo>
                  <a:lnTo>
                    <a:pt x="144" y="212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6" y="217"/>
                  </a:lnTo>
                  <a:lnTo>
                    <a:pt x="146" y="219"/>
                  </a:lnTo>
                  <a:lnTo>
                    <a:pt x="147" y="221"/>
                  </a:lnTo>
                  <a:lnTo>
                    <a:pt x="151" y="222"/>
                  </a:lnTo>
                  <a:lnTo>
                    <a:pt x="153" y="224"/>
                  </a:lnTo>
                  <a:lnTo>
                    <a:pt x="153" y="225"/>
                  </a:lnTo>
                  <a:lnTo>
                    <a:pt x="153" y="227"/>
                  </a:lnTo>
                  <a:lnTo>
                    <a:pt x="150" y="229"/>
                  </a:lnTo>
                  <a:lnTo>
                    <a:pt x="150" y="231"/>
                  </a:lnTo>
                  <a:lnTo>
                    <a:pt x="151" y="234"/>
                  </a:lnTo>
                  <a:lnTo>
                    <a:pt x="153" y="237"/>
                  </a:lnTo>
                  <a:lnTo>
                    <a:pt x="157" y="239"/>
                  </a:lnTo>
                  <a:lnTo>
                    <a:pt x="158" y="242"/>
                  </a:lnTo>
                  <a:lnTo>
                    <a:pt x="158" y="244"/>
                  </a:lnTo>
                  <a:lnTo>
                    <a:pt x="160" y="245"/>
                  </a:lnTo>
                  <a:lnTo>
                    <a:pt x="158" y="248"/>
                  </a:lnTo>
                  <a:lnTo>
                    <a:pt x="158" y="249"/>
                  </a:lnTo>
                  <a:lnTo>
                    <a:pt x="157" y="252"/>
                  </a:lnTo>
                  <a:lnTo>
                    <a:pt x="154" y="258"/>
                  </a:lnTo>
                  <a:lnTo>
                    <a:pt x="151" y="259"/>
                  </a:lnTo>
                  <a:lnTo>
                    <a:pt x="150" y="259"/>
                  </a:lnTo>
                  <a:lnTo>
                    <a:pt x="151" y="262"/>
                  </a:lnTo>
                  <a:lnTo>
                    <a:pt x="157" y="268"/>
                  </a:lnTo>
                  <a:lnTo>
                    <a:pt x="161" y="271"/>
                  </a:lnTo>
                  <a:lnTo>
                    <a:pt x="167" y="275"/>
                  </a:lnTo>
                  <a:lnTo>
                    <a:pt x="170" y="279"/>
                  </a:lnTo>
                  <a:lnTo>
                    <a:pt x="171" y="281"/>
                  </a:lnTo>
                  <a:lnTo>
                    <a:pt x="173" y="284"/>
                  </a:lnTo>
                  <a:lnTo>
                    <a:pt x="174" y="287"/>
                  </a:lnTo>
                  <a:lnTo>
                    <a:pt x="176" y="288"/>
                  </a:lnTo>
                  <a:lnTo>
                    <a:pt x="176" y="289"/>
                  </a:lnTo>
                  <a:lnTo>
                    <a:pt x="176" y="291"/>
                  </a:lnTo>
                  <a:lnTo>
                    <a:pt x="174" y="294"/>
                  </a:lnTo>
                  <a:lnTo>
                    <a:pt x="173" y="297"/>
                  </a:lnTo>
                  <a:lnTo>
                    <a:pt x="171" y="301"/>
                  </a:lnTo>
                  <a:lnTo>
                    <a:pt x="170" y="305"/>
                  </a:lnTo>
                  <a:lnTo>
                    <a:pt x="166" y="309"/>
                  </a:lnTo>
                  <a:lnTo>
                    <a:pt x="160" y="317"/>
                  </a:lnTo>
                  <a:lnTo>
                    <a:pt x="158" y="318"/>
                  </a:lnTo>
                  <a:lnTo>
                    <a:pt x="156" y="322"/>
                  </a:lnTo>
                  <a:lnTo>
                    <a:pt x="151" y="329"/>
                  </a:lnTo>
                  <a:lnTo>
                    <a:pt x="150" y="331"/>
                  </a:lnTo>
                  <a:lnTo>
                    <a:pt x="146" y="337"/>
                  </a:lnTo>
                  <a:lnTo>
                    <a:pt x="144" y="338"/>
                  </a:lnTo>
                  <a:lnTo>
                    <a:pt x="143" y="339"/>
                  </a:lnTo>
                  <a:lnTo>
                    <a:pt x="139" y="345"/>
                  </a:lnTo>
                  <a:lnTo>
                    <a:pt x="134" y="349"/>
                  </a:lnTo>
                  <a:lnTo>
                    <a:pt x="130" y="352"/>
                  </a:lnTo>
                  <a:lnTo>
                    <a:pt x="130" y="355"/>
                  </a:lnTo>
                  <a:lnTo>
                    <a:pt x="129" y="357"/>
                  </a:lnTo>
                  <a:lnTo>
                    <a:pt x="126" y="357"/>
                  </a:lnTo>
                  <a:lnTo>
                    <a:pt x="126" y="358"/>
                  </a:lnTo>
                  <a:lnTo>
                    <a:pt x="121" y="362"/>
                  </a:lnTo>
                  <a:lnTo>
                    <a:pt x="116" y="369"/>
                  </a:lnTo>
                  <a:lnTo>
                    <a:pt x="114" y="369"/>
                  </a:lnTo>
                  <a:lnTo>
                    <a:pt x="113" y="371"/>
                  </a:lnTo>
                  <a:lnTo>
                    <a:pt x="111" y="371"/>
                  </a:lnTo>
                  <a:lnTo>
                    <a:pt x="110" y="372"/>
                  </a:lnTo>
                  <a:lnTo>
                    <a:pt x="107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1" y="372"/>
                  </a:lnTo>
                  <a:lnTo>
                    <a:pt x="99" y="372"/>
                  </a:lnTo>
                  <a:lnTo>
                    <a:pt x="96" y="372"/>
                  </a:lnTo>
                  <a:lnTo>
                    <a:pt x="96" y="374"/>
                  </a:lnTo>
                  <a:lnTo>
                    <a:pt x="96" y="372"/>
                  </a:lnTo>
                  <a:lnTo>
                    <a:pt x="96" y="369"/>
                  </a:lnTo>
                  <a:lnTo>
                    <a:pt x="96" y="368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4" y="369"/>
                  </a:lnTo>
                  <a:lnTo>
                    <a:pt x="94" y="372"/>
                  </a:lnTo>
                  <a:lnTo>
                    <a:pt x="93" y="374"/>
                  </a:lnTo>
                  <a:lnTo>
                    <a:pt x="90" y="374"/>
                  </a:lnTo>
                  <a:lnTo>
                    <a:pt x="87" y="372"/>
                  </a:lnTo>
                  <a:lnTo>
                    <a:pt x="86" y="372"/>
                  </a:lnTo>
                  <a:lnTo>
                    <a:pt x="87" y="374"/>
                  </a:lnTo>
                  <a:lnTo>
                    <a:pt x="87" y="375"/>
                  </a:lnTo>
                  <a:lnTo>
                    <a:pt x="87" y="377"/>
                  </a:lnTo>
                  <a:lnTo>
                    <a:pt x="86" y="377"/>
                  </a:lnTo>
                  <a:lnTo>
                    <a:pt x="84" y="377"/>
                  </a:lnTo>
                  <a:lnTo>
                    <a:pt x="83" y="378"/>
                  </a:lnTo>
                  <a:lnTo>
                    <a:pt x="81" y="378"/>
                  </a:lnTo>
                  <a:lnTo>
                    <a:pt x="81" y="377"/>
                  </a:lnTo>
                  <a:lnTo>
                    <a:pt x="80" y="378"/>
                  </a:lnTo>
                  <a:lnTo>
                    <a:pt x="79" y="378"/>
                  </a:lnTo>
                  <a:lnTo>
                    <a:pt x="74" y="379"/>
                  </a:lnTo>
                  <a:lnTo>
                    <a:pt x="73" y="381"/>
                  </a:lnTo>
                  <a:lnTo>
                    <a:pt x="70" y="382"/>
                  </a:lnTo>
                  <a:lnTo>
                    <a:pt x="69" y="382"/>
                  </a:lnTo>
                  <a:lnTo>
                    <a:pt x="64" y="384"/>
                  </a:lnTo>
                  <a:lnTo>
                    <a:pt x="63" y="385"/>
                  </a:lnTo>
                  <a:lnTo>
                    <a:pt x="61" y="387"/>
                  </a:lnTo>
                  <a:lnTo>
                    <a:pt x="60" y="385"/>
                  </a:lnTo>
                  <a:lnTo>
                    <a:pt x="56" y="387"/>
                  </a:lnTo>
                  <a:lnTo>
                    <a:pt x="50" y="388"/>
                  </a:lnTo>
                  <a:lnTo>
                    <a:pt x="49" y="388"/>
                  </a:lnTo>
                  <a:lnTo>
                    <a:pt x="46" y="388"/>
                  </a:lnTo>
                  <a:lnTo>
                    <a:pt x="44" y="389"/>
                  </a:lnTo>
                  <a:lnTo>
                    <a:pt x="42" y="392"/>
                  </a:lnTo>
                  <a:lnTo>
                    <a:pt x="39" y="392"/>
                  </a:lnTo>
                  <a:lnTo>
                    <a:pt x="39" y="392"/>
                  </a:lnTo>
                  <a:lnTo>
                    <a:pt x="39" y="391"/>
                  </a:lnTo>
                  <a:lnTo>
                    <a:pt x="40" y="389"/>
                  </a:lnTo>
                  <a:lnTo>
                    <a:pt x="42" y="388"/>
                  </a:lnTo>
                  <a:lnTo>
                    <a:pt x="42" y="387"/>
                  </a:lnTo>
                  <a:lnTo>
                    <a:pt x="42" y="385"/>
                  </a:lnTo>
                  <a:lnTo>
                    <a:pt x="40" y="385"/>
                  </a:lnTo>
                  <a:lnTo>
                    <a:pt x="39" y="384"/>
                  </a:lnTo>
                  <a:lnTo>
                    <a:pt x="37" y="381"/>
                  </a:lnTo>
                  <a:lnTo>
                    <a:pt x="37" y="381"/>
                  </a:lnTo>
                  <a:lnTo>
                    <a:pt x="36" y="381"/>
                  </a:lnTo>
                  <a:lnTo>
                    <a:pt x="36" y="384"/>
                  </a:lnTo>
                  <a:lnTo>
                    <a:pt x="36" y="385"/>
                  </a:lnTo>
                  <a:lnTo>
                    <a:pt x="34" y="385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0" y="387"/>
                  </a:lnTo>
                  <a:lnTo>
                    <a:pt x="30" y="385"/>
                  </a:lnTo>
                  <a:lnTo>
                    <a:pt x="30" y="384"/>
                  </a:lnTo>
                  <a:lnTo>
                    <a:pt x="30" y="382"/>
                  </a:lnTo>
                  <a:lnTo>
                    <a:pt x="30" y="382"/>
                  </a:lnTo>
                  <a:lnTo>
                    <a:pt x="30" y="381"/>
                  </a:lnTo>
                  <a:lnTo>
                    <a:pt x="32" y="381"/>
                  </a:lnTo>
                  <a:lnTo>
                    <a:pt x="32" y="381"/>
                  </a:lnTo>
                  <a:lnTo>
                    <a:pt x="32" y="379"/>
                  </a:lnTo>
                  <a:lnTo>
                    <a:pt x="32" y="379"/>
                  </a:lnTo>
                  <a:lnTo>
                    <a:pt x="32" y="378"/>
                  </a:lnTo>
                  <a:lnTo>
                    <a:pt x="32" y="378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32" y="375"/>
                  </a:lnTo>
                  <a:lnTo>
                    <a:pt x="27" y="374"/>
                  </a:lnTo>
                  <a:lnTo>
                    <a:pt x="22" y="371"/>
                  </a:lnTo>
                  <a:lnTo>
                    <a:pt x="20" y="371"/>
                  </a:lnTo>
                  <a:lnTo>
                    <a:pt x="20" y="368"/>
                  </a:lnTo>
                  <a:lnTo>
                    <a:pt x="19" y="368"/>
                  </a:lnTo>
                  <a:lnTo>
                    <a:pt x="16" y="369"/>
                  </a:lnTo>
                  <a:lnTo>
                    <a:pt x="14" y="368"/>
                  </a:lnTo>
                  <a:lnTo>
                    <a:pt x="13" y="368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2"/>
                  </a:lnTo>
                  <a:lnTo>
                    <a:pt x="13" y="359"/>
                  </a:lnTo>
                  <a:lnTo>
                    <a:pt x="13" y="355"/>
                  </a:lnTo>
                  <a:lnTo>
                    <a:pt x="13" y="352"/>
                  </a:lnTo>
                  <a:lnTo>
                    <a:pt x="14" y="351"/>
                  </a:lnTo>
                  <a:lnTo>
                    <a:pt x="14" y="349"/>
                  </a:lnTo>
                  <a:lnTo>
                    <a:pt x="14" y="345"/>
                  </a:lnTo>
                  <a:lnTo>
                    <a:pt x="14" y="341"/>
                  </a:lnTo>
                  <a:lnTo>
                    <a:pt x="14" y="339"/>
                  </a:lnTo>
                  <a:lnTo>
                    <a:pt x="14" y="338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4" y="337"/>
                  </a:lnTo>
                  <a:lnTo>
                    <a:pt x="14" y="337"/>
                  </a:lnTo>
                  <a:lnTo>
                    <a:pt x="14" y="335"/>
                  </a:lnTo>
                  <a:lnTo>
                    <a:pt x="16" y="335"/>
                  </a:lnTo>
                  <a:lnTo>
                    <a:pt x="16" y="335"/>
                  </a:lnTo>
                  <a:lnTo>
                    <a:pt x="16" y="335"/>
                  </a:lnTo>
                  <a:lnTo>
                    <a:pt x="16" y="332"/>
                  </a:lnTo>
                  <a:lnTo>
                    <a:pt x="16" y="331"/>
                  </a:lnTo>
                  <a:lnTo>
                    <a:pt x="14" y="328"/>
                  </a:lnTo>
                  <a:lnTo>
                    <a:pt x="13" y="324"/>
                  </a:lnTo>
                  <a:lnTo>
                    <a:pt x="10" y="321"/>
                  </a:lnTo>
                  <a:lnTo>
                    <a:pt x="12" y="317"/>
                  </a:lnTo>
                  <a:lnTo>
                    <a:pt x="13" y="314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9" y="307"/>
                  </a:lnTo>
                  <a:lnTo>
                    <a:pt x="9" y="304"/>
                  </a:lnTo>
                  <a:lnTo>
                    <a:pt x="9" y="299"/>
                  </a:lnTo>
                  <a:lnTo>
                    <a:pt x="9" y="297"/>
                  </a:lnTo>
                  <a:lnTo>
                    <a:pt x="9" y="295"/>
                  </a:lnTo>
                  <a:lnTo>
                    <a:pt x="10" y="294"/>
                  </a:lnTo>
                  <a:lnTo>
                    <a:pt x="14" y="288"/>
                  </a:lnTo>
                  <a:lnTo>
                    <a:pt x="14" y="285"/>
                  </a:lnTo>
                  <a:lnTo>
                    <a:pt x="17" y="285"/>
                  </a:lnTo>
                  <a:lnTo>
                    <a:pt x="16" y="282"/>
                  </a:lnTo>
                  <a:lnTo>
                    <a:pt x="16" y="281"/>
                  </a:lnTo>
                  <a:lnTo>
                    <a:pt x="16" y="279"/>
                  </a:lnTo>
                  <a:lnTo>
                    <a:pt x="20" y="278"/>
                  </a:lnTo>
                  <a:lnTo>
                    <a:pt x="22" y="279"/>
                  </a:lnTo>
                  <a:lnTo>
                    <a:pt x="24" y="278"/>
                  </a:lnTo>
                  <a:lnTo>
                    <a:pt x="27" y="275"/>
                  </a:lnTo>
                  <a:lnTo>
                    <a:pt x="27" y="274"/>
                  </a:lnTo>
                  <a:lnTo>
                    <a:pt x="27" y="272"/>
                  </a:lnTo>
                  <a:lnTo>
                    <a:pt x="27" y="271"/>
                  </a:lnTo>
                  <a:lnTo>
                    <a:pt x="27" y="271"/>
                  </a:lnTo>
                  <a:lnTo>
                    <a:pt x="29" y="271"/>
                  </a:lnTo>
                  <a:lnTo>
                    <a:pt x="27" y="269"/>
                  </a:lnTo>
                  <a:lnTo>
                    <a:pt x="27" y="268"/>
                  </a:lnTo>
                  <a:lnTo>
                    <a:pt x="29" y="269"/>
                  </a:lnTo>
                  <a:lnTo>
                    <a:pt x="32" y="265"/>
                  </a:lnTo>
                  <a:lnTo>
                    <a:pt x="32" y="264"/>
                  </a:lnTo>
                  <a:lnTo>
                    <a:pt x="34" y="262"/>
                  </a:lnTo>
                  <a:lnTo>
                    <a:pt x="39" y="257"/>
                  </a:lnTo>
                  <a:lnTo>
                    <a:pt x="42" y="255"/>
                  </a:lnTo>
                  <a:lnTo>
                    <a:pt x="43" y="254"/>
                  </a:lnTo>
                  <a:lnTo>
                    <a:pt x="47" y="249"/>
                  </a:lnTo>
                  <a:lnTo>
                    <a:pt x="49" y="249"/>
                  </a:lnTo>
                  <a:lnTo>
                    <a:pt x="49" y="245"/>
                  </a:lnTo>
                  <a:lnTo>
                    <a:pt x="53" y="241"/>
                  </a:lnTo>
                  <a:lnTo>
                    <a:pt x="53" y="241"/>
                  </a:lnTo>
                  <a:lnTo>
                    <a:pt x="54" y="237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63" y="224"/>
                  </a:lnTo>
                  <a:lnTo>
                    <a:pt x="64" y="221"/>
                  </a:lnTo>
                  <a:lnTo>
                    <a:pt x="66" y="221"/>
                  </a:lnTo>
                  <a:lnTo>
                    <a:pt x="67" y="219"/>
                  </a:lnTo>
                  <a:lnTo>
                    <a:pt x="70" y="218"/>
                  </a:lnTo>
                  <a:lnTo>
                    <a:pt x="73" y="218"/>
                  </a:lnTo>
                  <a:lnTo>
                    <a:pt x="74" y="219"/>
                  </a:lnTo>
                  <a:lnTo>
                    <a:pt x="76" y="218"/>
                  </a:lnTo>
                  <a:lnTo>
                    <a:pt x="76" y="217"/>
                  </a:lnTo>
                  <a:lnTo>
                    <a:pt x="74" y="215"/>
                  </a:lnTo>
                  <a:lnTo>
                    <a:pt x="76" y="214"/>
                  </a:lnTo>
                  <a:lnTo>
                    <a:pt x="77" y="212"/>
                  </a:lnTo>
                  <a:lnTo>
                    <a:pt x="77" y="211"/>
                  </a:lnTo>
                  <a:lnTo>
                    <a:pt x="76" y="209"/>
                  </a:lnTo>
                  <a:lnTo>
                    <a:pt x="74" y="208"/>
                  </a:lnTo>
                  <a:lnTo>
                    <a:pt x="76" y="204"/>
                  </a:lnTo>
                  <a:lnTo>
                    <a:pt x="76" y="199"/>
                  </a:lnTo>
                  <a:lnTo>
                    <a:pt x="76" y="195"/>
                  </a:lnTo>
                  <a:lnTo>
                    <a:pt x="74" y="192"/>
                  </a:lnTo>
                  <a:lnTo>
                    <a:pt x="69" y="188"/>
                  </a:lnTo>
                  <a:lnTo>
                    <a:pt x="67" y="188"/>
                  </a:lnTo>
                  <a:lnTo>
                    <a:pt x="66" y="188"/>
                  </a:lnTo>
                  <a:lnTo>
                    <a:pt x="64" y="184"/>
                  </a:lnTo>
                  <a:lnTo>
                    <a:pt x="64" y="181"/>
                  </a:lnTo>
                  <a:lnTo>
                    <a:pt x="64" y="180"/>
                  </a:lnTo>
                  <a:lnTo>
                    <a:pt x="64" y="181"/>
                  </a:lnTo>
                  <a:lnTo>
                    <a:pt x="63" y="182"/>
                  </a:lnTo>
                  <a:lnTo>
                    <a:pt x="61" y="184"/>
                  </a:lnTo>
                  <a:lnTo>
                    <a:pt x="59" y="182"/>
                  </a:lnTo>
                  <a:lnTo>
                    <a:pt x="57" y="182"/>
                  </a:lnTo>
                  <a:lnTo>
                    <a:pt x="56" y="175"/>
                  </a:lnTo>
                  <a:lnTo>
                    <a:pt x="54" y="172"/>
                  </a:lnTo>
                  <a:lnTo>
                    <a:pt x="53" y="170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2"/>
                  </a:lnTo>
                  <a:lnTo>
                    <a:pt x="50" y="160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2" y="155"/>
                  </a:lnTo>
                  <a:lnTo>
                    <a:pt x="53" y="152"/>
                  </a:lnTo>
                  <a:lnTo>
                    <a:pt x="53" y="150"/>
                  </a:lnTo>
                  <a:lnTo>
                    <a:pt x="53" y="147"/>
                  </a:lnTo>
                  <a:lnTo>
                    <a:pt x="54" y="144"/>
                  </a:lnTo>
                  <a:lnTo>
                    <a:pt x="54" y="142"/>
                  </a:lnTo>
                  <a:lnTo>
                    <a:pt x="54" y="141"/>
                  </a:lnTo>
                  <a:lnTo>
                    <a:pt x="54" y="140"/>
                  </a:lnTo>
                  <a:lnTo>
                    <a:pt x="53" y="137"/>
                  </a:lnTo>
                  <a:lnTo>
                    <a:pt x="52" y="134"/>
                  </a:lnTo>
                  <a:lnTo>
                    <a:pt x="50" y="132"/>
                  </a:lnTo>
                  <a:lnTo>
                    <a:pt x="49" y="130"/>
                  </a:lnTo>
                  <a:lnTo>
                    <a:pt x="49" y="127"/>
                  </a:lnTo>
                  <a:lnTo>
                    <a:pt x="49" y="125"/>
                  </a:lnTo>
                  <a:lnTo>
                    <a:pt x="49" y="124"/>
                  </a:lnTo>
                  <a:lnTo>
                    <a:pt x="52" y="122"/>
                  </a:lnTo>
                  <a:lnTo>
                    <a:pt x="52" y="121"/>
                  </a:lnTo>
                  <a:lnTo>
                    <a:pt x="50" y="117"/>
                  </a:lnTo>
                  <a:lnTo>
                    <a:pt x="49" y="117"/>
                  </a:lnTo>
                  <a:lnTo>
                    <a:pt x="47" y="115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6" y="112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05"/>
                  </a:lnTo>
                  <a:lnTo>
                    <a:pt x="46" y="101"/>
                  </a:lnTo>
                  <a:lnTo>
                    <a:pt x="47" y="98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6" y="92"/>
                  </a:lnTo>
                  <a:lnTo>
                    <a:pt x="44" y="90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0" y="81"/>
                  </a:lnTo>
                  <a:lnTo>
                    <a:pt x="39" y="80"/>
                  </a:lnTo>
                  <a:lnTo>
                    <a:pt x="36" y="77"/>
                  </a:lnTo>
                  <a:lnTo>
                    <a:pt x="36" y="75"/>
                  </a:lnTo>
                  <a:lnTo>
                    <a:pt x="29" y="72"/>
                  </a:lnTo>
                  <a:lnTo>
                    <a:pt x="26" y="72"/>
                  </a:lnTo>
                  <a:lnTo>
                    <a:pt x="23" y="70"/>
                  </a:lnTo>
                  <a:lnTo>
                    <a:pt x="20" y="68"/>
                  </a:lnTo>
                  <a:lnTo>
                    <a:pt x="19" y="67"/>
                  </a:lnTo>
                  <a:lnTo>
                    <a:pt x="16" y="64"/>
                  </a:lnTo>
                  <a:lnTo>
                    <a:pt x="14" y="62"/>
                  </a:lnTo>
                  <a:lnTo>
                    <a:pt x="13" y="61"/>
                  </a:lnTo>
                  <a:lnTo>
                    <a:pt x="10" y="58"/>
                  </a:lnTo>
                  <a:lnTo>
                    <a:pt x="10" y="57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4" y="50"/>
                  </a:lnTo>
                  <a:lnTo>
                    <a:pt x="0" y="47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7" y="47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9" y="38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20" y="42"/>
                  </a:lnTo>
                  <a:lnTo>
                    <a:pt x="23" y="47"/>
                  </a:lnTo>
                  <a:lnTo>
                    <a:pt x="24" y="50"/>
                  </a:lnTo>
                  <a:lnTo>
                    <a:pt x="27" y="55"/>
                  </a:lnTo>
                  <a:lnTo>
                    <a:pt x="29" y="60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36" y="62"/>
                  </a:lnTo>
                  <a:lnTo>
                    <a:pt x="40" y="64"/>
                  </a:lnTo>
                  <a:lnTo>
                    <a:pt x="42" y="65"/>
                  </a:lnTo>
                  <a:lnTo>
                    <a:pt x="44" y="64"/>
                  </a:lnTo>
                  <a:lnTo>
                    <a:pt x="46" y="64"/>
                  </a:lnTo>
                  <a:lnTo>
                    <a:pt x="50" y="61"/>
                  </a:lnTo>
                  <a:lnTo>
                    <a:pt x="52" y="60"/>
                  </a:lnTo>
                  <a:lnTo>
                    <a:pt x="53" y="58"/>
                  </a:lnTo>
                  <a:lnTo>
                    <a:pt x="54" y="58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3" y="62"/>
                  </a:lnTo>
                  <a:lnTo>
                    <a:pt x="66" y="64"/>
                  </a:lnTo>
                  <a:lnTo>
                    <a:pt x="67" y="67"/>
                  </a:lnTo>
                  <a:lnTo>
                    <a:pt x="70" y="67"/>
                  </a:lnTo>
                  <a:lnTo>
                    <a:pt x="71" y="65"/>
                  </a:lnTo>
                  <a:lnTo>
                    <a:pt x="73" y="60"/>
                  </a:lnTo>
                  <a:lnTo>
                    <a:pt x="74" y="57"/>
                  </a:lnTo>
                  <a:lnTo>
                    <a:pt x="76" y="55"/>
                  </a:lnTo>
                  <a:lnTo>
                    <a:pt x="79" y="54"/>
                  </a:lnTo>
                  <a:lnTo>
                    <a:pt x="80" y="54"/>
                  </a:lnTo>
                  <a:lnTo>
                    <a:pt x="81" y="52"/>
                  </a:lnTo>
                  <a:lnTo>
                    <a:pt x="83" y="50"/>
                  </a:lnTo>
                  <a:lnTo>
                    <a:pt x="83" y="45"/>
                  </a:lnTo>
                  <a:lnTo>
                    <a:pt x="83" y="38"/>
                  </a:lnTo>
                  <a:lnTo>
                    <a:pt x="83" y="37"/>
                  </a:lnTo>
                  <a:lnTo>
                    <a:pt x="84" y="32"/>
                  </a:lnTo>
                  <a:lnTo>
                    <a:pt x="86" y="22"/>
                  </a:lnTo>
                  <a:lnTo>
                    <a:pt x="87" y="20"/>
                  </a:lnTo>
                  <a:lnTo>
                    <a:pt x="87" y="18"/>
                  </a:lnTo>
                  <a:lnTo>
                    <a:pt x="89" y="17"/>
                  </a:lnTo>
                  <a:lnTo>
                    <a:pt x="91" y="14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9" y="7"/>
                  </a:lnTo>
                  <a:lnTo>
                    <a:pt x="101" y="7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7"/>
                  </a:lnTo>
                  <a:lnTo>
                    <a:pt x="109" y="5"/>
                  </a:lnTo>
                  <a:lnTo>
                    <a:pt x="113" y="1"/>
                  </a:lnTo>
                  <a:lnTo>
                    <a:pt x="114" y="0"/>
                  </a:lnTo>
                  <a:lnTo>
                    <a:pt x="117" y="1"/>
                  </a:lnTo>
                  <a:lnTo>
                    <a:pt x="120" y="4"/>
                  </a:lnTo>
                  <a:lnTo>
                    <a:pt x="123" y="10"/>
                  </a:lnTo>
                  <a:lnTo>
                    <a:pt x="126" y="11"/>
                  </a:lnTo>
                  <a:lnTo>
                    <a:pt x="131" y="15"/>
                  </a:lnTo>
                  <a:lnTo>
                    <a:pt x="137" y="18"/>
                  </a:lnTo>
                  <a:lnTo>
                    <a:pt x="140" y="28"/>
                  </a:lnTo>
                  <a:lnTo>
                    <a:pt x="139" y="31"/>
                  </a:lnTo>
                  <a:lnTo>
                    <a:pt x="139" y="32"/>
                  </a:lnTo>
                  <a:lnTo>
                    <a:pt x="136" y="37"/>
                  </a:lnTo>
                  <a:lnTo>
                    <a:pt x="133" y="41"/>
                  </a:lnTo>
                  <a:lnTo>
                    <a:pt x="131" y="44"/>
                  </a:lnTo>
                  <a:lnTo>
                    <a:pt x="133" y="47"/>
                  </a:lnTo>
                  <a:lnTo>
                    <a:pt x="134" y="48"/>
                  </a:lnTo>
                  <a:close/>
                  <a:moveTo>
                    <a:pt x="69" y="214"/>
                  </a:moveTo>
                  <a:lnTo>
                    <a:pt x="66" y="215"/>
                  </a:lnTo>
                  <a:lnTo>
                    <a:pt x="64" y="214"/>
                  </a:lnTo>
                  <a:lnTo>
                    <a:pt x="64" y="212"/>
                  </a:lnTo>
                  <a:lnTo>
                    <a:pt x="66" y="211"/>
                  </a:lnTo>
                  <a:lnTo>
                    <a:pt x="67" y="209"/>
                  </a:lnTo>
                  <a:lnTo>
                    <a:pt x="70" y="211"/>
                  </a:lnTo>
                  <a:lnTo>
                    <a:pt x="70" y="212"/>
                  </a:lnTo>
                  <a:lnTo>
                    <a:pt x="69" y="212"/>
                  </a:lnTo>
                  <a:lnTo>
                    <a:pt x="69" y="214"/>
                  </a:lnTo>
                  <a:close/>
                  <a:moveTo>
                    <a:pt x="10" y="278"/>
                  </a:moveTo>
                  <a:lnTo>
                    <a:pt x="10" y="278"/>
                  </a:lnTo>
                  <a:lnTo>
                    <a:pt x="12" y="278"/>
                  </a:lnTo>
                  <a:lnTo>
                    <a:pt x="13" y="277"/>
                  </a:lnTo>
                  <a:lnTo>
                    <a:pt x="13" y="278"/>
                  </a:lnTo>
                  <a:lnTo>
                    <a:pt x="13" y="279"/>
                  </a:lnTo>
                  <a:lnTo>
                    <a:pt x="13" y="279"/>
                  </a:lnTo>
                  <a:lnTo>
                    <a:pt x="13" y="279"/>
                  </a:lnTo>
                  <a:lnTo>
                    <a:pt x="12" y="279"/>
                  </a:lnTo>
                  <a:lnTo>
                    <a:pt x="12" y="281"/>
                  </a:lnTo>
                  <a:lnTo>
                    <a:pt x="10" y="281"/>
                  </a:lnTo>
                  <a:lnTo>
                    <a:pt x="9" y="279"/>
                  </a:lnTo>
                  <a:lnTo>
                    <a:pt x="7" y="277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8"/>
                  </a:lnTo>
                  <a:close/>
                  <a:moveTo>
                    <a:pt x="14" y="369"/>
                  </a:moveTo>
                  <a:lnTo>
                    <a:pt x="13" y="371"/>
                  </a:lnTo>
                  <a:lnTo>
                    <a:pt x="13" y="371"/>
                  </a:lnTo>
                  <a:lnTo>
                    <a:pt x="12" y="372"/>
                  </a:lnTo>
                  <a:lnTo>
                    <a:pt x="10" y="369"/>
                  </a:lnTo>
                  <a:lnTo>
                    <a:pt x="10" y="368"/>
                  </a:lnTo>
                  <a:lnTo>
                    <a:pt x="10" y="367"/>
                  </a:lnTo>
                  <a:lnTo>
                    <a:pt x="12" y="367"/>
                  </a:lnTo>
                  <a:lnTo>
                    <a:pt x="12" y="368"/>
                  </a:lnTo>
                  <a:lnTo>
                    <a:pt x="14" y="369"/>
                  </a:lnTo>
                  <a:close/>
                  <a:moveTo>
                    <a:pt x="23" y="377"/>
                  </a:moveTo>
                  <a:lnTo>
                    <a:pt x="22" y="377"/>
                  </a:lnTo>
                  <a:lnTo>
                    <a:pt x="20" y="375"/>
                  </a:lnTo>
                  <a:lnTo>
                    <a:pt x="20" y="374"/>
                  </a:lnTo>
                  <a:lnTo>
                    <a:pt x="20" y="374"/>
                  </a:lnTo>
                  <a:lnTo>
                    <a:pt x="20" y="372"/>
                  </a:lnTo>
                  <a:lnTo>
                    <a:pt x="20" y="372"/>
                  </a:lnTo>
                  <a:lnTo>
                    <a:pt x="22" y="372"/>
                  </a:lnTo>
                  <a:lnTo>
                    <a:pt x="22" y="374"/>
                  </a:lnTo>
                  <a:lnTo>
                    <a:pt x="22" y="374"/>
                  </a:lnTo>
                  <a:lnTo>
                    <a:pt x="23" y="375"/>
                  </a:lnTo>
                  <a:lnTo>
                    <a:pt x="23" y="377"/>
                  </a:lnTo>
                  <a:close/>
                  <a:moveTo>
                    <a:pt x="26" y="375"/>
                  </a:moveTo>
                  <a:lnTo>
                    <a:pt x="27" y="377"/>
                  </a:lnTo>
                  <a:lnTo>
                    <a:pt x="29" y="375"/>
                  </a:lnTo>
                  <a:lnTo>
                    <a:pt x="29" y="378"/>
                  </a:lnTo>
                  <a:lnTo>
                    <a:pt x="27" y="378"/>
                  </a:lnTo>
                  <a:lnTo>
                    <a:pt x="27" y="379"/>
                  </a:lnTo>
                  <a:lnTo>
                    <a:pt x="29" y="381"/>
                  </a:lnTo>
                  <a:lnTo>
                    <a:pt x="29" y="382"/>
                  </a:lnTo>
                  <a:lnTo>
                    <a:pt x="27" y="382"/>
                  </a:lnTo>
                  <a:lnTo>
                    <a:pt x="26" y="381"/>
                  </a:lnTo>
                  <a:lnTo>
                    <a:pt x="26" y="379"/>
                  </a:lnTo>
                  <a:lnTo>
                    <a:pt x="24" y="378"/>
                  </a:lnTo>
                  <a:lnTo>
                    <a:pt x="24" y="378"/>
                  </a:lnTo>
                  <a:lnTo>
                    <a:pt x="24" y="377"/>
                  </a:lnTo>
                  <a:lnTo>
                    <a:pt x="24" y="375"/>
                  </a:lnTo>
                  <a:lnTo>
                    <a:pt x="26" y="375"/>
                  </a:lnTo>
                  <a:close/>
                  <a:moveTo>
                    <a:pt x="20" y="382"/>
                  </a:moveTo>
                  <a:lnTo>
                    <a:pt x="19" y="384"/>
                  </a:lnTo>
                  <a:lnTo>
                    <a:pt x="17" y="384"/>
                  </a:lnTo>
                  <a:lnTo>
                    <a:pt x="17" y="381"/>
                  </a:lnTo>
                  <a:lnTo>
                    <a:pt x="19" y="381"/>
                  </a:lnTo>
                  <a:lnTo>
                    <a:pt x="20" y="381"/>
                  </a:lnTo>
                  <a:lnTo>
                    <a:pt x="20" y="382"/>
                  </a:lnTo>
                  <a:close/>
                  <a:moveTo>
                    <a:pt x="17" y="384"/>
                  </a:moveTo>
                  <a:lnTo>
                    <a:pt x="16" y="384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16" y="381"/>
                  </a:lnTo>
                  <a:lnTo>
                    <a:pt x="17" y="382"/>
                  </a:lnTo>
                  <a:lnTo>
                    <a:pt x="17" y="382"/>
                  </a:lnTo>
                  <a:lnTo>
                    <a:pt x="17" y="38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Google Shape;205;p3"/>
            <p:cNvSpPr/>
            <p:nvPr/>
          </p:nvSpPr>
          <p:spPr>
            <a:xfrm>
              <a:off x="5912260" y="4498492"/>
              <a:ext cx="80649" cy="96679"/>
            </a:xfrm>
            <a:custGeom>
              <a:rect b="b" l="l" r="r" t="t"/>
              <a:pathLst>
                <a:path extrusionOk="0" h="154" w="115">
                  <a:moveTo>
                    <a:pt x="40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  <a:moveTo>
                    <a:pt x="87" y="60"/>
                  </a:moveTo>
                  <a:lnTo>
                    <a:pt x="86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close/>
                  <a:moveTo>
                    <a:pt x="87" y="66"/>
                  </a:moveTo>
                  <a:lnTo>
                    <a:pt x="86" y="67"/>
                  </a:lnTo>
                  <a:lnTo>
                    <a:pt x="86" y="66"/>
                  </a:lnTo>
                  <a:lnTo>
                    <a:pt x="87" y="66"/>
                  </a:lnTo>
                  <a:lnTo>
                    <a:pt x="89" y="65"/>
                  </a:lnTo>
                  <a:lnTo>
                    <a:pt x="87" y="66"/>
                  </a:lnTo>
                  <a:lnTo>
                    <a:pt x="87" y="66"/>
                  </a:lnTo>
                  <a:close/>
                  <a:moveTo>
                    <a:pt x="103" y="79"/>
                  </a:moveTo>
                  <a:lnTo>
                    <a:pt x="103" y="80"/>
                  </a:lnTo>
                  <a:lnTo>
                    <a:pt x="103" y="80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03" y="79"/>
                  </a:lnTo>
                  <a:close/>
                  <a:moveTo>
                    <a:pt x="115" y="90"/>
                  </a:moveTo>
                  <a:lnTo>
                    <a:pt x="113" y="90"/>
                  </a:lnTo>
                  <a:lnTo>
                    <a:pt x="113" y="90"/>
                  </a:lnTo>
                  <a:lnTo>
                    <a:pt x="113" y="89"/>
                  </a:lnTo>
                  <a:lnTo>
                    <a:pt x="115" y="89"/>
                  </a:lnTo>
                  <a:lnTo>
                    <a:pt x="115" y="90"/>
                  </a:lnTo>
                  <a:lnTo>
                    <a:pt x="115" y="90"/>
                  </a:lnTo>
                  <a:close/>
                  <a:moveTo>
                    <a:pt x="103" y="92"/>
                  </a:moveTo>
                  <a:lnTo>
                    <a:pt x="102" y="92"/>
                  </a:lnTo>
                  <a:lnTo>
                    <a:pt x="102" y="92"/>
                  </a:lnTo>
                  <a:lnTo>
                    <a:pt x="102" y="90"/>
                  </a:lnTo>
                  <a:lnTo>
                    <a:pt x="102" y="90"/>
                  </a:lnTo>
                  <a:lnTo>
                    <a:pt x="102" y="90"/>
                  </a:lnTo>
                  <a:lnTo>
                    <a:pt x="103" y="90"/>
                  </a:lnTo>
                  <a:lnTo>
                    <a:pt x="103" y="92"/>
                  </a:lnTo>
                  <a:close/>
                  <a:moveTo>
                    <a:pt x="106" y="96"/>
                  </a:moveTo>
                  <a:lnTo>
                    <a:pt x="106" y="96"/>
                  </a:lnTo>
                  <a:lnTo>
                    <a:pt x="106" y="95"/>
                  </a:lnTo>
                  <a:lnTo>
                    <a:pt x="105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6"/>
                  </a:lnTo>
                  <a:close/>
                  <a:moveTo>
                    <a:pt x="90" y="107"/>
                  </a:moveTo>
                  <a:lnTo>
                    <a:pt x="90" y="107"/>
                  </a:lnTo>
                  <a:lnTo>
                    <a:pt x="90" y="107"/>
                  </a:lnTo>
                  <a:lnTo>
                    <a:pt x="89" y="107"/>
                  </a:lnTo>
                  <a:lnTo>
                    <a:pt x="89" y="107"/>
                  </a:lnTo>
                  <a:lnTo>
                    <a:pt x="89" y="107"/>
                  </a:lnTo>
                  <a:lnTo>
                    <a:pt x="89" y="107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9" y="107"/>
                  </a:lnTo>
                  <a:lnTo>
                    <a:pt x="89" y="107"/>
                  </a:lnTo>
                  <a:lnTo>
                    <a:pt x="89" y="107"/>
                  </a:lnTo>
                  <a:lnTo>
                    <a:pt x="90" y="107"/>
                  </a:lnTo>
                  <a:close/>
                  <a:moveTo>
                    <a:pt x="110" y="112"/>
                  </a:moveTo>
                  <a:lnTo>
                    <a:pt x="110" y="112"/>
                  </a:lnTo>
                  <a:lnTo>
                    <a:pt x="109" y="112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2"/>
                  </a:lnTo>
                  <a:close/>
                  <a:moveTo>
                    <a:pt x="107" y="136"/>
                  </a:move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7" y="136"/>
                  </a:lnTo>
                  <a:close/>
                  <a:moveTo>
                    <a:pt x="86" y="60"/>
                  </a:moveTo>
                  <a:lnTo>
                    <a:pt x="85" y="63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0" y="67"/>
                  </a:lnTo>
                  <a:lnTo>
                    <a:pt x="80" y="69"/>
                  </a:lnTo>
                  <a:lnTo>
                    <a:pt x="80" y="70"/>
                  </a:lnTo>
                  <a:lnTo>
                    <a:pt x="82" y="69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5" y="67"/>
                  </a:lnTo>
                  <a:lnTo>
                    <a:pt x="85" y="69"/>
                  </a:lnTo>
                  <a:lnTo>
                    <a:pt x="86" y="70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0" y="72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6" y="72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5" y="70"/>
                  </a:lnTo>
                  <a:lnTo>
                    <a:pt x="72" y="72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69" y="73"/>
                  </a:lnTo>
                  <a:lnTo>
                    <a:pt x="67" y="75"/>
                  </a:lnTo>
                  <a:lnTo>
                    <a:pt x="66" y="75"/>
                  </a:lnTo>
                  <a:lnTo>
                    <a:pt x="65" y="73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5" y="69"/>
                  </a:lnTo>
                  <a:lnTo>
                    <a:pt x="65" y="69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7" y="69"/>
                  </a:lnTo>
                  <a:lnTo>
                    <a:pt x="69" y="67"/>
                  </a:lnTo>
                  <a:lnTo>
                    <a:pt x="70" y="66"/>
                  </a:lnTo>
                  <a:lnTo>
                    <a:pt x="72" y="66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9" y="63"/>
                  </a:lnTo>
                  <a:lnTo>
                    <a:pt x="79" y="62"/>
                  </a:lnTo>
                  <a:lnTo>
                    <a:pt x="80" y="62"/>
                  </a:lnTo>
                  <a:lnTo>
                    <a:pt x="82" y="62"/>
                  </a:lnTo>
                  <a:lnTo>
                    <a:pt x="83" y="62"/>
                  </a:lnTo>
                  <a:lnTo>
                    <a:pt x="85" y="62"/>
                  </a:lnTo>
                  <a:lnTo>
                    <a:pt x="86" y="60"/>
                  </a:lnTo>
                  <a:lnTo>
                    <a:pt x="86" y="60"/>
                  </a:lnTo>
                  <a:close/>
                  <a:moveTo>
                    <a:pt x="86" y="67"/>
                  </a:moveTo>
                  <a:lnTo>
                    <a:pt x="86" y="67"/>
                  </a:lnTo>
                  <a:lnTo>
                    <a:pt x="86" y="67"/>
                  </a:lnTo>
                  <a:lnTo>
                    <a:pt x="86" y="66"/>
                  </a:lnTo>
                  <a:lnTo>
                    <a:pt x="86" y="67"/>
                  </a:lnTo>
                  <a:close/>
                  <a:moveTo>
                    <a:pt x="89" y="69"/>
                  </a:moveTo>
                  <a:lnTo>
                    <a:pt x="89" y="70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3"/>
                  </a:lnTo>
                  <a:lnTo>
                    <a:pt x="85" y="75"/>
                  </a:lnTo>
                  <a:lnTo>
                    <a:pt x="86" y="75"/>
                  </a:lnTo>
                  <a:lnTo>
                    <a:pt x="86" y="75"/>
                  </a:lnTo>
                  <a:lnTo>
                    <a:pt x="87" y="73"/>
                  </a:lnTo>
                  <a:lnTo>
                    <a:pt x="89" y="72"/>
                  </a:lnTo>
                  <a:lnTo>
                    <a:pt x="89" y="70"/>
                  </a:lnTo>
                  <a:lnTo>
                    <a:pt x="89" y="69"/>
                  </a:lnTo>
                  <a:close/>
                  <a:moveTo>
                    <a:pt x="42" y="77"/>
                  </a:moveTo>
                  <a:lnTo>
                    <a:pt x="42" y="77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2" y="77"/>
                  </a:lnTo>
                  <a:close/>
                  <a:moveTo>
                    <a:pt x="77" y="80"/>
                  </a:moveTo>
                  <a:lnTo>
                    <a:pt x="77" y="82"/>
                  </a:lnTo>
                  <a:lnTo>
                    <a:pt x="76" y="79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7" y="80"/>
                  </a:lnTo>
                  <a:lnTo>
                    <a:pt x="77" y="80"/>
                  </a:lnTo>
                  <a:close/>
                  <a:moveTo>
                    <a:pt x="59" y="80"/>
                  </a:moveTo>
                  <a:lnTo>
                    <a:pt x="59" y="82"/>
                  </a:lnTo>
                  <a:lnTo>
                    <a:pt x="59" y="82"/>
                  </a:lnTo>
                  <a:lnTo>
                    <a:pt x="60" y="82"/>
                  </a:lnTo>
                  <a:lnTo>
                    <a:pt x="62" y="83"/>
                  </a:lnTo>
                  <a:lnTo>
                    <a:pt x="63" y="85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3" y="87"/>
                  </a:lnTo>
                  <a:lnTo>
                    <a:pt x="65" y="89"/>
                  </a:lnTo>
                  <a:lnTo>
                    <a:pt x="65" y="90"/>
                  </a:lnTo>
                  <a:lnTo>
                    <a:pt x="66" y="93"/>
                  </a:lnTo>
                  <a:lnTo>
                    <a:pt x="65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9" y="95"/>
                  </a:lnTo>
                  <a:lnTo>
                    <a:pt x="58" y="96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2" y="96"/>
                  </a:lnTo>
                  <a:lnTo>
                    <a:pt x="50" y="95"/>
                  </a:lnTo>
                  <a:lnTo>
                    <a:pt x="49" y="95"/>
                  </a:lnTo>
                  <a:lnTo>
                    <a:pt x="46" y="95"/>
                  </a:lnTo>
                  <a:lnTo>
                    <a:pt x="45" y="93"/>
                  </a:lnTo>
                  <a:lnTo>
                    <a:pt x="43" y="93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5" y="89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6" y="87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6" y="83"/>
                  </a:lnTo>
                  <a:lnTo>
                    <a:pt x="49" y="83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0"/>
                  </a:lnTo>
                  <a:lnTo>
                    <a:pt x="59" y="80"/>
                  </a:lnTo>
                  <a:close/>
                  <a:moveTo>
                    <a:pt x="67" y="87"/>
                  </a:moveTo>
                  <a:lnTo>
                    <a:pt x="67" y="87"/>
                  </a:lnTo>
                  <a:lnTo>
                    <a:pt x="66" y="86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9" y="86"/>
                  </a:lnTo>
                  <a:lnTo>
                    <a:pt x="67" y="87"/>
                  </a:lnTo>
                  <a:close/>
                  <a:moveTo>
                    <a:pt x="76" y="93"/>
                  </a:moveTo>
                  <a:lnTo>
                    <a:pt x="76" y="93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75" y="90"/>
                  </a:lnTo>
                  <a:lnTo>
                    <a:pt x="76" y="90"/>
                  </a:lnTo>
                  <a:lnTo>
                    <a:pt x="76" y="92"/>
                  </a:lnTo>
                  <a:lnTo>
                    <a:pt x="76" y="93"/>
                  </a:lnTo>
                  <a:lnTo>
                    <a:pt x="76" y="93"/>
                  </a:lnTo>
                  <a:close/>
                  <a:moveTo>
                    <a:pt x="62" y="107"/>
                  </a:moveTo>
                  <a:lnTo>
                    <a:pt x="62" y="109"/>
                  </a:lnTo>
                  <a:lnTo>
                    <a:pt x="60" y="109"/>
                  </a:lnTo>
                  <a:lnTo>
                    <a:pt x="60" y="109"/>
                  </a:lnTo>
                  <a:lnTo>
                    <a:pt x="59" y="109"/>
                  </a:lnTo>
                  <a:lnTo>
                    <a:pt x="58" y="109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5" y="110"/>
                  </a:lnTo>
                  <a:lnTo>
                    <a:pt x="55" y="110"/>
                  </a:lnTo>
                  <a:lnTo>
                    <a:pt x="55" y="110"/>
                  </a:lnTo>
                  <a:lnTo>
                    <a:pt x="56" y="109"/>
                  </a:lnTo>
                  <a:lnTo>
                    <a:pt x="56" y="109"/>
                  </a:lnTo>
                  <a:lnTo>
                    <a:pt x="58" y="109"/>
                  </a:lnTo>
                  <a:lnTo>
                    <a:pt x="58" y="107"/>
                  </a:lnTo>
                  <a:lnTo>
                    <a:pt x="59" y="107"/>
                  </a:lnTo>
                  <a:lnTo>
                    <a:pt x="60" y="107"/>
                  </a:lnTo>
                  <a:lnTo>
                    <a:pt x="62" y="107"/>
                  </a:lnTo>
                  <a:lnTo>
                    <a:pt x="62" y="107"/>
                  </a:lnTo>
                  <a:close/>
                  <a:moveTo>
                    <a:pt x="0" y="154"/>
                  </a:moveTo>
                  <a:lnTo>
                    <a:pt x="0" y="154"/>
                  </a:lnTo>
                  <a:lnTo>
                    <a:pt x="0" y="154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Google Shape;206;p3"/>
            <p:cNvSpPr/>
            <p:nvPr/>
          </p:nvSpPr>
          <p:spPr>
            <a:xfrm>
              <a:off x="3264860" y="4972469"/>
              <a:ext cx="37870" cy="17578"/>
            </a:xfrm>
            <a:custGeom>
              <a:rect b="b" l="l" r="r" t="t"/>
              <a:pathLst>
                <a:path extrusionOk="0" h="28" w="54">
                  <a:moveTo>
                    <a:pt x="37" y="0"/>
                  </a:move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6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7" y="3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4" y="6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1" y="12"/>
                  </a:lnTo>
                  <a:lnTo>
                    <a:pt x="48" y="13"/>
                  </a:lnTo>
                  <a:lnTo>
                    <a:pt x="47" y="15"/>
                  </a:lnTo>
                  <a:lnTo>
                    <a:pt x="45" y="16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0" y="22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4" y="23"/>
                  </a:lnTo>
                  <a:lnTo>
                    <a:pt x="32" y="25"/>
                  </a:lnTo>
                  <a:lnTo>
                    <a:pt x="31" y="23"/>
                  </a:lnTo>
                  <a:lnTo>
                    <a:pt x="30" y="25"/>
                  </a:lnTo>
                  <a:lnTo>
                    <a:pt x="28" y="28"/>
                  </a:lnTo>
                  <a:lnTo>
                    <a:pt x="25" y="25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30" y="13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37" y="0"/>
                  </a:lnTo>
                  <a:close/>
                  <a:moveTo>
                    <a:pt x="17" y="3"/>
                  </a:move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close/>
                  <a:moveTo>
                    <a:pt x="14" y="5"/>
                  </a:moveTo>
                  <a:lnTo>
                    <a:pt x="17" y="6"/>
                  </a:lnTo>
                  <a:lnTo>
                    <a:pt x="18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2"/>
                  </a:lnTo>
                  <a:lnTo>
                    <a:pt x="30" y="3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28" y="6"/>
                  </a:lnTo>
                  <a:lnTo>
                    <a:pt x="28" y="8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5" y="10"/>
                  </a:lnTo>
                  <a:lnTo>
                    <a:pt x="23" y="15"/>
                  </a:lnTo>
                  <a:lnTo>
                    <a:pt x="20" y="18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5" y="23"/>
                  </a:lnTo>
                  <a:lnTo>
                    <a:pt x="3" y="20"/>
                  </a:lnTo>
                  <a:lnTo>
                    <a:pt x="7" y="18"/>
                  </a:lnTo>
                  <a:lnTo>
                    <a:pt x="10" y="18"/>
                  </a:lnTo>
                  <a:lnTo>
                    <a:pt x="11" y="16"/>
                  </a:lnTo>
                  <a:lnTo>
                    <a:pt x="13" y="15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1" y="13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1" y="12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4" y="5"/>
                  </a:lnTo>
                  <a:close/>
                  <a:moveTo>
                    <a:pt x="3" y="13"/>
                  </a:moveTo>
                  <a:lnTo>
                    <a:pt x="4" y="13"/>
                  </a:lnTo>
                  <a:lnTo>
                    <a:pt x="4" y="13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3" y="13"/>
                  </a:lnTo>
                  <a:close/>
                  <a:moveTo>
                    <a:pt x="44" y="19"/>
                  </a:moveTo>
                  <a:lnTo>
                    <a:pt x="44" y="22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4" y="19"/>
                  </a:lnTo>
                  <a:lnTo>
                    <a:pt x="44" y="19"/>
                  </a:lnTo>
                  <a:close/>
                  <a:moveTo>
                    <a:pt x="24" y="25"/>
                  </a:moveTo>
                  <a:lnTo>
                    <a:pt x="23" y="26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7" name="Google Shape;207;p3"/>
            <p:cNvSpPr/>
            <p:nvPr/>
          </p:nvSpPr>
          <p:spPr>
            <a:xfrm>
              <a:off x="3898132" y="3776539"/>
              <a:ext cx="160597" cy="140624"/>
            </a:xfrm>
            <a:custGeom>
              <a:rect b="b" l="l" r="r" t="t"/>
              <a:pathLst>
                <a:path extrusionOk="0" h="224" w="229">
                  <a:moveTo>
                    <a:pt x="122" y="8"/>
                  </a:moveTo>
                  <a:lnTo>
                    <a:pt x="124" y="8"/>
                  </a:lnTo>
                  <a:lnTo>
                    <a:pt x="125" y="7"/>
                  </a:lnTo>
                  <a:lnTo>
                    <a:pt x="127" y="7"/>
                  </a:lnTo>
                  <a:lnTo>
                    <a:pt x="127" y="8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2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32" y="14"/>
                  </a:lnTo>
                  <a:lnTo>
                    <a:pt x="134" y="15"/>
                  </a:lnTo>
                  <a:lnTo>
                    <a:pt x="135" y="15"/>
                  </a:lnTo>
                  <a:lnTo>
                    <a:pt x="135" y="18"/>
                  </a:lnTo>
                  <a:lnTo>
                    <a:pt x="135" y="20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41" y="18"/>
                  </a:lnTo>
                  <a:lnTo>
                    <a:pt x="144" y="21"/>
                  </a:lnTo>
                  <a:lnTo>
                    <a:pt x="144" y="21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2" y="24"/>
                  </a:lnTo>
                  <a:lnTo>
                    <a:pt x="144" y="24"/>
                  </a:lnTo>
                  <a:lnTo>
                    <a:pt x="144" y="25"/>
                  </a:lnTo>
                  <a:lnTo>
                    <a:pt x="142" y="25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49" y="28"/>
                  </a:lnTo>
                  <a:lnTo>
                    <a:pt x="151" y="27"/>
                  </a:lnTo>
                  <a:lnTo>
                    <a:pt x="151" y="25"/>
                  </a:lnTo>
                  <a:lnTo>
                    <a:pt x="152" y="24"/>
                  </a:lnTo>
                  <a:lnTo>
                    <a:pt x="152" y="22"/>
                  </a:lnTo>
                  <a:lnTo>
                    <a:pt x="154" y="22"/>
                  </a:lnTo>
                  <a:lnTo>
                    <a:pt x="154" y="24"/>
                  </a:lnTo>
                  <a:lnTo>
                    <a:pt x="154" y="28"/>
                  </a:lnTo>
                  <a:lnTo>
                    <a:pt x="154" y="28"/>
                  </a:lnTo>
                  <a:lnTo>
                    <a:pt x="154" y="31"/>
                  </a:lnTo>
                  <a:lnTo>
                    <a:pt x="154" y="32"/>
                  </a:lnTo>
                  <a:lnTo>
                    <a:pt x="155" y="32"/>
                  </a:lnTo>
                  <a:lnTo>
                    <a:pt x="157" y="32"/>
                  </a:lnTo>
                  <a:lnTo>
                    <a:pt x="158" y="32"/>
                  </a:lnTo>
                  <a:lnTo>
                    <a:pt x="158" y="34"/>
                  </a:lnTo>
                  <a:lnTo>
                    <a:pt x="159" y="34"/>
                  </a:lnTo>
                  <a:lnTo>
                    <a:pt x="161" y="34"/>
                  </a:lnTo>
                  <a:lnTo>
                    <a:pt x="161" y="35"/>
                  </a:lnTo>
                  <a:lnTo>
                    <a:pt x="162" y="35"/>
                  </a:lnTo>
                  <a:lnTo>
                    <a:pt x="164" y="38"/>
                  </a:lnTo>
                  <a:lnTo>
                    <a:pt x="165" y="38"/>
                  </a:lnTo>
                  <a:lnTo>
                    <a:pt x="165" y="38"/>
                  </a:lnTo>
                  <a:lnTo>
                    <a:pt x="167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69" y="38"/>
                  </a:lnTo>
                  <a:lnTo>
                    <a:pt x="171" y="40"/>
                  </a:lnTo>
                  <a:lnTo>
                    <a:pt x="171" y="40"/>
                  </a:lnTo>
                  <a:lnTo>
                    <a:pt x="172" y="40"/>
                  </a:lnTo>
                  <a:lnTo>
                    <a:pt x="172" y="41"/>
                  </a:lnTo>
                  <a:lnTo>
                    <a:pt x="174" y="40"/>
                  </a:lnTo>
                  <a:lnTo>
                    <a:pt x="175" y="40"/>
                  </a:lnTo>
                  <a:lnTo>
                    <a:pt x="175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78" y="40"/>
                  </a:lnTo>
                  <a:lnTo>
                    <a:pt x="179" y="41"/>
                  </a:lnTo>
                  <a:lnTo>
                    <a:pt x="181" y="41"/>
                  </a:lnTo>
                  <a:lnTo>
                    <a:pt x="182" y="42"/>
                  </a:lnTo>
                  <a:lnTo>
                    <a:pt x="182" y="44"/>
                  </a:lnTo>
                  <a:lnTo>
                    <a:pt x="182" y="44"/>
                  </a:lnTo>
                  <a:lnTo>
                    <a:pt x="184" y="47"/>
                  </a:lnTo>
                  <a:lnTo>
                    <a:pt x="185" y="48"/>
                  </a:lnTo>
                  <a:lnTo>
                    <a:pt x="185" y="47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8" y="47"/>
                  </a:lnTo>
                  <a:lnTo>
                    <a:pt x="188" y="47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91" y="48"/>
                  </a:lnTo>
                  <a:lnTo>
                    <a:pt x="192" y="48"/>
                  </a:lnTo>
                  <a:lnTo>
                    <a:pt x="194" y="48"/>
                  </a:lnTo>
                  <a:lnTo>
                    <a:pt x="195" y="48"/>
                  </a:lnTo>
                  <a:lnTo>
                    <a:pt x="195" y="48"/>
                  </a:lnTo>
                  <a:lnTo>
                    <a:pt x="196" y="50"/>
                  </a:lnTo>
                  <a:lnTo>
                    <a:pt x="198" y="50"/>
                  </a:lnTo>
                  <a:lnTo>
                    <a:pt x="201" y="50"/>
                  </a:lnTo>
                  <a:lnTo>
                    <a:pt x="205" y="51"/>
                  </a:lnTo>
                  <a:lnTo>
                    <a:pt x="206" y="51"/>
                  </a:lnTo>
                  <a:lnTo>
                    <a:pt x="206" y="52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4" y="58"/>
                  </a:lnTo>
                  <a:lnTo>
                    <a:pt x="202" y="60"/>
                  </a:lnTo>
                  <a:lnTo>
                    <a:pt x="201" y="62"/>
                  </a:lnTo>
                  <a:lnTo>
                    <a:pt x="201" y="65"/>
                  </a:lnTo>
                  <a:lnTo>
                    <a:pt x="199" y="68"/>
                  </a:lnTo>
                  <a:lnTo>
                    <a:pt x="198" y="71"/>
                  </a:lnTo>
                  <a:lnTo>
                    <a:pt x="198" y="74"/>
                  </a:lnTo>
                  <a:lnTo>
                    <a:pt x="198" y="75"/>
                  </a:lnTo>
                  <a:lnTo>
                    <a:pt x="198" y="78"/>
                  </a:lnTo>
                  <a:lnTo>
                    <a:pt x="196" y="81"/>
                  </a:lnTo>
                  <a:lnTo>
                    <a:pt x="196" y="82"/>
                  </a:lnTo>
                  <a:lnTo>
                    <a:pt x="198" y="85"/>
                  </a:lnTo>
                  <a:lnTo>
                    <a:pt x="198" y="85"/>
                  </a:lnTo>
                  <a:lnTo>
                    <a:pt x="196" y="87"/>
                  </a:lnTo>
                  <a:lnTo>
                    <a:pt x="196" y="87"/>
                  </a:lnTo>
                  <a:lnTo>
                    <a:pt x="195" y="88"/>
                  </a:lnTo>
                  <a:lnTo>
                    <a:pt x="194" y="88"/>
                  </a:lnTo>
                  <a:lnTo>
                    <a:pt x="192" y="90"/>
                  </a:lnTo>
                  <a:lnTo>
                    <a:pt x="192" y="88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9" y="88"/>
                  </a:lnTo>
                  <a:lnTo>
                    <a:pt x="188" y="88"/>
                  </a:lnTo>
                  <a:lnTo>
                    <a:pt x="186" y="90"/>
                  </a:lnTo>
                  <a:lnTo>
                    <a:pt x="188" y="91"/>
                  </a:lnTo>
                  <a:lnTo>
                    <a:pt x="188" y="91"/>
                  </a:lnTo>
                  <a:lnTo>
                    <a:pt x="188" y="91"/>
                  </a:lnTo>
                  <a:lnTo>
                    <a:pt x="188" y="91"/>
                  </a:lnTo>
                  <a:lnTo>
                    <a:pt x="188" y="92"/>
                  </a:lnTo>
                  <a:lnTo>
                    <a:pt x="188" y="92"/>
                  </a:lnTo>
                  <a:lnTo>
                    <a:pt x="185" y="95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2" y="100"/>
                  </a:lnTo>
                  <a:lnTo>
                    <a:pt x="179" y="100"/>
                  </a:lnTo>
                  <a:lnTo>
                    <a:pt x="179" y="101"/>
                  </a:lnTo>
                  <a:lnTo>
                    <a:pt x="179" y="102"/>
                  </a:lnTo>
                  <a:lnTo>
                    <a:pt x="179" y="105"/>
                  </a:lnTo>
                  <a:lnTo>
                    <a:pt x="176" y="107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4" y="111"/>
                  </a:lnTo>
                  <a:lnTo>
                    <a:pt x="174" y="111"/>
                  </a:lnTo>
                  <a:lnTo>
                    <a:pt x="174" y="112"/>
                  </a:lnTo>
                  <a:lnTo>
                    <a:pt x="175" y="114"/>
                  </a:lnTo>
                  <a:lnTo>
                    <a:pt x="174" y="114"/>
                  </a:lnTo>
                  <a:lnTo>
                    <a:pt x="174" y="115"/>
                  </a:lnTo>
                  <a:lnTo>
                    <a:pt x="174" y="117"/>
                  </a:lnTo>
                  <a:lnTo>
                    <a:pt x="172" y="117"/>
                  </a:lnTo>
                  <a:lnTo>
                    <a:pt x="172" y="118"/>
                  </a:lnTo>
                  <a:lnTo>
                    <a:pt x="172" y="120"/>
                  </a:lnTo>
                  <a:lnTo>
                    <a:pt x="174" y="118"/>
                  </a:lnTo>
                  <a:lnTo>
                    <a:pt x="175" y="118"/>
                  </a:lnTo>
                  <a:lnTo>
                    <a:pt x="176" y="117"/>
                  </a:lnTo>
                  <a:lnTo>
                    <a:pt x="176" y="115"/>
                  </a:lnTo>
                  <a:lnTo>
                    <a:pt x="176" y="115"/>
                  </a:lnTo>
                  <a:lnTo>
                    <a:pt x="176" y="114"/>
                  </a:lnTo>
                  <a:lnTo>
                    <a:pt x="178" y="112"/>
                  </a:lnTo>
                  <a:lnTo>
                    <a:pt x="179" y="112"/>
                  </a:lnTo>
                  <a:lnTo>
                    <a:pt x="182" y="112"/>
                  </a:lnTo>
                  <a:lnTo>
                    <a:pt x="185" y="112"/>
                  </a:lnTo>
                  <a:lnTo>
                    <a:pt x="185" y="112"/>
                  </a:lnTo>
                  <a:lnTo>
                    <a:pt x="185" y="114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85" y="118"/>
                  </a:lnTo>
                  <a:lnTo>
                    <a:pt x="185" y="120"/>
                  </a:lnTo>
                  <a:lnTo>
                    <a:pt x="186" y="120"/>
                  </a:lnTo>
                  <a:lnTo>
                    <a:pt x="186" y="121"/>
                  </a:lnTo>
                  <a:lnTo>
                    <a:pt x="188" y="122"/>
                  </a:lnTo>
                  <a:lnTo>
                    <a:pt x="188" y="124"/>
                  </a:lnTo>
                  <a:lnTo>
                    <a:pt x="189" y="124"/>
                  </a:lnTo>
                  <a:lnTo>
                    <a:pt x="188" y="125"/>
                  </a:lnTo>
                  <a:lnTo>
                    <a:pt x="185" y="127"/>
                  </a:lnTo>
                  <a:lnTo>
                    <a:pt x="185" y="127"/>
                  </a:lnTo>
                  <a:lnTo>
                    <a:pt x="185" y="128"/>
                  </a:lnTo>
                  <a:lnTo>
                    <a:pt x="185" y="130"/>
                  </a:lnTo>
                  <a:lnTo>
                    <a:pt x="186" y="130"/>
                  </a:lnTo>
                  <a:lnTo>
                    <a:pt x="188" y="132"/>
                  </a:lnTo>
                  <a:lnTo>
                    <a:pt x="189" y="134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6" y="142"/>
                  </a:lnTo>
                  <a:lnTo>
                    <a:pt x="185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4" y="145"/>
                  </a:lnTo>
                  <a:lnTo>
                    <a:pt x="184" y="147"/>
                  </a:lnTo>
                  <a:lnTo>
                    <a:pt x="185" y="148"/>
                  </a:lnTo>
                  <a:lnTo>
                    <a:pt x="186" y="148"/>
                  </a:lnTo>
                  <a:lnTo>
                    <a:pt x="188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9" y="151"/>
                  </a:lnTo>
                  <a:lnTo>
                    <a:pt x="188" y="152"/>
                  </a:lnTo>
                  <a:lnTo>
                    <a:pt x="188" y="152"/>
                  </a:lnTo>
                  <a:lnTo>
                    <a:pt x="188" y="154"/>
                  </a:lnTo>
                  <a:lnTo>
                    <a:pt x="186" y="155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6" y="158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8" y="161"/>
                  </a:lnTo>
                  <a:lnTo>
                    <a:pt x="191" y="162"/>
                  </a:lnTo>
                  <a:lnTo>
                    <a:pt x="194" y="164"/>
                  </a:lnTo>
                  <a:lnTo>
                    <a:pt x="195" y="165"/>
                  </a:lnTo>
                  <a:lnTo>
                    <a:pt x="198" y="164"/>
                  </a:lnTo>
                  <a:lnTo>
                    <a:pt x="199" y="164"/>
                  </a:lnTo>
                  <a:lnTo>
                    <a:pt x="199" y="165"/>
                  </a:lnTo>
                  <a:lnTo>
                    <a:pt x="199" y="165"/>
                  </a:lnTo>
                  <a:lnTo>
                    <a:pt x="199" y="167"/>
                  </a:lnTo>
                  <a:lnTo>
                    <a:pt x="198" y="168"/>
                  </a:lnTo>
                  <a:lnTo>
                    <a:pt x="196" y="170"/>
                  </a:lnTo>
                  <a:lnTo>
                    <a:pt x="196" y="171"/>
                  </a:lnTo>
                  <a:lnTo>
                    <a:pt x="196" y="171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5" y="172"/>
                  </a:lnTo>
                  <a:lnTo>
                    <a:pt x="195" y="172"/>
                  </a:lnTo>
                  <a:lnTo>
                    <a:pt x="195" y="172"/>
                  </a:lnTo>
                  <a:lnTo>
                    <a:pt x="195" y="172"/>
                  </a:lnTo>
                  <a:lnTo>
                    <a:pt x="195" y="174"/>
                  </a:lnTo>
                  <a:lnTo>
                    <a:pt x="192" y="174"/>
                  </a:lnTo>
                  <a:lnTo>
                    <a:pt x="191" y="175"/>
                  </a:lnTo>
                  <a:lnTo>
                    <a:pt x="186" y="180"/>
                  </a:lnTo>
                  <a:lnTo>
                    <a:pt x="184" y="181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2" y="185"/>
                  </a:lnTo>
                  <a:lnTo>
                    <a:pt x="181" y="185"/>
                  </a:lnTo>
                  <a:lnTo>
                    <a:pt x="178" y="187"/>
                  </a:lnTo>
                  <a:lnTo>
                    <a:pt x="174" y="188"/>
                  </a:lnTo>
                  <a:lnTo>
                    <a:pt x="172" y="187"/>
                  </a:lnTo>
                  <a:lnTo>
                    <a:pt x="169" y="187"/>
                  </a:lnTo>
                  <a:lnTo>
                    <a:pt x="167" y="185"/>
                  </a:lnTo>
                  <a:lnTo>
                    <a:pt x="162" y="184"/>
                  </a:lnTo>
                  <a:lnTo>
                    <a:pt x="162" y="182"/>
                  </a:lnTo>
                  <a:lnTo>
                    <a:pt x="159" y="182"/>
                  </a:lnTo>
                  <a:lnTo>
                    <a:pt x="158" y="182"/>
                  </a:lnTo>
                  <a:lnTo>
                    <a:pt x="158" y="181"/>
                  </a:lnTo>
                  <a:lnTo>
                    <a:pt x="158" y="181"/>
                  </a:lnTo>
                  <a:lnTo>
                    <a:pt x="158" y="180"/>
                  </a:lnTo>
                  <a:lnTo>
                    <a:pt x="157" y="180"/>
                  </a:lnTo>
                  <a:lnTo>
                    <a:pt x="155" y="180"/>
                  </a:lnTo>
                  <a:lnTo>
                    <a:pt x="155" y="181"/>
                  </a:lnTo>
                  <a:lnTo>
                    <a:pt x="154" y="181"/>
                  </a:lnTo>
                  <a:lnTo>
                    <a:pt x="154" y="181"/>
                  </a:lnTo>
                  <a:lnTo>
                    <a:pt x="154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1" y="181"/>
                  </a:lnTo>
                  <a:lnTo>
                    <a:pt x="147" y="180"/>
                  </a:lnTo>
                  <a:lnTo>
                    <a:pt x="147" y="180"/>
                  </a:lnTo>
                  <a:lnTo>
                    <a:pt x="144" y="180"/>
                  </a:lnTo>
                  <a:lnTo>
                    <a:pt x="144" y="178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1" y="177"/>
                  </a:lnTo>
                  <a:lnTo>
                    <a:pt x="139" y="177"/>
                  </a:lnTo>
                  <a:lnTo>
                    <a:pt x="138" y="178"/>
                  </a:lnTo>
                  <a:lnTo>
                    <a:pt x="137" y="180"/>
                  </a:lnTo>
                  <a:lnTo>
                    <a:pt x="128" y="185"/>
                  </a:lnTo>
                  <a:lnTo>
                    <a:pt x="127" y="188"/>
                  </a:lnTo>
                  <a:lnTo>
                    <a:pt x="125" y="191"/>
                  </a:lnTo>
                  <a:lnTo>
                    <a:pt x="125" y="192"/>
                  </a:lnTo>
                  <a:lnTo>
                    <a:pt x="125" y="198"/>
                  </a:lnTo>
                  <a:lnTo>
                    <a:pt x="128" y="201"/>
                  </a:lnTo>
                  <a:lnTo>
                    <a:pt x="128" y="202"/>
                  </a:lnTo>
                  <a:lnTo>
                    <a:pt x="127" y="202"/>
                  </a:lnTo>
                  <a:lnTo>
                    <a:pt x="125" y="201"/>
                  </a:lnTo>
                  <a:lnTo>
                    <a:pt x="124" y="201"/>
                  </a:lnTo>
                  <a:lnTo>
                    <a:pt x="122" y="201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8" y="204"/>
                  </a:lnTo>
                  <a:lnTo>
                    <a:pt x="114" y="202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9" y="204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7" y="202"/>
                  </a:lnTo>
                  <a:lnTo>
                    <a:pt x="107" y="201"/>
                  </a:lnTo>
                  <a:lnTo>
                    <a:pt x="104" y="201"/>
                  </a:lnTo>
                  <a:lnTo>
                    <a:pt x="104" y="199"/>
                  </a:lnTo>
                  <a:lnTo>
                    <a:pt x="104" y="199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1" y="198"/>
                  </a:lnTo>
                  <a:lnTo>
                    <a:pt x="101" y="197"/>
                  </a:lnTo>
                  <a:lnTo>
                    <a:pt x="99" y="198"/>
                  </a:lnTo>
                  <a:lnTo>
                    <a:pt x="99" y="198"/>
                  </a:lnTo>
                  <a:lnTo>
                    <a:pt x="98" y="197"/>
                  </a:lnTo>
                  <a:lnTo>
                    <a:pt x="97" y="195"/>
                  </a:lnTo>
                  <a:lnTo>
                    <a:pt x="95" y="195"/>
                  </a:lnTo>
                  <a:lnTo>
                    <a:pt x="94" y="195"/>
                  </a:lnTo>
                  <a:lnTo>
                    <a:pt x="92" y="194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4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5" y="197"/>
                  </a:lnTo>
                  <a:lnTo>
                    <a:pt x="82" y="197"/>
                  </a:lnTo>
                  <a:lnTo>
                    <a:pt x="81" y="197"/>
                  </a:lnTo>
                  <a:lnTo>
                    <a:pt x="81" y="197"/>
                  </a:lnTo>
                  <a:lnTo>
                    <a:pt x="80" y="195"/>
                  </a:lnTo>
                  <a:lnTo>
                    <a:pt x="75" y="197"/>
                  </a:lnTo>
                  <a:lnTo>
                    <a:pt x="75" y="195"/>
                  </a:lnTo>
                  <a:lnTo>
                    <a:pt x="74" y="195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1" y="194"/>
                  </a:lnTo>
                  <a:lnTo>
                    <a:pt x="71" y="194"/>
                  </a:lnTo>
                  <a:lnTo>
                    <a:pt x="70" y="194"/>
                  </a:lnTo>
                  <a:lnTo>
                    <a:pt x="68" y="194"/>
                  </a:lnTo>
                  <a:lnTo>
                    <a:pt x="68" y="194"/>
                  </a:lnTo>
                  <a:lnTo>
                    <a:pt x="67" y="194"/>
                  </a:lnTo>
                  <a:lnTo>
                    <a:pt x="64" y="191"/>
                  </a:lnTo>
                  <a:lnTo>
                    <a:pt x="64" y="191"/>
                  </a:lnTo>
                  <a:lnTo>
                    <a:pt x="62" y="191"/>
                  </a:lnTo>
                  <a:lnTo>
                    <a:pt x="61" y="191"/>
                  </a:lnTo>
                  <a:lnTo>
                    <a:pt x="58" y="190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7"/>
                  </a:lnTo>
                  <a:lnTo>
                    <a:pt x="55" y="187"/>
                  </a:lnTo>
                  <a:lnTo>
                    <a:pt x="55" y="188"/>
                  </a:lnTo>
                  <a:lnTo>
                    <a:pt x="54" y="188"/>
                  </a:lnTo>
                  <a:lnTo>
                    <a:pt x="54" y="188"/>
                  </a:lnTo>
                  <a:lnTo>
                    <a:pt x="54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7"/>
                  </a:lnTo>
                  <a:lnTo>
                    <a:pt x="54" y="187"/>
                  </a:lnTo>
                  <a:lnTo>
                    <a:pt x="54" y="185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0" y="182"/>
                  </a:lnTo>
                  <a:lnTo>
                    <a:pt x="48" y="182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0" y="180"/>
                  </a:lnTo>
                  <a:lnTo>
                    <a:pt x="52" y="177"/>
                  </a:lnTo>
                  <a:lnTo>
                    <a:pt x="55" y="167"/>
                  </a:lnTo>
                  <a:lnTo>
                    <a:pt x="57" y="155"/>
                  </a:lnTo>
                  <a:lnTo>
                    <a:pt x="58" y="152"/>
                  </a:lnTo>
                  <a:lnTo>
                    <a:pt x="60" y="152"/>
                  </a:lnTo>
                  <a:lnTo>
                    <a:pt x="58" y="151"/>
                  </a:lnTo>
                  <a:lnTo>
                    <a:pt x="57" y="151"/>
                  </a:lnTo>
                  <a:lnTo>
                    <a:pt x="57" y="152"/>
                  </a:lnTo>
                  <a:lnTo>
                    <a:pt x="57" y="152"/>
                  </a:lnTo>
                  <a:lnTo>
                    <a:pt x="57" y="141"/>
                  </a:lnTo>
                  <a:lnTo>
                    <a:pt x="58" y="137"/>
                  </a:lnTo>
                  <a:lnTo>
                    <a:pt x="60" y="132"/>
                  </a:lnTo>
                  <a:lnTo>
                    <a:pt x="61" y="135"/>
                  </a:lnTo>
                  <a:lnTo>
                    <a:pt x="64" y="137"/>
                  </a:lnTo>
                  <a:lnTo>
                    <a:pt x="64" y="138"/>
                  </a:lnTo>
                  <a:lnTo>
                    <a:pt x="65" y="142"/>
                  </a:lnTo>
                  <a:lnTo>
                    <a:pt x="67" y="144"/>
                  </a:lnTo>
                  <a:lnTo>
                    <a:pt x="68" y="145"/>
                  </a:lnTo>
                  <a:lnTo>
                    <a:pt x="67" y="144"/>
                  </a:lnTo>
                  <a:lnTo>
                    <a:pt x="67" y="142"/>
                  </a:lnTo>
                  <a:lnTo>
                    <a:pt x="65" y="137"/>
                  </a:lnTo>
                  <a:lnTo>
                    <a:pt x="64" y="134"/>
                  </a:lnTo>
                  <a:lnTo>
                    <a:pt x="62" y="132"/>
                  </a:lnTo>
                  <a:lnTo>
                    <a:pt x="58" y="130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8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7"/>
                  </a:lnTo>
                  <a:lnTo>
                    <a:pt x="58" y="124"/>
                  </a:lnTo>
                  <a:lnTo>
                    <a:pt x="58" y="118"/>
                  </a:lnTo>
                  <a:lnTo>
                    <a:pt x="58" y="117"/>
                  </a:lnTo>
                  <a:lnTo>
                    <a:pt x="58" y="115"/>
                  </a:lnTo>
                  <a:lnTo>
                    <a:pt x="57" y="115"/>
                  </a:lnTo>
                  <a:lnTo>
                    <a:pt x="55" y="115"/>
                  </a:lnTo>
                  <a:lnTo>
                    <a:pt x="54" y="114"/>
                  </a:lnTo>
                  <a:lnTo>
                    <a:pt x="48" y="111"/>
                  </a:lnTo>
                  <a:lnTo>
                    <a:pt x="45" y="107"/>
                  </a:lnTo>
                  <a:lnTo>
                    <a:pt x="44" y="104"/>
                  </a:lnTo>
                  <a:lnTo>
                    <a:pt x="42" y="102"/>
                  </a:lnTo>
                  <a:lnTo>
                    <a:pt x="42" y="101"/>
                  </a:lnTo>
                  <a:lnTo>
                    <a:pt x="44" y="98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1" y="95"/>
                  </a:lnTo>
                  <a:lnTo>
                    <a:pt x="42" y="94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5" y="92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5" y="92"/>
                  </a:lnTo>
                  <a:lnTo>
                    <a:pt x="38" y="92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8" y="88"/>
                  </a:lnTo>
                  <a:lnTo>
                    <a:pt x="37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2" y="87"/>
                  </a:lnTo>
                  <a:lnTo>
                    <a:pt x="31" y="87"/>
                  </a:lnTo>
                  <a:lnTo>
                    <a:pt x="32" y="85"/>
                  </a:lnTo>
                  <a:lnTo>
                    <a:pt x="32" y="84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27" y="84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7" y="80"/>
                  </a:lnTo>
                  <a:lnTo>
                    <a:pt x="7" y="78"/>
                  </a:lnTo>
                  <a:lnTo>
                    <a:pt x="5" y="77"/>
                  </a:lnTo>
                  <a:lnTo>
                    <a:pt x="1" y="74"/>
                  </a:lnTo>
                  <a:lnTo>
                    <a:pt x="2" y="74"/>
                  </a:lnTo>
                  <a:lnTo>
                    <a:pt x="4" y="72"/>
                  </a:lnTo>
                  <a:lnTo>
                    <a:pt x="7" y="72"/>
                  </a:lnTo>
                  <a:lnTo>
                    <a:pt x="7" y="71"/>
                  </a:lnTo>
                  <a:lnTo>
                    <a:pt x="5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2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5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5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1" y="67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1" y="62"/>
                  </a:lnTo>
                  <a:lnTo>
                    <a:pt x="4" y="61"/>
                  </a:lnTo>
                  <a:lnTo>
                    <a:pt x="11" y="58"/>
                  </a:lnTo>
                  <a:lnTo>
                    <a:pt x="14" y="58"/>
                  </a:lnTo>
                  <a:lnTo>
                    <a:pt x="17" y="58"/>
                  </a:lnTo>
                  <a:lnTo>
                    <a:pt x="20" y="57"/>
                  </a:lnTo>
                  <a:lnTo>
                    <a:pt x="21" y="55"/>
                  </a:lnTo>
                  <a:lnTo>
                    <a:pt x="25" y="55"/>
                  </a:lnTo>
                  <a:lnTo>
                    <a:pt x="28" y="57"/>
                  </a:lnTo>
                  <a:lnTo>
                    <a:pt x="31" y="61"/>
                  </a:lnTo>
                  <a:lnTo>
                    <a:pt x="34" y="62"/>
                  </a:lnTo>
                  <a:lnTo>
                    <a:pt x="37" y="60"/>
                  </a:lnTo>
                  <a:lnTo>
                    <a:pt x="42" y="60"/>
                  </a:lnTo>
                  <a:lnTo>
                    <a:pt x="44" y="61"/>
                  </a:lnTo>
                  <a:lnTo>
                    <a:pt x="45" y="60"/>
                  </a:lnTo>
                  <a:lnTo>
                    <a:pt x="45" y="58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2" y="58"/>
                  </a:lnTo>
                  <a:lnTo>
                    <a:pt x="51" y="55"/>
                  </a:lnTo>
                  <a:lnTo>
                    <a:pt x="51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7" y="37"/>
                  </a:lnTo>
                  <a:lnTo>
                    <a:pt x="47" y="35"/>
                  </a:lnTo>
                  <a:lnTo>
                    <a:pt x="47" y="34"/>
                  </a:lnTo>
                  <a:lnTo>
                    <a:pt x="50" y="34"/>
                  </a:lnTo>
                  <a:lnTo>
                    <a:pt x="51" y="35"/>
                  </a:lnTo>
                  <a:lnTo>
                    <a:pt x="54" y="34"/>
                  </a:lnTo>
                  <a:lnTo>
                    <a:pt x="57" y="34"/>
                  </a:lnTo>
                  <a:lnTo>
                    <a:pt x="57" y="37"/>
                  </a:lnTo>
                  <a:lnTo>
                    <a:pt x="57" y="40"/>
                  </a:lnTo>
                  <a:lnTo>
                    <a:pt x="57" y="41"/>
                  </a:lnTo>
                  <a:lnTo>
                    <a:pt x="58" y="42"/>
                  </a:lnTo>
                  <a:lnTo>
                    <a:pt x="61" y="41"/>
                  </a:lnTo>
                  <a:lnTo>
                    <a:pt x="64" y="42"/>
                  </a:lnTo>
                  <a:lnTo>
                    <a:pt x="68" y="42"/>
                  </a:lnTo>
                  <a:lnTo>
                    <a:pt x="74" y="44"/>
                  </a:lnTo>
                  <a:lnTo>
                    <a:pt x="77" y="44"/>
                  </a:lnTo>
                  <a:lnTo>
                    <a:pt x="78" y="41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1" y="40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7"/>
                  </a:lnTo>
                  <a:lnTo>
                    <a:pt x="80" y="34"/>
                  </a:lnTo>
                  <a:lnTo>
                    <a:pt x="87" y="30"/>
                  </a:lnTo>
                  <a:lnTo>
                    <a:pt x="91" y="30"/>
                  </a:lnTo>
                  <a:lnTo>
                    <a:pt x="97" y="27"/>
                  </a:lnTo>
                  <a:lnTo>
                    <a:pt x="99" y="24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1" y="20"/>
                  </a:lnTo>
                  <a:lnTo>
                    <a:pt x="102" y="8"/>
                  </a:lnTo>
                  <a:lnTo>
                    <a:pt x="102" y="7"/>
                  </a:lnTo>
                  <a:lnTo>
                    <a:pt x="104" y="4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15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4"/>
                  </a:lnTo>
                  <a:lnTo>
                    <a:pt x="118" y="5"/>
                  </a:lnTo>
                  <a:lnTo>
                    <a:pt x="119" y="7"/>
                  </a:lnTo>
                  <a:lnTo>
                    <a:pt x="121" y="8"/>
                  </a:lnTo>
                  <a:lnTo>
                    <a:pt x="122" y="8"/>
                  </a:lnTo>
                  <a:lnTo>
                    <a:pt x="122" y="8"/>
                  </a:lnTo>
                  <a:close/>
                  <a:moveTo>
                    <a:pt x="58" y="124"/>
                  </a:moveTo>
                  <a:lnTo>
                    <a:pt x="57" y="127"/>
                  </a:lnTo>
                  <a:lnTo>
                    <a:pt x="55" y="125"/>
                  </a:lnTo>
                  <a:lnTo>
                    <a:pt x="54" y="122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5" y="122"/>
                  </a:lnTo>
                  <a:lnTo>
                    <a:pt x="58" y="124"/>
                  </a:lnTo>
                  <a:close/>
                  <a:moveTo>
                    <a:pt x="228" y="194"/>
                  </a:moveTo>
                  <a:lnTo>
                    <a:pt x="228" y="197"/>
                  </a:lnTo>
                  <a:lnTo>
                    <a:pt x="228" y="198"/>
                  </a:lnTo>
                  <a:lnTo>
                    <a:pt x="229" y="198"/>
                  </a:lnTo>
                  <a:lnTo>
                    <a:pt x="229" y="199"/>
                  </a:lnTo>
                  <a:lnTo>
                    <a:pt x="229" y="208"/>
                  </a:lnTo>
                  <a:lnTo>
                    <a:pt x="229" y="208"/>
                  </a:lnTo>
                  <a:lnTo>
                    <a:pt x="228" y="212"/>
                  </a:lnTo>
                  <a:lnTo>
                    <a:pt x="226" y="212"/>
                  </a:lnTo>
                  <a:lnTo>
                    <a:pt x="226" y="217"/>
                  </a:lnTo>
                  <a:lnTo>
                    <a:pt x="226" y="218"/>
                  </a:lnTo>
                  <a:lnTo>
                    <a:pt x="226" y="219"/>
                  </a:lnTo>
                  <a:lnTo>
                    <a:pt x="225" y="222"/>
                  </a:lnTo>
                  <a:lnTo>
                    <a:pt x="224" y="224"/>
                  </a:lnTo>
                  <a:lnTo>
                    <a:pt x="221" y="222"/>
                  </a:lnTo>
                  <a:lnTo>
                    <a:pt x="219" y="221"/>
                  </a:lnTo>
                  <a:lnTo>
                    <a:pt x="218" y="221"/>
                  </a:lnTo>
                  <a:lnTo>
                    <a:pt x="218" y="219"/>
                  </a:lnTo>
                  <a:lnTo>
                    <a:pt x="218" y="219"/>
                  </a:lnTo>
                  <a:lnTo>
                    <a:pt x="218" y="218"/>
                  </a:lnTo>
                  <a:lnTo>
                    <a:pt x="219" y="218"/>
                  </a:lnTo>
                  <a:lnTo>
                    <a:pt x="216" y="217"/>
                  </a:lnTo>
                  <a:lnTo>
                    <a:pt x="216" y="217"/>
                  </a:lnTo>
                  <a:lnTo>
                    <a:pt x="216" y="215"/>
                  </a:lnTo>
                  <a:lnTo>
                    <a:pt x="216" y="214"/>
                  </a:lnTo>
                  <a:lnTo>
                    <a:pt x="216" y="212"/>
                  </a:lnTo>
                  <a:lnTo>
                    <a:pt x="215" y="212"/>
                  </a:lnTo>
                  <a:lnTo>
                    <a:pt x="215" y="212"/>
                  </a:lnTo>
                  <a:lnTo>
                    <a:pt x="215" y="212"/>
                  </a:lnTo>
                  <a:lnTo>
                    <a:pt x="215" y="211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15" y="208"/>
                  </a:lnTo>
                  <a:lnTo>
                    <a:pt x="214" y="208"/>
                  </a:lnTo>
                  <a:lnTo>
                    <a:pt x="214" y="207"/>
                  </a:lnTo>
                  <a:lnTo>
                    <a:pt x="214" y="205"/>
                  </a:lnTo>
                  <a:lnTo>
                    <a:pt x="215" y="205"/>
                  </a:lnTo>
                  <a:lnTo>
                    <a:pt x="215" y="204"/>
                  </a:lnTo>
                  <a:lnTo>
                    <a:pt x="214" y="204"/>
                  </a:lnTo>
                  <a:lnTo>
                    <a:pt x="214" y="204"/>
                  </a:lnTo>
                  <a:lnTo>
                    <a:pt x="214" y="202"/>
                  </a:lnTo>
                  <a:lnTo>
                    <a:pt x="215" y="202"/>
                  </a:lnTo>
                  <a:lnTo>
                    <a:pt x="216" y="199"/>
                  </a:lnTo>
                  <a:lnTo>
                    <a:pt x="218" y="198"/>
                  </a:lnTo>
                  <a:lnTo>
                    <a:pt x="221" y="197"/>
                  </a:lnTo>
                  <a:lnTo>
                    <a:pt x="221" y="197"/>
                  </a:lnTo>
                  <a:lnTo>
                    <a:pt x="222" y="195"/>
                  </a:lnTo>
                  <a:lnTo>
                    <a:pt x="222" y="195"/>
                  </a:lnTo>
                  <a:lnTo>
                    <a:pt x="224" y="195"/>
                  </a:lnTo>
                  <a:lnTo>
                    <a:pt x="225" y="195"/>
                  </a:lnTo>
                  <a:lnTo>
                    <a:pt x="225" y="197"/>
                  </a:lnTo>
                  <a:lnTo>
                    <a:pt x="225" y="195"/>
                  </a:lnTo>
                  <a:lnTo>
                    <a:pt x="226" y="194"/>
                  </a:lnTo>
                  <a:lnTo>
                    <a:pt x="225" y="194"/>
                  </a:lnTo>
                  <a:lnTo>
                    <a:pt x="226" y="191"/>
                  </a:lnTo>
                  <a:lnTo>
                    <a:pt x="226" y="190"/>
                  </a:lnTo>
                  <a:lnTo>
                    <a:pt x="226" y="190"/>
                  </a:lnTo>
                  <a:lnTo>
                    <a:pt x="228" y="190"/>
                  </a:lnTo>
                  <a:lnTo>
                    <a:pt x="228" y="191"/>
                  </a:lnTo>
                  <a:lnTo>
                    <a:pt x="228" y="192"/>
                  </a:lnTo>
                  <a:lnTo>
                    <a:pt x="228" y="19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208;p3"/>
            <p:cNvSpPr/>
            <p:nvPr/>
          </p:nvSpPr>
          <p:spPr>
            <a:xfrm>
              <a:off x="4048911" y="4349706"/>
              <a:ext cx="65221" cy="62151"/>
            </a:xfrm>
            <a:custGeom>
              <a:rect b="b" l="l" r="r" t="t"/>
              <a:pathLst>
                <a:path extrusionOk="0" h="99" w="93">
                  <a:moveTo>
                    <a:pt x="74" y="3"/>
                  </a:moveTo>
                  <a:lnTo>
                    <a:pt x="74" y="3"/>
                  </a:lnTo>
                  <a:lnTo>
                    <a:pt x="73" y="6"/>
                  </a:lnTo>
                  <a:lnTo>
                    <a:pt x="73" y="9"/>
                  </a:lnTo>
                  <a:lnTo>
                    <a:pt x="73" y="10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4" y="15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6" y="17"/>
                  </a:lnTo>
                  <a:lnTo>
                    <a:pt x="78" y="16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90" y="16"/>
                  </a:lnTo>
                  <a:lnTo>
                    <a:pt x="90" y="19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5"/>
                  </a:lnTo>
                  <a:lnTo>
                    <a:pt x="91" y="25"/>
                  </a:lnTo>
                  <a:lnTo>
                    <a:pt x="91" y="26"/>
                  </a:lnTo>
                  <a:lnTo>
                    <a:pt x="91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30"/>
                  </a:lnTo>
                  <a:lnTo>
                    <a:pt x="84" y="32"/>
                  </a:lnTo>
                  <a:lnTo>
                    <a:pt x="84" y="33"/>
                  </a:lnTo>
                  <a:lnTo>
                    <a:pt x="84" y="35"/>
                  </a:lnTo>
                  <a:lnTo>
                    <a:pt x="84" y="36"/>
                  </a:lnTo>
                  <a:lnTo>
                    <a:pt x="84" y="39"/>
                  </a:lnTo>
                  <a:lnTo>
                    <a:pt x="83" y="40"/>
                  </a:lnTo>
                  <a:lnTo>
                    <a:pt x="84" y="40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91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3" y="53"/>
                  </a:lnTo>
                  <a:lnTo>
                    <a:pt x="93" y="55"/>
                  </a:lnTo>
                  <a:lnTo>
                    <a:pt x="93" y="56"/>
                  </a:lnTo>
                  <a:lnTo>
                    <a:pt x="93" y="59"/>
                  </a:lnTo>
                  <a:lnTo>
                    <a:pt x="93" y="62"/>
                  </a:lnTo>
                  <a:lnTo>
                    <a:pt x="91" y="62"/>
                  </a:lnTo>
                  <a:lnTo>
                    <a:pt x="91" y="63"/>
                  </a:lnTo>
                  <a:lnTo>
                    <a:pt x="93" y="65"/>
                  </a:lnTo>
                  <a:lnTo>
                    <a:pt x="91" y="67"/>
                  </a:lnTo>
                  <a:lnTo>
                    <a:pt x="91" y="67"/>
                  </a:lnTo>
                  <a:lnTo>
                    <a:pt x="90" y="67"/>
                  </a:lnTo>
                  <a:lnTo>
                    <a:pt x="90" y="69"/>
                  </a:lnTo>
                  <a:lnTo>
                    <a:pt x="90" y="70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5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6" y="76"/>
                  </a:lnTo>
                  <a:lnTo>
                    <a:pt x="84" y="76"/>
                  </a:lnTo>
                  <a:lnTo>
                    <a:pt x="83" y="76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3" y="73"/>
                  </a:lnTo>
                  <a:lnTo>
                    <a:pt x="83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0" y="73"/>
                  </a:lnTo>
                  <a:lnTo>
                    <a:pt x="77" y="75"/>
                  </a:lnTo>
                  <a:lnTo>
                    <a:pt x="76" y="76"/>
                  </a:lnTo>
                  <a:lnTo>
                    <a:pt x="73" y="75"/>
                  </a:lnTo>
                  <a:lnTo>
                    <a:pt x="70" y="73"/>
                  </a:lnTo>
                  <a:lnTo>
                    <a:pt x="68" y="72"/>
                  </a:lnTo>
                  <a:lnTo>
                    <a:pt x="67" y="70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1" y="67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5"/>
                  </a:lnTo>
                  <a:lnTo>
                    <a:pt x="54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1" y="75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82"/>
                  </a:lnTo>
                  <a:lnTo>
                    <a:pt x="46" y="82"/>
                  </a:lnTo>
                  <a:lnTo>
                    <a:pt x="47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49" y="86"/>
                  </a:lnTo>
                  <a:lnTo>
                    <a:pt x="49" y="87"/>
                  </a:lnTo>
                  <a:lnTo>
                    <a:pt x="49" y="87"/>
                  </a:lnTo>
                  <a:lnTo>
                    <a:pt x="50" y="89"/>
                  </a:lnTo>
                  <a:lnTo>
                    <a:pt x="51" y="89"/>
                  </a:lnTo>
                  <a:lnTo>
                    <a:pt x="53" y="90"/>
                  </a:lnTo>
                  <a:lnTo>
                    <a:pt x="53" y="90"/>
                  </a:lnTo>
                  <a:lnTo>
                    <a:pt x="51" y="92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9" y="96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40" y="97"/>
                  </a:lnTo>
                  <a:lnTo>
                    <a:pt x="40" y="99"/>
                  </a:lnTo>
                  <a:lnTo>
                    <a:pt x="39" y="97"/>
                  </a:lnTo>
                  <a:lnTo>
                    <a:pt x="37" y="96"/>
                  </a:lnTo>
                  <a:lnTo>
                    <a:pt x="36" y="93"/>
                  </a:lnTo>
                  <a:lnTo>
                    <a:pt x="31" y="92"/>
                  </a:lnTo>
                  <a:lnTo>
                    <a:pt x="31" y="89"/>
                  </a:lnTo>
                  <a:lnTo>
                    <a:pt x="27" y="85"/>
                  </a:lnTo>
                  <a:lnTo>
                    <a:pt x="21" y="80"/>
                  </a:lnTo>
                  <a:lnTo>
                    <a:pt x="17" y="7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21" y="79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1" y="76"/>
                  </a:lnTo>
                  <a:lnTo>
                    <a:pt x="20" y="76"/>
                  </a:lnTo>
                  <a:lnTo>
                    <a:pt x="17" y="76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2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0" y="67"/>
                  </a:lnTo>
                  <a:lnTo>
                    <a:pt x="11" y="67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1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9" y="62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4" y="63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1" y="57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9" y="59"/>
                  </a:lnTo>
                  <a:lnTo>
                    <a:pt x="7" y="57"/>
                  </a:lnTo>
                  <a:lnTo>
                    <a:pt x="4" y="55"/>
                  </a:lnTo>
                  <a:lnTo>
                    <a:pt x="4" y="53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1" y="47"/>
                  </a:lnTo>
                  <a:lnTo>
                    <a:pt x="3" y="49"/>
                  </a:lnTo>
                  <a:lnTo>
                    <a:pt x="4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10" y="43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3" y="35"/>
                  </a:lnTo>
                  <a:lnTo>
                    <a:pt x="14" y="35"/>
                  </a:lnTo>
                  <a:lnTo>
                    <a:pt x="17" y="36"/>
                  </a:lnTo>
                  <a:lnTo>
                    <a:pt x="19" y="36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0" y="33"/>
                  </a:lnTo>
                  <a:lnTo>
                    <a:pt x="19" y="35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1" y="27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5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9" y="20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4" y="22"/>
                  </a:lnTo>
                  <a:lnTo>
                    <a:pt x="27" y="22"/>
                  </a:lnTo>
                  <a:lnTo>
                    <a:pt x="31" y="22"/>
                  </a:lnTo>
                  <a:lnTo>
                    <a:pt x="36" y="22"/>
                  </a:lnTo>
                  <a:lnTo>
                    <a:pt x="40" y="22"/>
                  </a:lnTo>
                  <a:lnTo>
                    <a:pt x="43" y="22"/>
                  </a:lnTo>
                  <a:lnTo>
                    <a:pt x="43" y="19"/>
                  </a:lnTo>
                  <a:lnTo>
                    <a:pt x="43" y="16"/>
                  </a:lnTo>
                  <a:lnTo>
                    <a:pt x="43" y="13"/>
                  </a:lnTo>
                  <a:lnTo>
                    <a:pt x="43" y="9"/>
                  </a:lnTo>
                  <a:lnTo>
                    <a:pt x="43" y="6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3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74" y="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209;p3"/>
            <p:cNvSpPr/>
            <p:nvPr/>
          </p:nvSpPr>
          <p:spPr>
            <a:xfrm>
              <a:off x="3859561" y="3599504"/>
              <a:ext cx="111507" cy="193986"/>
            </a:xfrm>
            <a:custGeom>
              <a:rect b="b" l="l" r="r" t="t"/>
              <a:pathLst>
                <a:path extrusionOk="0" h="309" w="159">
                  <a:moveTo>
                    <a:pt x="115" y="292"/>
                  </a:moveTo>
                  <a:lnTo>
                    <a:pt x="113" y="292"/>
                  </a:lnTo>
                  <a:lnTo>
                    <a:pt x="113" y="293"/>
                  </a:lnTo>
                  <a:lnTo>
                    <a:pt x="112" y="293"/>
                  </a:lnTo>
                  <a:lnTo>
                    <a:pt x="112" y="294"/>
                  </a:lnTo>
                  <a:lnTo>
                    <a:pt x="110" y="294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7" y="292"/>
                  </a:lnTo>
                  <a:lnTo>
                    <a:pt x="109" y="290"/>
                  </a:lnTo>
                  <a:lnTo>
                    <a:pt x="110" y="289"/>
                  </a:lnTo>
                  <a:lnTo>
                    <a:pt x="113" y="290"/>
                  </a:lnTo>
                  <a:lnTo>
                    <a:pt x="115" y="292"/>
                  </a:lnTo>
                  <a:close/>
                  <a:moveTo>
                    <a:pt x="65" y="223"/>
                  </a:moveTo>
                  <a:lnTo>
                    <a:pt x="65" y="223"/>
                  </a:lnTo>
                  <a:lnTo>
                    <a:pt x="66" y="223"/>
                  </a:lnTo>
                  <a:lnTo>
                    <a:pt x="66" y="225"/>
                  </a:lnTo>
                  <a:lnTo>
                    <a:pt x="65" y="226"/>
                  </a:lnTo>
                  <a:lnTo>
                    <a:pt x="63" y="227"/>
                  </a:lnTo>
                  <a:lnTo>
                    <a:pt x="62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59" y="225"/>
                  </a:lnTo>
                  <a:lnTo>
                    <a:pt x="59" y="222"/>
                  </a:lnTo>
                  <a:lnTo>
                    <a:pt x="60" y="220"/>
                  </a:lnTo>
                  <a:lnTo>
                    <a:pt x="62" y="220"/>
                  </a:lnTo>
                  <a:lnTo>
                    <a:pt x="65" y="223"/>
                  </a:lnTo>
                  <a:close/>
                  <a:moveTo>
                    <a:pt x="29" y="170"/>
                  </a:moveTo>
                  <a:lnTo>
                    <a:pt x="32" y="172"/>
                  </a:lnTo>
                  <a:lnTo>
                    <a:pt x="33" y="172"/>
                  </a:lnTo>
                  <a:lnTo>
                    <a:pt x="35" y="173"/>
                  </a:lnTo>
                  <a:lnTo>
                    <a:pt x="36" y="176"/>
                  </a:lnTo>
                  <a:lnTo>
                    <a:pt x="38" y="179"/>
                  </a:lnTo>
                  <a:lnTo>
                    <a:pt x="40" y="182"/>
                  </a:lnTo>
                  <a:lnTo>
                    <a:pt x="40" y="185"/>
                  </a:lnTo>
                  <a:lnTo>
                    <a:pt x="39" y="185"/>
                  </a:lnTo>
                  <a:lnTo>
                    <a:pt x="38" y="186"/>
                  </a:lnTo>
                  <a:lnTo>
                    <a:pt x="38" y="187"/>
                  </a:lnTo>
                  <a:lnTo>
                    <a:pt x="39" y="186"/>
                  </a:lnTo>
                  <a:lnTo>
                    <a:pt x="39" y="186"/>
                  </a:lnTo>
                  <a:lnTo>
                    <a:pt x="42" y="186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3" y="192"/>
                  </a:lnTo>
                  <a:lnTo>
                    <a:pt x="43" y="193"/>
                  </a:lnTo>
                  <a:lnTo>
                    <a:pt x="43" y="192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5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2" y="197"/>
                  </a:lnTo>
                  <a:lnTo>
                    <a:pt x="40" y="197"/>
                  </a:lnTo>
                  <a:lnTo>
                    <a:pt x="38" y="199"/>
                  </a:lnTo>
                  <a:lnTo>
                    <a:pt x="38" y="199"/>
                  </a:lnTo>
                  <a:lnTo>
                    <a:pt x="38" y="200"/>
                  </a:lnTo>
                  <a:lnTo>
                    <a:pt x="36" y="202"/>
                  </a:lnTo>
                  <a:lnTo>
                    <a:pt x="35" y="203"/>
                  </a:lnTo>
                  <a:lnTo>
                    <a:pt x="33" y="203"/>
                  </a:lnTo>
                  <a:lnTo>
                    <a:pt x="32" y="202"/>
                  </a:lnTo>
                  <a:lnTo>
                    <a:pt x="30" y="202"/>
                  </a:lnTo>
                  <a:lnTo>
                    <a:pt x="29" y="203"/>
                  </a:lnTo>
                  <a:lnTo>
                    <a:pt x="29" y="203"/>
                  </a:lnTo>
                  <a:lnTo>
                    <a:pt x="29" y="203"/>
                  </a:lnTo>
                  <a:lnTo>
                    <a:pt x="26" y="203"/>
                  </a:lnTo>
                  <a:lnTo>
                    <a:pt x="25" y="203"/>
                  </a:lnTo>
                  <a:lnTo>
                    <a:pt x="25" y="202"/>
                  </a:lnTo>
                  <a:lnTo>
                    <a:pt x="25" y="200"/>
                  </a:lnTo>
                  <a:lnTo>
                    <a:pt x="25" y="200"/>
                  </a:lnTo>
                  <a:lnTo>
                    <a:pt x="23" y="199"/>
                  </a:lnTo>
                  <a:lnTo>
                    <a:pt x="22" y="199"/>
                  </a:lnTo>
                  <a:lnTo>
                    <a:pt x="22" y="197"/>
                  </a:lnTo>
                  <a:lnTo>
                    <a:pt x="22" y="196"/>
                  </a:lnTo>
                  <a:lnTo>
                    <a:pt x="22" y="196"/>
                  </a:lnTo>
                  <a:lnTo>
                    <a:pt x="20" y="195"/>
                  </a:lnTo>
                  <a:lnTo>
                    <a:pt x="19" y="193"/>
                  </a:lnTo>
                  <a:lnTo>
                    <a:pt x="19" y="193"/>
                  </a:lnTo>
                  <a:lnTo>
                    <a:pt x="18" y="195"/>
                  </a:lnTo>
                  <a:lnTo>
                    <a:pt x="16" y="196"/>
                  </a:lnTo>
                  <a:lnTo>
                    <a:pt x="16" y="197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5" y="200"/>
                  </a:lnTo>
                  <a:lnTo>
                    <a:pt x="15" y="202"/>
                  </a:lnTo>
                  <a:lnTo>
                    <a:pt x="13" y="202"/>
                  </a:lnTo>
                  <a:lnTo>
                    <a:pt x="13" y="200"/>
                  </a:lnTo>
                  <a:lnTo>
                    <a:pt x="10" y="202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6" y="199"/>
                  </a:lnTo>
                  <a:lnTo>
                    <a:pt x="5" y="197"/>
                  </a:lnTo>
                  <a:lnTo>
                    <a:pt x="5" y="196"/>
                  </a:lnTo>
                  <a:lnTo>
                    <a:pt x="2" y="193"/>
                  </a:lnTo>
                  <a:lnTo>
                    <a:pt x="0" y="192"/>
                  </a:lnTo>
                  <a:lnTo>
                    <a:pt x="2" y="192"/>
                  </a:lnTo>
                  <a:lnTo>
                    <a:pt x="2" y="190"/>
                  </a:lnTo>
                  <a:lnTo>
                    <a:pt x="6" y="189"/>
                  </a:lnTo>
                  <a:lnTo>
                    <a:pt x="8" y="189"/>
                  </a:lnTo>
                  <a:lnTo>
                    <a:pt x="8" y="187"/>
                  </a:lnTo>
                  <a:lnTo>
                    <a:pt x="6" y="187"/>
                  </a:lnTo>
                  <a:lnTo>
                    <a:pt x="5" y="186"/>
                  </a:lnTo>
                  <a:lnTo>
                    <a:pt x="5" y="186"/>
                  </a:lnTo>
                  <a:lnTo>
                    <a:pt x="5" y="186"/>
                  </a:lnTo>
                  <a:lnTo>
                    <a:pt x="5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9" y="185"/>
                  </a:lnTo>
                  <a:lnTo>
                    <a:pt x="10" y="183"/>
                  </a:lnTo>
                  <a:lnTo>
                    <a:pt x="12" y="182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3" y="177"/>
                  </a:lnTo>
                  <a:lnTo>
                    <a:pt x="13" y="176"/>
                  </a:lnTo>
                  <a:lnTo>
                    <a:pt x="16" y="175"/>
                  </a:lnTo>
                  <a:lnTo>
                    <a:pt x="16" y="176"/>
                  </a:lnTo>
                  <a:lnTo>
                    <a:pt x="18" y="176"/>
                  </a:lnTo>
                  <a:lnTo>
                    <a:pt x="19" y="175"/>
                  </a:lnTo>
                  <a:lnTo>
                    <a:pt x="20" y="172"/>
                  </a:lnTo>
                  <a:lnTo>
                    <a:pt x="20" y="172"/>
                  </a:lnTo>
                  <a:lnTo>
                    <a:pt x="22" y="172"/>
                  </a:lnTo>
                  <a:lnTo>
                    <a:pt x="25" y="172"/>
                  </a:lnTo>
                  <a:lnTo>
                    <a:pt x="28" y="170"/>
                  </a:lnTo>
                  <a:lnTo>
                    <a:pt x="29" y="170"/>
                  </a:lnTo>
                  <a:close/>
                  <a:moveTo>
                    <a:pt x="49" y="165"/>
                  </a:moveTo>
                  <a:lnTo>
                    <a:pt x="47" y="165"/>
                  </a:lnTo>
                  <a:lnTo>
                    <a:pt x="47" y="165"/>
                  </a:lnTo>
                  <a:lnTo>
                    <a:pt x="46" y="163"/>
                  </a:lnTo>
                  <a:lnTo>
                    <a:pt x="45" y="160"/>
                  </a:lnTo>
                  <a:lnTo>
                    <a:pt x="46" y="159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7" y="157"/>
                  </a:lnTo>
                  <a:lnTo>
                    <a:pt x="49" y="157"/>
                  </a:lnTo>
                  <a:lnTo>
                    <a:pt x="49" y="159"/>
                  </a:lnTo>
                  <a:lnTo>
                    <a:pt x="49" y="162"/>
                  </a:lnTo>
                  <a:lnTo>
                    <a:pt x="50" y="163"/>
                  </a:lnTo>
                  <a:lnTo>
                    <a:pt x="49" y="165"/>
                  </a:lnTo>
                  <a:close/>
                  <a:moveTo>
                    <a:pt x="33" y="150"/>
                  </a:moveTo>
                  <a:lnTo>
                    <a:pt x="33" y="155"/>
                  </a:lnTo>
                  <a:lnTo>
                    <a:pt x="35" y="157"/>
                  </a:lnTo>
                  <a:lnTo>
                    <a:pt x="35" y="157"/>
                  </a:lnTo>
                  <a:lnTo>
                    <a:pt x="33" y="159"/>
                  </a:lnTo>
                  <a:lnTo>
                    <a:pt x="32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59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0" y="155"/>
                  </a:lnTo>
                  <a:lnTo>
                    <a:pt x="30" y="156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8" y="156"/>
                  </a:lnTo>
                  <a:lnTo>
                    <a:pt x="28" y="155"/>
                  </a:lnTo>
                  <a:lnTo>
                    <a:pt x="28" y="153"/>
                  </a:lnTo>
                  <a:lnTo>
                    <a:pt x="29" y="153"/>
                  </a:lnTo>
                  <a:lnTo>
                    <a:pt x="29" y="153"/>
                  </a:lnTo>
                  <a:lnTo>
                    <a:pt x="30" y="153"/>
                  </a:lnTo>
                  <a:lnTo>
                    <a:pt x="30" y="153"/>
                  </a:lnTo>
                  <a:lnTo>
                    <a:pt x="32" y="152"/>
                  </a:lnTo>
                  <a:lnTo>
                    <a:pt x="33" y="150"/>
                  </a:lnTo>
                  <a:close/>
                  <a:moveTo>
                    <a:pt x="36" y="155"/>
                  </a:moveTo>
                  <a:lnTo>
                    <a:pt x="36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2"/>
                  </a:lnTo>
                  <a:lnTo>
                    <a:pt x="35" y="152"/>
                  </a:lnTo>
                  <a:lnTo>
                    <a:pt x="36" y="150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7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40" y="146"/>
                  </a:lnTo>
                  <a:lnTo>
                    <a:pt x="39" y="149"/>
                  </a:lnTo>
                  <a:lnTo>
                    <a:pt x="36" y="155"/>
                  </a:lnTo>
                  <a:close/>
                  <a:moveTo>
                    <a:pt x="39" y="139"/>
                  </a:moveTo>
                  <a:lnTo>
                    <a:pt x="32" y="140"/>
                  </a:lnTo>
                  <a:lnTo>
                    <a:pt x="30" y="140"/>
                  </a:lnTo>
                  <a:lnTo>
                    <a:pt x="30" y="140"/>
                  </a:lnTo>
                  <a:lnTo>
                    <a:pt x="30" y="139"/>
                  </a:lnTo>
                  <a:lnTo>
                    <a:pt x="32" y="139"/>
                  </a:lnTo>
                  <a:lnTo>
                    <a:pt x="33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2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5" y="132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39" y="135"/>
                  </a:lnTo>
                  <a:lnTo>
                    <a:pt x="39" y="139"/>
                  </a:lnTo>
                  <a:close/>
                  <a:moveTo>
                    <a:pt x="26" y="132"/>
                  </a:moveTo>
                  <a:lnTo>
                    <a:pt x="25" y="132"/>
                  </a:lnTo>
                  <a:lnTo>
                    <a:pt x="25" y="132"/>
                  </a:lnTo>
                  <a:lnTo>
                    <a:pt x="26" y="130"/>
                  </a:lnTo>
                  <a:lnTo>
                    <a:pt x="28" y="129"/>
                  </a:lnTo>
                  <a:lnTo>
                    <a:pt x="28" y="130"/>
                  </a:lnTo>
                  <a:lnTo>
                    <a:pt x="26" y="130"/>
                  </a:lnTo>
                  <a:lnTo>
                    <a:pt x="26" y="132"/>
                  </a:lnTo>
                  <a:close/>
                  <a:moveTo>
                    <a:pt x="13" y="120"/>
                  </a:moveTo>
                  <a:lnTo>
                    <a:pt x="12" y="122"/>
                  </a:lnTo>
                  <a:lnTo>
                    <a:pt x="10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19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0"/>
                  </a:lnTo>
                  <a:close/>
                  <a:moveTo>
                    <a:pt x="30" y="120"/>
                  </a:moveTo>
                  <a:lnTo>
                    <a:pt x="30" y="122"/>
                  </a:lnTo>
                  <a:lnTo>
                    <a:pt x="30" y="122"/>
                  </a:lnTo>
                  <a:lnTo>
                    <a:pt x="29" y="120"/>
                  </a:lnTo>
                  <a:lnTo>
                    <a:pt x="29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30" y="120"/>
                  </a:lnTo>
                  <a:close/>
                  <a:moveTo>
                    <a:pt x="15" y="116"/>
                  </a:moveTo>
                  <a:lnTo>
                    <a:pt x="15" y="116"/>
                  </a:lnTo>
                  <a:lnTo>
                    <a:pt x="13" y="116"/>
                  </a:lnTo>
                  <a:lnTo>
                    <a:pt x="13" y="116"/>
                  </a:lnTo>
                  <a:lnTo>
                    <a:pt x="13" y="115"/>
                  </a:lnTo>
                  <a:lnTo>
                    <a:pt x="12" y="113"/>
                  </a:lnTo>
                  <a:lnTo>
                    <a:pt x="13" y="112"/>
                  </a:lnTo>
                  <a:lnTo>
                    <a:pt x="13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16"/>
                  </a:lnTo>
                  <a:lnTo>
                    <a:pt x="15" y="116"/>
                  </a:lnTo>
                  <a:close/>
                  <a:moveTo>
                    <a:pt x="33" y="105"/>
                  </a:moveTo>
                  <a:lnTo>
                    <a:pt x="33" y="106"/>
                  </a:lnTo>
                  <a:lnTo>
                    <a:pt x="33" y="107"/>
                  </a:lnTo>
                  <a:lnTo>
                    <a:pt x="33" y="109"/>
                  </a:lnTo>
                  <a:lnTo>
                    <a:pt x="33" y="110"/>
                  </a:lnTo>
                  <a:lnTo>
                    <a:pt x="33" y="112"/>
                  </a:lnTo>
                  <a:lnTo>
                    <a:pt x="35" y="112"/>
                  </a:lnTo>
                  <a:lnTo>
                    <a:pt x="38" y="112"/>
                  </a:lnTo>
                  <a:lnTo>
                    <a:pt x="40" y="112"/>
                  </a:lnTo>
                  <a:lnTo>
                    <a:pt x="40" y="113"/>
                  </a:lnTo>
                  <a:lnTo>
                    <a:pt x="40" y="113"/>
                  </a:lnTo>
                  <a:lnTo>
                    <a:pt x="40" y="115"/>
                  </a:lnTo>
                  <a:lnTo>
                    <a:pt x="39" y="116"/>
                  </a:lnTo>
                  <a:lnTo>
                    <a:pt x="36" y="117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5" y="119"/>
                  </a:lnTo>
                  <a:lnTo>
                    <a:pt x="35" y="115"/>
                  </a:lnTo>
                  <a:lnTo>
                    <a:pt x="33" y="115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9" y="113"/>
                  </a:lnTo>
                  <a:lnTo>
                    <a:pt x="28" y="110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9" y="102"/>
                  </a:lnTo>
                  <a:lnTo>
                    <a:pt x="29" y="100"/>
                  </a:lnTo>
                  <a:lnTo>
                    <a:pt x="30" y="100"/>
                  </a:lnTo>
                  <a:lnTo>
                    <a:pt x="32" y="100"/>
                  </a:lnTo>
                  <a:lnTo>
                    <a:pt x="33" y="103"/>
                  </a:lnTo>
                  <a:lnTo>
                    <a:pt x="33" y="105"/>
                  </a:lnTo>
                  <a:close/>
                  <a:moveTo>
                    <a:pt x="16" y="100"/>
                  </a:moveTo>
                  <a:lnTo>
                    <a:pt x="18" y="102"/>
                  </a:lnTo>
                  <a:lnTo>
                    <a:pt x="16" y="105"/>
                  </a:lnTo>
                  <a:lnTo>
                    <a:pt x="15" y="105"/>
                  </a:lnTo>
                  <a:lnTo>
                    <a:pt x="10" y="102"/>
                  </a:lnTo>
                  <a:lnTo>
                    <a:pt x="10" y="102"/>
                  </a:lnTo>
                  <a:lnTo>
                    <a:pt x="12" y="102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3" y="100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6" y="100"/>
                  </a:lnTo>
                  <a:close/>
                  <a:moveTo>
                    <a:pt x="32" y="79"/>
                  </a:moveTo>
                  <a:lnTo>
                    <a:pt x="30" y="85"/>
                  </a:lnTo>
                  <a:lnTo>
                    <a:pt x="29" y="85"/>
                  </a:lnTo>
                  <a:lnTo>
                    <a:pt x="29" y="86"/>
                  </a:lnTo>
                  <a:lnTo>
                    <a:pt x="26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6" y="92"/>
                  </a:lnTo>
                  <a:lnTo>
                    <a:pt x="25" y="93"/>
                  </a:lnTo>
                  <a:lnTo>
                    <a:pt x="23" y="96"/>
                  </a:lnTo>
                  <a:lnTo>
                    <a:pt x="22" y="96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19" y="97"/>
                  </a:lnTo>
                  <a:lnTo>
                    <a:pt x="19" y="97"/>
                  </a:lnTo>
                  <a:lnTo>
                    <a:pt x="18" y="96"/>
                  </a:lnTo>
                  <a:lnTo>
                    <a:pt x="20" y="95"/>
                  </a:lnTo>
                  <a:lnTo>
                    <a:pt x="20" y="93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6"/>
                  </a:lnTo>
                  <a:lnTo>
                    <a:pt x="18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0" y="83"/>
                  </a:lnTo>
                  <a:lnTo>
                    <a:pt x="20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6" y="79"/>
                  </a:lnTo>
                  <a:lnTo>
                    <a:pt x="30" y="76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7"/>
                  </a:lnTo>
                  <a:lnTo>
                    <a:pt x="32" y="79"/>
                  </a:lnTo>
                  <a:close/>
                  <a:moveTo>
                    <a:pt x="82" y="75"/>
                  </a:moveTo>
                  <a:lnTo>
                    <a:pt x="82" y="77"/>
                  </a:lnTo>
                  <a:lnTo>
                    <a:pt x="82" y="77"/>
                  </a:lnTo>
                  <a:lnTo>
                    <a:pt x="82" y="79"/>
                  </a:lnTo>
                  <a:lnTo>
                    <a:pt x="80" y="80"/>
                  </a:lnTo>
                  <a:lnTo>
                    <a:pt x="77" y="83"/>
                  </a:lnTo>
                  <a:lnTo>
                    <a:pt x="70" y="89"/>
                  </a:lnTo>
                  <a:lnTo>
                    <a:pt x="67" y="92"/>
                  </a:lnTo>
                  <a:lnTo>
                    <a:pt x="67" y="93"/>
                  </a:lnTo>
                  <a:lnTo>
                    <a:pt x="66" y="95"/>
                  </a:lnTo>
                  <a:lnTo>
                    <a:pt x="69" y="95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6" y="100"/>
                  </a:lnTo>
                  <a:lnTo>
                    <a:pt x="65" y="103"/>
                  </a:lnTo>
                  <a:lnTo>
                    <a:pt x="67" y="103"/>
                  </a:lnTo>
                  <a:lnTo>
                    <a:pt x="69" y="102"/>
                  </a:lnTo>
                  <a:lnTo>
                    <a:pt x="73" y="100"/>
                  </a:lnTo>
                  <a:lnTo>
                    <a:pt x="77" y="99"/>
                  </a:lnTo>
                  <a:lnTo>
                    <a:pt x="79" y="99"/>
                  </a:lnTo>
                  <a:lnTo>
                    <a:pt x="82" y="100"/>
                  </a:lnTo>
                  <a:lnTo>
                    <a:pt x="83" y="100"/>
                  </a:lnTo>
                  <a:lnTo>
                    <a:pt x="85" y="99"/>
                  </a:lnTo>
                  <a:lnTo>
                    <a:pt x="86" y="99"/>
                  </a:lnTo>
                  <a:lnTo>
                    <a:pt x="96" y="100"/>
                  </a:lnTo>
                  <a:lnTo>
                    <a:pt x="99" y="99"/>
                  </a:lnTo>
                  <a:lnTo>
                    <a:pt x="100" y="100"/>
                  </a:lnTo>
                  <a:lnTo>
                    <a:pt x="102" y="102"/>
                  </a:lnTo>
                  <a:lnTo>
                    <a:pt x="103" y="106"/>
                  </a:lnTo>
                  <a:lnTo>
                    <a:pt x="103" y="106"/>
                  </a:lnTo>
                  <a:lnTo>
                    <a:pt x="102" y="107"/>
                  </a:lnTo>
                  <a:lnTo>
                    <a:pt x="100" y="109"/>
                  </a:lnTo>
                  <a:lnTo>
                    <a:pt x="99" y="112"/>
                  </a:lnTo>
                  <a:lnTo>
                    <a:pt x="99" y="113"/>
                  </a:lnTo>
                  <a:lnTo>
                    <a:pt x="99" y="116"/>
                  </a:lnTo>
                  <a:lnTo>
                    <a:pt x="97" y="11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2" y="130"/>
                  </a:lnTo>
                  <a:lnTo>
                    <a:pt x="90" y="133"/>
                  </a:lnTo>
                  <a:lnTo>
                    <a:pt x="89" y="135"/>
                  </a:lnTo>
                  <a:lnTo>
                    <a:pt x="87" y="135"/>
                  </a:lnTo>
                  <a:lnTo>
                    <a:pt x="83" y="136"/>
                  </a:lnTo>
                  <a:lnTo>
                    <a:pt x="82" y="136"/>
                  </a:lnTo>
                  <a:lnTo>
                    <a:pt x="80" y="137"/>
                  </a:lnTo>
                  <a:lnTo>
                    <a:pt x="79" y="139"/>
                  </a:lnTo>
                  <a:lnTo>
                    <a:pt x="80" y="139"/>
                  </a:lnTo>
                  <a:lnTo>
                    <a:pt x="82" y="137"/>
                  </a:lnTo>
                  <a:lnTo>
                    <a:pt x="85" y="137"/>
                  </a:lnTo>
                  <a:lnTo>
                    <a:pt x="89" y="140"/>
                  </a:lnTo>
                  <a:lnTo>
                    <a:pt x="89" y="142"/>
                  </a:lnTo>
                  <a:lnTo>
                    <a:pt x="87" y="143"/>
                  </a:lnTo>
                  <a:lnTo>
                    <a:pt x="83" y="143"/>
                  </a:lnTo>
                  <a:lnTo>
                    <a:pt x="80" y="146"/>
                  </a:lnTo>
                  <a:lnTo>
                    <a:pt x="79" y="147"/>
                  </a:lnTo>
                  <a:lnTo>
                    <a:pt x="77" y="147"/>
                  </a:lnTo>
                  <a:lnTo>
                    <a:pt x="76" y="147"/>
                  </a:lnTo>
                  <a:lnTo>
                    <a:pt x="72" y="147"/>
                  </a:lnTo>
                  <a:lnTo>
                    <a:pt x="70" y="146"/>
                  </a:lnTo>
                  <a:lnTo>
                    <a:pt x="72" y="147"/>
                  </a:lnTo>
                  <a:lnTo>
                    <a:pt x="73" y="149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6" y="149"/>
                  </a:lnTo>
                  <a:lnTo>
                    <a:pt x="90" y="147"/>
                  </a:lnTo>
                  <a:lnTo>
                    <a:pt x="97" y="152"/>
                  </a:lnTo>
                  <a:lnTo>
                    <a:pt x="99" y="155"/>
                  </a:lnTo>
                  <a:lnTo>
                    <a:pt x="102" y="159"/>
                  </a:lnTo>
                  <a:lnTo>
                    <a:pt x="103" y="160"/>
                  </a:lnTo>
                  <a:lnTo>
                    <a:pt x="105" y="162"/>
                  </a:lnTo>
                  <a:lnTo>
                    <a:pt x="106" y="163"/>
                  </a:lnTo>
                  <a:lnTo>
                    <a:pt x="107" y="170"/>
                  </a:lnTo>
                  <a:lnTo>
                    <a:pt x="109" y="176"/>
                  </a:lnTo>
                  <a:lnTo>
                    <a:pt x="110" y="183"/>
                  </a:lnTo>
                  <a:lnTo>
                    <a:pt x="112" y="186"/>
                  </a:lnTo>
                  <a:lnTo>
                    <a:pt x="113" y="187"/>
                  </a:lnTo>
                  <a:lnTo>
                    <a:pt x="119" y="190"/>
                  </a:lnTo>
                  <a:lnTo>
                    <a:pt x="120" y="190"/>
                  </a:lnTo>
                  <a:lnTo>
                    <a:pt x="123" y="195"/>
                  </a:lnTo>
                  <a:lnTo>
                    <a:pt x="126" y="197"/>
                  </a:lnTo>
                  <a:lnTo>
                    <a:pt x="127" y="199"/>
                  </a:lnTo>
                  <a:lnTo>
                    <a:pt x="130" y="202"/>
                  </a:lnTo>
                  <a:lnTo>
                    <a:pt x="129" y="203"/>
                  </a:lnTo>
                  <a:lnTo>
                    <a:pt x="127" y="205"/>
                  </a:lnTo>
                  <a:lnTo>
                    <a:pt x="129" y="206"/>
                  </a:lnTo>
                  <a:lnTo>
                    <a:pt x="130" y="209"/>
                  </a:lnTo>
                  <a:lnTo>
                    <a:pt x="132" y="212"/>
                  </a:lnTo>
                  <a:lnTo>
                    <a:pt x="133" y="216"/>
                  </a:lnTo>
                  <a:lnTo>
                    <a:pt x="133" y="215"/>
                  </a:lnTo>
                  <a:lnTo>
                    <a:pt x="132" y="215"/>
                  </a:lnTo>
                  <a:lnTo>
                    <a:pt x="132" y="215"/>
                  </a:lnTo>
                  <a:lnTo>
                    <a:pt x="130" y="215"/>
                  </a:lnTo>
                  <a:lnTo>
                    <a:pt x="129" y="213"/>
                  </a:lnTo>
                  <a:lnTo>
                    <a:pt x="127" y="212"/>
                  </a:lnTo>
                  <a:lnTo>
                    <a:pt x="125" y="212"/>
                  </a:lnTo>
                  <a:lnTo>
                    <a:pt x="122" y="212"/>
                  </a:lnTo>
                  <a:lnTo>
                    <a:pt x="120" y="212"/>
                  </a:lnTo>
                  <a:lnTo>
                    <a:pt x="123" y="213"/>
                  </a:lnTo>
                  <a:lnTo>
                    <a:pt x="126" y="213"/>
                  </a:lnTo>
                  <a:lnTo>
                    <a:pt x="133" y="219"/>
                  </a:lnTo>
                  <a:lnTo>
                    <a:pt x="136" y="223"/>
                  </a:lnTo>
                  <a:lnTo>
                    <a:pt x="137" y="227"/>
                  </a:lnTo>
                  <a:lnTo>
                    <a:pt x="136" y="229"/>
                  </a:lnTo>
                  <a:lnTo>
                    <a:pt x="135" y="230"/>
                  </a:lnTo>
                  <a:lnTo>
                    <a:pt x="133" y="232"/>
                  </a:lnTo>
                  <a:lnTo>
                    <a:pt x="132" y="235"/>
                  </a:lnTo>
                  <a:lnTo>
                    <a:pt x="136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9" y="236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43" y="232"/>
                  </a:lnTo>
                  <a:lnTo>
                    <a:pt x="144" y="232"/>
                  </a:lnTo>
                  <a:lnTo>
                    <a:pt x="146" y="233"/>
                  </a:lnTo>
                  <a:lnTo>
                    <a:pt x="149" y="233"/>
                  </a:lnTo>
                  <a:lnTo>
                    <a:pt x="152" y="233"/>
                  </a:lnTo>
                  <a:lnTo>
                    <a:pt x="153" y="235"/>
                  </a:lnTo>
                  <a:lnTo>
                    <a:pt x="157" y="239"/>
                  </a:lnTo>
                  <a:lnTo>
                    <a:pt x="159" y="240"/>
                  </a:lnTo>
                  <a:lnTo>
                    <a:pt x="159" y="243"/>
                  </a:lnTo>
                  <a:lnTo>
                    <a:pt x="159" y="246"/>
                  </a:lnTo>
                  <a:lnTo>
                    <a:pt x="159" y="249"/>
                  </a:lnTo>
                  <a:lnTo>
                    <a:pt x="157" y="250"/>
                  </a:lnTo>
                  <a:lnTo>
                    <a:pt x="157" y="253"/>
                  </a:lnTo>
                  <a:lnTo>
                    <a:pt x="157" y="255"/>
                  </a:lnTo>
                  <a:lnTo>
                    <a:pt x="156" y="256"/>
                  </a:lnTo>
                  <a:lnTo>
                    <a:pt x="154" y="257"/>
                  </a:lnTo>
                  <a:lnTo>
                    <a:pt x="153" y="259"/>
                  </a:lnTo>
                  <a:lnTo>
                    <a:pt x="152" y="259"/>
                  </a:lnTo>
                  <a:lnTo>
                    <a:pt x="152" y="259"/>
                  </a:lnTo>
                  <a:lnTo>
                    <a:pt x="152" y="259"/>
                  </a:lnTo>
                  <a:lnTo>
                    <a:pt x="152" y="260"/>
                  </a:lnTo>
                  <a:lnTo>
                    <a:pt x="152" y="262"/>
                  </a:lnTo>
                  <a:lnTo>
                    <a:pt x="150" y="263"/>
                  </a:lnTo>
                  <a:lnTo>
                    <a:pt x="149" y="263"/>
                  </a:lnTo>
                  <a:lnTo>
                    <a:pt x="147" y="263"/>
                  </a:lnTo>
                  <a:lnTo>
                    <a:pt x="143" y="264"/>
                  </a:lnTo>
                  <a:lnTo>
                    <a:pt x="146" y="266"/>
                  </a:lnTo>
                  <a:lnTo>
                    <a:pt x="146" y="267"/>
                  </a:lnTo>
                  <a:lnTo>
                    <a:pt x="146" y="269"/>
                  </a:lnTo>
                  <a:lnTo>
                    <a:pt x="144" y="270"/>
                  </a:lnTo>
                  <a:lnTo>
                    <a:pt x="143" y="270"/>
                  </a:lnTo>
                  <a:lnTo>
                    <a:pt x="140" y="270"/>
                  </a:lnTo>
                  <a:lnTo>
                    <a:pt x="140" y="270"/>
                  </a:lnTo>
                  <a:lnTo>
                    <a:pt x="139" y="272"/>
                  </a:lnTo>
                  <a:lnTo>
                    <a:pt x="140" y="272"/>
                  </a:lnTo>
                  <a:lnTo>
                    <a:pt x="142" y="272"/>
                  </a:lnTo>
                  <a:lnTo>
                    <a:pt x="142" y="273"/>
                  </a:lnTo>
                  <a:lnTo>
                    <a:pt x="143" y="273"/>
                  </a:lnTo>
                  <a:lnTo>
                    <a:pt x="146" y="274"/>
                  </a:lnTo>
                  <a:lnTo>
                    <a:pt x="147" y="274"/>
                  </a:lnTo>
                  <a:lnTo>
                    <a:pt x="152" y="274"/>
                  </a:lnTo>
                  <a:lnTo>
                    <a:pt x="153" y="274"/>
                  </a:lnTo>
                  <a:lnTo>
                    <a:pt x="154" y="274"/>
                  </a:lnTo>
                  <a:lnTo>
                    <a:pt x="154" y="276"/>
                  </a:lnTo>
                  <a:lnTo>
                    <a:pt x="154" y="279"/>
                  </a:lnTo>
                  <a:lnTo>
                    <a:pt x="153" y="280"/>
                  </a:lnTo>
                  <a:lnTo>
                    <a:pt x="149" y="282"/>
                  </a:lnTo>
                  <a:lnTo>
                    <a:pt x="147" y="284"/>
                  </a:lnTo>
                  <a:lnTo>
                    <a:pt x="147" y="286"/>
                  </a:lnTo>
                  <a:lnTo>
                    <a:pt x="143" y="284"/>
                  </a:lnTo>
                  <a:lnTo>
                    <a:pt x="142" y="286"/>
                  </a:lnTo>
                  <a:lnTo>
                    <a:pt x="140" y="287"/>
                  </a:lnTo>
                  <a:lnTo>
                    <a:pt x="137" y="289"/>
                  </a:lnTo>
                  <a:lnTo>
                    <a:pt x="136" y="289"/>
                  </a:lnTo>
                  <a:lnTo>
                    <a:pt x="135" y="290"/>
                  </a:lnTo>
                  <a:lnTo>
                    <a:pt x="129" y="289"/>
                  </a:lnTo>
                  <a:lnTo>
                    <a:pt x="125" y="289"/>
                  </a:lnTo>
                  <a:lnTo>
                    <a:pt x="119" y="289"/>
                  </a:lnTo>
                  <a:lnTo>
                    <a:pt x="117" y="289"/>
                  </a:lnTo>
                  <a:lnTo>
                    <a:pt x="116" y="289"/>
                  </a:lnTo>
                  <a:lnTo>
                    <a:pt x="113" y="287"/>
                  </a:lnTo>
                  <a:lnTo>
                    <a:pt x="110" y="287"/>
                  </a:lnTo>
                  <a:lnTo>
                    <a:pt x="109" y="286"/>
                  </a:lnTo>
                  <a:lnTo>
                    <a:pt x="110" y="289"/>
                  </a:lnTo>
                  <a:lnTo>
                    <a:pt x="107" y="290"/>
                  </a:lnTo>
                  <a:lnTo>
                    <a:pt x="106" y="290"/>
                  </a:lnTo>
                  <a:lnTo>
                    <a:pt x="105" y="290"/>
                  </a:lnTo>
                  <a:lnTo>
                    <a:pt x="102" y="290"/>
                  </a:lnTo>
                  <a:lnTo>
                    <a:pt x="99" y="290"/>
                  </a:lnTo>
                  <a:lnTo>
                    <a:pt x="99" y="292"/>
                  </a:lnTo>
                  <a:lnTo>
                    <a:pt x="100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3" y="293"/>
                  </a:lnTo>
                  <a:lnTo>
                    <a:pt x="93" y="293"/>
                  </a:lnTo>
                  <a:lnTo>
                    <a:pt x="92" y="293"/>
                  </a:lnTo>
                  <a:lnTo>
                    <a:pt x="90" y="293"/>
                  </a:lnTo>
                  <a:lnTo>
                    <a:pt x="89" y="292"/>
                  </a:lnTo>
                  <a:lnTo>
                    <a:pt x="87" y="292"/>
                  </a:lnTo>
                  <a:lnTo>
                    <a:pt x="85" y="290"/>
                  </a:lnTo>
                  <a:lnTo>
                    <a:pt x="83" y="290"/>
                  </a:lnTo>
                  <a:lnTo>
                    <a:pt x="77" y="293"/>
                  </a:lnTo>
                  <a:lnTo>
                    <a:pt x="76" y="294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2" y="303"/>
                  </a:lnTo>
                  <a:lnTo>
                    <a:pt x="70" y="303"/>
                  </a:lnTo>
                  <a:lnTo>
                    <a:pt x="69" y="302"/>
                  </a:lnTo>
                  <a:lnTo>
                    <a:pt x="66" y="300"/>
                  </a:lnTo>
                  <a:lnTo>
                    <a:pt x="65" y="299"/>
                  </a:lnTo>
                  <a:lnTo>
                    <a:pt x="65" y="299"/>
                  </a:lnTo>
                  <a:lnTo>
                    <a:pt x="63" y="299"/>
                  </a:lnTo>
                  <a:lnTo>
                    <a:pt x="63" y="300"/>
                  </a:lnTo>
                  <a:lnTo>
                    <a:pt x="62" y="300"/>
                  </a:lnTo>
                  <a:lnTo>
                    <a:pt x="59" y="300"/>
                  </a:lnTo>
                  <a:lnTo>
                    <a:pt x="56" y="302"/>
                  </a:lnTo>
                  <a:lnTo>
                    <a:pt x="55" y="302"/>
                  </a:lnTo>
                  <a:lnTo>
                    <a:pt x="52" y="304"/>
                  </a:lnTo>
                  <a:lnTo>
                    <a:pt x="50" y="306"/>
                  </a:lnTo>
                  <a:lnTo>
                    <a:pt x="49" y="307"/>
                  </a:lnTo>
                  <a:lnTo>
                    <a:pt x="47" y="309"/>
                  </a:lnTo>
                  <a:lnTo>
                    <a:pt x="46" y="306"/>
                  </a:lnTo>
                  <a:lnTo>
                    <a:pt x="45" y="306"/>
                  </a:lnTo>
                  <a:lnTo>
                    <a:pt x="42" y="306"/>
                  </a:lnTo>
                  <a:lnTo>
                    <a:pt x="42" y="307"/>
                  </a:lnTo>
                  <a:lnTo>
                    <a:pt x="40" y="307"/>
                  </a:lnTo>
                  <a:lnTo>
                    <a:pt x="40" y="306"/>
                  </a:lnTo>
                  <a:lnTo>
                    <a:pt x="42" y="303"/>
                  </a:lnTo>
                  <a:lnTo>
                    <a:pt x="46" y="303"/>
                  </a:lnTo>
                  <a:lnTo>
                    <a:pt x="49" y="299"/>
                  </a:lnTo>
                  <a:lnTo>
                    <a:pt x="50" y="297"/>
                  </a:lnTo>
                  <a:lnTo>
                    <a:pt x="52" y="296"/>
                  </a:lnTo>
                  <a:lnTo>
                    <a:pt x="52" y="296"/>
                  </a:lnTo>
                  <a:lnTo>
                    <a:pt x="53" y="296"/>
                  </a:lnTo>
                  <a:lnTo>
                    <a:pt x="53" y="294"/>
                  </a:lnTo>
                  <a:lnTo>
                    <a:pt x="57" y="289"/>
                  </a:lnTo>
                  <a:lnTo>
                    <a:pt x="59" y="287"/>
                  </a:lnTo>
                  <a:lnTo>
                    <a:pt x="59" y="286"/>
                  </a:lnTo>
                  <a:lnTo>
                    <a:pt x="59" y="284"/>
                  </a:lnTo>
                  <a:lnTo>
                    <a:pt x="63" y="283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70" y="277"/>
                  </a:lnTo>
                  <a:lnTo>
                    <a:pt x="73" y="277"/>
                  </a:lnTo>
                  <a:lnTo>
                    <a:pt x="77" y="279"/>
                  </a:lnTo>
                  <a:lnTo>
                    <a:pt x="79" y="279"/>
                  </a:lnTo>
                  <a:lnTo>
                    <a:pt x="82" y="279"/>
                  </a:lnTo>
                  <a:lnTo>
                    <a:pt x="83" y="277"/>
                  </a:lnTo>
                  <a:lnTo>
                    <a:pt x="85" y="273"/>
                  </a:lnTo>
                  <a:lnTo>
                    <a:pt x="86" y="272"/>
                  </a:lnTo>
                  <a:lnTo>
                    <a:pt x="89" y="270"/>
                  </a:lnTo>
                  <a:lnTo>
                    <a:pt x="90" y="267"/>
                  </a:lnTo>
                  <a:lnTo>
                    <a:pt x="92" y="264"/>
                  </a:lnTo>
                  <a:lnTo>
                    <a:pt x="90" y="266"/>
                  </a:lnTo>
                  <a:lnTo>
                    <a:pt x="89" y="267"/>
                  </a:lnTo>
                  <a:lnTo>
                    <a:pt x="87" y="269"/>
                  </a:lnTo>
                  <a:lnTo>
                    <a:pt x="83" y="270"/>
                  </a:lnTo>
                  <a:lnTo>
                    <a:pt x="82" y="270"/>
                  </a:lnTo>
                  <a:lnTo>
                    <a:pt x="79" y="273"/>
                  </a:lnTo>
                  <a:lnTo>
                    <a:pt x="79" y="273"/>
                  </a:lnTo>
                  <a:lnTo>
                    <a:pt x="75" y="273"/>
                  </a:lnTo>
                  <a:lnTo>
                    <a:pt x="72" y="270"/>
                  </a:lnTo>
                  <a:lnTo>
                    <a:pt x="69" y="269"/>
                  </a:lnTo>
                  <a:lnTo>
                    <a:pt x="69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3" y="269"/>
                  </a:lnTo>
                  <a:lnTo>
                    <a:pt x="65" y="267"/>
                  </a:lnTo>
                  <a:lnTo>
                    <a:pt x="66" y="266"/>
                  </a:lnTo>
                  <a:lnTo>
                    <a:pt x="63" y="266"/>
                  </a:lnTo>
                  <a:lnTo>
                    <a:pt x="62" y="266"/>
                  </a:lnTo>
                  <a:lnTo>
                    <a:pt x="62" y="264"/>
                  </a:lnTo>
                  <a:lnTo>
                    <a:pt x="59" y="264"/>
                  </a:lnTo>
                  <a:lnTo>
                    <a:pt x="57" y="264"/>
                  </a:lnTo>
                  <a:lnTo>
                    <a:pt x="56" y="266"/>
                  </a:lnTo>
                  <a:lnTo>
                    <a:pt x="53" y="267"/>
                  </a:lnTo>
                  <a:lnTo>
                    <a:pt x="49" y="266"/>
                  </a:lnTo>
                  <a:lnTo>
                    <a:pt x="49" y="264"/>
                  </a:lnTo>
                  <a:lnTo>
                    <a:pt x="49" y="263"/>
                  </a:lnTo>
                  <a:lnTo>
                    <a:pt x="47" y="262"/>
                  </a:lnTo>
                  <a:lnTo>
                    <a:pt x="47" y="262"/>
                  </a:lnTo>
                  <a:lnTo>
                    <a:pt x="49" y="259"/>
                  </a:lnTo>
                  <a:lnTo>
                    <a:pt x="50" y="257"/>
                  </a:lnTo>
                  <a:lnTo>
                    <a:pt x="53" y="257"/>
                  </a:lnTo>
                  <a:lnTo>
                    <a:pt x="59" y="255"/>
                  </a:lnTo>
                  <a:lnTo>
                    <a:pt x="62" y="253"/>
                  </a:lnTo>
                  <a:lnTo>
                    <a:pt x="63" y="250"/>
                  </a:lnTo>
                  <a:lnTo>
                    <a:pt x="65" y="249"/>
                  </a:lnTo>
                  <a:lnTo>
                    <a:pt x="66" y="247"/>
                  </a:lnTo>
                  <a:lnTo>
                    <a:pt x="66" y="246"/>
                  </a:lnTo>
                  <a:lnTo>
                    <a:pt x="67" y="243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6" y="235"/>
                  </a:lnTo>
                  <a:lnTo>
                    <a:pt x="63" y="235"/>
                  </a:lnTo>
                  <a:lnTo>
                    <a:pt x="62" y="235"/>
                  </a:lnTo>
                  <a:lnTo>
                    <a:pt x="60" y="235"/>
                  </a:lnTo>
                  <a:lnTo>
                    <a:pt x="57" y="236"/>
                  </a:lnTo>
                  <a:lnTo>
                    <a:pt x="56" y="237"/>
                  </a:lnTo>
                  <a:lnTo>
                    <a:pt x="56" y="236"/>
                  </a:lnTo>
                  <a:lnTo>
                    <a:pt x="57" y="235"/>
                  </a:lnTo>
                  <a:lnTo>
                    <a:pt x="59" y="233"/>
                  </a:lnTo>
                  <a:lnTo>
                    <a:pt x="60" y="232"/>
                  </a:lnTo>
                  <a:lnTo>
                    <a:pt x="62" y="230"/>
                  </a:lnTo>
                  <a:lnTo>
                    <a:pt x="62" y="229"/>
                  </a:lnTo>
                  <a:lnTo>
                    <a:pt x="63" y="227"/>
                  </a:lnTo>
                  <a:lnTo>
                    <a:pt x="66" y="226"/>
                  </a:lnTo>
                  <a:lnTo>
                    <a:pt x="70" y="223"/>
                  </a:lnTo>
                  <a:lnTo>
                    <a:pt x="72" y="223"/>
                  </a:lnTo>
                  <a:lnTo>
                    <a:pt x="73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7" y="222"/>
                  </a:lnTo>
                  <a:lnTo>
                    <a:pt x="82" y="225"/>
                  </a:lnTo>
                  <a:lnTo>
                    <a:pt x="80" y="222"/>
                  </a:lnTo>
                  <a:lnTo>
                    <a:pt x="82" y="220"/>
                  </a:lnTo>
                  <a:lnTo>
                    <a:pt x="85" y="223"/>
                  </a:lnTo>
                  <a:lnTo>
                    <a:pt x="86" y="223"/>
                  </a:lnTo>
                  <a:lnTo>
                    <a:pt x="87" y="223"/>
                  </a:lnTo>
                  <a:lnTo>
                    <a:pt x="86" y="223"/>
                  </a:lnTo>
                  <a:lnTo>
                    <a:pt x="86" y="223"/>
                  </a:lnTo>
                  <a:lnTo>
                    <a:pt x="85" y="222"/>
                  </a:lnTo>
                  <a:lnTo>
                    <a:pt x="83" y="222"/>
                  </a:lnTo>
                  <a:lnTo>
                    <a:pt x="82" y="217"/>
                  </a:lnTo>
                  <a:lnTo>
                    <a:pt x="82" y="216"/>
                  </a:lnTo>
                  <a:lnTo>
                    <a:pt x="83" y="215"/>
                  </a:lnTo>
                  <a:lnTo>
                    <a:pt x="85" y="212"/>
                  </a:lnTo>
                  <a:lnTo>
                    <a:pt x="83" y="212"/>
                  </a:lnTo>
                  <a:lnTo>
                    <a:pt x="83" y="210"/>
                  </a:lnTo>
                  <a:lnTo>
                    <a:pt x="83" y="209"/>
                  </a:lnTo>
                  <a:lnTo>
                    <a:pt x="83" y="207"/>
                  </a:lnTo>
                  <a:lnTo>
                    <a:pt x="85" y="206"/>
                  </a:lnTo>
                  <a:lnTo>
                    <a:pt x="86" y="203"/>
                  </a:lnTo>
                  <a:lnTo>
                    <a:pt x="86" y="202"/>
                  </a:lnTo>
                  <a:lnTo>
                    <a:pt x="86" y="200"/>
                  </a:lnTo>
                  <a:lnTo>
                    <a:pt x="83" y="200"/>
                  </a:lnTo>
                  <a:lnTo>
                    <a:pt x="83" y="200"/>
                  </a:lnTo>
                  <a:lnTo>
                    <a:pt x="82" y="202"/>
                  </a:lnTo>
                  <a:lnTo>
                    <a:pt x="80" y="202"/>
                  </a:lnTo>
                  <a:lnTo>
                    <a:pt x="79" y="199"/>
                  </a:lnTo>
                  <a:lnTo>
                    <a:pt x="77" y="196"/>
                  </a:lnTo>
                  <a:lnTo>
                    <a:pt x="75" y="192"/>
                  </a:lnTo>
                  <a:lnTo>
                    <a:pt x="73" y="189"/>
                  </a:lnTo>
                  <a:lnTo>
                    <a:pt x="76" y="183"/>
                  </a:lnTo>
                  <a:lnTo>
                    <a:pt x="79" y="180"/>
                  </a:lnTo>
                  <a:lnTo>
                    <a:pt x="83" y="179"/>
                  </a:lnTo>
                  <a:lnTo>
                    <a:pt x="82" y="179"/>
                  </a:lnTo>
                  <a:lnTo>
                    <a:pt x="76" y="179"/>
                  </a:lnTo>
                  <a:lnTo>
                    <a:pt x="75" y="179"/>
                  </a:lnTo>
                  <a:lnTo>
                    <a:pt x="73" y="180"/>
                  </a:lnTo>
                  <a:lnTo>
                    <a:pt x="72" y="180"/>
                  </a:lnTo>
                  <a:lnTo>
                    <a:pt x="70" y="180"/>
                  </a:lnTo>
                  <a:lnTo>
                    <a:pt x="70" y="182"/>
                  </a:lnTo>
                  <a:lnTo>
                    <a:pt x="69" y="183"/>
                  </a:lnTo>
                  <a:lnTo>
                    <a:pt x="67" y="183"/>
                  </a:lnTo>
                  <a:lnTo>
                    <a:pt x="66" y="183"/>
                  </a:lnTo>
                  <a:lnTo>
                    <a:pt x="65" y="183"/>
                  </a:lnTo>
                  <a:lnTo>
                    <a:pt x="65" y="183"/>
                  </a:lnTo>
                  <a:lnTo>
                    <a:pt x="65" y="182"/>
                  </a:lnTo>
                  <a:lnTo>
                    <a:pt x="63" y="182"/>
                  </a:lnTo>
                  <a:lnTo>
                    <a:pt x="62" y="182"/>
                  </a:lnTo>
                  <a:lnTo>
                    <a:pt x="60" y="183"/>
                  </a:lnTo>
                  <a:lnTo>
                    <a:pt x="59" y="185"/>
                  </a:lnTo>
                  <a:lnTo>
                    <a:pt x="57" y="183"/>
                  </a:lnTo>
                  <a:lnTo>
                    <a:pt x="55" y="182"/>
                  </a:lnTo>
                  <a:lnTo>
                    <a:pt x="53" y="182"/>
                  </a:lnTo>
                  <a:lnTo>
                    <a:pt x="53" y="183"/>
                  </a:lnTo>
                  <a:lnTo>
                    <a:pt x="53" y="186"/>
                  </a:lnTo>
                  <a:lnTo>
                    <a:pt x="50" y="183"/>
                  </a:lnTo>
                  <a:lnTo>
                    <a:pt x="49" y="182"/>
                  </a:lnTo>
                  <a:lnTo>
                    <a:pt x="49" y="179"/>
                  </a:lnTo>
                  <a:lnTo>
                    <a:pt x="49" y="177"/>
                  </a:lnTo>
                  <a:lnTo>
                    <a:pt x="49" y="177"/>
                  </a:lnTo>
                  <a:lnTo>
                    <a:pt x="50" y="177"/>
                  </a:lnTo>
                  <a:lnTo>
                    <a:pt x="52" y="173"/>
                  </a:lnTo>
                  <a:lnTo>
                    <a:pt x="55" y="167"/>
                  </a:lnTo>
                  <a:lnTo>
                    <a:pt x="56" y="166"/>
                  </a:lnTo>
                  <a:lnTo>
                    <a:pt x="56" y="163"/>
                  </a:lnTo>
                  <a:lnTo>
                    <a:pt x="56" y="162"/>
                  </a:lnTo>
                  <a:lnTo>
                    <a:pt x="56" y="160"/>
                  </a:lnTo>
                  <a:lnTo>
                    <a:pt x="53" y="157"/>
                  </a:lnTo>
                  <a:lnTo>
                    <a:pt x="53" y="155"/>
                  </a:lnTo>
                  <a:lnTo>
                    <a:pt x="53" y="153"/>
                  </a:lnTo>
                  <a:lnTo>
                    <a:pt x="55" y="150"/>
                  </a:lnTo>
                  <a:lnTo>
                    <a:pt x="55" y="150"/>
                  </a:lnTo>
                  <a:lnTo>
                    <a:pt x="57" y="150"/>
                  </a:lnTo>
                  <a:lnTo>
                    <a:pt x="56" y="150"/>
                  </a:lnTo>
                  <a:lnTo>
                    <a:pt x="53" y="147"/>
                  </a:lnTo>
                  <a:lnTo>
                    <a:pt x="53" y="146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3" y="146"/>
                  </a:lnTo>
                  <a:lnTo>
                    <a:pt x="52" y="147"/>
                  </a:lnTo>
                  <a:lnTo>
                    <a:pt x="52" y="149"/>
                  </a:lnTo>
                  <a:lnTo>
                    <a:pt x="50" y="149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7" y="150"/>
                  </a:lnTo>
                  <a:lnTo>
                    <a:pt x="47" y="152"/>
                  </a:lnTo>
                  <a:lnTo>
                    <a:pt x="47" y="152"/>
                  </a:lnTo>
                  <a:lnTo>
                    <a:pt x="47" y="150"/>
                  </a:lnTo>
                  <a:lnTo>
                    <a:pt x="47" y="149"/>
                  </a:lnTo>
                  <a:lnTo>
                    <a:pt x="47" y="147"/>
                  </a:lnTo>
                  <a:lnTo>
                    <a:pt x="49" y="146"/>
                  </a:lnTo>
                  <a:lnTo>
                    <a:pt x="52" y="142"/>
                  </a:lnTo>
                  <a:lnTo>
                    <a:pt x="50" y="143"/>
                  </a:lnTo>
                  <a:lnTo>
                    <a:pt x="46" y="146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3"/>
                  </a:lnTo>
                  <a:lnTo>
                    <a:pt x="45" y="156"/>
                  </a:lnTo>
                  <a:lnTo>
                    <a:pt x="42" y="166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40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6"/>
                  </a:lnTo>
                  <a:lnTo>
                    <a:pt x="39" y="165"/>
                  </a:lnTo>
                  <a:lnTo>
                    <a:pt x="40" y="160"/>
                  </a:lnTo>
                  <a:lnTo>
                    <a:pt x="40" y="159"/>
                  </a:lnTo>
                  <a:lnTo>
                    <a:pt x="42" y="157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2" y="147"/>
                  </a:lnTo>
                  <a:lnTo>
                    <a:pt x="42" y="145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5" y="137"/>
                  </a:lnTo>
                  <a:lnTo>
                    <a:pt x="45" y="135"/>
                  </a:lnTo>
                  <a:lnTo>
                    <a:pt x="46" y="133"/>
                  </a:lnTo>
                  <a:lnTo>
                    <a:pt x="46" y="132"/>
                  </a:lnTo>
                  <a:lnTo>
                    <a:pt x="47" y="129"/>
                  </a:lnTo>
                  <a:lnTo>
                    <a:pt x="49" y="127"/>
                  </a:lnTo>
                  <a:lnTo>
                    <a:pt x="47" y="127"/>
                  </a:lnTo>
                  <a:lnTo>
                    <a:pt x="42" y="133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8" y="133"/>
                  </a:lnTo>
                  <a:lnTo>
                    <a:pt x="36" y="132"/>
                  </a:lnTo>
                  <a:lnTo>
                    <a:pt x="36" y="129"/>
                  </a:lnTo>
                  <a:lnTo>
                    <a:pt x="35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5" y="127"/>
                  </a:lnTo>
                  <a:lnTo>
                    <a:pt x="38" y="126"/>
                  </a:lnTo>
                  <a:lnTo>
                    <a:pt x="39" y="125"/>
                  </a:lnTo>
                  <a:lnTo>
                    <a:pt x="38" y="123"/>
                  </a:lnTo>
                  <a:lnTo>
                    <a:pt x="38" y="122"/>
                  </a:lnTo>
                  <a:lnTo>
                    <a:pt x="39" y="122"/>
                  </a:lnTo>
                  <a:lnTo>
                    <a:pt x="42" y="117"/>
                  </a:lnTo>
                  <a:lnTo>
                    <a:pt x="42" y="113"/>
                  </a:lnTo>
                  <a:lnTo>
                    <a:pt x="42" y="112"/>
                  </a:lnTo>
                  <a:lnTo>
                    <a:pt x="40" y="110"/>
                  </a:lnTo>
                  <a:lnTo>
                    <a:pt x="39" y="109"/>
                  </a:lnTo>
                  <a:lnTo>
                    <a:pt x="38" y="107"/>
                  </a:lnTo>
                  <a:lnTo>
                    <a:pt x="39" y="106"/>
                  </a:lnTo>
                  <a:lnTo>
                    <a:pt x="39" y="105"/>
                  </a:lnTo>
                  <a:lnTo>
                    <a:pt x="40" y="105"/>
                  </a:lnTo>
                  <a:lnTo>
                    <a:pt x="42" y="103"/>
                  </a:lnTo>
                  <a:lnTo>
                    <a:pt x="40" y="103"/>
                  </a:lnTo>
                  <a:lnTo>
                    <a:pt x="40" y="102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40" y="97"/>
                  </a:lnTo>
                  <a:lnTo>
                    <a:pt x="40" y="96"/>
                  </a:lnTo>
                  <a:lnTo>
                    <a:pt x="42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5" y="89"/>
                  </a:lnTo>
                  <a:lnTo>
                    <a:pt x="45" y="87"/>
                  </a:lnTo>
                  <a:lnTo>
                    <a:pt x="46" y="86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6" y="83"/>
                  </a:lnTo>
                  <a:lnTo>
                    <a:pt x="47" y="83"/>
                  </a:lnTo>
                  <a:lnTo>
                    <a:pt x="50" y="83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0" y="79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52" y="73"/>
                  </a:lnTo>
                  <a:lnTo>
                    <a:pt x="52" y="72"/>
                  </a:lnTo>
                  <a:lnTo>
                    <a:pt x="55" y="73"/>
                  </a:lnTo>
                  <a:lnTo>
                    <a:pt x="55" y="73"/>
                  </a:lnTo>
                  <a:lnTo>
                    <a:pt x="56" y="75"/>
                  </a:lnTo>
                  <a:lnTo>
                    <a:pt x="56" y="75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60" y="75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2"/>
                  </a:lnTo>
                  <a:lnTo>
                    <a:pt x="76" y="72"/>
                  </a:lnTo>
                  <a:lnTo>
                    <a:pt x="79" y="70"/>
                  </a:lnTo>
                  <a:lnTo>
                    <a:pt x="83" y="70"/>
                  </a:lnTo>
                  <a:lnTo>
                    <a:pt x="83" y="72"/>
                  </a:lnTo>
                  <a:lnTo>
                    <a:pt x="82" y="72"/>
                  </a:lnTo>
                  <a:lnTo>
                    <a:pt x="82" y="75"/>
                  </a:lnTo>
                  <a:close/>
                  <a:moveTo>
                    <a:pt x="85" y="67"/>
                  </a:moveTo>
                  <a:lnTo>
                    <a:pt x="85" y="67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6"/>
                  </a:lnTo>
                  <a:lnTo>
                    <a:pt x="85" y="67"/>
                  </a:lnTo>
                  <a:close/>
                  <a:moveTo>
                    <a:pt x="80" y="66"/>
                  </a:moveTo>
                  <a:lnTo>
                    <a:pt x="80" y="66"/>
                  </a:lnTo>
                  <a:lnTo>
                    <a:pt x="79" y="66"/>
                  </a:lnTo>
                  <a:lnTo>
                    <a:pt x="77" y="65"/>
                  </a:lnTo>
                  <a:lnTo>
                    <a:pt x="77" y="63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0" y="66"/>
                  </a:lnTo>
                  <a:lnTo>
                    <a:pt x="80" y="66"/>
                  </a:lnTo>
                  <a:close/>
                  <a:moveTo>
                    <a:pt x="82" y="59"/>
                  </a:moveTo>
                  <a:lnTo>
                    <a:pt x="82" y="59"/>
                  </a:lnTo>
                  <a:lnTo>
                    <a:pt x="83" y="59"/>
                  </a:lnTo>
                  <a:lnTo>
                    <a:pt x="85" y="60"/>
                  </a:lnTo>
                  <a:lnTo>
                    <a:pt x="86" y="60"/>
                  </a:lnTo>
                  <a:lnTo>
                    <a:pt x="87" y="60"/>
                  </a:lnTo>
                  <a:lnTo>
                    <a:pt x="86" y="62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3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0" y="60"/>
                  </a:lnTo>
                  <a:lnTo>
                    <a:pt x="80" y="60"/>
                  </a:lnTo>
                  <a:lnTo>
                    <a:pt x="79" y="59"/>
                  </a:lnTo>
                  <a:lnTo>
                    <a:pt x="79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9" y="56"/>
                  </a:lnTo>
                  <a:lnTo>
                    <a:pt x="79" y="55"/>
                  </a:lnTo>
                  <a:lnTo>
                    <a:pt x="80" y="55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9"/>
                  </a:lnTo>
                  <a:close/>
                  <a:moveTo>
                    <a:pt x="90" y="52"/>
                  </a:moveTo>
                  <a:lnTo>
                    <a:pt x="89" y="52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3" y="50"/>
                  </a:lnTo>
                  <a:lnTo>
                    <a:pt x="93" y="52"/>
                  </a:lnTo>
                  <a:lnTo>
                    <a:pt x="90" y="52"/>
                  </a:lnTo>
                  <a:close/>
                  <a:moveTo>
                    <a:pt x="87" y="53"/>
                  </a:moveTo>
                  <a:lnTo>
                    <a:pt x="86" y="55"/>
                  </a:lnTo>
                  <a:lnTo>
                    <a:pt x="86" y="53"/>
                  </a:lnTo>
                  <a:lnTo>
                    <a:pt x="86" y="52"/>
                  </a:lnTo>
                  <a:lnTo>
                    <a:pt x="85" y="50"/>
                  </a:lnTo>
                  <a:lnTo>
                    <a:pt x="83" y="50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7" y="52"/>
                  </a:lnTo>
                  <a:lnTo>
                    <a:pt x="87" y="53"/>
                  </a:lnTo>
                  <a:lnTo>
                    <a:pt x="87" y="53"/>
                  </a:lnTo>
                  <a:close/>
                  <a:moveTo>
                    <a:pt x="110" y="10"/>
                  </a:moveTo>
                  <a:lnTo>
                    <a:pt x="110" y="13"/>
                  </a:lnTo>
                  <a:lnTo>
                    <a:pt x="112" y="12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5" y="13"/>
                  </a:lnTo>
                  <a:lnTo>
                    <a:pt x="115" y="16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5"/>
                  </a:lnTo>
                  <a:lnTo>
                    <a:pt x="113" y="25"/>
                  </a:lnTo>
                  <a:lnTo>
                    <a:pt x="112" y="28"/>
                  </a:lnTo>
                  <a:lnTo>
                    <a:pt x="112" y="29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6"/>
                  </a:lnTo>
                  <a:lnTo>
                    <a:pt x="110" y="25"/>
                  </a:lnTo>
                  <a:lnTo>
                    <a:pt x="110" y="23"/>
                  </a:lnTo>
                  <a:lnTo>
                    <a:pt x="110" y="22"/>
                  </a:lnTo>
                  <a:lnTo>
                    <a:pt x="109" y="22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9" y="18"/>
                  </a:lnTo>
                  <a:lnTo>
                    <a:pt x="109" y="13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7" y="10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10" y="10"/>
                  </a:lnTo>
                  <a:close/>
                  <a:moveTo>
                    <a:pt x="115" y="12"/>
                  </a:moveTo>
                  <a:lnTo>
                    <a:pt x="115" y="12"/>
                  </a:lnTo>
                  <a:lnTo>
                    <a:pt x="113" y="9"/>
                  </a:lnTo>
                  <a:lnTo>
                    <a:pt x="115" y="5"/>
                  </a:lnTo>
                  <a:lnTo>
                    <a:pt x="116" y="5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5" y="9"/>
                  </a:lnTo>
                  <a:lnTo>
                    <a:pt x="115" y="10"/>
                  </a:lnTo>
                  <a:lnTo>
                    <a:pt x="115" y="12"/>
                  </a:lnTo>
                  <a:close/>
                  <a:moveTo>
                    <a:pt x="119" y="2"/>
                  </a:moveTo>
                  <a:lnTo>
                    <a:pt x="119" y="2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17" y="6"/>
                  </a:lnTo>
                  <a:lnTo>
                    <a:pt x="116" y="6"/>
                  </a:lnTo>
                  <a:lnTo>
                    <a:pt x="116" y="3"/>
                  </a:lnTo>
                  <a:lnTo>
                    <a:pt x="116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9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Google Shape;210;p3"/>
            <p:cNvSpPr/>
            <p:nvPr/>
          </p:nvSpPr>
          <p:spPr>
            <a:xfrm>
              <a:off x="4400963" y="3887657"/>
              <a:ext cx="75039" cy="33900"/>
            </a:xfrm>
            <a:custGeom>
              <a:rect b="b" l="l" r="r" t="t"/>
              <a:pathLst>
                <a:path extrusionOk="0" h="54" w="107">
                  <a:moveTo>
                    <a:pt x="103" y="37"/>
                  </a:moveTo>
                  <a:lnTo>
                    <a:pt x="103" y="37"/>
                  </a:lnTo>
                  <a:lnTo>
                    <a:pt x="101" y="38"/>
                  </a:lnTo>
                  <a:lnTo>
                    <a:pt x="101" y="40"/>
                  </a:lnTo>
                  <a:lnTo>
                    <a:pt x="100" y="40"/>
                  </a:lnTo>
                  <a:lnTo>
                    <a:pt x="99" y="40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100" y="42"/>
                  </a:lnTo>
                  <a:lnTo>
                    <a:pt x="101" y="44"/>
                  </a:lnTo>
                  <a:lnTo>
                    <a:pt x="103" y="45"/>
                  </a:lnTo>
                  <a:lnTo>
                    <a:pt x="104" y="47"/>
                  </a:lnTo>
                  <a:lnTo>
                    <a:pt x="106" y="48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6" y="52"/>
                  </a:lnTo>
                  <a:lnTo>
                    <a:pt x="104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1" y="54"/>
                  </a:lnTo>
                  <a:lnTo>
                    <a:pt x="100" y="52"/>
                  </a:lnTo>
                  <a:lnTo>
                    <a:pt x="99" y="51"/>
                  </a:lnTo>
                  <a:lnTo>
                    <a:pt x="97" y="51"/>
                  </a:lnTo>
                  <a:lnTo>
                    <a:pt x="97" y="52"/>
                  </a:lnTo>
                  <a:lnTo>
                    <a:pt x="94" y="51"/>
                  </a:lnTo>
                  <a:lnTo>
                    <a:pt x="93" y="51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1" y="48"/>
                  </a:lnTo>
                  <a:lnTo>
                    <a:pt x="87" y="47"/>
                  </a:lnTo>
                  <a:lnTo>
                    <a:pt x="84" y="45"/>
                  </a:lnTo>
                  <a:lnTo>
                    <a:pt x="83" y="47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3" y="51"/>
                  </a:lnTo>
                  <a:lnTo>
                    <a:pt x="71" y="51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3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3" y="42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37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3" y="45"/>
                  </a:lnTo>
                  <a:lnTo>
                    <a:pt x="30" y="45"/>
                  </a:lnTo>
                  <a:lnTo>
                    <a:pt x="29" y="47"/>
                  </a:lnTo>
                  <a:lnTo>
                    <a:pt x="29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4" y="44"/>
                  </a:lnTo>
                  <a:lnTo>
                    <a:pt x="27" y="41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5"/>
                  </a:lnTo>
                  <a:lnTo>
                    <a:pt x="27" y="31"/>
                  </a:lnTo>
                  <a:lnTo>
                    <a:pt x="26" y="25"/>
                  </a:lnTo>
                  <a:lnTo>
                    <a:pt x="24" y="20"/>
                  </a:lnTo>
                  <a:lnTo>
                    <a:pt x="23" y="18"/>
                  </a:lnTo>
                  <a:lnTo>
                    <a:pt x="19" y="17"/>
                  </a:lnTo>
                  <a:lnTo>
                    <a:pt x="17" y="14"/>
                  </a:lnTo>
                  <a:lnTo>
                    <a:pt x="13" y="11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6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7" y="4"/>
                  </a:lnTo>
                  <a:lnTo>
                    <a:pt x="22" y="5"/>
                  </a:lnTo>
                  <a:lnTo>
                    <a:pt x="23" y="7"/>
                  </a:lnTo>
                  <a:lnTo>
                    <a:pt x="26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6" y="7"/>
                  </a:lnTo>
                  <a:lnTo>
                    <a:pt x="39" y="7"/>
                  </a:lnTo>
                  <a:lnTo>
                    <a:pt x="41" y="10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6" y="10"/>
                  </a:lnTo>
                  <a:lnTo>
                    <a:pt x="47" y="11"/>
                  </a:lnTo>
                  <a:lnTo>
                    <a:pt x="49" y="11"/>
                  </a:lnTo>
                  <a:lnTo>
                    <a:pt x="50" y="13"/>
                  </a:lnTo>
                  <a:lnTo>
                    <a:pt x="53" y="15"/>
                  </a:lnTo>
                  <a:lnTo>
                    <a:pt x="57" y="15"/>
                  </a:lnTo>
                  <a:lnTo>
                    <a:pt x="59" y="17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20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1" y="21"/>
                  </a:lnTo>
                  <a:lnTo>
                    <a:pt x="63" y="22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7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6" y="21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6" y="22"/>
                  </a:lnTo>
                  <a:lnTo>
                    <a:pt x="89" y="22"/>
                  </a:lnTo>
                  <a:lnTo>
                    <a:pt x="90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7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4" y="32"/>
                  </a:lnTo>
                  <a:lnTo>
                    <a:pt x="96" y="34"/>
                  </a:lnTo>
                  <a:lnTo>
                    <a:pt x="97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0" y="35"/>
                  </a:lnTo>
                  <a:lnTo>
                    <a:pt x="103" y="37"/>
                  </a:lnTo>
                  <a:lnTo>
                    <a:pt x="103" y="3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Google Shape;211;p3"/>
            <p:cNvSpPr/>
            <p:nvPr/>
          </p:nvSpPr>
          <p:spPr>
            <a:xfrm>
              <a:off x="3338496" y="4315179"/>
              <a:ext cx="32961" cy="36412"/>
            </a:xfrm>
            <a:custGeom>
              <a:rect b="b" l="l" r="r" t="t"/>
              <a:pathLst>
                <a:path extrusionOk="0" h="58" w="47">
                  <a:moveTo>
                    <a:pt x="47" y="27"/>
                  </a:moveTo>
                  <a:lnTo>
                    <a:pt x="47" y="28"/>
                  </a:lnTo>
                  <a:lnTo>
                    <a:pt x="46" y="28"/>
                  </a:lnTo>
                  <a:lnTo>
                    <a:pt x="44" y="30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7"/>
                  </a:lnTo>
                  <a:lnTo>
                    <a:pt x="39" y="38"/>
                  </a:lnTo>
                  <a:lnTo>
                    <a:pt x="37" y="40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2"/>
                  </a:lnTo>
                  <a:lnTo>
                    <a:pt x="36" y="44"/>
                  </a:lnTo>
                  <a:lnTo>
                    <a:pt x="36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5"/>
                  </a:lnTo>
                  <a:lnTo>
                    <a:pt x="27" y="55"/>
                  </a:lnTo>
                  <a:lnTo>
                    <a:pt x="27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4" y="57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7" y="57"/>
                  </a:ln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3" y="55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0" y="57"/>
                  </a:lnTo>
                  <a:lnTo>
                    <a:pt x="9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6" y="58"/>
                  </a:lnTo>
                  <a:lnTo>
                    <a:pt x="5" y="58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2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7" y="32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7" y="7"/>
                  </a:lnTo>
                  <a:lnTo>
                    <a:pt x="9" y="5"/>
                  </a:lnTo>
                  <a:lnTo>
                    <a:pt x="10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9" y="4"/>
                  </a:lnTo>
                  <a:lnTo>
                    <a:pt x="22" y="4"/>
                  </a:lnTo>
                  <a:lnTo>
                    <a:pt x="27" y="5"/>
                  </a:lnTo>
                  <a:lnTo>
                    <a:pt x="29" y="8"/>
                  </a:lnTo>
                  <a:lnTo>
                    <a:pt x="34" y="12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6" y="15"/>
                  </a:lnTo>
                  <a:lnTo>
                    <a:pt x="39" y="14"/>
                  </a:lnTo>
                  <a:lnTo>
                    <a:pt x="40" y="17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0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Google Shape;212;p3"/>
            <p:cNvSpPr/>
            <p:nvPr/>
          </p:nvSpPr>
          <p:spPr>
            <a:xfrm>
              <a:off x="3921976" y="3800395"/>
              <a:ext cx="2104" cy="1884"/>
            </a:xfrm>
            <a:custGeom>
              <a:rect b="b" l="l" r="r" t="t"/>
              <a:pathLst>
                <a:path extrusionOk="0" h="3" w="3">
                  <a:moveTo>
                    <a:pt x="3" y="2"/>
                  </a:move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Google Shape;213;p3"/>
            <p:cNvSpPr/>
            <p:nvPr/>
          </p:nvSpPr>
          <p:spPr>
            <a:xfrm>
              <a:off x="3914963" y="4260561"/>
              <a:ext cx="49792" cy="65290"/>
            </a:xfrm>
            <a:custGeom>
              <a:rect b="b" l="l" r="r" t="t"/>
              <a:pathLst>
                <a:path extrusionOk="0" h="104" w="71">
                  <a:moveTo>
                    <a:pt x="51" y="1"/>
                  </a:moveTo>
                  <a:lnTo>
                    <a:pt x="53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3" y="10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6" y="12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6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60" y="27"/>
                  </a:lnTo>
                  <a:lnTo>
                    <a:pt x="61" y="28"/>
                  </a:lnTo>
                  <a:lnTo>
                    <a:pt x="61" y="30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60" y="37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1"/>
                  </a:lnTo>
                  <a:lnTo>
                    <a:pt x="60" y="42"/>
                  </a:lnTo>
                  <a:lnTo>
                    <a:pt x="63" y="44"/>
                  </a:lnTo>
                  <a:lnTo>
                    <a:pt x="63" y="45"/>
                  </a:lnTo>
                  <a:lnTo>
                    <a:pt x="64" y="47"/>
                  </a:lnTo>
                  <a:lnTo>
                    <a:pt x="63" y="47"/>
                  </a:lnTo>
                  <a:lnTo>
                    <a:pt x="63" y="48"/>
                  </a:lnTo>
                  <a:lnTo>
                    <a:pt x="61" y="50"/>
                  </a:lnTo>
                  <a:lnTo>
                    <a:pt x="63" y="55"/>
                  </a:lnTo>
                  <a:lnTo>
                    <a:pt x="60" y="58"/>
                  </a:lnTo>
                  <a:lnTo>
                    <a:pt x="60" y="60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4"/>
                  </a:lnTo>
                  <a:lnTo>
                    <a:pt x="61" y="65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3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5"/>
                  </a:lnTo>
                  <a:lnTo>
                    <a:pt x="64" y="77"/>
                  </a:lnTo>
                  <a:lnTo>
                    <a:pt x="65" y="77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9"/>
                  </a:lnTo>
                  <a:lnTo>
                    <a:pt x="70" y="79"/>
                  </a:lnTo>
                  <a:lnTo>
                    <a:pt x="70" y="81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1" y="82"/>
                  </a:lnTo>
                  <a:lnTo>
                    <a:pt x="70" y="82"/>
                  </a:lnTo>
                  <a:lnTo>
                    <a:pt x="70" y="84"/>
                  </a:lnTo>
                  <a:lnTo>
                    <a:pt x="68" y="85"/>
                  </a:lnTo>
                  <a:lnTo>
                    <a:pt x="67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57" y="87"/>
                  </a:lnTo>
                  <a:lnTo>
                    <a:pt x="50" y="89"/>
                  </a:lnTo>
                  <a:lnTo>
                    <a:pt x="47" y="91"/>
                  </a:lnTo>
                  <a:lnTo>
                    <a:pt x="44" y="92"/>
                  </a:lnTo>
                  <a:lnTo>
                    <a:pt x="41" y="94"/>
                  </a:lnTo>
                  <a:lnTo>
                    <a:pt x="40" y="95"/>
                  </a:lnTo>
                  <a:lnTo>
                    <a:pt x="36" y="97"/>
                  </a:lnTo>
                  <a:lnTo>
                    <a:pt x="28" y="98"/>
                  </a:lnTo>
                  <a:lnTo>
                    <a:pt x="26" y="99"/>
                  </a:lnTo>
                  <a:lnTo>
                    <a:pt x="24" y="101"/>
                  </a:lnTo>
                  <a:lnTo>
                    <a:pt x="20" y="104"/>
                  </a:lnTo>
                  <a:lnTo>
                    <a:pt x="18" y="102"/>
                  </a:lnTo>
                  <a:lnTo>
                    <a:pt x="16" y="101"/>
                  </a:lnTo>
                  <a:lnTo>
                    <a:pt x="14" y="101"/>
                  </a:lnTo>
                  <a:lnTo>
                    <a:pt x="8" y="99"/>
                  </a:lnTo>
                  <a:lnTo>
                    <a:pt x="6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4" y="97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4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7"/>
                  </a:lnTo>
                  <a:lnTo>
                    <a:pt x="4" y="84"/>
                  </a:lnTo>
                  <a:lnTo>
                    <a:pt x="3" y="82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1" y="68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6" y="60"/>
                  </a:lnTo>
                  <a:lnTo>
                    <a:pt x="6" y="57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1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4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18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4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3" y="2"/>
                  </a:lnTo>
                  <a:lnTo>
                    <a:pt x="17" y="2"/>
                  </a:lnTo>
                  <a:lnTo>
                    <a:pt x="21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51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Google Shape;214;p3"/>
            <p:cNvSpPr/>
            <p:nvPr/>
          </p:nvSpPr>
          <p:spPr>
            <a:xfrm>
              <a:off x="3891820" y="3984336"/>
              <a:ext cx="0" cy="628"/>
            </a:xfrm>
            <a:custGeom>
              <a:rect b="b" l="l" r="r" t="t"/>
              <a:pathLst>
                <a:path extrusionOk="0" h="1" w="120000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Google Shape;215;p3"/>
            <p:cNvSpPr/>
            <p:nvPr/>
          </p:nvSpPr>
          <p:spPr>
            <a:xfrm>
              <a:off x="3133717" y="2714328"/>
              <a:ext cx="690077" cy="905893"/>
            </a:xfrm>
            <a:custGeom>
              <a:rect b="b" l="l" r="r" t="t"/>
              <a:pathLst>
                <a:path extrusionOk="0" h="1443" w="984">
                  <a:moveTo>
                    <a:pt x="687" y="4"/>
                  </a:moveTo>
                  <a:lnTo>
                    <a:pt x="702" y="13"/>
                  </a:lnTo>
                  <a:lnTo>
                    <a:pt x="710" y="23"/>
                  </a:lnTo>
                  <a:lnTo>
                    <a:pt x="712" y="23"/>
                  </a:lnTo>
                  <a:lnTo>
                    <a:pt x="723" y="27"/>
                  </a:lnTo>
                  <a:lnTo>
                    <a:pt x="733" y="31"/>
                  </a:lnTo>
                  <a:lnTo>
                    <a:pt x="752" y="43"/>
                  </a:lnTo>
                  <a:lnTo>
                    <a:pt x="753" y="47"/>
                  </a:lnTo>
                  <a:lnTo>
                    <a:pt x="752" y="50"/>
                  </a:lnTo>
                  <a:lnTo>
                    <a:pt x="747" y="53"/>
                  </a:lnTo>
                  <a:lnTo>
                    <a:pt x="724" y="57"/>
                  </a:lnTo>
                  <a:lnTo>
                    <a:pt x="685" y="61"/>
                  </a:lnTo>
                  <a:lnTo>
                    <a:pt x="662" y="70"/>
                  </a:lnTo>
                  <a:lnTo>
                    <a:pt x="655" y="71"/>
                  </a:lnTo>
                  <a:lnTo>
                    <a:pt x="653" y="84"/>
                  </a:lnTo>
                  <a:lnTo>
                    <a:pt x="656" y="86"/>
                  </a:lnTo>
                  <a:lnTo>
                    <a:pt x="662" y="83"/>
                  </a:lnTo>
                  <a:lnTo>
                    <a:pt x="680" y="70"/>
                  </a:lnTo>
                  <a:lnTo>
                    <a:pt x="686" y="67"/>
                  </a:lnTo>
                  <a:lnTo>
                    <a:pt x="699" y="68"/>
                  </a:lnTo>
                  <a:lnTo>
                    <a:pt x="716" y="74"/>
                  </a:lnTo>
                  <a:lnTo>
                    <a:pt x="722" y="73"/>
                  </a:lnTo>
                  <a:lnTo>
                    <a:pt x="734" y="74"/>
                  </a:lnTo>
                  <a:lnTo>
                    <a:pt x="747" y="70"/>
                  </a:lnTo>
                  <a:lnTo>
                    <a:pt x="764" y="61"/>
                  </a:lnTo>
                  <a:lnTo>
                    <a:pt x="769" y="80"/>
                  </a:lnTo>
                  <a:lnTo>
                    <a:pt x="774" y="98"/>
                  </a:lnTo>
                  <a:lnTo>
                    <a:pt x="779" y="97"/>
                  </a:lnTo>
                  <a:lnTo>
                    <a:pt x="783" y="97"/>
                  </a:lnTo>
                  <a:lnTo>
                    <a:pt x="784" y="103"/>
                  </a:lnTo>
                  <a:lnTo>
                    <a:pt x="787" y="106"/>
                  </a:lnTo>
                  <a:lnTo>
                    <a:pt x="791" y="104"/>
                  </a:lnTo>
                  <a:lnTo>
                    <a:pt x="806" y="110"/>
                  </a:lnTo>
                  <a:lnTo>
                    <a:pt x="816" y="118"/>
                  </a:lnTo>
                  <a:lnTo>
                    <a:pt x="819" y="123"/>
                  </a:lnTo>
                  <a:lnTo>
                    <a:pt x="821" y="130"/>
                  </a:lnTo>
                  <a:lnTo>
                    <a:pt x="821" y="134"/>
                  </a:lnTo>
                  <a:lnTo>
                    <a:pt x="820" y="140"/>
                  </a:lnTo>
                  <a:lnTo>
                    <a:pt x="814" y="150"/>
                  </a:lnTo>
                  <a:lnTo>
                    <a:pt x="807" y="160"/>
                  </a:lnTo>
                  <a:lnTo>
                    <a:pt x="796" y="167"/>
                  </a:lnTo>
                  <a:lnTo>
                    <a:pt x="784" y="171"/>
                  </a:lnTo>
                  <a:lnTo>
                    <a:pt x="693" y="187"/>
                  </a:lnTo>
                  <a:lnTo>
                    <a:pt x="690" y="190"/>
                  </a:lnTo>
                  <a:lnTo>
                    <a:pt x="687" y="198"/>
                  </a:lnTo>
                  <a:lnTo>
                    <a:pt x="689" y="210"/>
                  </a:lnTo>
                  <a:lnTo>
                    <a:pt x="693" y="213"/>
                  </a:lnTo>
                  <a:lnTo>
                    <a:pt x="703" y="205"/>
                  </a:lnTo>
                  <a:lnTo>
                    <a:pt x="720" y="200"/>
                  </a:lnTo>
                  <a:lnTo>
                    <a:pt x="733" y="200"/>
                  </a:lnTo>
                  <a:lnTo>
                    <a:pt x="763" y="205"/>
                  </a:lnTo>
                  <a:lnTo>
                    <a:pt x="773" y="218"/>
                  </a:lnTo>
                  <a:lnTo>
                    <a:pt x="777" y="240"/>
                  </a:lnTo>
                  <a:lnTo>
                    <a:pt x="787" y="234"/>
                  </a:lnTo>
                  <a:lnTo>
                    <a:pt x="790" y="231"/>
                  </a:lnTo>
                  <a:lnTo>
                    <a:pt x="791" y="225"/>
                  </a:lnTo>
                  <a:lnTo>
                    <a:pt x="793" y="218"/>
                  </a:lnTo>
                  <a:lnTo>
                    <a:pt x="794" y="211"/>
                  </a:lnTo>
                  <a:lnTo>
                    <a:pt x="796" y="207"/>
                  </a:lnTo>
                  <a:lnTo>
                    <a:pt x="796" y="204"/>
                  </a:lnTo>
                  <a:lnTo>
                    <a:pt x="799" y="201"/>
                  </a:lnTo>
                  <a:lnTo>
                    <a:pt x="806" y="200"/>
                  </a:lnTo>
                  <a:lnTo>
                    <a:pt x="821" y="197"/>
                  </a:lnTo>
                  <a:lnTo>
                    <a:pt x="824" y="197"/>
                  </a:lnTo>
                  <a:lnTo>
                    <a:pt x="827" y="207"/>
                  </a:lnTo>
                  <a:lnTo>
                    <a:pt x="829" y="213"/>
                  </a:lnTo>
                  <a:lnTo>
                    <a:pt x="829" y="220"/>
                  </a:lnTo>
                  <a:lnTo>
                    <a:pt x="829" y="230"/>
                  </a:lnTo>
                  <a:lnTo>
                    <a:pt x="827" y="240"/>
                  </a:lnTo>
                  <a:lnTo>
                    <a:pt x="826" y="250"/>
                  </a:lnTo>
                  <a:lnTo>
                    <a:pt x="821" y="268"/>
                  </a:lnTo>
                  <a:lnTo>
                    <a:pt x="819" y="277"/>
                  </a:lnTo>
                  <a:lnTo>
                    <a:pt x="814" y="284"/>
                  </a:lnTo>
                  <a:lnTo>
                    <a:pt x="807" y="300"/>
                  </a:lnTo>
                  <a:lnTo>
                    <a:pt x="804" y="304"/>
                  </a:lnTo>
                  <a:lnTo>
                    <a:pt x="797" y="321"/>
                  </a:lnTo>
                  <a:lnTo>
                    <a:pt x="794" y="330"/>
                  </a:lnTo>
                  <a:lnTo>
                    <a:pt x="794" y="335"/>
                  </a:lnTo>
                  <a:lnTo>
                    <a:pt x="796" y="337"/>
                  </a:lnTo>
                  <a:lnTo>
                    <a:pt x="799" y="331"/>
                  </a:lnTo>
                  <a:lnTo>
                    <a:pt x="800" y="327"/>
                  </a:lnTo>
                  <a:lnTo>
                    <a:pt x="801" y="323"/>
                  </a:lnTo>
                  <a:lnTo>
                    <a:pt x="813" y="311"/>
                  </a:lnTo>
                  <a:lnTo>
                    <a:pt x="816" y="308"/>
                  </a:lnTo>
                  <a:lnTo>
                    <a:pt x="823" y="295"/>
                  </a:lnTo>
                  <a:lnTo>
                    <a:pt x="827" y="290"/>
                  </a:lnTo>
                  <a:lnTo>
                    <a:pt x="831" y="285"/>
                  </a:lnTo>
                  <a:lnTo>
                    <a:pt x="834" y="281"/>
                  </a:lnTo>
                  <a:lnTo>
                    <a:pt x="846" y="254"/>
                  </a:lnTo>
                  <a:lnTo>
                    <a:pt x="851" y="245"/>
                  </a:lnTo>
                  <a:lnTo>
                    <a:pt x="859" y="245"/>
                  </a:lnTo>
                  <a:lnTo>
                    <a:pt x="860" y="260"/>
                  </a:lnTo>
                  <a:lnTo>
                    <a:pt x="867" y="263"/>
                  </a:lnTo>
                  <a:lnTo>
                    <a:pt x="871" y="261"/>
                  </a:lnTo>
                  <a:lnTo>
                    <a:pt x="876" y="265"/>
                  </a:lnTo>
                  <a:lnTo>
                    <a:pt x="879" y="267"/>
                  </a:lnTo>
                  <a:lnTo>
                    <a:pt x="883" y="268"/>
                  </a:lnTo>
                  <a:lnTo>
                    <a:pt x="887" y="273"/>
                  </a:lnTo>
                  <a:lnTo>
                    <a:pt x="890" y="268"/>
                  </a:lnTo>
                  <a:lnTo>
                    <a:pt x="891" y="267"/>
                  </a:lnTo>
                  <a:lnTo>
                    <a:pt x="896" y="257"/>
                  </a:lnTo>
                  <a:lnTo>
                    <a:pt x="900" y="247"/>
                  </a:lnTo>
                  <a:lnTo>
                    <a:pt x="904" y="235"/>
                  </a:lnTo>
                  <a:lnTo>
                    <a:pt x="906" y="233"/>
                  </a:lnTo>
                  <a:lnTo>
                    <a:pt x="908" y="231"/>
                  </a:lnTo>
                  <a:lnTo>
                    <a:pt x="911" y="230"/>
                  </a:lnTo>
                  <a:lnTo>
                    <a:pt x="917" y="224"/>
                  </a:lnTo>
                  <a:lnTo>
                    <a:pt x="918" y="224"/>
                  </a:lnTo>
                  <a:lnTo>
                    <a:pt x="923" y="225"/>
                  </a:lnTo>
                  <a:lnTo>
                    <a:pt x="938" y="227"/>
                  </a:lnTo>
                  <a:lnTo>
                    <a:pt x="947" y="230"/>
                  </a:lnTo>
                  <a:lnTo>
                    <a:pt x="958" y="237"/>
                  </a:lnTo>
                  <a:lnTo>
                    <a:pt x="967" y="241"/>
                  </a:lnTo>
                  <a:lnTo>
                    <a:pt x="971" y="245"/>
                  </a:lnTo>
                  <a:lnTo>
                    <a:pt x="977" y="253"/>
                  </a:lnTo>
                  <a:lnTo>
                    <a:pt x="981" y="261"/>
                  </a:lnTo>
                  <a:lnTo>
                    <a:pt x="984" y="263"/>
                  </a:lnTo>
                  <a:lnTo>
                    <a:pt x="983" y="265"/>
                  </a:lnTo>
                  <a:lnTo>
                    <a:pt x="981" y="270"/>
                  </a:lnTo>
                  <a:lnTo>
                    <a:pt x="970" y="281"/>
                  </a:lnTo>
                  <a:lnTo>
                    <a:pt x="967" y="290"/>
                  </a:lnTo>
                  <a:lnTo>
                    <a:pt x="956" y="305"/>
                  </a:lnTo>
                  <a:lnTo>
                    <a:pt x="951" y="310"/>
                  </a:lnTo>
                  <a:lnTo>
                    <a:pt x="946" y="313"/>
                  </a:lnTo>
                  <a:lnTo>
                    <a:pt x="938" y="313"/>
                  </a:lnTo>
                  <a:lnTo>
                    <a:pt x="936" y="314"/>
                  </a:lnTo>
                  <a:lnTo>
                    <a:pt x="934" y="317"/>
                  </a:lnTo>
                  <a:lnTo>
                    <a:pt x="937" y="323"/>
                  </a:lnTo>
                  <a:lnTo>
                    <a:pt x="938" y="327"/>
                  </a:lnTo>
                  <a:lnTo>
                    <a:pt x="938" y="331"/>
                  </a:lnTo>
                  <a:lnTo>
                    <a:pt x="936" y="337"/>
                  </a:lnTo>
                  <a:lnTo>
                    <a:pt x="934" y="338"/>
                  </a:lnTo>
                  <a:lnTo>
                    <a:pt x="923" y="343"/>
                  </a:lnTo>
                  <a:lnTo>
                    <a:pt x="917" y="350"/>
                  </a:lnTo>
                  <a:lnTo>
                    <a:pt x="910" y="350"/>
                  </a:lnTo>
                  <a:lnTo>
                    <a:pt x="906" y="350"/>
                  </a:lnTo>
                  <a:lnTo>
                    <a:pt x="898" y="357"/>
                  </a:lnTo>
                  <a:lnTo>
                    <a:pt x="901" y="363"/>
                  </a:lnTo>
                  <a:lnTo>
                    <a:pt x="903" y="365"/>
                  </a:lnTo>
                  <a:lnTo>
                    <a:pt x="911" y="371"/>
                  </a:lnTo>
                  <a:lnTo>
                    <a:pt x="911" y="374"/>
                  </a:lnTo>
                  <a:lnTo>
                    <a:pt x="907" y="380"/>
                  </a:lnTo>
                  <a:lnTo>
                    <a:pt x="903" y="387"/>
                  </a:lnTo>
                  <a:lnTo>
                    <a:pt x="896" y="393"/>
                  </a:lnTo>
                  <a:lnTo>
                    <a:pt x="894" y="394"/>
                  </a:lnTo>
                  <a:lnTo>
                    <a:pt x="891" y="393"/>
                  </a:lnTo>
                  <a:lnTo>
                    <a:pt x="888" y="393"/>
                  </a:lnTo>
                  <a:lnTo>
                    <a:pt x="883" y="394"/>
                  </a:lnTo>
                  <a:lnTo>
                    <a:pt x="877" y="395"/>
                  </a:lnTo>
                  <a:lnTo>
                    <a:pt x="867" y="391"/>
                  </a:lnTo>
                  <a:lnTo>
                    <a:pt x="861" y="388"/>
                  </a:lnTo>
                  <a:lnTo>
                    <a:pt x="859" y="387"/>
                  </a:lnTo>
                  <a:lnTo>
                    <a:pt x="856" y="387"/>
                  </a:lnTo>
                  <a:lnTo>
                    <a:pt x="854" y="388"/>
                  </a:lnTo>
                  <a:lnTo>
                    <a:pt x="849" y="398"/>
                  </a:lnTo>
                  <a:lnTo>
                    <a:pt x="846" y="404"/>
                  </a:lnTo>
                  <a:lnTo>
                    <a:pt x="844" y="410"/>
                  </a:lnTo>
                  <a:lnTo>
                    <a:pt x="843" y="417"/>
                  </a:lnTo>
                  <a:lnTo>
                    <a:pt x="843" y="424"/>
                  </a:lnTo>
                  <a:lnTo>
                    <a:pt x="844" y="430"/>
                  </a:lnTo>
                  <a:lnTo>
                    <a:pt x="846" y="431"/>
                  </a:lnTo>
                  <a:lnTo>
                    <a:pt x="846" y="434"/>
                  </a:lnTo>
                  <a:lnTo>
                    <a:pt x="849" y="434"/>
                  </a:lnTo>
                  <a:lnTo>
                    <a:pt x="854" y="434"/>
                  </a:lnTo>
                  <a:lnTo>
                    <a:pt x="856" y="434"/>
                  </a:lnTo>
                  <a:lnTo>
                    <a:pt x="857" y="435"/>
                  </a:lnTo>
                  <a:lnTo>
                    <a:pt x="857" y="440"/>
                  </a:lnTo>
                  <a:lnTo>
                    <a:pt x="857" y="444"/>
                  </a:lnTo>
                  <a:lnTo>
                    <a:pt x="857" y="450"/>
                  </a:lnTo>
                  <a:lnTo>
                    <a:pt x="856" y="457"/>
                  </a:lnTo>
                  <a:lnTo>
                    <a:pt x="856" y="465"/>
                  </a:lnTo>
                  <a:lnTo>
                    <a:pt x="856" y="470"/>
                  </a:lnTo>
                  <a:lnTo>
                    <a:pt x="857" y="470"/>
                  </a:lnTo>
                  <a:lnTo>
                    <a:pt x="859" y="470"/>
                  </a:lnTo>
                  <a:lnTo>
                    <a:pt x="860" y="471"/>
                  </a:lnTo>
                  <a:lnTo>
                    <a:pt x="861" y="474"/>
                  </a:lnTo>
                  <a:lnTo>
                    <a:pt x="861" y="478"/>
                  </a:lnTo>
                  <a:lnTo>
                    <a:pt x="863" y="481"/>
                  </a:lnTo>
                  <a:lnTo>
                    <a:pt x="863" y="484"/>
                  </a:lnTo>
                  <a:lnTo>
                    <a:pt x="861" y="487"/>
                  </a:lnTo>
                  <a:lnTo>
                    <a:pt x="859" y="488"/>
                  </a:lnTo>
                  <a:lnTo>
                    <a:pt x="850" y="494"/>
                  </a:lnTo>
                  <a:lnTo>
                    <a:pt x="850" y="495"/>
                  </a:lnTo>
                  <a:lnTo>
                    <a:pt x="849" y="498"/>
                  </a:lnTo>
                  <a:lnTo>
                    <a:pt x="849" y="502"/>
                  </a:lnTo>
                  <a:lnTo>
                    <a:pt x="849" y="507"/>
                  </a:lnTo>
                  <a:lnTo>
                    <a:pt x="847" y="510"/>
                  </a:lnTo>
                  <a:lnTo>
                    <a:pt x="846" y="512"/>
                  </a:lnTo>
                  <a:lnTo>
                    <a:pt x="843" y="512"/>
                  </a:lnTo>
                  <a:lnTo>
                    <a:pt x="840" y="514"/>
                  </a:lnTo>
                  <a:lnTo>
                    <a:pt x="836" y="515"/>
                  </a:lnTo>
                  <a:lnTo>
                    <a:pt x="829" y="527"/>
                  </a:lnTo>
                  <a:lnTo>
                    <a:pt x="827" y="528"/>
                  </a:lnTo>
                  <a:lnTo>
                    <a:pt x="831" y="532"/>
                  </a:lnTo>
                  <a:lnTo>
                    <a:pt x="831" y="535"/>
                  </a:lnTo>
                  <a:lnTo>
                    <a:pt x="827" y="550"/>
                  </a:lnTo>
                  <a:lnTo>
                    <a:pt x="826" y="557"/>
                  </a:lnTo>
                  <a:lnTo>
                    <a:pt x="826" y="565"/>
                  </a:lnTo>
                  <a:lnTo>
                    <a:pt x="824" y="574"/>
                  </a:lnTo>
                  <a:lnTo>
                    <a:pt x="821" y="580"/>
                  </a:lnTo>
                  <a:lnTo>
                    <a:pt x="820" y="587"/>
                  </a:lnTo>
                  <a:lnTo>
                    <a:pt x="819" y="595"/>
                  </a:lnTo>
                  <a:lnTo>
                    <a:pt x="819" y="601"/>
                  </a:lnTo>
                  <a:lnTo>
                    <a:pt x="821" y="605"/>
                  </a:lnTo>
                  <a:lnTo>
                    <a:pt x="824" y="602"/>
                  </a:lnTo>
                  <a:lnTo>
                    <a:pt x="829" y="591"/>
                  </a:lnTo>
                  <a:lnTo>
                    <a:pt x="833" y="587"/>
                  </a:lnTo>
                  <a:lnTo>
                    <a:pt x="837" y="588"/>
                  </a:lnTo>
                  <a:lnTo>
                    <a:pt x="841" y="590"/>
                  </a:lnTo>
                  <a:lnTo>
                    <a:pt x="846" y="594"/>
                  </a:lnTo>
                  <a:lnTo>
                    <a:pt x="850" y="597"/>
                  </a:lnTo>
                  <a:lnTo>
                    <a:pt x="854" y="601"/>
                  </a:lnTo>
                  <a:lnTo>
                    <a:pt x="856" y="604"/>
                  </a:lnTo>
                  <a:lnTo>
                    <a:pt x="857" y="608"/>
                  </a:lnTo>
                  <a:lnTo>
                    <a:pt x="857" y="611"/>
                  </a:lnTo>
                  <a:lnTo>
                    <a:pt x="854" y="612"/>
                  </a:lnTo>
                  <a:lnTo>
                    <a:pt x="854" y="612"/>
                  </a:lnTo>
                  <a:lnTo>
                    <a:pt x="847" y="605"/>
                  </a:lnTo>
                  <a:lnTo>
                    <a:pt x="843" y="602"/>
                  </a:lnTo>
                  <a:lnTo>
                    <a:pt x="839" y="605"/>
                  </a:lnTo>
                  <a:lnTo>
                    <a:pt x="836" y="608"/>
                  </a:lnTo>
                  <a:lnTo>
                    <a:pt x="839" y="621"/>
                  </a:lnTo>
                  <a:lnTo>
                    <a:pt x="843" y="627"/>
                  </a:lnTo>
                  <a:lnTo>
                    <a:pt x="849" y="629"/>
                  </a:lnTo>
                  <a:lnTo>
                    <a:pt x="853" y="632"/>
                  </a:lnTo>
                  <a:lnTo>
                    <a:pt x="856" y="635"/>
                  </a:lnTo>
                  <a:lnTo>
                    <a:pt x="857" y="638"/>
                  </a:lnTo>
                  <a:lnTo>
                    <a:pt x="860" y="637"/>
                  </a:lnTo>
                  <a:lnTo>
                    <a:pt x="864" y="634"/>
                  </a:lnTo>
                  <a:lnTo>
                    <a:pt x="869" y="634"/>
                  </a:lnTo>
                  <a:lnTo>
                    <a:pt x="871" y="635"/>
                  </a:lnTo>
                  <a:lnTo>
                    <a:pt x="873" y="638"/>
                  </a:lnTo>
                  <a:lnTo>
                    <a:pt x="873" y="644"/>
                  </a:lnTo>
                  <a:lnTo>
                    <a:pt x="873" y="652"/>
                  </a:lnTo>
                  <a:lnTo>
                    <a:pt x="873" y="659"/>
                  </a:lnTo>
                  <a:lnTo>
                    <a:pt x="871" y="664"/>
                  </a:lnTo>
                  <a:lnTo>
                    <a:pt x="870" y="669"/>
                  </a:lnTo>
                  <a:lnTo>
                    <a:pt x="869" y="669"/>
                  </a:lnTo>
                  <a:lnTo>
                    <a:pt x="866" y="669"/>
                  </a:lnTo>
                  <a:lnTo>
                    <a:pt x="864" y="668"/>
                  </a:lnTo>
                  <a:lnTo>
                    <a:pt x="863" y="667"/>
                  </a:lnTo>
                  <a:lnTo>
                    <a:pt x="860" y="665"/>
                  </a:lnTo>
                  <a:lnTo>
                    <a:pt x="854" y="664"/>
                  </a:lnTo>
                  <a:lnTo>
                    <a:pt x="849" y="659"/>
                  </a:lnTo>
                  <a:lnTo>
                    <a:pt x="846" y="658"/>
                  </a:lnTo>
                  <a:lnTo>
                    <a:pt x="839" y="659"/>
                  </a:lnTo>
                  <a:lnTo>
                    <a:pt x="831" y="661"/>
                  </a:lnTo>
                  <a:lnTo>
                    <a:pt x="831" y="665"/>
                  </a:lnTo>
                  <a:lnTo>
                    <a:pt x="820" y="675"/>
                  </a:lnTo>
                  <a:lnTo>
                    <a:pt x="819" y="675"/>
                  </a:lnTo>
                  <a:lnTo>
                    <a:pt x="816" y="671"/>
                  </a:lnTo>
                  <a:lnTo>
                    <a:pt x="811" y="668"/>
                  </a:lnTo>
                  <a:lnTo>
                    <a:pt x="809" y="668"/>
                  </a:lnTo>
                  <a:lnTo>
                    <a:pt x="806" y="672"/>
                  </a:lnTo>
                  <a:lnTo>
                    <a:pt x="804" y="674"/>
                  </a:lnTo>
                  <a:lnTo>
                    <a:pt x="804" y="677"/>
                  </a:lnTo>
                  <a:lnTo>
                    <a:pt x="807" y="679"/>
                  </a:lnTo>
                  <a:lnTo>
                    <a:pt x="809" y="681"/>
                  </a:lnTo>
                  <a:lnTo>
                    <a:pt x="810" y="681"/>
                  </a:lnTo>
                  <a:lnTo>
                    <a:pt x="814" y="682"/>
                  </a:lnTo>
                  <a:lnTo>
                    <a:pt x="816" y="684"/>
                  </a:lnTo>
                  <a:lnTo>
                    <a:pt x="819" y="695"/>
                  </a:lnTo>
                  <a:lnTo>
                    <a:pt x="821" y="702"/>
                  </a:lnTo>
                  <a:lnTo>
                    <a:pt x="823" y="704"/>
                  </a:lnTo>
                  <a:lnTo>
                    <a:pt x="823" y="705"/>
                  </a:lnTo>
                  <a:lnTo>
                    <a:pt x="827" y="704"/>
                  </a:lnTo>
                  <a:lnTo>
                    <a:pt x="831" y="702"/>
                  </a:lnTo>
                  <a:lnTo>
                    <a:pt x="833" y="704"/>
                  </a:lnTo>
                  <a:lnTo>
                    <a:pt x="837" y="707"/>
                  </a:lnTo>
                  <a:lnTo>
                    <a:pt x="839" y="707"/>
                  </a:lnTo>
                  <a:lnTo>
                    <a:pt x="841" y="707"/>
                  </a:lnTo>
                  <a:lnTo>
                    <a:pt x="844" y="708"/>
                  </a:lnTo>
                  <a:lnTo>
                    <a:pt x="849" y="714"/>
                  </a:lnTo>
                  <a:lnTo>
                    <a:pt x="847" y="722"/>
                  </a:lnTo>
                  <a:lnTo>
                    <a:pt x="849" y="729"/>
                  </a:lnTo>
                  <a:lnTo>
                    <a:pt x="853" y="735"/>
                  </a:lnTo>
                  <a:lnTo>
                    <a:pt x="854" y="738"/>
                  </a:lnTo>
                  <a:lnTo>
                    <a:pt x="854" y="742"/>
                  </a:lnTo>
                  <a:lnTo>
                    <a:pt x="854" y="745"/>
                  </a:lnTo>
                  <a:lnTo>
                    <a:pt x="854" y="748"/>
                  </a:lnTo>
                  <a:lnTo>
                    <a:pt x="856" y="751"/>
                  </a:lnTo>
                  <a:lnTo>
                    <a:pt x="856" y="755"/>
                  </a:lnTo>
                  <a:lnTo>
                    <a:pt x="856" y="762"/>
                  </a:lnTo>
                  <a:lnTo>
                    <a:pt x="856" y="768"/>
                  </a:lnTo>
                  <a:lnTo>
                    <a:pt x="856" y="772"/>
                  </a:lnTo>
                  <a:lnTo>
                    <a:pt x="854" y="775"/>
                  </a:lnTo>
                  <a:lnTo>
                    <a:pt x="851" y="777"/>
                  </a:lnTo>
                  <a:lnTo>
                    <a:pt x="850" y="777"/>
                  </a:lnTo>
                  <a:lnTo>
                    <a:pt x="847" y="774"/>
                  </a:lnTo>
                  <a:lnTo>
                    <a:pt x="846" y="771"/>
                  </a:lnTo>
                  <a:lnTo>
                    <a:pt x="843" y="767"/>
                  </a:lnTo>
                  <a:lnTo>
                    <a:pt x="839" y="767"/>
                  </a:lnTo>
                  <a:lnTo>
                    <a:pt x="831" y="777"/>
                  </a:lnTo>
                  <a:lnTo>
                    <a:pt x="829" y="777"/>
                  </a:lnTo>
                  <a:lnTo>
                    <a:pt x="826" y="778"/>
                  </a:lnTo>
                  <a:lnTo>
                    <a:pt x="823" y="782"/>
                  </a:lnTo>
                  <a:lnTo>
                    <a:pt x="820" y="785"/>
                  </a:lnTo>
                  <a:lnTo>
                    <a:pt x="816" y="784"/>
                  </a:lnTo>
                  <a:lnTo>
                    <a:pt x="810" y="779"/>
                  </a:lnTo>
                  <a:lnTo>
                    <a:pt x="813" y="782"/>
                  </a:lnTo>
                  <a:lnTo>
                    <a:pt x="816" y="787"/>
                  </a:lnTo>
                  <a:lnTo>
                    <a:pt x="817" y="788"/>
                  </a:lnTo>
                  <a:lnTo>
                    <a:pt x="819" y="788"/>
                  </a:lnTo>
                  <a:lnTo>
                    <a:pt x="820" y="788"/>
                  </a:lnTo>
                  <a:lnTo>
                    <a:pt x="823" y="787"/>
                  </a:lnTo>
                  <a:lnTo>
                    <a:pt x="827" y="782"/>
                  </a:lnTo>
                  <a:lnTo>
                    <a:pt x="829" y="781"/>
                  </a:lnTo>
                  <a:lnTo>
                    <a:pt x="830" y="781"/>
                  </a:lnTo>
                  <a:lnTo>
                    <a:pt x="831" y="782"/>
                  </a:lnTo>
                  <a:lnTo>
                    <a:pt x="833" y="787"/>
                  </a:lnTo>
                  <a:lnTo>
                    <a:pt x="833" y="792"/>
                  </a:lnTo>
                  <a:lnTo>
                    <a:pt x="833" y="798"/>
                  </a:lnTo>
                  <a:lnTo>
                    <a:pt x="831" y="802"/>
                  </a:lnTo>
                  <a:lnTo>
                    <a:pt x="830" y="805"/>
                  </a:lnTo>
                  <a:lnTo>
                    <a:pt x="830" y="807"/>
                  </a:lnTo>
                  <a:lnTo>
                    <a:pt x="830" y="808"/>
                  </a:lnTo>
                  <a:lnTo>
                    <a:pt x="833" y="808"/>
                  </a:lnTo>
                  <a:lnTo>
                    <a:pt x="836" y="802"/>
                  </a:lnTo>
                  <a:lnTo>
                    <a:pt x="837" y="795"/>
                  </a:lnTo>
                  <a:lnTo>
                    <a:pt x="840" y="788"/>
                  </a:lnTo>
                  <a:lnTo>
                    <a:pt x="843" y="785"/>
                  </a:lnTo>
                  <a:lnTo>
                    <a:pt x="846" y="788"/>
                  </a:lnTo>
                  <a:lnTo>
                    <a:pt x="850" y="795"/>
                  </a:lnTo>
                  <a:lnTo>
                    <a:pt x="853" y="809"/>
                  </a:lnTo>
                  <a:lnTo>
                    <a:pt x="856" y="811"/>
                  </a:lnTo>
                  <a:lnTo>
                    <a:pt x="857" y="814"/>
                  </a:lnTo>
                  <a:lnTo>
                    <a:pt x="859" y="818"/>
                  </a:lnTo>
                  <a:lnTo>
                    <a:pt x="859" y="822"/>
                  </a:lnTo>
                  <a:lnTo>
                    <a:pt x="857" y="826"/>
                  </a:lnTo>
                  <a:lnTo>
                    <a:pt x="857" y="828"/>
                  </a:lnTo>
                  <a:lnTo>
                    <a:pt x="856" y="829"/>
                  </a:lnTo>
                  <a:lnTo>
                    <a:pt x="854" y="831"/>
                  </a:lnTo>
                  <a:lnTo>
                    <a:pt x="851" y="831"/>
                  </a:lnTo>
                  <a:lnTo>
                    <a:pt x="846" y="829"/>
                  </a:lnTo>
                  <a:lnTo>
                    <a:pt x="841" y="829"/>
                  </a:lnTo>
                  <a:lnTo>
                    <a:pt x="843" y="834"/>
                  </a:lnTo>
                  <a:lnTo>
                    <a:pt x="836" y="838"/>
                  </a:lnTo>
                  <a:lnTo>
                    <a:pt x="829" y="839"/>
                  </a:lnTo>
                  <a:lnTo>
                    <a:pt x="821" y="836"/>
                  </a:lnTo>
                  <a:lnTo>
                    <a:pt x="814" y="832"/>
                  </a:lnTo>
                  <a:lnTo>
                    <a:pt x="817" y="825"/>
                  </a:lnTo>
                  <a:lnTo>
                    <a:pt x="817" y="818"/>
                  </a:lnTo>
                  <a:lnTo>
                    <a:pt x="814" y="812"/>
                  </a:lnTo>
                  <a:lnTo>
                    <a:pt x="814" y="812"/>
                  </a:lnTo>
                  <a:lnTo>
                    <a:pt x="816" y="821"/>
                  </a:lnTo>
                  <a:lnTo>
                    <a:pt x="814" y="824"/>
                  </a:lnTo>
                  <a:lnTo>
                    <a:pt x="811" y="826"/>
                  </a:lnTo>
                  <a:lnTo>
                    <a:pt x="809" y="828"/>
                  </a:lnTo>
                  <a:lnTo>
                    <a:pt x="809" y="829"/>
                  </a:lnTo>
                  <a:lnTo>
                    <a:pt x="810" y="831"/>
                  </a:lnTo>
                  <a:lnTo>
                    <a:pt x="810" y="832"/>
                  </a:lnTo>
                  <a:lnTo>
                    <a:pt x="811" y="834"/>
                  </a:lnTo>
                  <a:lnTo>
                    <a:pt x="810" y="836"/>
                  </a:lnTo>
                  <a:lnTo>
                    <a:pt x="810" y="839"/>
                  </a:lnTo>
                  <a:lnTo>
                    <a:pt x="809" y="841"/>
                  </a:lnTo>
                  <a:lnTo>
                    <a:pt x="809" y="842"/>
                  </a:lnTo>
                  <a:lnTo>
                    <a:pt x="810" y="845"/>
                  </a:lnTo>
                  <a:lnTo>
                    <a:pt x="811" y="846"/>
                  </a:lnTo>
                  <a:lnTo>
                    <a:pt x="814" y="848"/>
                  </a:lnTo>
                  <a:lnTo>
                    <a:pt x="826" y="848"/>
                  </a:lnTo>
                  <a:lnTo>
                    <a:pt x="830" y="849"/>
                  </a:lnTo>
                  <a:lnTo>
                    <a:pt x="840" y="855"/>
                  </a:lnTo>
                  <a:lnTo>
                    <a:pt x="840" y="856"/>
                  </a:lnTo>
                  <a:lnTo>
                    <a:pt x="839" y="866"/>
                  </a:lnTo>
                  <a:lnTo>
                    <a:pt x="839" y="875"/>
                  </a:lnTo>
                  <a:lnTo>
                    <a:pt x="836" y="876"/>
                  </a:lnTo>
                  <a:lnTo>
                    <a:pt x="824" y="876"/>
                  </a:lnTo>
                  <a:lnTo>
                    <a:pt x="821" y="878"/>
                  </a:lnTo>
                  <a:lnTo>
                    <a:pt x="816" y="882"/>
                  </a:lnTo>
                  <a:lnTo>
                    <a:pt x="811" y="888"/>
                  </a:lnTo>
                  <a:lnTo>
                    <a:pt x="809" y="888"/>
                  </a:lnTo>
                  <a:lnTo>
                    <a:pt x="799" y="884"/>
                  </a:lnTo>
                  <a:lnTo>
                    <a:pt x="794" y="881"/>
                  </a:lnTo>
                  <a:lnTo>
                    <a:pt x="786" y="872"/>
                  </a:lnTo>
                  <a:lnTo>
                    <a:pt x="780" y="859"/>
                  </a:lnTo>
                  <a:lnTo>
                    <a:pt x="777" y="865"/>
                  </a:lnTo>
                  <a:lnTo>
                    <a:pt x="774" y="868"/>
                  </a:lnTo>
                  <a:lnTo>
                    <a:pt x="773" y="869"/>
                  </a:lnTo>
                  <a:lnTo>
                    <a:pt x="772" y="869"/>
                  </a:lnTo>
                  <a:lnTo>
                    <a:pt x="770" y="868"/>
                  </a:lnTo>
                  <a:lnTo>
                    <a:pt x="767" y="866"/>
                  </a:lnTo>
                  <a:lnTo>
                    <a:pt x="764" y="861"/>
                  </a:lnTo>
                  <a:lnTo>
                    <a:pt x="760" y="856"/>
                  </a:lnTo>
                  <a:lnTo>
                    <a:pt x="757" y="855"/>
                  </a:lnTo>
                  <a:lnTo>
                    <a:pt x="757" y="855"/>
                  </a:lnTo>
                  <a:lnTo>
                    <a:pt x="759" y="858"/>
                  </a:lnTo>
                  <a:lnTo>
                    <a:pt x="762" y="861"/>
                  </a:lnTo>
                  <a:lnTo>
                    <a:pt x="767" y="871"/>
                  </a:lnTo>
                  <a:lnTo>
                    <a:pt x="770" y="872"/>
                  </a:lnTo>
                  <a:lnTo>
                    <a:pt x="769" y="874"/>
                  </a:lnTo>
                  <a:lnTo>
                    <a:pt x="766" y="875"/>
                  </a:lnTo>
                  <a:lnTo>
                    <a:pt x="762" y="878"/>
                  </a:lnTo>
                  <a:lnTo>
                    <a:pt x="759" y="881"/>
                  </a:lnTo>
                  <a:lnTo>
                    <a:pt x="756" y="886"/>
                  </a:lnTo>
                  <a:lnTo>
                    <a:pt x="754" y="888"/>
                  </a:lnTo>
                  <a:lnTo>
                    <a:pt x="749" y="888"/>
                  </a:lnTo>
                  <a:lnTo>
                    <a:pt x="747" y="888"/>
                  </a:lnTo>
                  <a:lnTo>
                    <a:pt x="743" y="885"/>
                  </a:lnTo>
                  <a:lnTo>
                    <a:pt x="737" y="884"/>
                  </a:lnTo>
                  <a:lnTo>
                    <a:pt x="734" y="882"/>
                  </a:lnTo>
                  <a:lnTo>
                    <a:pt x="730" y="878"/>
                  </a:lnTo>
                  <a:lnTo>
                    <a:pt x="732" y="882"/>
                  </a:lnTo>
                  <a:lnTo>
                    <a:pt x="740" y="886"/>
                  </a:lnTo>
                  <a:lnTo>
                    <a:pt x="742" y="889"/>
                  </a:lnTo>
                  <a:lnTo>
                    <a:pt x="740" y="892"/>
                  </a:lnTo>
                  <a:lnTo>
                    <a:pt x="739" y="894"/>
                  </a:lnTo>
                  <a:lnTo>
                    <a:pt x="736" y="894"/>
                  </a:lnTo>
                  <a:lnTo>
                    <a:pt x="733" y="892"/>
                  </a:lnTo>
                  <a:lnTo>
                    <a:pt x="730" y="892"/>
                  </a:lnTo>
                  <a:lnTo>
                    <a:pt x="726" y="894"/>
                  </a:lnTo>
                  <a:lnTo>
                    <a:pt x="724" y="895"/>
                  </a:lnTo>
                  <a:lnTo>
                    <a:pt x="726" y="896"/>
                  </a:lnTo>
                  <a:lnTo>
                    <a:pt x="726" y="898"/>
                  </a:lnTo>
                  <a:lnTo>
                    <a:pt x="727" y="899"/>
                  </a:lnTo>
                  <a:lnTo>
                    <a:pt x="729" y="899"/>
                  </a:lnTo>
                  <a:lnTo>
                    <a:pt x="732" y="895"/>
                  </a:lnTo>
                  <a:lnTo>
                    <a:pt x="733" y="895"/>
                  </a:lnTo>
                  <a:lnTo>
                    <a:pt x="737" y="896"/>
                  </a:lnTo>
                  <a:lnTo>
                    <a:pt x="743" y="894"/>
                  </a:lnTo>
                  <a:lnTo>
                    <a:pt x="747" y="892"/>
                  </a:lnTo>
                  <a:lnTo>
                    <a:pt x="750" y="892"/>
                  </a:lnTo>
                  <a:lnTo>
                    <a:pt x="760" y="888"/>
                  </a:lnTo>
                  <a:lnTo>
                    <a:pt x="762" y="882"/>
                  </a:lnTo>
                  <a:lnTo>
                    <a:pt x="766" y="881"/>
                  </a:lnTo>
                  <a:lnTo>
                    <a:pt x="773" y="879"/>
                  </a:lnTo>
                  <a:lnTo>
                    <a:pt x="780" y="879"/>
                  </a:lnTo>
                  <a:lnTo>
                    <a:pt x="784" y="881"/>
                  </a:lnTo>
                  <a:lnTo>
                    <a:pt x="787" y="885"/>
                  </a:lnTo>
                  <a:lnTo>
                    <a:pt x="790" y="888"/>
                  </a:lnTo>
                  <a:lnTo>
                    <a:pt x="794" y="892"/>
                  </a:lnTo>
                  <a:lnTo>
                    <a:pt x="799" y="894"/>
                  </a:lnTo>
                  <a:lnTo>
                    <a:pt x="800" y="898"/>
                  </a:lnTo>
                  <a:lnTo>
                    <a:pt x="807" y="904"/>
                  </a:lnTo>
                  <a:lnTo>
                    <a:pt x="811" y="905"/>
                  </a:lnTo>
                  <a:lnTo>
                    <a:pt x="813" y="906"/>
                  </a:lnTo>
                  <a:lnTo>
                    <a:pt x="814" y="918"/>
                  </a:lnTo>
                  <a:lnTo>
                    <a:pt x="814" y="922"/>
                  </a:lnTo>
                  <a:lnTo>
                    <a:pt x="813" y="935"/>
                  </a:lnTo>
                  <a:lnTo>
                    <a:pt x="810" y="938"/>
                  </a:lnTo>
                  <a:lnTo>
                    <a:pt x="810" y="945"/>
                  </a:lnTo>
                  <a:lnTo>
                    <a:pt x="810" y="949"/>
                  </a:lnTo>
                  <a:lnTo>
                    <a:pt x="806" y="948"/>
                  </a:lnTo>
                  <a:lnTo>
                    <a:pt x="803" y="944"/>
                  </a:lnTo>
                  <a:lnTo>
                    <a:pt x="794" y="939"/>
                  </a:lnTo>
                  <a:lnTo>
                    <a:pt x="787" y="935"/>
                  </a:lnTo>
                  <a:lnTo>
                    <a:pt x="784" y="932"/>
                  </a:lnTo>
                  <a:lnTo>
                    <a:pt x="782" y="929"/>
                  </a:lnTo>
                  <a:lnTo>
                    <a:pt x="776" y="919"/>
                  </a:lnTo>
                  <a:lnTo>
                    <a:pt x="773" y="906"/>
                  </a:lnTo>
                  <a:lnTo>
                    <a:pt x="772" y="901"/>
                  </a:lnTo>
                  <a:lnTo>
                    <a:pt x="770" y="901"/>
                  </a:lnTo>
                  <a:lnTo>
                    <a:pt x="766" y="902"/>
                  </a:lnTo>
                  <a:lnTo>
                    <a:pt x="763" y="904"/>
                  </a:lnTo>
                  <a:lnTo>
                    <a:pt x="762" y="906"/>
                  </a:lnTo>
                  <a:lnTo>
                    <a:pt x="752" y="911"/>
                  </a:lnTo>
                  <a:lnTo>
                    <a:pt x="749" y="914"/>
                  </a:lnTo>
                  <a:lnTo>
                    <a:pt x="747" y="914"/>
                  </a:lnTo>
                  <a:lnTo>
                    <a:pt x="740" y="918"/>
                  </a:lnTo>
                  <a:lnTo>
                    <a:pt x="743" y="919"/>
                  </a:lnTo>
                  <a:lnTo>
                    <a:pt x="744" y="921"/>
                  </a:lnTo>
                  <a:lnTo>
                    <a:pt x="747" y="919"/>
                  </a:lnTo>
                  <a:lnTo>
                    <a:pt x="749" y="918"/>
                  </a:lnTo>
                  <a:lnTo>
                    <a:pt x="754" y="914"/>
                  </a:lnTo>
                  <a:lnTo>
                    <a:pt x="760" y="912"/>
                  </a:lnTo>
                  <a:lnTo>
                    <a:pt x="762" y="911"/>
                  </a:lnTo>
                  <a:lnTo>
                    <a:pt x="766" y="908"/>
                  </a:lnTo>
                  <a:lnTo>
                    <a:pt x="769" y="908"/>
                  </a:lnTo>
                  <a:lnTo>
                    <a:pt x="770" y="908"/>
                  </a:lnTo>
                  <a:lnTo>
                    <a:pt x="770" y="909"/>
                  </a:lnTo>
                  <a:lnTo>
                    <a:pt x="772" y="925"/>
                  </a:lnTo>
                  <a:lnTo>
                    <a:pt x="772" y="929"/>
                  </a:lnTo>
                  <a:lnTo>
                    <a:pt x="769" y="931"/>
                  </a:lnTo>
                  <a:lnTo>
                    <a:pt x="764" y="934"/>
                  </a:lnTo>
                  <a:lnTo>
                    <a:pt x="763" y="935"/>
                  </a:lnTo>
                  <a:lnTo>
                    <a:pt x="764" y="938"/>
                  </a:lnTo>
                  <a:lnTo>
                    <a:pt x="769" y="935"/>
                  </a:lnTo>
                  <a:lnTo>
                    <a:pt x="772" y="932"/>
                  </a:lnTo>
                  <a:lnTo>
                    <a:pt x="773" y="934"/>
                  </a:lnTo>
                  <a:lnTo>
                    <a:pt x="776" y="938"/>
                  </a:lnTo>
                  <a:lnTo>
                    <a:pt x="779" y="939"/>
                  </a:lnTo>
                  <a:lnTo>
                    <a:pt x="786" y="945"/>
                  </a:lnTo>
                  <a:lnTo>
                    <a:pt x="789" y="948"/>
                  </a:lnTo>
                  <a:lnTo>
                    <a:pt x="793" y="952"/>
                  </a:lnTo>
                  <a:lnTo>
                    <a:pt x="799" y="956"/>
                  </a:lnTo>
                  <a:lnTo>
                    <a:pt x="800" y="958"/>
                  </a:lnTo>
                  <a:lnTo>
                    <a:pt x="806" y="959"/>
                  </a:lnTo>
                  <a:lnTo>
                    <a:pt x="806" y="961"/>
                  </a:lnTo>
                  <a:lnTo>
                    <a:pt x="809" y="968"/>
                  </a:lnTo>
                  <a:lnTo>
                    <a:pt x="810" y="968"/>
                  </a:lnTo>
                  <a:lnTo>
                    <a:pt x="814" y="969"/>
                  </a:lnTo>
                  <a:lnTo>
                    <a:pt x="814" y="972"/>
                  </a:lnTo>
                  <a:lnTo>
                    <a:pt x="809" y="978"/>
                  </a:lnTo>
                  <a:lnTo>
                    <a:pt x="807" y="981"/>
                  </a:lnTo>
                  <a:lnTo>
                    <a:pt x="806" y="981"/>
                  </a:lnTo>
                  <a:lnTo>
                    <a:pt x="806" y="984"/>
                  </a:lnTo>
                  <a:lnTo>
                    <a:pt x="806" y="988"/>
                  </a:lnTo>
                  <a:lnTo>
                    <a:pt x="807" y="994"/>
                  </a:lnTo>
                  <a:lnTo>
                    <a:pt x="809" y="988"/>
                  </a:lnTo>
                  <a:lnTo>
                    <a:pt x="809" y="985"/>
                  </a:lnTo>
                  <a:lnTo>
                    <a:pt x="810" y="984"/>
                  </a:lnTo>
                  <a:lnTo>
                    <a:pt x="811" y="984"/>
                  </a:lnTo>
                  <a:lnTo>
                    <a:pt x="814" y="981"/>
                  </a:lnTo>
                  <a:lnTo>
                    <a:pt x="819" y="982"/>
                  </a:lnTo>
                  <a:lnTo>
                    <a:pt x="819" y="989"/>
                  </a:lnTo>
                  <a:lnTo>
                    <a:pt x="820" y="996"/>
                  </a:lnTo>
                  <a:lnTo>
                    <a:pt x="819" y="1002"/>
                  </a:lnTo>
                  <a:lnTo>
                    <a:pt x="820" y="1011"/>
                  </a:lnTo>
                  <a:lnTo>
                    <a:pt x="819" y="1014"/>
                  </a:lnTo>
                  <a:lnTo>
                    <a:pt x="820" y="1016"/>
                  </a:lnTo>
                  <a:lnTo>
                    <a:pt x="821" y="1026"/>
                  </a:lnTo>
                  <a:lnTo>
                    <a:pt x="821" y="1029"/>
                  </a:lnTo>
                  <a:lnTo>
                    <a:pt x="820" y="1032"/>
                  </a:lnTo>
                  <a:lnTo>
                    <a:pt x="814" y="1034"/>
                  </a:lnTo>
                  <a:lnTo>
                    <a:pt x="813" y="1032"/>
                  </a:lnTo>
                  <a:lnTo>
                    <a:pt x="809" y="1032"/>
                  </a:lnTo>
                  <a:lnTo>
                    <a:pt x="809" y="1029"/>
                  </a:lnTo>
                  <a:lnTo>
                    <a:pt x="807" y="1028"/>
                  </a:lnTo>
                  <a:lnTo>
                    <a:pt x="807" y="1025"/>
                  </a:lnTo>
                  <a:lnTo>
                    <a:pt x="807" y="1024"/>
                  </a:lnTo>
                  <a:lnTo>
                    <a:pt x="807" y="1014"/>
                  </a:lnTo>
                  <a:lnTo>
                    <a:pt x="806" y="1016"/>
                  </a:lnTo>
                  <a:lnTo>
                    <a:pt x="806" y="1018"/>
                  </a:lnTo>
                  <a:lnTo>
                    <a:pt x="806" y="1019"/>
                  </a:lnTo>
                  <a:lnTo>
                    <a:pt x="804" y="1031"/>
                  </a:lnTo>
                  <a:lnTo>
                    <a:pt x="803" y="1034"/>
                  </a:lnTo>
                  <a:lnTo>
                    <a:pt x="799" y="1034"/>
                  </a:lnTo>
                  <a:lnTo>
                    <a:pt x="794" y="1034"/>
                  </a:lnTo>
                  <a:lnTo>
                    <a:pt x="793" y="1034"/>
                  </a:lnTo>
                  <a:lnTo>
                    <a:pt x="786" y="1028"/>
                  </a:lnTo>
                  <a:lnTo>
                    <a:pt x="783" y="1024"/>
                  </a:lnTo>
                  <a:lnTo>
                    <a:pt x="780" y="1016"/>
                  </a:lnTo>
                  <a:lnTo>
                    <a:pt x="779" y="1011"/>
                  </a:lnTo>
                  <a:lnTo>
                    <a:pt x="777" y="1004"/>
                  </a:lnTo>
                  <a:lnTo>
                    <a:pt x="776" y="999"/>
                  </a:lnTo>
                  <a:lnTo>
                    <a:pt x="773" y="995"/>
                  </a:lnTo>
                  <a:lnTo>
                    <a:pt x="770" y="992"/>
                  </a:lnTo>
                  <a:lnTo>
                    <a:pt x="766" y="989"/>
                  </a:lnTo>
                  <a:lnTo>
                    <a:pt x="762" y="986"/>
                  </a:lnTo>
                  <a:lnTo>
                    <a:pt x="759" y="982"/>
                  </a:lnTo>
                  <a:lnTo>
                    <a:pt x="756" y="979"/>
                  </a:lnTo>
                  <a:lnTo>
                    <a:pt x="752" y="978"/>
                  </a:lnTo>
                  <a:lnTo>
                    <a:pt x="747" y="976"/>
                  </a:lnTo>
                  <a:lnTo>
                    <a:pt x="739" y="978"/>
                  </a:lnTo>
                  <a:lnTo>
                    <a:pt x="734" y="975"/>
                  </a:lnTo>
                  <a:lnTo>
                    <a:pt x="733" y="975"/>
                  </a:lnTo>
                  <a:lnTo>
                    <a:pt x="732" y="976"/>
                  </a:lnTo>
                  <a:lnTo>
                    <a:pt x="732" y="979"/>
                  </a:lnTo>
                  <a:lnTo>
                    <a:pt x="739" y="981"/>
                  </a:lnTo>
                  <a:lnTo>
                    <a:pt x="743" y="982"/>
                  </a:lnTo>
                  <a:lnTo>
                    <a:pt x="749" y="982"/>
                  </a:lnTo>
                  <a:lnTo>
                    <a:pt x="753" y="982"/>
                  </a:lnTo>
                  <a:lnTo>
                    <a:pt x="754" y="985"/>
                  </a:lnTo>
                  <a:lnTo>
                    <a:pt x="754" y="988"/>
                  </a:lnTo>
                  <a:lnTo>
                    <a:pt x="756" y="994"/>
                  </a:lnTo>
                  <a:lnTo>
                    <a:pt x="754" y="998"/>
                  </a:lnTo>
                  <a:lnTo>
                    <a:pt x="750" y="1002"/>
                  </a:lnTo>
                  <a:lnTo>
                    <a:pt x="747" y="1004"/>
                  </a:lnTo>
                  <a:lnTo>
                    <a:pt x="740" y="1008"/>
                  </a:lnTo>
                  <a:lnTo>
                    <a:pt x="739" y="1009"/>
                  </a:lnTo>
                  <a:lnTo>
                    <a:pt x="733" y="1009"/>
                  </a:lnTo>
                  <a:lnTo>
                    <a:pt x="729" y="1009"/>
                  </a:lnTo>
                  <a:lnTo>
                    <a:pt x="723" y="1006"/>
                  </a:lnTo>
                  <a:lnTo>
                    <a:pt x="720" y="1006"/>
                  </a:lnTo>
                  <a:lnTo>
                    <a:pt x="713" y="1006"/>
                  </a:lnTo>
                  <a:lnTo>
                    <a:pt x="712" y="1006"/>
                  </a:lnTo>
                  <a:lnTo>
                    <a:pt x="713" y="1009"/>
                  </a:lnTo>
                  <a:lnTo>
                    <a:pt x="716" y="1009"/>
                  </a:lnTo>
                  <a:lnTo>
                    <a:pt x="719" y="1012"/>
                  </a:lnTo>
                  <a:lnTo>
                    <a:pt x="719" y="1014"/>
                  </a:lnTo>
                  <a:lnTo>
                    <a:pt x="717" y="1018"/>
                  </a:lnTo>
                  <a:lnTo>
                    <a:pt x="717" y="1021"/>
                  </a:lnTo>
                  <a:lnTo>
                    <a:pt x="716" y="1024"/>
                  </a:lnTo>
                  <a:lnTo>
                    <a:pt x="712" y="1026"/>
                  </a:lnTo>
                  <a:lnTo>
                    <a:pt x="710" y="1028"/>
                  </a:lnTo>
                  <a:lnTo>
                    <a:pt x="702" y="1032"/>
                  </a:lnTo>
                  <a:lnTo>
                    <a:pt x="700" y="1034"/>
                  </a:lnTo>
                  <a:lnTo>
                    <a:pt x="703" y="1034"/>
                  </a:lnTo>
                  <a:lnTo>
                    <a:pt x="707" y="1032"/>
                  </a:lnTo>
                  <a:lnTo>
                    <a:pt x="709" y="1032"/>
                  </a:lnTo>
                  <a:lnTo>
                    <a:pt x="717" y="1035"/>
                  </a:lnTo>
                  <a:lnTo>
                    <a:pt x="724" y="1035"/>
                  </a:lnTo>
                  <a:lnTo>
                    <a:pt x="739" y="1032"/>
                  </a:lnTo>
                  <a:lnTo>
                    <a:pt x="739" y="1032"/>
                  </a:lnTo>
                  <a:lnTo>
                    <a:pt x="740" y="1032"/>
                  </a:lnTo>
                  <a:lnTo>
                    <a:pt x="742" y="1034"/>
                  </a:lnTo>
                  <a:lnTo>
                    <a:pt x="742" y="1035"/>
                  </a:lnTo>
                  <a:lnTo>
                    <a:pt x="740" y="1038"/>
                  </a:lnTo>
                  <a:lnTo>
                    <a:pt x="737" y="1039"/>
                  </a:lnTo>
                  <a:lnTo>
                    <a:pt x="733" y="1041"/>
                  </a:lnTo>
                  <a:lnTo>
                    <a:pt x="730" y="1042"/>
                  </a:lnTo>
                  <a:lnTo>
                    <a:pt x="729" y="1043"/>
                  </a:lnTo>
                  <a:lnTo>
                    <a:pt x="724" y="1048"/>
                  </a:lnTo>
                  <a:lnTo>
                    <a:pt x="724" y="1053"/>
                  </a:lnTo>
                  <a:lnTo>
                    <a:pt x="727" y="1055"/>
                  </a:lnTo>
                  <a:lnTo>
                    <a:pt x="730" y="1052"/>
                  </a:lnTo>
                  <a:lnTo>
                    <a:pt x="732" y="1048"/>
                  </a:lnTo>
                  <a:lnTo>
                    <a:pt x="733" y="1045"/>
                  </a:lnTo>
                  <a:lnTo>
                    <a:pt x="737" y="1043"/>
                  </a:lnTo>
                  <a:lnTo>
                    <a:pt x="743" y="1043"/>
                  </a:lnTo>
                  <a:lnTo>
                    <a:pt x="747" y="1042"/>
                  </a:lnTo>
                  <a:lnTo>
                    <a:pt x="756" y="1038"/>
                  </a:lnTo>
                  <a:lnTo>
                    <a:pt x="757" y="1038"/>
                  </a:lnTo>
                  <a:lnTo>
                    <a:pt x="770" y="1041"/>
                  </a:lnTo>
                  <a:lnTo>
                    <a:pt x="782" y="1046"/>
                  </a:lnTo>
                  <a:lnTo>
                    <a:pt x="787" y="1048"/>
                  </a:lnTo>
                  <a:lnTo>
                    <a:pt x="796" y="1049"/>
                  </a:lnTo>
                  <a:lnTo>
                    <a:pt x="810" y="1048"/>
                  </a:lnTo>
                  <a:lnTo>
                    <a:pt x="811" y="1049"/>
                  </a:lnTo>
                  <a:lnTo>
                    <a:pt x="810" y="1051"/>
                  </a:lnTo>
                  <a:lnTo>
                    <a:pt x="810" y="1052"/>
                  </a:lnTo>
                  <a:lnTo>
                    <a:pt x="807" y="1055"/>
                  </a:lnTo>
                  <a:lnTo>
                    <a:pt x="804" y="1056"/>
                  </a:lnTo>
                  <a:lnTo>
                    <a:pt x="803" y="1056"/>
                  </a:lnTo>
                  <a:lnTo>
                    <a:pt x="801" y="1058"/>
                  </a:lnTo>
                  <a:lnTo>
                    <a:pt x="797" y="1059"/>
                  </a:lnTo>
                  <a:lnTo>
                    <a:pt x="797" y="1059"/>
                  </a:lnTo>
                  <a:lnTo>
                    <a:pt x="797" y="1063"/>
                  </a:lnTo>
                  <a:lnTo>
                    <a:pt x="797" y="1063"/>
                  </a:lnTo>
                  <a:lnTo>
                    <a:pt x="794" y="1063"/>
                  </a:lnTo>
                  <a:lnTo>
                    <a:pt x="789" y="1066"/>
                  </a:lnTo>
                  <a:lnTo>
                    <a:pt x="784" y="1066"/>
                  </a:lnTo>
                  <a:lnTo>
                    <a:pt x="784" y="1066"/>
                  </a:lnTo>
                  <a:lnTo>
                    <a:pt x="784" y="1068"/>
                  </a:lnTo>
                  <a:lnTo>
                    <a:pt x="786" y="1069"/>
                  </a:lnTo>
                  <a:lnTo>
                    <a:pt x="787" y="1072"/>
                  </a:lnTo>
                  <a:lnTo>
                    <a:pt x="786" y="1073"/>
                  </a:lnTo>
                  <a:lnTo>
                    <a:pt x="784" y="1075"/>
                  </a:lnTo>
                  <a:lnTo>
                    <a:pt x="783" y="1075"/>
                  </a:lnTo>
                  <a:lnTo>
                    <a:pt x="779" y="1073"/>
                  </a:lnTo>
                  <a:lnTo>
                    <a:pt x="777" y="1073"/>
                  </a:lnTo>
                  <a:lnTo>
                    <a:pt x="779" y="1075"/>
                  </a:lnTo>
                  <a:lnTo>
                    <a:pt x="779" y="1076"/>
                  </a:lnTo>
                  <a:lnTo>
                    <a:pt x="779" y="1078"/>
                  </a:lnTo>
                  <a:lnTo>
                    <a:pt x="777" y="1081"/>
                  </a:lnTo>
                  <a:lnTo>
                    <a:pt x="774" y="1082"/>
                  </a:lnTo>
                  <a:lnTo>
                    <a:pt x="770" y="1086"/>
                  </a:lnTo>
                  <a:lnTo>
                    <a:pt x="769" y="1086"/>
                  </a:lnTo>
                  <a:lnTo>
                    <a:pt x="764" y="1088"/>
                  </a:lnTo>
                  <a:lnTo>
                    <a:pt x="763" y="1088"/>
                  </a:lnTo>
                  <a:lnTo>
                    <a:pt x="764" y="1092"/>
                  </a:lnTo>
                  <a:lnTo>
                    <a:pt x="764" y="1092"/>
                  </a:lnTo>
                  <a:lnTo>
                    <a:pt x="762" y="1096"/>
                  </a:lnTo>
                  <a:lnTo>
                    <a:pt x="757" y="1098"/>
                  </a:lnTo>
                  <a:lnTo>
                    <a:pt x="757" y="1099"/>
                  </a:lnTo>
                  <a:lnTo>
                    <a:pt x="756" y="1102"/>
                  </a:lnTo>
                  <a:lnTo>
                    <a:pt x="756" y="1103"/>
                  </a:lnTo>
                  <a:lnTo>
                    <a:pt x="754" y="1105"/>
                  </a:lnTo>
                  <a:lnTo>
                    <a:pt x="750" y="1108"/>
                  </a:lnTo>
                  <a:lnTo>
                    <a:pt x="747" y="1109"/>
                  </a:lnTo>
                  <a:lnTo>
                    <a:pt x="746" y="1111"/>
                  </a:lnTo>
                  <a:lnTo>
                    <a:pt x="744" y="1113"/>
                  </a:lnTo>
                  <a:lnTo>
                    <a:pt x="742" y="1115"/>
                  </a:lnTo>
                  <a:lnTo>
                    <a:pt x="740" y="1115"/>
                  </a:lnTo>
                  <a:lnTo>
                    <a:pt x="737" y="1115"/>
                  </a:lnTo>
                  <a:lnTo>
                    <a:pt x="733" y="1118"/>
                  </a:lnTo>
                  <a:lnTo>
                    <a:pt x="730" y="1118"/>
                  </a:lnTo>
                  <a:lnTo>
                    <a:pt x="720" y="1122"/>
                  </a:lnTo>
                  <a:lnTo>
                    <a:pt x="716" y="1123"/>
                  </a:lnTo>
                  <a:lnTo>
                    <a:pt x="712" y="1125"/>
                  </a:lnTo>
                  <a:lnTo>
                    <a:pt x="704" y="1128"/>
                  </a:lnTo>
                  <a:lnTo>
                    <a:pt x="700" y="1129"/>
                  </a:lnTo>
                  <a:lnTo>
                    <a:pt x="697" y="1131"/>
                  </a:lnTo>
                  <a:lnTo>
                    <a:pt x="694" y="1131"/>
                  </a:lnTo>
                  <a:lnTo>
                    <a:pt x="690" y="1131"/>
                  </a:lnTo>
                  <a:lnTo>
                    <a:pt x="687" y="1131"/>
                  </a:lnTo>
                  <a:lnTo>
                    <a:pt x="686" y="1131"/>
                  </a:lnTo>
                  <a:lnTo>
                    <a:pt x="685" y="1132"/>
                  </a:lnTo>
                  <a:lnTo>
                    <a:pt x="683" y="1135"/>
                  </a:lnTo>
                  <a:lnTo>
                    <a:pt x="680" y="1135"/>
                  </a:lnTo>
                  <a:lnTo>
                    <a:pt x="675" y="1133"/>
                  </a:lnTo>
                  <a:lnTo>
                    <a:pt x="675" y="1133"/>
                  </a:lnTo>
                  <a:lnTo>
                    <a:pt x="676" y="1136"/>
                  </a:lnTo>
                  <a:lnTo>
                    <a:pt x="676" y="1139"/>
                  </a:lnTo>
                  <a:lnTo>
                    <a:pt x="672" y="1141"/>
                  </a:lnTo>
                  <a:lnTo>
                    <a:pt x="670" y="1141"/>
                  </a:lnTo>
                  <a:lnTo>
                    <a:pt x="667" y="1141"/>
                  </a:lnTo>
                  <a:lnTo>
                    <a:pt x="663" y="1138"/>
                  </a:lnTo>
                  <a:lnTo>
                    <a:pt x="657" y="1133"/>
                  </a:lnTo>
                  <a:lnTo>
                    <a:pt x="652" y="1128"/>
                  </a:lnTo>
                  <a:lnTo>
                    <a:pt x="649" y="1125"/>
                  </a:lnTo>
                  <a:lnTo>
                    <a:pt x="649" y="1126"/>
                  </a:lnTo>
                  <a:lnTo>
                    <a:pt x="650" y="1129"/>
                  </a:lnTo>
                  <a:lnTo>
                    <a:pt x="650" y="1131"/>
                  </a:lnTo>
                  <a:lnTo>
                    <a:pt x="652" y="1132"/>
                  </a:lnTo>
                  <a:lnTo>
                    <a:pt x="650" y="1133"/>
                  </a:lnTo>
                  <a:lnTo>
                    <a:pt x="649" y="1133"/>
                  </a:lnTo>
                  <a:lnTo>
                    <a:pt x="649" y="1133"/>
                  </a:lnTo>
                  <a:lnTo>
                    <a:pt x="647" y="1135"/>
                  </a:lnTo>
                  <a:lnTo>
                    <a:pt x="650" y="1138"/>
                  </a:lnTo>
                  <a:lnTo>
                    <a:pt x="652" y="1141"/>
                  </a:lnTo>
                  <a:lnTo>
                    <a:pt x="652" y="1143"/>
                  </a:lnTo>
                  <a:lnTo>
                    <a:pt x="649" y="1146"/>
                  </a:lnTo>
                  <a:lnTo>
                    <a:pt x="647" y="1149"/>
                  </a:lnTo>
                  <a:lnTo>
                    <a:pt x="647" y="1149"/>
                  </a:lnTo>
                  <a:lnTo>
                    <a:pt x="639" y="1156"/>
                  </a:lnTo>
                  <a:lnTo>
                    <a:pt x="637" y="1158"/>
                  </a:lnTo>
                  <a:lnTo>
                    <a:pt x="636" y="1158"/>
                  </a:lnTo>
                  <a:lnTo>
                    <a:pt x="636" y="1159"/>
                  </a:lnTo>
                  <a:lnTo>
                    <a:pt x="633" y="1165"/>
                  </a:lnTo>
                  <a:lnTo>
                    <a:pt x="632" y="1168"/>
                  </a:lnTo>
                  <a:lnTo>
                    <a:pt x="630" y="1169"/>
                  </a:lnTo>
                  <a:lnTo>
                    <a:pt x="630" y="1171"/>
                  </a:lnTo>
                  <a:lnTo>
                    <a:pt x="630" y="1171"/>
                  </a:lnTo>
                  <a:lnTo>
                    <a:pt x="630" y="1172"/>
                  </a:lnTo>
                  <a:lnTo>
                    <a:pt x="629" y="1175"/>
                  </a:lnTo>
                  <a:lnTo>
                    <a:pt x="627" y="1178"/>
                  </a:lnTo>
                  <a:lnTo>
                    <a:pt x="623" y="1188"/>
                  </a:lnTo>
                  <a:lnTo>
                    <a:pt x="620" y="1196"/>
                  </a:lnTo>
                  <a:lnTo>
                    <a:pt x="619" y="1199"/>
                  </a:lnTo>
                  <a:lnTo>
                    <a:pt x="617" y="1201"/>
                  </a:lnTo>
                  <a:lnTo>
                    <a:pt x="617" y="1201"/>
                  </a:lnTo>
                  <a:lnTo>
                    <a:pt x="615" y="1201"/>
                  </a:lnTo>
                  <a:lnTo>
                    <a:pt x="615" y="1202"/>
                  </a:lnTo>
                  <a:lnTo>
                    <a:pt x="613" y="1205"/>
                  </a:lnTo>
                  <a:lnTo>
                    <a:pt x="613" y="1206"/>
                  </a:lnTo>
                  <a:lnTo>
                    <a:pt x="612" y="1209"/>
                  </a:lnTo>
                  <a:lnTo>
                    <a:pt x="605" y="1215"/>
                  </a:lnTo>
                  <a:lnTo>
                    <a:pt x="603" y="1216"/>
                  </a:lnTo>
                  <a:lnTo>
                    <a:pt x="602" y="1215"/>
                  </a:lnTo>
                  <a:lnTo>
                    <a:pt x="599" y="1215"/>
                  </a:lnTo>
                  <a:lnTo>
                    <a:pt x="595" y="1212"/>
                  </a:lnTo>
                  <a:lnTo>
                    <a:pt x="595" y="1211"/>
                  </a:lnTo>
                  <a:lnTo>
                    <a:pt x="592" y="1208"/>
                  </a:lnTo>
                  <a:lnTo>
                    <a:pt x="592" y="1209"/>
                  </a:lnTo>
                  <a:lnTo>
                    <a:pt x="592" y="1211"/>
                  </a:lnTo>
                  <a:lnTo>
                    <a:pt x="593" y="1212"/>
                  </a:lnTo>
                  <a:lnTo>
                    <a:pt x="593" y="1213"/>
                  </a:lnTo>
                  <a:lnTo>
                    <a:pt x="596" y="1221"/>
                  </a:lnTo>
                  <a:lnTo>
                    <a:pt x="595" y="1222"/>
                  </a:lnTo>
                  <a:lnTo>
                    <a:pt x="593" y="1223"/>
                  </a:lnTo>
                  <a:lnTo>
                    <a:pt x="589" y="1226"/>
                  </a:lnTo>
                  <a:lnTo>
                    <a:pt x="585" y="1231"/>
                  </a:lnTo>
                  <a:lnTo>
                    <a:pt x="583" y="1232"/>
                  </a:lnTo>
                  <a:lnTo>
                    <a:pt x="583" y="1229"/>
                  </a:lnTo>
                  <a:lnTo>
                    <a:pt x="583" y="1228"/>
                  </a:lnTo>
                  <a:lnTo>
                    <a:pt x="582" y="1225"/>
                  </a:lnTo>
                  <a:lnTo>
                    <a:pt x="582" y="1226"/>
                  </a:lnTo>
                  <a:lnTo>
                    <a:pt x="582" y="1228"/>
                  </a:lnTo>
                  <a:lnTo>
                    <a:pt x="579" y="1233"/>
                  </a:lnTo>
                  <a:lnTo>
                    <a:pt x="579" y="1233"/>
                  </a:lnTo>
                  <a:lnTo>
                    <a:pt x="579" y="1233"/>
                  </a:lnTo>
                  <a:lnTo>
                    <a:pt x="576" y="1235"/>
                  </a:lnTo>
                  <a:lnTo>
                    <a:pt x="575" y="1235"/>
                  </a:lnTo>
                  <a:lnTo>
                    <a:pt x="573" y="1232"/>
                  </a:lnTo>
                  <a:lnTo>
                    <a:pt x="573" y="1231"/>
                  </a:lnTo>
                  <a:lnTo>
                    <a:pt x="570" y="1233"/>
                  </a:lnTo>
                  <a:lnTo>
                    <a:pt x="569" y="1233"/>
                  </a:lnTo>
                  <a:lnTo>
                    <a:pt x="569" y="1236"/>
                  </a:lnTo>
                  <a:lnTo>
                    <a:pt x="568" y="1239"/>
                  </a:lnTo>
                  <a:lnTo>
                    <a:pt x="566" y="1241"/>
                  </a:lnTo>
                  <a:lnTo>
                    <a:pt x="563" y="1241"/>
                  </a:lnTo>
                  <a:lnTo>
                    <a:pt x="562" y="1242"/>
                  </a:lnTo>
                  <a:lnTo>
                    <a:pt x="559" y="1241"/>
                  </a:lnTo>
                  <a:lnTo>
                    <a:pt x="558" y="1238"/>
                  </a:lnTo>
                  <a:lnTo>
                    <a:pt x="560" y="1233"/>
                  </a:lnTo>
                  <a:lnTo>
                    <a:pt x="560" y="1232"/>
                  </a:lnTo>
                  <a:lnTo>
                    <a:pt x="560" y="1229"/>
                  </a:lnTo>
                  <a:lnTo>
                    <a:pt x="562" y="1226"/>
                  </a:lnTo>
                  <a:lnTo>
                    <a:pt x="566" y="1218"/>
                  </a:lnTo>
                  <a:lnTo>
                    <a:pt x="569" y="1213"/>
                  </a:lnTo>
                  <a:lnTo>
                    <a:pt x="569" y="1213"/>
                  </a:lnTo>
                  <a:lnTo>
                    <a:pt x="565" y="1212"/>
                  </a:lnTo>
                  <a:lnTo>
                    <a:pt x="560" y="1211"/>
                  </a:lnTo>
                  <a:lnTo>
                    <a:pt x="558" y="1211"/>
                  </a:lnTo>
                  <a:lnTo>
                    <a:pt x="555" y="1211"/>
                  </a:lnTo>
                  <a:lnTo>
                    <a:pt x="558" y="1213"/>
                  </a:lnTo>
                  <a:lnTo>
                    <a:pt x="562" y="1215"/>
                  </a:lnTo>
                  <a:lnTo>
                    <a:pt x="560" y="1218"/>
                  </a:lnTo>
                  <a:lnTo>
                    <a:pt x="559" y="1221"/>
                  </a:lnTo>
                  <a:lnTo>
                    <a:pt x="556" y="1226"/>
                  </a:lnTo>
                  <a:lnTo>
                    <a:pt x="556" y="1229"/>
                  </a:lnTo>
                  <a:lnTo>
                    <a:pt x="552" y="1226"/>
                  </a:lnTo>
                  <a:lnTo>
                    <a:pt x="549" y="1225"/>
                  </a:lnTo>
                  <a:lnTo>
                    <a:pt x="550" y="1229"/>
                  </a:lnTo>
                  <a:lnTo>
                    <a:pt x="555" y="1232"/>
                  </a:lnTo>
                  <a:lnTo>
                    <a:pt x="555" y="1233"/>
                  </a:lnTo>
                  <a:lnTo>
                    <a:pt x="555" y="1238"/>
                  </a:lnTo>
                  <a:lnTo>
                    <a:pt x="548" y="1241"/>
                  </a:lnTo>
                  <a:lnTo>
                    <a:pt x="540" y="1241"/>
                  </a:lnTo>
                  <a:lnTo>
                    <a:pt x="535" y="1242"/>
                  </a:lnTo>
                  <a:lnTo>
                    <a:pt x="526" y="1243"/>
                  </a:lnTo>
                  <a:lnTo>
                    <a:pt x="523" y="1243"/>
                  </a:lnTo>
                  <a:lnTo>
                    <a:pt x="523" y="1245"/>
                  </a:lnTo>
                  <a:lnTo>
                    <a:pt x="532" y="1250"/>
                  </a:lnTo>
                  <a:lnTo>
                    <a:pt x="532" y="1252"/>
                  </a:lnTo>
                  <a:lnTo>
                    <a:pt x="532" y="1253"/>
                  </a:lnTo>
                  <a:lnTo>
                    <a:pt x="529" y="1255"/>
                  </a:lnTo>
                  <a:lnTo>
                    <a:pt x="526" y="1259"/>
                  </a:lnTo>
                  <a:lnTo>
                    <a:pt x="525" y="1260"/>
                  </a:lnTo>
                  <a:lnTo>
                    <a:pt x="522" y="1262"/>
                  </a:lnTo>
                  <a:lnTo>
                    <a:pt x="515" y="1260"/>
                  </a:lnTo>
                  <a:lnTo>
                    <a:pt x="512" y="1260"/>
                  </a:lnTo>
                  <a:lnTo>
                    <a:pt x="509" y="1260"/>
                  </a:lnTo>
                  <a:lnTo>
                    <a:pt x="509" y="1263"/>
                  </a:lnTo>
                  <a:lnTo>
                    <a:pt x="509" y="1265"/>
                  </a:lnTo>
                  <a:lnTo>
                    <a:pt x="510" y="1269"/>
                  </a:lnTo>
                  <a:lnTo>
                    <a:pt x="512" y="1269"/>
                  </a:lnTo>
                  <a:lnTo>
                    <a:pt x="515" y="1268"/>
                  </a:lnTo>
                  <a:lnTo>
                    <a:pt x="518" y="1270"/>
                  </a:lnTo>
                  <a:lnTo>
                    <a:pt x="519" y="1276"/>
                  </a:lnTo>
                  <a:lnTo>
                    <a:pt x="522" y="1279"/>
                  </a:lnTo>
                  <a:lnTo>
                    <a:pt x="522" y="1282"/>
                  </a:lnTo>
                  <a:lnTo>
                    <a:pt x="523" y="1283"/>
                  </a:lnTo>
                  <a:lnTo>
                    <a:pt x="522" y="1286"/>
                  </a:lnTo>
                  <a:lnTo>
                    <a:pt x="518" y="1289"/>
                  </a:lnTo>
                  <a:lnTo>
                    <a:pt x="515" y="1289"/>
                  </a:lnTo>
                  <a:lnTo>
                    <a:pt x="515" y="1292"/>
                  </a:lnTo>
                  <a:lnTo>
                    <a:pt x="513" y="1293"/>
                  </a:lnTo>
                  <a:lnTo>
                    <a:pt x="510" y="1293"/>
                  </a:lnTo>
                  <a:lnTo>
                    <a:pt x="509" y="1292"/>
                  </a:lnTo>
                  <a:lnTo>
                    <a:pt x="508" y="1290"/>
                  </a:lnTo>
                  <a:lnTo>
                    <a:pt x="501" y="1290"/>
                  </a:lnTo>
                  <a:lnTo>
                    <a:pt x="508" y="1295"/>
                  </a:lnTo>
                  <a:lnTo>
                    <a:pt x="509" y="1298"/>
                  </a:lnTo>
                  <a:lnTo>
                    <a:pt x="510" y="1296"/>
                  </a:lnTo>
                  <a:lnTo>
                    <a:pt x="512" y="1296"/>
                  </a:lnTo>
                  <a:lnTo>
                    <a:pt x="516" y="1296"/>
                  </a:lnTo>
                  <a:lnTo>
                    <a:pt x="515" y="1305"/>
                  </a:lnTo>
                  <a:lnTo>
                    <a:pt x="516" y="1310"/>
                  </a:lnTo>
                  <a:lnTo>
                    <a:pt x="518" y="1312"/>
                  </a:lnTo>
                  <a:lnTo>
                    <a:pt x="513" y="1315"/>
                  </a:lnTo>
                  <a:lnTo>
                    <a:pt x="513" y="1319"/>
                  </a:lnTo>
                  <a:lnTo>
                    <a:pt x="512" y="1319"/>
                  </a:lnTo>
                  <a:lnTo>
                    <a:pt x="509" y="1319"/>
                  </a:lnTo>
                  <a:lnTo>
                    <a:pt x="509" y="1323"/>
                  </a:lnTo>
                  <a:lnTo>
                    <a:pt x="508" y="1325"/>
                  </a:lnTo>
                  <a:lnTo>
                    <a:pt x="508" y="1326"/>
                  </a:lnTo>
                  <a:lnTo>
                    <a:pt x="508" y="1328"/>
                  </a:lnTo>
                  <a:lnTo>
                    <a:pt x="506" y="1330"/>
                  </a:lnTo>
                  <a:lnTo>
                    <a:pt x="505" y="1333"/>
                  </a:lnTo>
                  <a:lnTo>
                    <a:pt x="503" y="1335"/>
                  </a:lnTo>
                  <a:lnTo>
                    <a:pt x="502" y="1335"/>
                  </a:lnTo>
                  <a:lnTo>
                    <a:pt x="499" y="1335"/>
                  </a:lnTo>
                  <a:lnTo>
                    <a:pt x="496" y="1335"/>
                  </a:lnTo>
                  <a:lnTo>
                    <a:pt x="493" y="1332"/>
                  </a:lnTo>
                  <a:lnTo>
                    <a:pt x="492" y="1330"/>
                  </a:lnTo>
                  <a:lnTo>
                    <a:pt x="491" y="1330"/>
                  </a:lnTo>
                  <a:lnTo>
                    <a:pt x="492" y="1332"/>
                  </a:lnTo>
                  <a:lnTo>
                    <a:pt x="492" y="1333"/>
                  </a:lnTo>
                  <a:lnTo>
                    <a:pt x="495" y="1336"/>
                  </a:lnTo>
                  <a:lnTo>
                    <a:pt x="499" y="1338"/>
                  </a:lnTo>
                  <a:lnTo>
                    <a:pt x="499" y="1340"/>
                  </a:lnTo>
                  <a:lnTo>
                    <a:pt x="498" y="1340"/>
                  </a:lnTo>
                  <a:lnTo>
                    <a:pt x="495" y="1346"/>
                  </a:lnTo>
                  <a:lnTo>
                    <a:pt x="495" y="1346"/>
                  </a:lnTo>
                  <a:lnTo>
                    <a:pt x="493" y="1348"/>
                  </a:lnTo>
                  <a:lnTo>
                    <a:pt x="489" y="1348"/>
                  </a:lnTo>
                  <a:lnTo>
                    <a:pt x="488" y="1348"/>
                  </a:lnTo>
                  <a:lnTo>
                    <a:pt x="482" y="1348"/>
                  </a:lnTo>
                  <a:lnTo>
                    <a:pt x="481" y="1348"/>
                  </a:lnTo>
                  <a:lnTo>
                    <a:pt x="479" y="1348"/>
                  </a:lnTo>
                  <a:lnTo>
                    <a:pt x="481" y="1349"/>
                  </a:lnTo>
                  <a:lnTo>
                    <a:pt x="483" y="1350"/>
                  </a:lnTo>
                  <a:lnTo>
                    <a:pt x="486" y="1352"/>
                  </a:lnTo>
                  <a:lnTo>
                    <a:pt x="492" y="1352"/>
                  </a:lnTo>
                  <a:lnTo>
                    <a:pt x="491" y="1355"/>
                  </a:lnTo>
                  <a:lnTo>
                    <a:pt x="491" y="1356"/>
                  </a:lnTo>
                  <a:lnTo>
                    <a:pt x="491" y="1359"/>
                  </a:lnTo>
                  <a:lnTo>
                    <a:pt x="491" y="1360"/>
                  </a:lnTo>
                  <a:lnTo>
                    <a:pt x="489" y="1362"/>
                  </a:lnTo>
                  <a:lnTo>
                    <a:pt x="489" y="1366"/>
                  </a:lnTo>
                  <a:lnTo>
                    <a:pt x="491" y="1370"/>
                  </a:lnTo>
                  <a:lnTo>
                    <a:pt x="492" y="1372"/>
                  </a:lnTo>
                  <a:lnTo>
                    <a:pt x="492" y="1373"/>
                  </a:lnTo>
                  <a:lnTo>
                    <a:pt x="492" y="1376"/>
                  </a:lnTo>
                  <a:lnTo>
                    <a:pt x="489" y="1380"/>
                  </a:lnTo>
                  <a:lnTo>
                    <a:pt x="488" y="1379"/>
                  </a:lnTo>
                  <a:lnTo>
                    <a:pt x="485" y="1380"/>
                  </a:lnTo>
                  <a:lnTo>
                    <a:pt x="485" y="1382"/>
                  </a:lnTo>
                  <a:lnTo>
                    <a:pt x="489" y="1383"/>
                  </a:lnTo>
                  <a:lnTo>
                    <a:pt x="488" y="1385"/>
                  </a:lnTo>
                  <a:lnTo>
                    <a:pt x="488" y="1388"/>
                  </a:lnTo>
                  <a:lnTo>
                    <a:pt x="486" y="1393"/>
                  </a:lnTo>
                  <a:lnTo>
                    <a:pt x="483" y="1403"/>
                  </a:lnTo>
                  <a:lnTo>
                    <a:pt x="482" y="1413"/>
                  </a:lnTo>
                  <a:lnTo>
                    <a:pt x="478" y="1422"/>
                  </a:lnTo>
                  <a:lnTo>
                    <a:pt x="475" y="1422"/>
                  </a:lnTo>
                  <a:lnTo>
                    <a:pt x="475" y="1422"/>
                  </a:lnTo>
                  <a:lnTo>
                    <a:pt x="472" y="1422"/>
                  </a:lnTo>
                  <a:lnTo>
                    <a:pt x="468" y="1419"/>
                  </a:lnTo>
                  <a:lnTo>
                    <a:pt x="465" y="1419"/>
                  </a:lnTo>
                  <a:lnTo>
                    <a:pt x="463" y="1419"/>
                  </a:lnTo>
                  <a:lnTo>
                    <a:pt x="463" y="1420"/>
                  </a:lnTo>
                  <a:lnTo>
                    <a:pt x="465" y="1422"/>
                  </a:lnTo>
                  <a:lnTo>
                    <a:pt x="468" y="1422"/>
                  </a:lnTo>
                  <a:lnTo>
                    <a:pt x="469" y="1423"/>
                  </a:lnTo>
                  <a:lnTo>
                    <a:pt x="473" y="1423"/>
                  </a:lnTo>
                  <a:lnTo>
                    <a:pt x="475" y="1426"/>
                  </a:lnTo>
                  <a:lnTo>
                    <a:pt x="475" y="1428"/>
                  </a:lnTo>
                  <a:lnTo>
                    <a:pt x="475" y="1429"/>
                  </a:lnTo>
                  <a:lnTo>
                    <a:pt x="475" y="1429"/>
                  </a:lnTo>
                  <a:lnTo>
                    <a:pt x="476" y="1436"/>
                  </a:lnTo>
                  <a:lnTo>
                    <a:pt x="473" y="1439"/>
                  </a:lnTo>
                  <a:lnTo>
                    <a:pt x="472" y="1440"/>
                  </a:lnTo>
                  <a:lnTo>
                    <a:pt x="468" y="1440"/>
                  </a:lnTo>
                  <a:lnTo>
                    <a:pt x="468" y="1439"/>
                  </a:lnTo>
                  <a:lnTo>
                    <a:pt x="462" y="1438"/>
                  </a:lnTo>
                  <a:lnTo>
                    <a:pt x="463" y="1438"/>
                  </a:lnTo>
                  <a:lnTo>
                    <a:pt x="466" y="1440"/>
                  </a:lnTo>
                  <a:lnTo>
                    <a:pt x="468" y="1442"/>
                  </a:lnTo>
                  <a:lnTo>
                    <a:pt x="466" y="1443"/>
                  </a:lnTo>
                  <a:lnTo>
                    <a:pt x="465" y="1443"/>
                  </a:lnTo>
                  <a:lnTo>
                    <a:pt x="463" y="1443"/>
                  </a:lnTo>
                  <a:lnTo>
                    <a:pt x="461" y="1443"/>
                  </a:lnTo>
                  <a:lnTo>
                    <a:pt x="461" y="1442"/>
                  </a:lnTo>
                  <a:lnTo>
                    <a:pt x="461" y="1440"/>
                  </a:lnTo>
                  <a:lnTo>
                    <a:pt x="459" y="1440"/>
                  </a:lnTo>
                  <a:lnTo>
                    <a:pt x="458" y="1442"/>
                  </a:lnTo>
                  <a:lnTo>
                    <a:pt x="456" y="1442"/>
                  </a:lnTo>
                  <a:lnTo>
                    <a:pt x="456" y="1442"/>
                  </a:lnTo>
                  <a:lnTo>
                    <a:pt x="455" y="1440"/>
                  </a:lnTo>
                  <a:lnTo>
                    <a:pt x="455" y="1438"/>
                  </a:lnTo>
                  <a:lnTo>
                    <a:pt x="455" y="1436"/>
                  </a:lnTo>
                  <a:lnTo>
                    <a:pt x="458" y="1432"/>
                  </a:lnTo>
                  <a:lnTo>
                    <a:pt x="459" y="1430"/>
                  </a:lnTo>
                  <a:lnTo>
                    <a:pt x="458" y="1429"/>
                  </a:lnTo>
                  <a:lnTo>
                    <a:pt x="456" y="1432"/>
                  </a:lnTo>
                  <a:lnTo>
                    <a:pt x="453" y="1435"/>
                  </a:lnTo>
                  <a:lnTo>
                    <a:pt x="453" y="1438"/>
                  </a:lnTo>
                  <a:lnTo>
                    <a:pt x="452" y="1438"/>
                  </a:lnTo>
                  <a:lnTo>
                    <a:pt x="449" y="1436"/>
                  </a:lnTo>
                  <a:lnTo>
                    <a:pt x="439" y="1432"/>
                  </a:lnTo>
                  <a:lnTo>
                    <a:pt x="441" y="1429"/>
                  </a:lnTo>
                  <a:lnTo>
                    <a:pt x="439" y="1426"/>
                  </a:lnTo>
                  <a:lnTo>
                    <a:pt x="442" y="1426"/>
                  </a:lnTo>
                  <a:lnTo>
                    <a:pt x="445" y="1425"/>
                  </a:lnTo>
                  <a:lnTo>
                    <a:pt x="446" y="1423"/>
                  </a:lnTo>
                  <a:lnTo>
                    <a:pt x="448" y="1420"/>
                  </a:lnTo>
                  <a:lnTo>
                    <a:pt x="451" y="1416"/>
                  </a:lnTo>
                  <a:lnTo>
                    <a:pt x="449" y="1416"/>
                  </a:lnTo>
                  <a:lnTo>
                    <a:pt x="445" y="1422"/>
                  </a:lnTo>
                  <a:lnTo>
                    <a:pt x="441" y="1423"/>
                  </a:lnTo>
                  <a:lnTo>
                    <a:pt x="439" y="1423"/>
                  </a:lnTo>
                  <a:lnTo>
                    <a:pt x="439" y="1423"/>
                  </a:lnTo>
                  <a:lnTo>
                    <a:pt x="436" y="1422"/>
                  </a:lnTo>
                  <a:lnTo>
                    <a:pt x="435" y="1420"/>
                  </a:lnTo>
                  <a:lnTo>
                    <a:pt x="431" y="1419"/>
                  </a:lnTo>
                  <a:lnTo>
                    <a:pt x="431" y="1419"/>
                  </a:lnTo>
                  <a:lnTo>
                    <a:pt x="429" y="1418"/>
                  </a:lnTo>
                  <a:lnTo>
                    <a:pt x="428" y="1413"/>
                  </a:lnTo>
                  <a:lnTo>
                    <a:pt x="429" y="1406"/>
                  </a:lnTo>
                  <a:lnTo>
                    <a:pt x="431" y="1405"/>
                  </a:lnTo>
                  <a:lnTo>
                    <a:pt x="432" y="1402"/>
                  </a:lnTo>
                  <a:lnTo>
                    <a:pt x="432" y="1399"/>
                  </a:lnTo>
                  <a:lnTo>
                    <a:pt x="432" y="1399"/>
                  </a:lnTo>
                  <a:lnTo>
                    <a:pt x="431" y="1399"/>
                  </a:lnTo>
                  <a:lnTo>
                    <a:pt x="431" y="1399"/>
                  </a:lnTo>
                  <a:lnTo>
                    <a:pt x="431" y="1402"/>
                  </a:lnTo>
                  <a:lnTo>
                    <a:pt x="429" y="1402"/>
                  </a:lnTo>
                  <a:lnTo>
                    <a:pt x="425" y="1405"/>
                  </a:lnTo>
                  <a:lnTo>
                    <a:pt x="421" y="1406"/>
                  </a:lnTo>
                  <a:lnTo>
                    <a:pt x="418" y="1409"/>
                  </a:lnTo>
                  <a:lnTo>
                    <a:pt x="416" y="1410"/>
                  </a:lnTo>
                  <a:lnTo>
                    <a:pt x="416" y="1412"/>
                  </a:lnTo>
                  <a:lnTo>
                    <a:pt x="413" y="1412"/>
                  </a:lnTo>
                  <a:lnTo>
                    <a:pt x="412" y="1412"/>
                  </a:lnTo>
                  <a:lnTo>
                    <a:pt x="411" y="1413"/>
                  </a:lnTo>
                  <a:lnTo>
                    <a:pt x="408" y="1412"/>
                  </a:lnTo>
                  <a:lnTo>
                    <a:pt x="406" y="1410"/>
                  </a:lnTo>
                  <a:lnTo>
                    <a:pt x="405" y="1410"/>
                  </a:lnTo>
                  <a:lnTo>
                    <a:pt x="402" y="1412"/>
                  </a:lnTo>
                  <a:lnTo>
                    <a:pt x="401" y="1412"/>
                  </a:lnTo>
                  <a:lnTo>
                    <a:pt x="401" y="1412"/>
                  </a:lnTo>
                  <a:lnTo>
                    <a:pt x="402" y="1415"/>
                  </a:lnTo>
                  <a:lnTo>
                    <a:pt x="401" y="1415"/>
                  </a:lnTo>
                  <a:lnTo>
                    <a:pt x="398" y="1415"/>
                  </a:lnTo>
                  <a:lnTo>
                    <a:pt x="396" y="1413"/>
                  </a:lnTo>
                  <a:lnTo>
                    <a:pt x="395" y="1413"/>
                  </a:lnTo>
                  <a:lnTo>
                    <a:pt x="394" y="1412"/>
                  </a:lnTo>
                  <a:lnTo>
                    <a:pt x="395" y="1410"/>
                  </a:lnTo>
                  <a:lnTo>
                    <a:pt x="399" y="1408"/>
                  </a:lnTo>
                  <a:lnTo>
                    <a:pt x="402" y="1406"/>
                  </a:lnTo>
                  <a:lnTo>
                    <a:pt x="401" y="1405"/>
                  </a:lnTo>
                  <a:lnTo>
                    <a:pt x="395" y="1406"/>
                  </a:lnTo>
                  <a:lnTo>
                    <a:pt x="395" y="1405"/>
                  </a:lnTo>
                  <a:lnTo>
                    <a:pt x="392" y="1405"/>
                  </a:lnTo>
                  <a:lnTo>
                    <a:pt x="392" y="1400"/>
                  </a:lnTo>
                  <a:lnTo>
                    <a:pt x="391" y="1400"/>
                  </a:lnTo>
                  <a:lnTo>
                    <a:pt x="391" y="1399"/>
                  </a:lnTo>
                  <a:lnTo>
                    <a:pt x="389" y="1398"/>
                  </a:lnTo>
                  <a:lnTo>
                    <a:pt x="389" y="1398"/>
                  </a:lnTo>
                  <a:lnTo>
                    <a:pt x="388" y="1398"/>
                  </a:lnTo>
                  <a:lnTo>
                    <a:pt x="384" y="1396"/>
                  </a:lnTo>
                  <a:lnTo>
                    <a:pt x="382" y="1393"/>
                  </a:lnTo>
                  <a:lnTo>
                    <a:pt x="382" y="1392"/>
                  </a:lnTo>
                  <a:lnTo>
                    <a:pt x="381" y="1388"/>
                  </a:lnTo>
                  <a:lnTo>
                    <a:pt x="378" y="1388"/>
                  </a:lnTo>
                  <a:lnTo>
                    <a:pt x="376" y="1386"/>
                  </a:lnTo>
                  <a:lnTo>
                    <a:pt x="378" y="1385"/>
                  </a:lnTo>
                  <a:lnTo>
                    <a:pt x="379" y="1383"/>
                  </a:lnTo>
                  <a:lnTo>
                    <a:pt x="378" y="1382"/>
                  </a:lnTo>
                  <a:lnTo>
                    <a:pt x="376" y="1380"/>
                  </a:lnTo>
                  <a:lnTo>
                    <a:pt x="376" y="1379"/>
                  </a:lnTo>
                  <a:lnTo>
                    <a:pt x="376" y="1378"/>
                  </a:lnTo>
                  <a:lnTo>
                    <a:pt x="375" y="1376"/>
                  </a:lnTo>
                  <a:lnTo>
                    <a:pt x="376" y="1375"/>
                  </a:lnTo>
                  <a:lnTo>
                    <a:pt x="379" y="1372"/>
                  </a:lnTo>
                  <a:lnTo>
                    <a:pt x="381" y="1372"/>
                  </a:lnTo>
                  <a:lnTo>
                    <a:pt x="381" y="1370"/>
                  </a:lnTo>
                  <a:lnTo>
                    <a:pt x="385" y="1369"/>
                  </a:lnTo>
                  <a:lnTo>
                    <a:pt x="382" y="1368"/>
                  </a:lnTo>
                  <a:lnTo>
                    <a:pt x="379" y="1368"/>
                  </a:lnTo>
                  <a:lnTo>
                    <a:pt x="378" y="1369"/>
                  </a:lnTo>
                  <a:lnTo>
                    <a:pt x="378" y="1370"/>
                  </a:lnTo>
                  <a:lnTo>
                    <a:pt x="376" y="1372"/>
                  </a:lnTo>
                  <a:lnTo>
                    <a:pt x="372" y="1372"/>
                  </a:lnTo>
                  <a:lnTo>
                    <a:pt x="371" y="1372"/>
                  </a:lnTo>
                  <a:lnTo>
                    <a:pt x="371" y="1369"/>
                  </a:lnTo>
                  <a:lnTo>
                    <a:pt x="371" y="1366"/>
                  </a:lnTo>
                  <a:lnTo>
                    <a:pt x="374" y="1363"/>
                  </a:lnTo>
                  <a:lnTo>
                    <a:pt x="371" y="1363"/>
                  </a:lnTo>
                  <a:lnTo>
                    <a:pt x="369" y="1362"/>
                  </a:lnTo>
                  <a:lnTo>
                    <a:pt x="366" y="1360"/>
                  </a:lnTo>
                  <a:lnTo>
                    <a:pt x="365" y="1359"/>
                  </a:lnTo>
                  <a:lnTo>
                    <a:pt x="362" y="1358"/>
                  </a:lnTo>
                  <a:lnTo>
                    <a:pt x="361" y="1356"/>
                  </a:lnTo>
                  <a:lnTo>
                    <a:pt x="361" y="1356"/>
                  </a:lnTo>
                  <a:lnTo>
                    <a:pt x="361" y="1353"/>
                  </a:lnTo>
                  <a:lnTo>
                    <a:pt x="362" y="1352"/>
                  </a:lnTo>
                  <a:lnTo>
                    <a:pt x="362" y="1349"/>
                  </a:lnTo>
                  <a:lnTo>
                    <a:pt x="361" y="1348"/>
                  </a:lnTo>
                  <a:lnTo>
                    <a:pt x="362" y="1343"/>
                  </a:lnTo>
                  <a:lnTo>
                    <a:pt x="365" y="1340"/>
                  </a:lnTo>
                  <a:lnTo>
                    <a:pt x="369" y="1336"/>
                  </a:lnTo>
                  <a:lnTo>
                    <a:pt x="364" y="1338"/>
                  </a:lnTo>
                  <a:lnTo>
                    <a:pt x="361" y="1343"/>
                  </a:lnTo>
                  <a:lnTo>
                    <a:pt x="359" y="1343"/>
                  </a:lnTo>
                  <a:lnTo>
                    <a:pt x="359" y="1343"/>
                  </a:lnTo>
                  <a:lnTo>
                    <a:pt x="358" y="1339"/>
                  </a:lnTo>
                  <a:lnTo>
                    <a:pt x="356" y="1338"/>
                  </a:lnTo>
                  <a:lnTo>
                    <a:pt x="356" y="1338"/>
                  </a:lnTo>
                  <a:lnTo>
                    <a:pt x="354" y="1336"/>
                  </a:lnTo>
                  <a:lnTo>
                    <a:pt x="352" y="1335"/>
                  </a:lnTo>
                  <a:lnTo>
                    <a:pt x="352" y="1332"/>
                  </a:lnTo>
                  <a:lnTo>
                    <a:pt x="349" y="1328"/>
                  </a:lnTo>
                  <a:lnTo>
                    <a:pt x="346" y="1322"/>
                  </a:lnTo>
                  <a:lnTo>
                    <a:pt x="342" y="1315"/>
                  </a:lnTo>
                  <a:lnTo>
                    <a:pt x="341" y="1310"/>
                  </a:lnTo>
                  <a:lnTo>
                    <a:pt x="342" y="1305"/>
                  </a:lnTo>
                  <a:lnTo>
                    <a:pt x="341" y="1302"/>
                  </a:lnTo>
                  <a:lnTo>
                    <a:pt x="345" y="1299"/>
                  </a:lnTo>
                  <a:lnTo>
                    <a:pt x="351" y="1298"/>
                  </a:lnTo>
                  <a:lnTo>
                    <a:pt x="355" y="1296"/>
                  </a:lnTo>
                  <a:lnTo>
                    <a:pt x="356" y="1295"/>
                  </a:lnTo>
                  <a:lnTo>
                    <a:pt x="361" y="1295"/>
                  </a:lnTo>
                  <a:lnTo>
                    <a:pt x="362" y="1293"/>
                  </a:lnTo>
                  <a:lnTo>
                    <a:pt x="359" y="1293"/>
                  </a:lnTo>
                  <a:lnTo>
                    <a:pt x="358" y="1293"/>
                  </a:lnTo>
                  <a:lnTo>
                    <a:pt x="358" y="1293"/>
                  </a:lnTo>
                  <a:lnTo>
                    <a:pt x="358" y="1292"/>
                  </a:lnTo>
                  <a:lnTo>
                    <a:pt x="359" y="1290"/>
                  </a:lnTo>
                  <a:lnTo>
                    <a:pt x="358" y="1290"/>
                  </a:lnTo>
                  <a:lnTo>
                    <a:pt x="354" y="1293"/>
                  </a:lnTo>
                  <a:lnTo>
                    <a:pt x="348" y="1296"/>
                  </a:lnTo>
                  <a:lnTo>
                    <a:pt x="344" y="1296"/>
                  </a:lnTo>
                  <a:lnTo>
                    <a:pt x="344" y="1296"/>
                  </a:lnTo>
                  <a:lnTo>
                    <a:pt x="342" y="1298"/>
                  </a:lnTo>
                  <a:lnTo>
                    <a:pt x="341" y="1298"/>
                  </a:lnTo>
                  <a:lnTo>
                    <a:pt x="341" y="1298"/>
                  </a:lnTo>
                  <a:lnTo>
                    <a:pt x="339" y="1295"/>
                  </a:lnTo>
                  <a:lnTo>
                    <a:pt x="338" y="1293"/>
                  </a:lnTo>
                  <a:lnTo>
                    <a:pt x="341" y="1290"/>
                  </a:lnTo>
                  <a:lnTo>
                    <a:pt x="344" y="1285"/>
                  </a:lnTo>
                  <a:lnTo>
                    <a:pt x="346" y="1280"/>
                  </a:lnTo>
                  <a:lnTo>
                    <a:pt x="348" y="1280"/>
                  </a:lnTo>
                  <a:lnTo>
                    <a:pt x="351" y="1280"/>
                  </a:lnTo>
                  <a:lnTo>
                    <a:pt x="352" y="1280"/>
                  </a:lnTo>
                  <a:lnTo>
                    <a:pt x="352" y="1279"/>
                  </a:lnTo>
                  <a:lnTo>
                    <a:pt x="352" y="1278"/>
                  </a:lnTo>
                  <a:lnTo>
                    <a:pt x="355" y="1276"/>
                  </a:lnTo>
                  <a:lnTo>
                    <a:pt x="358" y="1276"/>
                  </a:lnTo>
                  <a:lnTo>
                    <a:pt x="361" y="1276"/>
                  </a:lnTo>
                  <a:lnTo>
                    <a:pt x="361" y="1279"/>
                  </a:lnTo>
                  <a:lnTo>
                    <a:pt x="364" y="1283"/>
                  </a:lnTo>
                  <a:lnTo>
                    <a:pt x="365" y="1285"/>
                  </a:lnTo>
                  <a:lnTo>
                    <a:pt x="365" y="1283"/>
                  </a:lnTo>
                  <a:lnTo>
                    <a:pt x="364" y="1280"/>
                  </a:lnTo>
                  <a:lnTo>
                    <a:pt x="364" y="1275"/>
                  </a:lnTo>
                  <a:lnTo>
                    <a:pt x="362" y="1273"/>
                  </a:lnTo>
                  <a:lnTo>
                    <a:pt x="361" y="1272"/>
                  </a:lnTo>
                  <a:lnTo>
                    <a:pt x="358" y="1273"/>
                  </a:lnTo>
                  <a:lnTo>
                    <a:pt x="355" y="1269"/>
                  </a:lnTo>
                  <a:lnTo>
                    <a:pt x="355" y="1269"/>
                  </a:lnTo>
                  <a:lnTo>
                    <a:pt x="355" y="1268"/>
                  </a:lnTo>
                  <a:lnTo>
                    <a:pt x="352" y="1262"/>
                  </a:lnTo>
                  <a:lnTo>
                    <a:pt x="352" y="1260"/>
                  </a:lnTo>
                  <a:lnTo>
                    <a:pt x="351" y="1256"/>
                  </a:lnTo>
                  <a:lnTo>
                    <a:pt x="351" y="1256"/>
                  </a:lnTo>
                  <a:lnTo>
                    <a:pt x="351" y="1260"/>
                  </a:lnTo>
                  <a:lnTo>
                    <a:pt x="352" y="1263"/>
                  </a:lnTo>
                  <a:lnTo>
                    <a:pt x="354" y="1269"/>
                  </a:lnTo>
                  <a:lnTo>
                    <a:pt x="354" y="1272"/>
                  </a:lnTo>
                  <a:lnTo>
                    <a:pt x="354" y="1273"/>
                  </a:lnTo>
                  <a:lnTo>
                    <a:pt x="352" y="1276"/>
                  </a:lnTo>
                  <a:lnTo>
                    <a:pt x="349" y="1276"/>
                  </a:lnTo>
                  <a:lnTo>
                    <a:pt x="346" y="1278"/>
                  </a:lnTo>
                  <a:lnTo>
                    <a:pt x="346" y="1275"/>
                  </a:lnTo>
                  <a:lnTo>
                    <a:pt x="348" y="1272"/>
                  </a:lnTo>
                  <a:lnTo>
                    <a:pt x="345" y="1273"/>
                  </a:lnTo>
                  <a:lnTo>
                    <a:pt x="344" y="1275"/>
                  </a:lnTo>
                  <a:lnTo>
                    <a:pt x="344" y="1279"/>
                  </a:lnTo>
                  <a:lnTo>
                    <a:pt x="342" y="1280"/>
                  </a:lnTo>
                  <a:lnTo>
                    <a:pt x="339" y="1288"/>
                  </a:lnTo>
                  <a:lnTo>
                    <a:pt x="338" y="1290"/>
                  </a:lnTo>
                  <a:lnTo>
                    <a:pt x="336" y="1293"/>
                  </a:lnTo>
                  <a:lnTo>
                    <a:pt x="335" y="1293"/>
                  </a:lnTo>
                  <a:lnTo>
                    <a:pt x="334" y="1292"/>
                  </a:lnTo>
                  <a:lnTo>
                    <a:pt x="332" y="1289"/>
                  </a:lnTo>
                  <a:lnTo>
                    <a:pt x="332" y="1286"/>
                  </a:lnTo>
                  <a:lnTo>
                    <a:pt x="332" y="1279"/>
                  </a:lnTo>
                  <a:lnTo>
                    <a:pt x="332" y="1276"/>
                  </a:lnTo>
                  <a:lnTo>
                    <a:pt x="332" y="1272"/>
                  </a:lnTo>
                  <a:lnTo>
                    <a:pt x="329" y="1262"/>
                  </a:lnTo>
                  <a:lnTo>
                    <a:pt x="329" y="1258"/>
                  </a:lnTo>
                  <a:lnTo>
                    <a:pt x="326" y="1256"/>
                  </a:lnTo>
                  <a:lnTo>
                    <a:pt x="326" y="1256"/>
                  </a:lnTo>
                  <a:lnTo>
                    <a:pt x="325" y="1253"/>
                  </a:lnTo>
                  <a:lnTo>
                    <a:pt x="325" y="1252"/>
                  </a:lnTo>
                  <a:lnTo>
                    <a:pt x="325" y="1250"/>
                  </a:lnTo>
                  <a:lnTo>
                    <a:pt x="326" y="1250"/>
                  </a:lnTo>
                  <a:lnTo>
                    <a:pt x="331" y="1248"/>
                  </a:lnTo>
                  <a:lnTo>
                    <a:pt x="334" y="1243"/>
                  </a:lnTo>
                  <a:lnTo>
                    <a:pt x="338" y="1239"/>
                  </a:lnTo>
                  <a:lnTo>
                    <a:pt x="339" y="1236"/>
                  </a:lnTo>
                  <a:lnTo>
                    <a:pt x="345" y="1235"/>
                  </a:lnTo>
                  <a:lnTo>
                    <a:pt x="348" y="1235"/>
                  </a:lnTo>
                  <a:lnTo>
                    <a:pt x="348" y="1235"/>
                  </a:lnTo>
                  <a:lnTo>
                    <a:pt x="348" y="1233"/>
                  </a:lnTo>
                  <a:lnTo>
                    <a:pt x="344" y="1235"/>
                  </a:lnTo>
                  <a:lnTo>
                    <a:pt x="338" y="1236"/>
                  </a:lnTo>
                  <a:lnTo>
                    <a:pt x="338" y="1238"/>
                  </a:lnTo>
                  <a:lnTo>
                    <a:pt x="335" y="1241"/>
                  </a:lnTo>
                  <a:lnTo>
                    <a:pt x="334" y="1242"/>
                  </a:lnTo>
                  <a:lnTo>
                    <a:pt x="328" y="1246"/>
                  </a:lnTo>
                  <a:lnTo>
                    <a:pt x="325" y="1246"/>
                  </a:lnTo>
                  <a:lnTo>
                    <a:pt x="322" y="1242"/>
                  </a:lnTo>
                  <a:lnTo>
                    <a:pt x="318" y="1242"/>
                  </a:lnTo>
                  <a:lnTo>
                    <a:pt x="315" y="1242"/>
                  </a:lnTo>
                  <a:lnTo>
                    <a:pt x="315" y="1242"/>
                  </a:lnTo>
                  <a:lnTo>
                    <a:pt x="314" y="1235"/>
                  </a:lnTo>
                  <a:lnTo>
                    <a:pt x="316" y="1226"/>
                  </a:lnTo>
                  <a:lnTo>
                    <a:pt x="314" y="1226"/>
                  </a:lnTo>
                  <a:lnTo>
                    <a:pt x="314" y="1226"/>
                  </a:lnTo>
                  <a:lnTo>
                    <a:pt x="312" y="1225"/>
                  </a:lnTo>
                  <a:lnTo>
                    <a:pt x="311" y="1223"/>
                  </a:lnTo>
                  <a:lnTo>
                    <a:pt x="312" y="1223"/>
                  </a:lnTo>
                  <a:lnTo>
                    <a:pt x="318" y="1219"/>
                  </a:lnTo>
                  <a:lnTo>
                    <a:pt x="325" y="1211"/>
                  </a:lnTo>
                  <a:lnTo>
                    <a:pt x="329" y="1208"/>
                  </a:lnTo>
                  <a:lnTo>
                    <a:pt x="331" y="1206"/>
                  </a:lnTo>
                  <a:lnTo>
                    <a:pt x="332" y="1205"/>
                  </a:lnTo>
                  <a:lnTo>
                    <a:pt x="335" y="1202"/>
                  </a:lnTo>
                  <a:lnTo>
                    <a:pt x="335" y="1201"/>
                  </a:lnTo>
                  <a:lnTo>
                    <a:pt x="336" y="1199"/>
                  </a:lnTo>
                  <a:lnTo>
                    <a:pt x="339" y="1198"/>
                  </a:lnTo>
                  <a:lnTo>
                    <a:pt x="341" y="1196"/>
                  </a:lnTo>
                  <a:lnTo>
                    <a:pt x="345" y="1192"/>
                  </a:lnTo>
                  <a:lnTo>
                    <a:pt x="346" y="1191"/>
                  </a:lnTo>
                  <a:lnTo>
                    <a:pt x="345" y="1191"/>
                  </a:lnTo>
                  <a:lnTo>
                    <a:pt x="344" y="1192"/>
                  </a:lnTo>
                  <a:lnTo>
                    <a:pt x="339" y="1195"/>
                  </a:lnTo>
                  <a:lnTo>
                    <a:pt x="336" y="1198"/>
                  </a:lnTo>
                  <a:lnTo>
                    <a:pt x="326" y="1208"/>
                  </a:lnTo>
                  <a:lnTo>
                    <a:pt x="322" y="1212"/>
                  </a:lnTo>
                  <a:lnTo>
                    <a:pt x="321" y="1213"/>
                  </a:lnTo>
                  <a:lnTo>
                    <a:pt x="319" y="1216"/>
                  </a:lnTo>
                  <a:lnTo>
                    <a:pt x="316" y="1218"/>
                  </a:lnTo>
                  <a:lnTo>
                    <a:pt x="315" y="1219"/>
                  </a:lnTo>
                  <a:lnTo>
                    <a:pt x="311" y="1219"/>
                  </a:lnTo>
                  <a:lnTo>
                    <a:pt x="309" y="1221"/>
                  </a:lnTo>
                  <a:lnTo>
                    <a:pt x="308" y="1219"/>
                  </a:lnTo>
                  <a:lnTo>
                    <a:pt x="308" y="1215"/>
                  </a:lnTo>
                  <a:lnTo>
                    <a:pt x="308" y="1212"/>
                  </a:lnTo>
                  <a:lnTo>
                    <a:pt x="308" y="1209"/>
                  </a:lnTo>
                  <a:lnTo>
                    <a:pt x="308" y="1205"/>
                  </a:lnTo>
                  <a:lnTo>
                    <a:pt x="309" y="1202"/>
                  </a:lnTo>
                  <a:lnTo>
                    <a:pt x="311" y="1201"/>
                  </a:lnTo>
                  <a:lnTo>
                    <a:pt x="311" y="1199"/>
                  </a:lnTo>
                  <a:lnTo>
                    <a:pt x="314" y="1196"/>
                  </a:lnTo>
                  <a:lnTo>
                    <a:pt x="316" y="1195"/>
                  </a:lnTo>
                  <a:lnTo>
                    <a:pt x="316" y="1192"/>
                  </a:lnTo>
                  <a:lnTo>
                    <a:pt x="324" y="1192"/>
                  </a:lnTo>
                  <a:lnTo>
                    <a:pt x="326" y="1192"/>
                  </a:lnTo>
                  <a:lnTo>
                    <a:pt x="326" y="1191"/>
                  </a:lnTo>
                  <a:lnTo>
                    <a:pt x="328" y="1191"/>
                  </a:lnTo>
                  <a:lnTo>
                    <a:pt x="326" y="1189"/>
                  </a:lnTo>
                  <a:lnTo>
                    <a:pt x="325" y="1189"/>
                  </a:lnTo>
                  <a:lnTo>
                    <a:pt x="319" y="1189"/>
                  </a:lnTo>
                  <a:lnTo>
                    <a:pt x="314" y="1189"/>
                  </a:lnTo>
                  <a:lnTo>
                    <a:pt x="312" y="1188"/>
                  </a:lnTo>
                  <a:lnTo>
                    <a:pt x="311" y="1189"/>
                  </a:lnTo>
                  <a:lnTo>
                    <a:pt x="309" y="1188"/>
                  </a:lnTo>
                  <a:lnTo>
                    <a:pt x="307" y="1186"/>
                  </a:lnTo>
                  <a:lnTo>
                    <a:pt x="304" y="1181"/>
                  </a:lnTo>
                  <a:lnTo>
                    <a:pt x="305" y="1172"/>
                  </a:lnTo>
                  <a:lnTo>
                    <a:pt x="305" y="1168"/>
                  </a:lnTo>
                  <a:lnTo>
                    <a:pt x="309" y="1165"/>
                  </a:lnTo>
                  <a:lnTo>
                    <a:pt x="311" y="1163"/>
                  </a:lnTo>
                  <a:lnTo>
                    <a:pt x="314" y="1161"/>
                  </a:lnTo>
                  <a:lnTo>
                    <a:pt x="318" y="1156"/>
                  </a:lnTo>
                  <a:lnTo>
                    <a:pt x="324" y="1155"/>
                  </a:lnTo>
                  <a:lnTo>
                    <a:pt x="325" y="1153"/>
                  </a:lnTo>
                  <a:lnTo>
                    <a:pt x="328" y="1153"/>
                  </a:lnTo>
                  <a:lnTo>
                    <a:pt x="335" y="1158"/>
                  </a:lnTo>
                  <a:lnTo>
                    <a:pt x="339" y="1159"/>
                  </a:lnTo>
                  <a:lnTo>
                    <a:pt x="342" y="1158"/>
                  </a:lnTo>
                  <a:lnTo>
                    <a:pt x="346" y="1159"/>
                  </a:lnTo>
                  <a:lnTo>
                    <a:pt x="355" y="1165"/>
                  </a:lnTo>
                  <a:lnTo>
                    <a:pt x="356" y="1163"/>
                  </a:lnTo>
                  <a:lnTo>
                    <a:pt x="355" y="1162"/>
                  </a:lnTo>
                  <a:lnTo>
                    <a:pt x="346" y="1156"/>
                  </a:lnTo>
                  <a:lnTo>
                    <a:pt x="346" y="1155"/>
                  </a:lnTo>
                  <a:lnTo>
                    <a:pt x="349" y="1155"/>
                  </a:lnTo>
                  <a:lnTo>
                    <a:pt x="352" y="1153"/>
                  </a:lnTo>
                  <a:lnTo>
                    <a:pt x="351" y="1152"/>
                  </a:lnTo>
                  <a:lnTo>
                    <a:pt x="345" y="1152"/>
                  </a:lnTo>
                  <a:lnTo>
                    <a:pt x="344" y="1153"/>
                  </a:lnTo>
                  <a:lnTo>
                    <a:pt x="338" y="1155"/>
                  </a:lnTo>
                  <a:lnTo>
                    <a:pt x="335" y="1153"/>
                  </a:lnTo>
                  <a:lnTo>
                    <a:pt x="332" y="1153"/>
                  </a:lnTo>
                  <a:lnTo>
                    <a:pt x="328" y="1151"/>
                  </a:lnTo>
                  <a:lnTo>
                    <a:pt x="325" y="1152"/>
                  </a:lnTo>
                  <a:lnTo>
                    <a:pt x="322" y="1152"/>
                  </a:lnTo>
                  <a:lnTo>
                    <a:pt x="319" y="1153"/>
                  </a:lnTo>
                  <a:lnTo>
                    <a:pt x="318" y="1153"/>
                  </a:lnTo>
                  <a:lnTo>
                    <a:pt x="311" y="1162"/>
                  </a:lnTo>
                  <a:lnTo>
                    <a:pt x="308" y="1163"/>
                  </a:lnTo>
                  <a:lnTo>
                    <a:pt x="307" y="1162"/>
                  </a:lnTo>
                  <a:lnTo>
                    <a:pt x="308" y="1158"/>
                  </a:lnTo>
                  <a:lnTo>
                    <a:pt x="308" y="1156"/>
                  </a:lnTo>
                  <a:lnTo>
                    <a:pt x="308" y="1153"/>
                  </a:lnTo>
                  <a:lnTo>
                    <a:pt x="308" y="1151"/>
                  </a:lnTo>
                  <a:lnTo>
                    <a:pt x="312" y="1145"/>
                  </a:lnTo>
                  <a:lnTo>
                    <a:pt x="314" y="1139"/>
                  </a:lnTo>
                  <a:lnTo>
                    <a:pt x="315" y="1135"/>
                  </a:lnTo>
                  <a:lnTo>
                    <a:pt x="316" y="1135"/>
                  </a:lnTo>
                  <a:lnTo>
                    <a:pt x="319" y="1135"/>
                  </a:lnTo>
                  <a:lnTo>
                    <a:pt x="326" y="1138"/>
                  </a:lnTo>
                  <a:lnTo>
                    <a:pt x="332" y="1141"/>
                  </a:lnTo>
                  <a:lnTo>
                    <a:pt x="338" y="1141"/>
                  </a:lnTo>
                  <a:lnTo>
                    <a:pt x="341" y="1141"/>
                  </a:lnTo>
                  <a:lnTo>
                    <a:pt x="341" y="1141"/>
                  </a:lnTo>
                  <a:lnTo>
                    <a:pt x="342" y="1139"/>
                  </a:lnTo>
                  <a:lnTo>
                    <a:pt x="342" y="1138"/>
                  </a:lnTo>
                  <a:lnTo>
                    <a:pt x="344" y="1135"/>
                  </a:lnTo>
                  <a:lnTo>
                    <a:pt x="344" y="1135"/>
                  </a:lnTo>
                  <a:lnTo>
                    <a:pt x="345" y="1133"/>
                  </a:lnTo>
                  <a:lnTo>
                    <a:pt x="346" y="1129"/>
                  </a:lnTo>
                  <a:lnTo>
                    <a:pt x="346" y="1126"/>
                  </a:lnTo>
                  <a:lnTo>
                    <a:pt x="346" y="1125"/>
                  </a:lnTo>
                  <a:lnTo>
                    <a:pt x="345" y="1126"/>
                  </a:lnTo>
                  <a:lnTo>
                    <a:pt x="342" y="1126"/>
                  </a:lnTo>
                  <a:lnTo>
                    <a:pt x="342" y="1126"/>
                  </a:lnTo>
                  <a:lnTo>
                    <a:pt x="342" y="1128"/>
                  </a:lnTo>
                  <a:lnTo>
                    <a:pt x="339" y="1132"/>
                  </a:lnTo>
                  <a:lnTo>
                    <a:pt x="336" y="1133"/>
                  </a:lnTo>
                  <a:lnTo>
                    <a:pt x="331" y="1133"/>
                  </a:lnTo>
                  <a:lnTo>
                    <a:pt x="328" y="1135"/>
                  </a:lnTo>
                  <a:lnTo>
                    <a:pt x="322" y="1132"/>
                  </a:lnTo>
                  <a:lnTo>
                    <a:pt x="322" y="1132"/>
                  </a:lnTo>
                  <a:lnTo>
                    <a:pt x="321" y="1131"/>
                  </a:lnTo>
                  <a:lnTo>
                    <a:pt x="315" y="1131"/>
                  </a:lnTo>
                  <a:lnTo>
                    <a:pt x="314" y="1131"/>
                  </a:lnTo>
                  <a:lnTo>
                    <a:pt x="312" y="1131"/>
                  </a:lnTo>
                  <a:lnTo>
                    <a:pt x="312" y="1128"/>
                  </a:lnTo>
                  <a:lnTo>
                    <a:pt x="314" y="1126"/>
                  </a:lnTo>
                  <a:lnTo>
                    <a:pt x="316" y="1118"/>
                  </a:lnTo>
                  <a:lnTo>
                    <a:pt x="319" y="1115"/>
                  </a:lnTo>
                  <a:lnTo>
                    <a:pt x="324" y="1113"/>
                  </a:lnTo>
                  <a:lnTo>
                    <a:pt x="329" y="1113"/>
                  </a:lnTo>
                  <a:lnTo>
                    <a:pt x="338" y="1119"/>
                  </a:lnTo>
                  <a:lnTo>
                    <a:pt x="339" y="1121"/>
                  </a:lnTo>
                  <a:lnTo>
                    <a:pt x="342" y="1121"/>
                  </a:lnTo>
                  <a:lnTo>
                    <a:pt x="348" y="1118"/>
                  </a:lnTo>
                  <a:lnTo>
                    <a:pt x="348" y="1116"/>
                  </a:lnTo>
                  <a:lnTo>
                    <a:pt x="351" y="1113"/>
                  </a:lnTo>
                  <a:lnTo>
                    <a:pt x="354" y="1109"/>
                  </a:lnTo>
                  <a:lnTo>
                    <a:pt x="352" y="1108"/>
                  </a:lnTo>
                  <a:lnTo>
                    <a:pt x="349" y="1111"/>
                  </a:lnTo>
                  <a:lnTo>
                    <a:pt x="348" y="1112"/>
                  </a:lnTo>
                  <a:lnTo>
                    <a:pt x="345" y="1112"/>
                  </a:lnTo>
                  <a:lnTo>
                    <a:pt x="348" y="1102"/>
                  </a:lnTo>
                  <a:lnTo>
                    <a:pt x="348" y="1096"/>
                  </a:lnTo>
                  <a:lnTo>
                    <a:pt x="348" y="1093"/>
                  </a:lnTo>
                  <a:lnTo>
                    <a:pt x="354" y="1095"/>
                  </a:lnTo>
                  <a:lnTo>
                    <a:pt x="359" y="1093"/>
                  </a:lnTo>
                  <a:lnTo>
                    <a:pt x="361" y="1092"/>
                  </a:lnTo>
                  <a:lnTo>
                    <a:pt x="361" y="1092"/>
                  </a:lnTo>
                  <a:lnTo>
                    <a:pt x="358" y="1091"/>
                  </a:lnTo>
                  <a:lnTo>
                    <a:pt x="356" y="1089"/>
                  </a:lnTo>
                  <a:lnTo>
                    <a:pt x="355" y="1089"/>
                  </a:lnTo>
                  <a:lnTo>
                    <a:pt x="352" y="1091"/>
                  </a:lnTo>
                  <a:lnTo>
                    <a:pt x="348" y="1091"/>
                  </a:lnTo>
                  <a:lnTo>
                    <a:pt x="349" y="1088"/>
                  </a:lnTo>
                  <a:lnTo>
                    <a:pt x="351" y="1081"/>
                  </a:lnTo>
                  <a:lnTo>
                    <a:pt x="352" y="1078"/>
                  </a:lnTo>
                  <a:lnTo>
                    <a:pt x="352" y="1072"/>
                  </a:lnTo>
                  <a:lnTo>
                    <a:pt x="352" y="1069"/>
                  </a:lnTo>
                  <a:lnTo>
                    <a:pt x="354" y="1066"/>
                  </a:lnTo>
                  <a:lnTo>
                    <a:pt x="358" y="1065"/>
                  </a:lnTo>
                  <a:lnTo>
                    <a:pt x="361" y="1063"/>
                  </a:lnTo>
                  <a:lnTo>
                    <a:pt x="361" y="1062"/>
                  </a:lnTo>
                  <a:lnTo>
                    <a:pt x="358" y="1058"/>
                  </a:lnTo>
                  <a:lnTo>
                    <a:pt x="358" y="1056"/>
                  </a:lnTo>
                  <a:lnTo>
                    <a:pt x="361" y="1055"/>
                  </a:lnTo>
                  <a:lnTo>
                    <a:pt x="361" y="1053"/>
                  </a:lnTo>
                  <a:lnTo>
                    <a:pt x="361" y="1053"/>
                  </a:lnTo>
                  <a:lnTo>
                    <a:pt x="359" y="1052"/>
                  </a:lnTo>
                  <a:lnTo>
                    <a:pt x="356" y="1053"/>
                  </a:lnTo>
                  <a:lnTo>
                    <a:pt x="352" y="1053"/>
                  </a:lnTo>
                  <a:lnTo>
                    <a:pt x="351" y="1052"/>
                  </a:lnTo>
                  <a:lnTo>
                    <a:pt x="348" y="1052"/>
                  </a:lnTo>
                  <a:lnTo>
                    <a:pt x="346" y="1052"/>
                  </a:lnTo>
                  <a:lnTo>
                    <a:pt x="344" y="1055"/>
                  </a:lnTo>
                  <a:lnTo>
                    <a:pt x="342" y="1055"/>
                  </a:lnTo>
                  <a:lnTo>
                    <a:pt x="341" y="1053"/>
                  </a:lnTo>
                  <a:lnTo>
                    <a:pt x="329" y="1051"/>
                  </a:lnTo>
                  <a:lnTo>
                    <a:pt x="328" y="1051"/>
                  </a:lnTo>
                  <a:lnTo>
                    <a:pt x="325" y="1046"/>
                  </a:lnTo>
                  <a:lnTo>
                    <a:pt x="321" y="1043"/>
                  </a:lnTo>
                  <a:lnTo>
                    <a:pt x="318" y="1039"/>
                  </a:lnTo>
                  <a:lnTo>
                    <a:pt x="312" y="1038"/>
                  </a:lnTo>
                  <a:lnTo>
                    <a:pt x="305" y="1036"/>
                  </a:lnTo>
                  <a:lnTo>
                    <a:pt x="301" y="1034"/>
                  </a:lnTo>
                  <a:lnTo>
                    <a:pt x="299" y="1032"/>
                  </a:lnTo>
                  <a:lnTo>
                    <a:pt x="297" y="1026"/>
                  </a:lnTo>
                  <a:lnTo>
                    <a:pt x="294" y="1024"/>
                  </a:lnTo>
                  <a:lnTo>
                    <a:pt x="294" y="1021"/>
                  </a:lnTo>
                  <a:lnTo>
                    <a:pt x="295" y="1018"/>
                  </a:lnTo>
                  <a:lnTo>
                    <a:pt x="297" y="1016"/>
                  </a:lnTo>
                  <a:lnTo>
                    <a:pt x="299" y="1015"/>
                  </a:lnTo>
                  <a:lnTo>
                    <a:pt x="304" y="1015"/>
                  </a:lnTo>
                  <a:lnTo>
                    <a:pt x="307" y="1016"/>
                  </a:lnTo>
                  <a:lnTo>
                    <a:pt x="309" y="1018"/>
                  </a:lnTo>
                  <a:lnTo>
                    <a:pt x="312" y="1018"/>
                  </a:lnTo>
                  <a:lnTo>
                    <a:pt x="316" y="1018"/>
                  </a:lnTo>
                  <a:lnTo>
                    <a:pt x="321" y="1018"/>
                  </a:lnTo>
                  <a:lnTo>
                    <a:pt x="324" y="1019"/>
                  </a:lnTo>
                  <a:lnTo>
                    <a:pt x="326" y="1022"/>
                  </a:lnTo>
                  <a:lnTo>
                    <a:pt x="336" y="1031"/>
                  </a:lnTo>
                  <a:lnTo>
                    <a:pt x="341" y="1034"/>
                  </a:lnTo>
                  <a:lnTo>
                    <a:pt x="344" y="1034"/>
                  </a:lnTo>
                  <a:lnTo>
                    <a:pt x="351" y="1036"/>
                  </a:lnTo>
                  <a:lnTo>
                    <a:pt x="352" y="1036"/>
                  </a:lnTo>
                  <a:lnTo>
                    <a:pt x="355" y="1035"/>
                  </a:lnTo>
                  <a:lnTo>
                    <a:pt x="355" y="1035"/>
                  </a:lnTo>
                  <a:lnTo>
                    <a:pt x="354" y="1034"/>
                  </a:lnTo>
                  <a:lnTo>
                    <a:pt x="351" y="1032"/>
                  </a:lnTo>
                  <a:lnTo>
                    <a:pt x="346" y="1029"/>
                  </a:lnTo>
                  <a:lnTo>
                    <a:pt x="345" y="1026"/>
                  </a:lnTo>
                  <a:lnTo>
                    <a:pt x="344" y="1021"/>
                  </a:lnTo>
                  <a:lnTo>
                    <a:pt x="345" y="1019"/>
                  </a:lnTo>
                  <a:lnTo>
                    <a:pt x="345" y="1018"/>
                  </a:lnTo>
                  <a:lnTo>
                    <a:pt x="345" y="1014"/>
                  </a:lnTo>
                  <a:lnTo>
                    <a:pt x="344" y="1011"/>
                  </a:lnTo>
                  <a:lnTo>
                    <a:pt x="342" y="1011"/>
                  </a:lnTo>
                  <a:lnTo>
                    <a:pt x="338" y="1006"/>
                  </a:lnTo>
                  <a:lnTo>
                    <a:pt x="338" y="1005"/>
                  </a:lnTo>
                  <a:lnTo>
                    <a:pt x="339" y="1005"/>
                  </a:lnTo>
                  <a:lnTo>
                    <a:pt x="341" y="1005"/>
                  </a:lnTo>
                  <a:lnTo>
                    <a:pt x="345" y="1008"/>
                  </a:lnTo>
                  <a:lnTo>
                    <a:pt x="348" y="1008"/>
                  </a:lnTo>
                  <a:lnTo>
                    <a:pt x="349" y="1006"/>
                  </a:lnTo>
                  <a:lnTo>
                    <a:pt x="349" y="1006"/>
                  </a:lnTo>
                  <a:lnTo>
                    <a:pt x="346" y="1004"/>
                  </a:lnTo>
                  <a:lnTo>
                    <a:pt x="344" y="1001"/>
                  </a:lnTo>
                  <a:lnTo>
                    <a:pt x="336" y="999"/>
                  </a:lnTo>
                  <a:lnTo>
                    <a:pt x="332" y="1001"/>
                  </a:lnTo>
                  <a:lnTo>
                    <a:pt x="329" y="999"/>
                  </a:lnTo>
                  <a:lnTo>
                    <a:pt x="326" y="996"/>
                  </a:lnTo>
                  <a:lnTo>
                    <a:pt x="325" y="996"/>
                  </a:lnTo>
                  <a:lnTo>
                    <a:pt x="321" y="998"/>
                  </a:lnTo>
                  <a:lnTo>
                    <a:pt x="319" y="998"/>
                  </a:lnTo>
                  <a:lnTo>
                    <a:pt x="318" y="998"/>
                  </a:lnTo>
                  <a:lnTo>
                    <a:pt x="316" y="991"/>
                  </a:lnTo>
                  <a:lnTo>
                    <a:pt x="316" y="989"/>
                  </a:lnTo>
                  <a:lnTo>
                    <a:pt x="318" y="988"/>
                  </a:lnTo>
                  <a:lnTo>
                    <a:pt x="319" y="985"/>
                  </a:lnTo>
                  <a:lnTo>
                    <a:pt x="319" y="984"/>
                  </a:lnTo>
                  <a:lnTo>
                    <a:pt x="322" y="981"/>
                  </a:lnTo>
                  <a:lnTo>
                    <a:pt x="334" y="976"/>
                  </a:lnTo>
                  <a:lnTo>
                    <a:pt x="338" y="972"/>
                  </a:lnTo>
                  <a:lnTo>
                    <a:pt x="338" y="972"/>
                  </a:lnTo>
                  <a:lnTo>
                    <a:pt x="335" y="972"/>
                  </a:lnTo>
                  <a:lnTo>
                    <a:pt x="332" y="974"/>
                  </a:lnTo>
                  <a:lnTo>
                    <a:pt x="331" y="975"/>
                  </a:lnTo>
                  <a:lnTo>
                    <a:pt x="324" y="972"/>
                  </a:lnTo>
                  <a:lnTo>
                    <a:pt x="322" y="974"/>
                  </a:lnTo>
                  <a:lnTo>
                    <a:pt x="319" y="976"/>
                  </a:lnTo>
                  <a:lnTo>
                    <a:pt x="315" y="979"/>
                  </a:lnTo>
                  <a:lnTo>
                    <a:pt x="314" y="979"/>
                  </a:lnTo>
                  <a:lnTo>
                    <a:pt x="311" y="978"/>
                  </a:lnTo>
                  <a:lnTo>
                    <a:pt x="311" y="976"/>
                  </a:lnTo>
                  <a:lnTo>
                    <a:pt x="309" y="974"/>
                  </a:lnTo>
                  <a:lnTo>
                    <a:pt x="312" y="972"/>
                  </a:lnTo>
                  <a:lnTo>
                    <a:pt x="314" y="971"/>
                  </a:lnTo>
                  <a:lnTo>
                    <a:pt x="315" y="968"/>
                  </a:lnTo>
                  <a:lnTo>
                    <a:pt x="315" y="965"/>
                  </a:lnTo>
                  <a:lnTo>
                    <a:pt x="312" y="966"/>
                  </a:lnTo>
                  <a:lnTo>
                    <a:pt x="312" y="965"/>
                  </a:lnTo>
                  <a:lnTo>
                    <a:pt x="312" y="962"/>
                  </a:lnTo>
                  <a:lnTo>
                    <a:pt x="312" y="959"/>
                  </a:lnTo>
                  <a:lnTo>
                    <a:pt x="311" y="955"/>
                  </a:lnTo>
                  <a:lnTo>
                    <a:pt x="308" y="951"/>
                  </a:lnTo>
                  <a:lnTo>
                    <a:pt x="308" y="949"/>
                  </a:lnTo>
                  <a:lnTo>
                    <a:pt x="307" y="948"/>
                  </a:lnTo>
                  <a:lnTo>
                    <a:pt x="305" y="941"/>
                  </a:lnTo>
                  <a:lnTo>
                    <a:pt x="305" y="938"/>
                  </a:lnTo>
                  <a:lnTo>
                    <a:pt x="307" y="938"/>
                  </a:lnTo>
                  <a:lnTo>
                    <a:pt x="307" y="936"/>
                  </a:lnTo>
                  <a:lnTo>
                    <a:pt x="304" y="938"/>
                  </a:lnTo>
                  <a:lnTo>
                    <a:pt x="302" y="939"/>
                  </a:lnTo>
                  <a:lnTo>
                    <a:pt x="304" y="941"/>
                  </a:lnTo>
                  <a:lnTo>
                    <a:pt x="304" y="944"/>
                  </a:lnTo>
                  <a:lnTo>
                    <a:pt x="305" y="946"/>
                  </a:lnTo>
                  <a:lnTo>
                    <a:pt x="305" y="949"/>
                  </a:lnTo>
                  <a:lnTo>
                    <a:pt x="307" y="952"/>
                  </a:lnTo>
                  <a:lnTo>
                    <a:pt x="308" y="954"/>
                  </a:lnTo>
                  <a:lnTo>
                    <a:pt x="309" y="956"/>
                  </a:lnTo>
                  <a:lnTo>
                    <a:pt x="311" y="961"/>
                  </a:lnTo>
                  <a:lnTo>
                    <a:pt x="309" y="964"/>
                  </a:lnTo>
                  <a:lnTo>
                    <a:pt x="308" y="965"/>
                  </a:lnTo>
                  <a:lnTo>
                    <a:pt x="307" y="968"/>
                  </a:lnTo>
                  <a:lnTo>
                    <a:pt x="305" y="971"/>
                  </a:lnTo>
                  <a:lnTo>
                    <a:pt x="305" y="972"/>
                  </a:lnTo>
                  <a:lnTo>
                    <a:pt x="304" y="974"/>
                  </a:lnTo>
                  <a:lnTo>
                    <a:pt x="302" y="974"/>
                  </a:lnTo>
                  <a:lnTo>
                    <a:pt x="301" y="974"/>
                  </a:lnTo>
                  <a:lnTo>
                    <a:pt x="302" y="976"/>
                  </a:lnTo>
                  <a:lnTo>
                    <a:pt x="304" y="979"/>
                  </a:lnTo>
                  <a:lnTo>
                    <a:pt x="302" y="984"/>
                  </a:lnTo>
                  <a:lnTo>
                    <a:pt x="299" y="985"/>
                  </a:lnTo>
                  <a:lnTo>
                    <a:pt x="299" y="985"/>
                  </a:lnTo>
                  <a:lnTo>
                    <a:pt x="297" y="986"/>
                  </a:lnTo>
                  <a:lnTo>
                    <a:pt x="291" y="988"/>
                  </a:lnTo>
                  <a:lnTo>
                    <a:pt x="288" y="988"/>
                  </a:lnTo>
                  <a:lnTo>
                    <a:pt x="285" y="986"/>
                  </a:lnTo>
                  <a:lnTo>
                    <a:pt x="281" y="985"/>
                  </a:lnTo>
                  <a:lnTo>
                    <a:pt x="278" y="982"/>
                  </a:lnTo>
                  <a:lnTo>
                    <a:pt x="277" y="978"/>
                  </a:lnTo>
                  <a:lnTo>
                    <a:pt x="275" y="975"/>
                  </a:lnTo>
                  <a:lnTo>
                    <a:pt x="275" y="972"/>
                  </a:lnTo>
                  <a:lnTo>
                    <a:pt x="275" y="969"/>
                  </a:lnTo>
                  <a:lnTo>
                    <a:pt x="277" y="968"/>
                  </a:lnTo>
                  <a:lnTo>
                    <a:pt x="278" y="958"/>
                  </a:lnTo>
                  <a:lnTo>
                    <a:pt x="281" y="949"/>
                  </a:lnTo>
                  <a:lnTo>
                    <a:pt x="287" y="942"/>
                  </a:lnTo>
                  <a:lnTo>
                    <a:pt x="288" y="939"/>
                  </a:lnTo>
                  <a:lnTo>
                    <a:pt x="288" y="936"/>
                  </a:lnTo>
                  <a:lnTo>
                    <a:pt x="288" y="936"/>
                  </a:lnTo>
                  <a:lnTo>
                    <a:pt x="288" y="935"/>
                  </a:lnTo>
                  <a:lnTo>
                    <a:pt x="281" y="945"/>
                  </a:lnTo>
                  <a:lnTo>
                    <a:pt x="277" y="946"/>
                  </a:lnTo>
                  <a:lnTo>
                    <a:pt x="275" y="944"/>
                  </a:lnTo>
                  <a:lnTo>
                    <a:pt x="275" y="939"/>
                  </a:lnTo>
                  <a:lnTo>
                    <a:pt x="277" y="939"/>
                  </a:lnTo>
                  <a:lnTo>
                    <a:pt x="279" y="939"/>
                  </a:lnTo>
                  <a:lnTo>
                    <a:pt x="281" y="936"/>
                  </a:lnTo>
                  <a:lnTo>
                    <a:pt x="279" y="934"/>
                  </a:lnTo>
                  <a:lnTo>
                    <a:pt x="277" y="932"/>
                  </a:lnTo>
                  <a:lnTo>
                    <a:pt x="277" y="932"/>
                  </a:lnTo>
                  <a:lnTo>
                    <a:pt x="278" y="929"/>
                  </a:lnTo>
                  <a:lnTo>
                    <a:pt x="284" y="929"/>
                  </a:lnTo>
                  <a:lnTo>
                    <a:pt x="285" y="928"/>
                  </a:lnTo>
                  <a:lnTo>
                    <a:pt x="287" y="925"/>
                  </a:lnTo>
                  <a:lnTo>
                    <a:pt x="289" y="922"/>
                  </a:lnTo>
                  <a:lnTo>
                    <a:pt x="289" y="919"/>
                  </a:lnTo>
                  <a:lnTo>
                    <a:pt x="289" y="916"/>
                  </a:lnTo>
                  <a:lnTo>
                    <a:pt x="289" y="914"/>
                  </a:lnTo>
                  <a:lnTo>
                    <a:pt x="289" y="912"/>
                  </a:lnTo>
                  <a:lnTo>
                    <a:pt x="289" y="909"/>
                  </a:lnTo>
                  <a:lnTo>
                    <a:pt x="289" y="906"/>
                  </a:lnTo>
                  <a:lnTo>
                    <a:pt x="288" y="904"/>
                  </a:lnTo>
                  <a:lnTo>
                    <a:pt x="285" y="902"/>
                  </a:lnTo>
                  <a:lnTo>
                    <a:pt x="284" y="905"/>
                  </a:lnTo>
                  <a:lnTo>
                    <a:pt x="282" y="905"/>
                  </a:lnTo>
                  <a:lnTo>
                    <a:pt x="281" y="906"/>
                  </a:lnTo>
                  <a:lnTo>
                    <a:pt x="279" y="905"/>
                  </a:lnTo>
                  <a:lnTo>
                    <a:pt x="278" y="904"/>
                  </a:lnTo>
                  <a:lnTo>
                    <a:pt x="277" y="904"/>
                  </a:lnTo>
                  <a:lnTo>
                    <a:pt x="275" y="902"/>
                  </a:lnTo>
                  <a:lnTo>
                    <a:pt x="275" y="902"/>
                  </a:lnTo>
                  <a:lnTo>
                    <a:pt x="275" y="899"/>
                  </a:lnTo>
                  <a:lnTo>
                    <a:pt x="275" y="896"/>
                  </a:lnTo>
                  <a:lnTo>
                    <a:pt x="277" y="895"/>
                  </a:lnTo>
                  <a:lnTo>
                    <a:pt x="278" y="894"/>
                  </a:lnTo>
                  <a:lnTo>
                    <a:pt x="279" y="891"/>
                  </a:lnTo>
                  <a:lnTo>
                    <a:pt x="281" y="888"/>
                  </a:lnTo>
                  <a:lnTo>
                    <a:pt x="281" y="884"/>
                  </a:lnTo>
                  <a:lnTo>
                    <a:pt x="281" y="881"/>
                  </a:lnTo>
                  <a:lnTo>
                    <a:pt x="278" y="876"/>
                  </a:lnTo>
                  <a:lnTo>
                    <a:pt x="275" y="881"/>
                  </a:lnTo>
                  <a:lnTo>
                    <a:pt x="274" y="881"/>
                  </a:lnTo>
                  <a:lnTo>
                    <a:pt x="274" y="878"/>
                  </a:lnTo>
                  <a:lnTo>
                    <a:pt x="274" y="876"/>
                  </a:lnTo>
                  <a:lnTo>
                    <a:pt x="272" y="874"/>
                  </a:lnTo>
                  <a:lnTo>
                    <a:pt x="269" y="872"/>
                  </a:lnTo>
                  <a:lnTo>
                    <a:pt x="268" y="871"/>
                  </a:lnTo>
                  <a:lnTo>
                    <a:pt x="268" y="869"/>
                  </a:lnTo>
                  <a:lnTo>
                    <a:pt x="268" y="868"/>
                  </a:lnTo>
                  <a:lnTo>
                    <a:pt x="269" y="865"/>
                  </a:lnTo>
                  <a:lnTo>
                    <a:pt x="269" y="859"/>
                  </a:lnTo>
                  <a:lnTo>
                    <a:pt x="271" y="861"/>
                  </a:lnTo>
                  <a:lnTo>
                    <a:pt x="272" y="859"/>
                  </a:lnTo>
                  <a:lnTo>
                    <a:pt x="272" y="855"/>
                  </a:lnTo>
                  <a:lnTo>
                    <a:pt x="271" y="852"/>
                  </a:lnTo>
                  <a:lnTo>
                    <a:pt x="269" y="849"/>
                  </a:lnTo>
                  <a:lnTo>
                    <a:pt x="269" y="849"/>
                  </a:lnTo>
                  <a:lnTo>
                    <a:pt x="269" y="848"/>
                  </a:lnTo>
                  <a:lnTo>
                    <a:pt x="268" y="845"/>
                  </a:lnTo>
                  <a:lnTo>
                    <a:pt x="268" y="844"/>
                  </a:lnTo>
                  <a:lnTo>
                    <a:pt x="267" y="838"/>
                  </a:lnTo>
                  <a:lnTo>
                    <a:pt x="265" y="836"/>
                  </a:lnTo>
                  <a:lnTo>
                    <a:pt x="264" y="835"/>
                  </a:lnTo>
                  <a:lnTo>
                    <a:pt x="262" y="835"/>
                  </a:lnTo>
                  <a:lnTo>
                    <a:pt x="259" y="836"/>
                  </a:lnTo>
                  <a:lnTo>
                    <a:pt x="254" y="838"/>
                  </a:lnTo>
                  <a:lnTo>
                    <a:pt x="251" y="839"/>
                  </a:lnTo>
                  <a:lnTo>
                    <a:pt x="249" y="838"/>
                  </a:lnTo>
                  <a:lnTo>
                    <a:pt x="252" y="836"/>
                  </a:lnTo>
                  <a:lnTo>
                    <a:pt x="255" y="835"/>
                  </a:lnTo>
                  <a:lnTo>
                    <a:pt x="258" y="834"/>
                  </a:lnTo>
                  <a:lnTo>
                    <a:pt x="259" y="829"/>
                  </a:lnTo>
                  <a:lnTo>
                    <a:pt x="259" y="826"/>
                  </a:lnTo>
                  <a:lnTo>
                    <a:pt x="259" y="824"/>
                  </a:lnTo>
                  <a:lnTo>
                    <a:pt x="258" y="821"/>
                  </a:lnTo>
                  <a:lnTo>
                    <a:pt x="259" y="819"/>
                  </a:lnTo>
                  <a:lnTo>
                    <a:pt x="262" y="818"/>
                  </a:lnTo>
                  <a:lnTo>
                    <a:pt x="264" y="817"/>
                  </a:lnTo>
                  <a:lnTo>
                    <a:pt x="265" y="815"/>
                  </a:lnTo>
                  <a:lnTo>
                    <a:pt x="261" y="809"/>
                  </a:lnTo>
                  <a:lnTo>
                    <a:pt x="257" y="807"/>
                  </a:lnTo>
                  <a:lnTo>
                    <a:pt x="255" y="805"/>
                  </a:lnTo>
                  <a:lnTo>
                    <a:pt x="255" y="802"/>
                  </a:lnTo>
                  <a:lnTo>
                    <a:pt x="254" y="799"/>
                  </a:lnTo>
                  <a:lnTo>
                    <a:pt x="252" y="795"/>
                  </a:lnTo>
                  <a:lnTo>
                    <a:pt x="251" y="792"/>
                  </a:lnTo>
                  <a:lnTo>
                    <a:pt x="248" y="789"/>
                  </a:lnTo>
                  <a:lnTo>
                    <a:pt x="241" y="784"/>
                  </a:lnTo>
                  <a:lnTo>
                    <a:pt x="238" y="779"/>
                  </a:lnTo>
                  <a:lnTo>
                    <a:pt x="235" y="774"/>
                  </a:lnTo>
                  <a:lnTo>
                    <a:pt x="235" y="771"/>
                  </a:lnTo>
                  <a:lnTo>
                    <a:pt x="234" y="768"/>
                  </a:lnTo>
                  <a:lnTo>
                    <a:pt x="228" y="764"/>
                  </a:lnTo>
                  <a:lnTo>
                    <a:pt x="228" y="762"/>
                  </a:lnTo>
                  <a:lnTo>
                    <a:pt x="234" y="757"/>
                  </a:lnTo>
                  <a:lnTo>
                    <a:pt x="234" y="754"/>
                  </a:lnTo>
                  <a:lnTo>
                    <a:pt x="231" y="748"/>
                  </a:lnTo>
                  <a:lnTo>
                    <a:pt x="229" y="742"/>
                  </a:lnTo>
                  <a:lnTo>
                    <a:pt x="227" y="741"/>
                  </a:lnTo>
                  <a:lnTo>
                    <a:pt x="224" y="739"/>
                  </a:lnTo>
                  <a:lnTo>
                    <a:pt x="221" y="738"/>
                  </a:lnTo>
                  <a:lnTo>
                    <a:pt x="218" y="734"/>
                  </a:lnTo>
                  <a:lnTo>
                    <a:pt x="214" y="731"/>
                  </a:lnTo>
                  <a:lnTo>
                    <a:pt x="210" y="729"/>
                  </a:lnTo>
                  <a:lnTo>
                    <a:pt x="202" y="722"/>
                  </a:lnTo>
                  <a:lnTo>
                    <a:pt x="191" y="715"/>
                  </a:lnTo>
                  <a:lnTo>
                    <a:pt x="187" y="711"/>
                  </a:lnTo>
                  <a:lnTo>
                    <a:pt x="184" y="709"/>
                  </a:lnTo>
                  <a:lnTo>
                    <a:pt x="180" y="709"/>
                  </a:lnTo>
                  <a:lnTo>
                    <a:pt x="172" y="705"/>
                  </a:lnTo>
                  <a:lnTo>
                    <a:pt x="165" y="705"/>
                  </a:lnTo>
                  <a:lnTo>
                    <a:pt x="161" y="705"/>
                  </a:lnTo>
                  <a:lnTo>
                    <a:pt x="161" y="705"/>
                  </a:lnTo>
                  <a:lnTo>
                    <a:pt x="157" y="701"/>
                  </a:lnTo>
                  <a:lnTo>
                    <a:pt x="152" y="698"/>
                  </a:lnTo>
                  <a:lnTo>
                    <a:pt x="151" y="699"/>
                  </a:lnTo>
                  <a:lnTo>
                    <a:pt x="148" y="704"/>
                  </a:lnTo>
                  <a:lnTo>
                    <a:pt x="144" y="708"/>
                  </a:lnTo>
                  <a:lnTo>
                    <a:pt x="142" y="708"/>
                  </a:lnTo>
                  <a:lnTo>
                    <a:pt x="140" y="704"/>
                  </a:lnTo>
                  <a:lnTo>
                    <a:pt x="138" y="702"/>
                  </a:lnTo>
                  <a:lnTo>
                    <a:pt x="137" y="701"/>
                  </a:lnTo>
                  <a:lnTo>
                    <a:pt x="135" y="702"/>
                  </a:lnTo>
                  <a:lnTo>
                    <a:pt x="132" y="705"/>
                  </a:lnTo>
                  <a:lnTo>
                    <a:pt x="131" y="708"/>
                  </a:lnTo>
                  <a:lnTo>
                    <a:pt x="127" y="711"/>
                  </a:lnTo>
                  <a:lnTo>
                    <a:pt x="124" y="712"/>
                  </a:lnTo>
                  <a:lnTo>
                    <a:pt x="121" y="712"/>
                  </a:lnTo>
                  <a:lnTo>
                    <a:pt x="120" y="714"/>
                  </a:lnTo>
                  <a:lnTo>
                    <a:pt x="118" y="714"/>
                  </a:lnTo>
                  <a:lnTo>
                    <a:pt x="117" y="712"/>
                  </a:lnTo>
                  <a:lnTo>
                    <a:pt x="114" y="711"/>
                  </a:lnTo>
                  <a:lnTo>
                    <a:pt x="113" y="708"/>
                  </a:lnTo>
                  <a:lnTo>
                    <a:pt x="111" y="707"/>
                  </a:lnTo>
                  <a:lnTo>
                    <a:pt x="110" y="705"/>
                  </a:lnTo>
                  <a:lnTo>
                    <a:pt x="107" y="707"/>
                  </a:lnTo>
                  <a:lnTo>
                    <a:pt x="104" y="712"/>
                  </a:lnTo>
                  <a:lnTo>
                    <a:pt x="103" y="712"/>
                  </a:lnTo>
                  <a:lnTo>
                    <a:pt x="101" y="712"/>
                  </a:lnTo>
                  <a:lnTo>
                    <a:pt x="98" y="711"/>
                  </a:lnTo>
                  <a:lnTo>
                    <a:pt x="95" y="708"/>
                  </a:lnTo>
                  <a:lnTo>
                    <a:pt x="94" y="708"/>
                  </a:lnTo>
                  <a:lnTo>
                    <a:pt x="93" y="709"/>
                  </a:lnTo>
                  <a:lnTo>
                    <a:pt x="93" y="712"/>
                  </a:lnTo>
                  <a:lnTo>
                    <a:pt x="95" y="718"/>
                  </a:lnTo>
                  <a:lnTo>
                    <a:pt x="98" y="724"/>
                  </a:lnTo>
                  <a:lnTo>
                    <a:pt x="97" y="724"/>
                  </a:lnTo>
                  <a:lnTo>
                    <a:pt x="75" y="718"/>
                  </a:lnTo>
                  <a:lnTo>
                    <a:pt x="73" y="717"/>
                  </a:lnTo>
                  <a:lnTo>
                    <a:pt x="68" y="712"/>
                  </a:lnTo>
                  <a:lnTo>
                    <a:pt x="65" y="709"/>
                  </a:lnTo>
                  <a:lnTo>
                    <a:pt x="60" y="704"/>
                  </a:lnTo>
                  <a:lnTo>
                    <a:pt x="55" y="699"/>
                  </a:lnTo>
                  <a:lnTo>
                    <a:pt x="54" y="697"/>
                  </a:lnTo>
                  <a:lnTo>
                    <a:pt x="54" y="695"/>
                  </a:lnTo>
                  <a:lnTo>
                    <a:pt x="55" y="692"/>
                  </a:lnTo>
                  <a:lnTo>
                    <a:pt x="64" y="684"/>
                  </a:lnTo>
                  <a:lnTo>
                    <a:pt x="67" y="682"/>
                  </a:lnTo>
                  <a:lnTo>
                    <a:pt x="74" y="681"/>
                  </a:lnTo>
                  <a:lnTo>
                    <a:pt x="75" y="679"/>
                  </a:lnTo>
                  <a:lnTo>
                    <a:pt x="75" y="678"/>
                  </a:lnTo>
                  <a:lnTo>
                    <a:pt x="74" y="677"/>
                  </a:lnTo>
                  <a:lnTo>
                    <a:pt x="65" y="677"/>
                  </a:lnTo>
                  <a:lnTo>
                    <a:pt x="57" y="675"/>
                  </a:lnTo>
                  <a:lnTo>
                    <a:pt x="51" y="672"/>
                  </a:lnTo>
                  <a:lnTo>
                    <a:pt x="50" y="671"/>
                  </a:lnTo>
                  <a:lnTo>
                    <a:pt x="48" y="668"/>
                  </a:lnTo>
                  <a:lnTo>
                    <a:pt x="47" y="665"/>
                  </a:lnTo>
                  <a:lnTo>
                    <a:pt x="47" y="662"/>
                  </a:lnTo>
                  <a:lnTo>
                    <a:pt x="50" y="658"/>
                  </a:lnTo>
                  <a:lnTo>
                    <a:pt x="50" y="655"/>
                  </a:lnTo>
                  <a:lnTo>
                    <a:pt x="50" y="654"/>
                  </a:lnTo>
                  <a:lnTo>
                    <a:pt x="41" y="664"/>
                  </a:lnTo>
                  <a:lnTo>
                    <a:pt x="38" y="667"/>
                  </a:lnTo>
                  <a:lnTo>
                    <a:pt x="35" y="667"/>
                  </a:lnTo>
                  <a:lnTo>
                    <a:pt x="34" y="664"/>
                  </a:lnTo>
                  <a:lnTo>
                    <a:pt x="33" y="662"/>
                  </a:lnTo>
                  <a:lnTo>
                    <a:pt x="33" y="661"/>
                  </a:lnTo>
                  <a:lnTo>
                    <a:pt x="33" y="659"/>
                  </a:lnTo>
                  <a:lnTo>
                    <a:pt x="34" y="658"/>
                  </a:lnTo>
                  <a:lnTo>
                    <a:pt x="30" y="654"/>
                  </a:lnTo>
                  <a:lnTo>
                    <a:pt x="27" y="651"/>
                  </a:lnTo>
                  <a:lnTo>
                    <a:pt x="27" y="648"/>
                  </a:lnTo>
                  <a:lnTo>
                    <a:pt x="28" y="645"/>
                  </a:lnTo>
                  <a:lnTo>
                    <a:pt x="30" y="642"/>
                  </a:lnTo>
                  <a:lnTo>
                    <a:pt x="31" y="641"/>
                  </a:lnTo>
                  <a:lnTo>
                    <a:pt x="35" y="639"/>
                  </a:lnTo>
                  <a:lnTo>
                    <a:pt x="51" y="637"/>
                  </a:lnTo>
                  <a:lnTo>
                    <a:pt x="61" y="639"/>
                  </a:lnTo>
                  <a:lnTo>
                    <a:pt x="65" y="631"/>
                  </a:lnTo>
                  <a:lnTo>
                    <a:pt x="68" y="628"/>
                  </a:lnTo>
                  <a:lnTo>
                    <a:pt x="75" y="625"/>
                  </a:lnTo>
                  <a:lnTo>
                    <a:pt x="87" y="625"/>
                  </a:lnTo>
                  <a:lnTo>
                    <a:pt x="94" y="627"/>
                  </a:lnTo>
                  <a:lnTo>
                    <a:pt x="98" y="629"/>
                  </a:lnTo>
                  <a:lnTo>
                    <a:pt x="104" y="634"/>
                  </a:lnTo>
                  <a:lnTo>
                    <a:pt x="104" y="632"/>
                  </a:lnTo>
                  <a:lnTo>
                    <a:pt x="103" y="628"/>
                  </a:lnTo>
                  <a:lnTo>
                    <a:pt x="103" y="625"/>
                  </a:lnTo>
                  <a:lnTo>
                    <a:pt x="104" y="619"/>
                  </a:lnTo>
                  <a:lnTo>
                    <a:pt x="105" y="615"/>
                  </a:lnTo>
                  <a:lnTo>
                    <a:pt x="104" y="612"/>
                  </a:lnTo>
                  <a:lnTo>
                    <a:pt x="103" y="608"/>
                  </a:lnTo>
                  <a:lnTo>
                    <a:pt x="98" y="604"/>
                  </a:lnTo>
                  <a:lnTo>
                    <a:pt x="97" y="604"/>
                  </a:lnTo>
                  <a:lnTo>
                    <a:pt x="94" y="604"/>
                  </a:lnTo>
                  <a:lnTo>
                    <a:pt x="91" y="607"/>
                  </a:lnTo>
                  <a:lnTo>
                    <a:pt x="85" y="614"/>
                  </a:lnTo>
                  <a:lnTo>
                    <a:pt x="83" y="615"/>
                  </a:lnTo>
                  <a:lnTo>
                    <a:pt x="78" y="615"/>
                  </a:lnTo>
                  <a:lnTo>
                    <a:pt x="75" y="615"/>
                  </a:lnTo>
                  <a:lnTo>
                    <a:pt x="73" y="614"/>
                  </a:lnTo>
                  <a:lnTo>
                    <a:pt x="68" y="610"/>
                  </a:lnTo>
                  <a:lnTo>
                    <a:pt x="67" y="610"/>
                  </a:lnTo>
                  <a:lnTo>
                    <a:pt x="65" y="611"/>
                  </a:lnTo>
                  <a:lnTo>
                    <a:pt x="64" y="615"/>
                  </a:lnTo>
                  <a:lnTo>
                    <a:pt x="61" y="618"/>
                  </a:lnTo>
                  <a:lnTo>
                    <a:pt x="60" y="619"/>
                  </a:lnTo>
                  <a:lnTo>
                    <a:pt x="58" y="619"/>
                  </a:lnTo>
                  <a:lnTo>
                    <a:pt x="55" y="619"/>
                  </a:lnTo>
                  <a:lnTo>
                    <a:pt x="45" y="614"/>
                  </a:lnTo>
                  <a:lnTo>
                    <a:pt x="44" y="611"/>
                  </a:lnTo>
                  <a:lnTo>
                    <a:pt x="44" y="607"/>
                  </a:lnTo>
                  <a:lnTo>
                    <a:pt x="40" y="602"/>
                  </a:lnTo>
                  <a:lnTo>
                    <a:pt x="37" y="602"/>
                  </a:lnTo>
                  <a:lnTo>
                    <a:pt x="37" y="601"/>
                  </a:lnTo>
                  <a:lnTo>
                    <a:pt x="41" y="595"/>
                  </a:lnTo>
                  <a:lnTo>
                    <a:pt x="44" y="592"/>
                  </a:lnTo>
                  <a:lnTo>
                    <a:pt x="44" y="591"/>
                  </a:lnTo>
                  <a:lnTo>
                    <a:pt x="38" y="591"/>
                  </a:lnTo>
                  <a:lnTo>
                    <a:pt x="35" y="595"/>
                  </a:lnTo>
                  <a:lnTo>
                    <a:pt x="34" y="595"/>
                  </a:lnTo>
                  <a:lnTo>
                    <a:pt x="30" y="595"/>
                  </a:lnTo>
                  <a:lnTo>
                    <a:pt x="26" y="594"/>
                  </a:lnTo>
                  <a:lnTo>
                    <a:pt x="23" y="592"/>
                  </a:lnTo>
                  <a:lnTo>
                    <a:pt x="21" y="590"/>
                  </a:lnTo>
                  <a:lnTo>
                    <a:pt x="18" y="587"/>
                  </a:lnTo>
                  <a:lnTo>
                    <a:pt x="13" y="584"/>
                  </a:lnTo>
                  <a:lnTo>
                    <a:pt x="11" y="582"/>
                  </a:lnTo>
                  <a:lnTo>
                    <a:pt x="10" y="580"/>
                  </a:lnTo>
                  <a:lnTo>
                    <a:pt x="4" y="572"/>
                  </a:lnTo>
                  <a:lnTo>
                    <a:pt x="1" y="567"/>
                  </a:lnTo>
                  <a:lnTo>
                    <a:pt x="0" y="564"/>
                  </a:lnTo>
                  <a:lnTo>
                    <a:pt x="4" y="558"/>
                  </a:lnTo>
                  <a:lnTo>
                    <a:pt x="4" y="555"/>
                  </a:lnTo>
                  <a:lnTo>
                    <a:pt x="3" y="552"/>
                  </a:lnTo>
                  <a:lnTo>
                    <a:pt x="3" y="551"/>
                  </a:lnTo>
                  <a:lnTo>
                    <a:pt x="3" y="548"/>
                  </a:lnTo>
                  <a:lnTo>
                    <a:pt x="6" y="541"/>
                  </a:lnTo>
                  <a:lnTo>
                    <a:pt x="7" y="540"/>
                  </a:lnTo>
                  <a:lnTo>
                    <a:pt x="13" y="535"/>
                  </a:lnTo>
                  <a:lnTo>
                    <a:pt x="18" y="530"/>
                  </a:lnTo>
                  <a:lnTo>
                    <a:pt x="21" y="528"/>
                  </a:lnTo>
                  <a:lnTo>
                    <a:pt x="23" y="528"/>
                  </a:lnTo>
                  <a:lnTo>
                    <a:pt x="31" y="528"/>
                  </a:lnTo>
                  <a:lnTo>
                    <a:pt x="34" y="527"/>
                  </a:lnTo>
                  <a:lnTo>
                    <a:pt x="35" y="524"/>
                  </a:lnTo>
                  <a:lnTo>
                    <a:pt x="38" y="521"/>
                  </a:lnTo>
                  <a:lnTo>
                    <a:pt x="45" y="517"/>
                  </a:lnTo>
                  <a:lnTo>
                    <a:pt x="61" y="511"/>
                  </a:lnTo>
                  <a:lnTo>
                    <a:pt x="63" y="510"/>
                  </a:lnTo>
                  <a:lnTo>
                    <a:pt x="63" y="508"/>
                  </a:lnTo>
                  <a:lnTo>
                    <a:pt x="61" y="505"/>
                  </a:lnTo>
                  <a:lnTo>
                    <a:pt x="61" y="504"/>
                  </a:lnTo>
                  <a:lnTo>
                    <a:pt x="64" y="501"/>
                  </a:lnTo>
                  <a:lnTo>
                    <a:pt x="71" y="495"/>
                  </a:lnTo>
                  <a:lnTo>
                    <a:pt x="77" y="494"/>
                  </a:lnTo>
                  <a:lnTo>
                    <a:pt x="80" y="492"/>
                  </a:lnTo>
                  <a:lnTo>
                    <a:pt x="83" y="492"/>
                  </a:lnTo>
                  <a:lnTo>
                    <a:pt x="85" y="490"/>
                  </a:lnTo>
                  <a:lnTo>
                    <a:pt x="88" y="488"/>
                  </a:lnTo>
                  <a:lnTo>
                    <a:pt x="100" y="487"/>
                  </a:lnTo>
                  <a:lnTo>
                    <a:pt x="105" y="490"/>
                  </a:lnTo>
                  <a:lnTo>
                    <a:pt x="108" y="488"/>
                  </a:lnTo>
                  <a:lnTo>
                    <a:pt x="110" y="488"/>
                  </a:lnTo>
                  <a:lnTo>
                    <a:pt x="113" y="484"/>
                  </a:lnTo>
                  <a:lnTo>
                    <a:pt x="117" y="475"/>
                  </a:lnTo>
                  <a:lnTo>
                    <a:pt x="118" y="470"/>
                  </a:lnTo>
                  <a:lnTo>
                    <a:pt x="121" y="461"/>
                  </a:lnTo>
                  <a:lnTo>
                    <a:pt x="124" y="448"/>
                  </a:lnTo>
                  <a:lnTo>
                    <a:pt x="125" y="435"/>
                  </a:lnTo>
                  <a:lnTo>
                    <a:pt x="127" y="421"/>
                  </a:lnTo>
                  <a:lnTo>
                    <a:pt x="128" y="414"/>
                  </a:lnTo>
                  <a:lnTo>
                    <a:pt x="128" y="411"/>
                  </a:lnTo>
                  <a:lnTo>
                    <a:pt x="131" y="407"/>
                  </a:lnTo>
                  <a:lnTo>
                    <a:pt x="134" y="404"/>
                  </a:lnTo>
                  <a:lnTo>
                    <a:pt x="138" y="401"/>
                  </a:lnTo>
                  <a:lnTo>
                    <a:pt x="138" y="401"/>
                  </a:lnTo>
                  <a:lnTo>
                    <a:pt x="137" y="398"/>
                  </a:lnTo>
                  <a:lnTo>
                    <a:pt x="134" y="398"/>
                  </a:lnTo>
                  <a:lnTo>
                    <a:pt x="132" y="398"/>
                  </a:lnTo>
                  <a:lnTo>
                    <a:pt x="130" y="401"/>
                  </a:lnTo>
                  <a:lnTo>
                    <a:pt x="125" y="404"/>
                  </a:lnTo>
                  <a:lnTo>
                    <a:pt x="122" y="402"/>
                  </a:lnTo>
                  <a:lnTo>
                    <a:pt x="120" y="404"/>
                  </a:lnTo>
                  <a:lnTo>
                    <a:pt x="117" y="407"/>
                  </a:lnTo>
                  <a:lnTo>
                    <a:pt x="113" y="408"/>
                  </a:lnTo>
                  <a:lnTo>
                    <a:pt x="110" y="408"/>
                  </a:lnTo>
                  <a:lnTo>
                    <a:pt x="105" y="404"/>
                  </a:lnTo>
                  <a:lnTo>
                    <a:pt x="103" y="404"/>
                  </a:lnTo>
                  <a:lnTo>
                    <a:pt x="95" y="404"/>
                  </a:lnTo>
                  <a:lnTo>
                    <a:pt x="94" y="402"/>
                  </a:lnTo>
                  <a:lnTo>
                    <a:pt x="93" y="400"/>
                  </a:lnTo>
                  <a:lnTo>
                    <a:pt x="91" y="395"/>
                  </a:lnTo>
                  <a:lnTo>
                    <a:pt x="90" y="390"/>
                  </a:lnTo>
                  <a:lnTo>
                    <a:pt x="90" y="385"/>
                  </a:lnTo>
                  <a:lnTo>
                    <a:pt x="93" y="375"/>
                  </a:lnTo>
                  <a:lnTo>
                    <a:pt x="94" y="373"/>
                  </a:lnTo>
                  <a:lnTo>
                    <a:pt x="100" y="361"/>
                  </a:lnTo>
                  <a:lnTo>
                    <a:pt x="104" y="355"/>
                  </a:lnTo>
                  <a:lnTo>
                    <a:pt x="107" y="351"/>
                  </a:lnTo>
                  <a:lnTo>
                    <a:pt x="110" y="348"/>
                  </a:lnTo>
                  <a:lnTo>
                    <a:pt x="113" y="348"/>
                  </a:lnTo>
                  <a:lnTo>
                    <a:pt x="115" y="345"/>
                  </a:lnTo>
                  <a:lnTo>
                    <a:pt x="120" y="337"/>
                  </a:lnTo>
                  <a:lnTo>
                    <a:pt x="124" y="330"/>
                  </a:lnTo>
                  <a:lnTo>
                    <a:pt x="131" y="317"/>
                  </a:lnTo>
                  <a:lnTo>
                    <a:pt x="134" y="314"/>
                  </a:lnTo>
                  <a:lnTo>
                    <a:pt x="144" y="308"/>
                  </a:lnTo>
                  <a:lnTo>
                    <a:pt x="145" y="308"/>
                  </a:lnTo>
                  <a:lnTo>
                    <a:pt x="148" y="310"/>
                  </a:lnTo>
                  <a:lnTo>
                    <a:pt x="151" y="313"/>
                  </a:lnTo>
                  <a:lnTo>
                    <a:pt x="157" y="325"/>
                  </a:lnTo>
                  <a:lnTo>
                    <a:pt x="157" y="325"/>
                  </a:lnTo>
                  <a:lnTo>
                    <a:pt x="155" y="320"/>
                  </a:lnTo>
                  <a:lnTo>
                    <a:pt x="154" y="305"/>
                  </a:lnTo>
                  <a:lnTo>
                    <a:pt x="154" y="298"/>
                  </a:lnTo>
                  <a:lnTo>
                    <a:pt x="158" y="293"/>
                  </a:lnTo>
                  <a:lnTo>
                    <a:pt x="160" y="291"/>
                  </a:lnTo>
                  <a:lnTo>
                    <a:pt x="162" y="291"/>
                  </a:lnTo>
                  <a:lnTo>
                    <a:pt x="168" y="294"/>
                  </a:lnTo>
                  <a:lnTo>
                    <a:pt x="172" y="295"/>
                  </a:lnTo>
                  <a:lnTo>
                    <a:pt x="175" y="300"/>
                  </a:lnTo>
                  <a:lnTo>
                    <a:pt x="180" y="301"/>
                  </a:lnTo>
                  <a:lnTo>
                    <a:pt x="181" y="301"/>
                  </a:lnTo>
                  <a:lnTo>
                    <a:pt x="182" y="300"/>
                  </a:lnTo>
                  <a:lnTo>
                    <a:pt x="184" y="294"/>
                  </a:lnTo>
                  <a:lnTo>
                    <a:pt x="187" y="284"/>
                  </a:lnTo>
                  <a:lnTo>
                    <a:pt x="188" y="273"/>
                  </a:lnTo>
                  <a:lnTo>
                    <a:pt x="188" y="257"/>
                  </a:lnTo>
                  <a:lnTo>
                    <a:pt x="187" y="247"/>
                  </a:lnTo>
                  <a:lnTo>
                    <a:pt x="185" y="240"/>
                  </a:lnTo>
                  <a:lnTo>
                    <a:pt x="187" y="234"/>
                  </a:lnTo>
                  <a:lnTo>
                    <a:pt x="190" y="227"/>
                  </a:lnTo>
                  <a:lnTo>
                    <a:pt x="192" y="221"/>
                  </a:lnTo>
                  <a:lnTo>
                    <a:pt x="198" y="214"/>
                  </a:lnTo>
                  <a:lnTo>
                    <a:pt x="204" y="213"/>
                  </a:lnTo>
                  <a:lnTo>
                    <a:pt x="207" y="213"/>
                  </a:lnTo>
                  <a:lnTo>
                    <a:pt x="211" y="217"/>
                  </a:lnTo>
                  <a:lnTo>
                    <a:pt x="217" y="218"/>
                  </a:lnTo>
                  <a:lnTo>
                    <a:pt x="222" y="225"/>
                  </a:lnTo>
                  <a:lnTo>
                    <a:pt x="231" y="240"/>
                  </a:lnTo>
                  <a:lnTo>
                    <a:pt x="237" y="248"/>
                  </a:lnTo>
                  <a:lnTo>
                    <a:pt x="241" y="251"/>
                  </a:lnTo>
                  <a:lnTo>
                    <a:pt x="245" y="257"/>
                  </a:lnTo>
                  <a:lnTo>
                    <a:pt x="252" y="268"/>
                  </a:lnTo>
                  <a:lnTo>
                    <a:pt x="255" y="274"/>
                  </a:lnTo>
                  <a:lnTo>
                    <a:pt x="258" y="275"/>
                  </a:lnTo>
                  <a:lnTo>
                    <a:pt x="259" y="275"/>
                  </a:lnTo>
                  <a:lnTo>
                    <a:pt x="259" y="273"/>
                  </a:lnTo>
                  <a:lnTo>
                    <a:pt x="255" y="265"/>
                  </a:lnTo>
                  <a:lnTo>
                    <a:pt x="251" y="257"/>
                  </a:lnTo>
                  <a:lnTo>
                    <a:pt x="239" y="243"/>
                  </a:lnTo>
                  <a:lnTo>
                    <a:pt x="234" y="233"/>
                  </a:lnTo>
                  <a:lnTo>
                    <a:pt x="228" y="221"/>
                  </a:lnTo>
                  <a:lnTo>
                    <a:pt x="225" y="214"/>
                  </a:lnTo>
                  <a:lnTo>
                    <a:pt x="217" y="207"/>
                  </a:lnTo>
                  <a:lnTo>
                    <a:pt x="218" y="204"/>
                  </a:lnTo>
                  <a:lnTo>
                    <a:pt x="227" y="194"/>
                  </a:lnTo>
                  <a:lnTo>
                    <a:pt x="242" y="185"/>
                  </a:lnTo>
                  <a:lnTo>
                    <a:pt x="261" y="178"/>
                  </a:lnTo>
                  <a:lnTo>
                    <a:pt x="267" y="180"/>
                  </a:lnTo>
                  <a:lnTo>
                    <a:pt x="277" y="177"/>
                  </a:lnTo>
                  <a:lnTo>
                    <a:pt x="278" y="173"/>
                  </a:lnTo>
                  <a:lnTo>
                    <a:pt x="281" y="170"/>
                  </a:lnTo>
                  <a:lnTo>
                    <a:pt x="289" y="164"/>
                  </a:lnTo>
                  <a:lnTo>
                    <a:pt x="292" y="164"/>
                  </a:lnTo>
                  <a:lnTo>
                    <a:pt x="297" y="167"/>
                  </a:lnTo>
                  <a:lnTo>
                    <a:pt x="302" y="173"/>
                  </a:lnTo>
                  <a:lnTo>
                    <a:pt x="304" y="177"/>
                  </a:lnTo>
                  <a:lnTo>
                    <a:pt x="307" y="185"/>
                  </a:lnTo>
                  <a:lnTo>
                    <a:pt x="308" y="198"/>
                  </a:lnTo>
                  <a:lnTo>
                    <a:pt x="308" y="235"/>
                  </a:lnTo>
                  <a:lnTo>
                    <a:pt x="308" y="241"/>
                  </a:lnTo>
                  <a:lnTo>
                    <a:pt x="309" y="244"/>
                  </a:lnTo>
                  <a:lnTo>
                    <a:pt x="311" y="240"/>
                  </a:lnTo>
                  <a:lnTo>
                    <a:pt x="314" y="233"/>
                  </a:lnTo>
                  <a:lnTo>
                    <a:pt x="315" y="228"/>
                  </a:lnTo>
                  <a:lnTo>
                    <a:pt x="316" y="220"/>
                  </a:lnTo>
                  <a:lnTo>
                    <a:pt x="318" y="208"/>
                  </a:lnTo>
                  <a:lnTo>
                    <a:pt x="319" y="201"/>
                  </a:lnTo>
                  <a:lnTo>
                    <a:pt x="316" y="191"/>
                  </a:lnTo>
                  <a:lnTo>
                    <a:pt x="316" y="176"/>
                  </a:lnTo>
                  <a:lnTo>
                    <a:pt x="318" y="167"/>
                  </a:lnTo>
                  <a:lnTo>
                    <a:pt x="321" y="167"/>
                  </a:lnTo>
                  <a:lnTo>
                    <a:pt x="338" y="195"/>
                  </a:lnTo>
                  <a:lnTo>
                    <a:pt x="344" y="203"/>
                  </a:lnTo>
                  <a:lnTo>
                    <a:pt x="351" y="217"/>
                  </a:lnTo>
                  <a:lnTo>
                    <a:pt x="359" y="215"/>
                  </a:lnTo>
                  <a:lnTo>
                    <a:pt x="368" y="217"/>
                  </a:lnTo>
                  <a:lnTo>
                    <a:pt x="371" y="217"/>
                  </a:lnTo>
                  <a:lnTo>
                    <a:pt x="374" y="214"/>
                  </a:lnTo>
                  <a:lnTo>
                    <a:pt x="371" y="208"/>
                  </a:lnTo>
                  <a:lnTo>
                    <a:pt x="359" y="191"/>
                  </a:lnTo>
                  <a:lnTo>
                    <a:pt x="354" y="177"/>
                  </a:lnTo>
                  <a:lnTo>
                    <a:pt x="351" y="160"/>
                  </a:lnTo>
                  <a:lnTo>
                    <a:pt x="349" y="151"/>
                  </a:lnTo>
                  <a:lnTo>
                    <a:pt x="352" y="148"/>
                  </a:lnTo>
                  <a:lnTo>
                    <a:pt x="365" y="148"/>
                  </a:lnTo>
                  <a:lnTo>
                    <a:pt x="384" y="157"/>
                  </a:lnTo>
                  <a:lnTo>
                    <a:pt x="408" y="185"/>
                  </a:lnTo>
                  <a:lnTo>
                    <a:pt x="419" y="194"/>
                  </a:lnTo>
                  <a:lnTo>
                    <a:pt x="441" y="224"/>
                  </a:lnTo>
                  <a:lnTo>
                    <a:pt x="448" y="230"/>
                  </a:lnTo>
                  <a:lnTo>
                    <a:pt x="451" y="230"/>
                  </a:lnTo>
                  <a:lnTo>
                    <a:pt x="452" y="227"/>
                  </a:lnTo>
                  <a:lnTo>
                    <a:pt x="453" y="223"/>
                  </a:lnTo>
                  <a:lnTo>
                    <a:pt x="453" y="217"/>
                  </a:lnTo>
                  <a:lnTo>
                    <a:pt x="452" y="210"/>
                  </a:lnTo>
                  <a:lnTo>
                    <a:pt x="452" y="203"/>
                  </a:lnTo>
                  <a:lnTo>
                    <a:pt x="452" y="193"/>
                  </a:lnTo>
                  <a:lnTo>
                    <a:pt x="453" y="174"/>
                  </a:lnTo>
                  <a:lnTo>
                    <a:pt x="456" y="168"/>
                  </a:lnTo>
                  <a:lnTo>
                    <a:pt x="458" y="161"/>
                  </a:lnTo>
                  <a:lnTo>
                    <a:pt x="456" y="150"/>
                  </a:lnTo>
                  <a:lnTo>
                    <a:pt x="452" y="140"/>
                  </a:lnTo>
                  <a:lnTo>
                    <a:pt x="436" y="117"/>
                  </a:lnTo>
                  <a:lnTo>
                    <a:pt x="436" y="116"/>
                  </a:lnTo>
                  <a:lnTo>
                    <a:pt x="441" y="111"/>
                  </a:lnTo>
                  <a:lnTo>
                    <a:pt x="445" y="110"/>
                  </a:lnTo>
                  <a:lnTo>
                    <a:pt x="483" y="116"/>
                  </a:lnTo>
                  <a:lnTo>
                    <a:pt x="491" y="117"/>
                  </a:lnTo>
                  <a:lnTo>
                    <a:pt x="493" y="120"/>
                  </a:lnTo>
                  <a:lnTo>
                    <a:pt x="495" y="123"/>
                  </a:lnTo>
                  <a:lnTo>
                    <a:pt x="496" y="123"/>
                  </a:lnTo>
                  <a:lnTo>
                    <a:pt x="505" y="120"/>
                  </a:lnTo>
                  <a:lnTo>
                    <a:pt x="503" y="114"/>
                  </a:lnTo>
                  <a:lnTo>
                    <a:pt x="503" y="111"/>
                  </a:lnTo>
                  <a:lnTo>
                    <a:pt x="458" y="101"/>
                  </a:lnTo>
                  <a:lnTo>
                    <a:pt x="449" y="97"/>
                  </a:lnTo>
                  <a:lnTo>
                    <a:pt x="445" y="97"/>
                  </a:lnTo>
                  <a:lnTo>
                    <a:pt x="441" y="100"/>
                  </a:lnTo>
                  <a:lnTo>
                    <a:pt x="432" y="101"/>
                  </a:lnTo>
                  <a:lnTo>
                    <a:pt x="428" y="100"/>
                  </a:lnTo>
                  <a:lnTo>
                    <a:pt x="422" y="88"/>
                  </a:lnTo>
                  <a:lnTo>
                    <a:pt x="426" y="74"/>
                  </a:lnTo>
                  <a:lnTo>
                    <a:pt x="431" y="74"/>
                  </a:lnTo>
                  <a:lnTo>
                    <a:pt x="439" y="80"/>
                  </a:lnTo>
                  <a:lnTo>
                    <a:pt x="443" y="71"/>
                  </a:lnTo>
                  <a:lnTo>
                    <a:pt x="451" y="66"/>
                  </a:lnTo>
                  <a:lnTo>
                    <a:pt x="459" y="63"/>
                  </a:lnTo>
                  <a:lnTo>
                    <a:pt x="475" y="48"/>
                  </a:lnTo>
                  <a:lnTo>
                    <a:pt x="478" y="47"/>
                  </a:lnTo>
                  <a:lnTo>
                    <a:pt x="482" y="47"/>
                  </a:lnTo>
                  <a:lnTo>
                    <a:pt x="489" y="51"/>
                  </a:lnTo>
                  <a:lnTo>
                    <a:pt x="493" y="56"/>
                  </a:lnTo>
                  <a:lnTo>
                    <a:pt x="496" y="63"/>
                  </a:lnTo>
                  <a:lnTo>
                    <a:pt x="499" y="66"/>
                  </a:lnTo>
                  <a:lnTo>
                    <a:pt x="502" y="66"/>
                  </a:lnTo>
                  <a:lnTo>
                    <a:pt x="505" y="68"/>
                  </a:lnTo>
                  <a:lnTo>
                    <a:pt x="510" y="57"/>
                  </a:lnTo>
                  <a:lnTo>
                    <a:pt x="515" y="46"/>
                  </a:lnTo>
                  <a:lnTo>
                    <a:pt x="520" y="37"/>
                  </a:lnTo>
                  <a:lnTo>
                    <a:pt x="528" y="43"/>
                  </a:lnTo>
                  <a:lnTo>
                    <a:pt x="532" y="48"/>
                  </a:lnTo>
                  <a:lnTo>
                    <a:pt x="536" y="56"/>
                  </a:lnTo>
                  <a:lnTo>
                    <a:pt x="543" y="58"/>
                  </a:lnTo>
                  <a:lnTo>
                    <a:pt x="553" y="83"/>
                  </a:lnTo>
                  <a:lnTo>
                    <a:pt x="555" y="83"/>
                  </a:lnTo>
                  <a:lnTo>
                    <a:pt x="556" y="80"/>
                  </a:lnTo>
                  <a:lnTo>
                    <a:pt x="558" y="76"/>
                  </a:lnTo>
                  <a:lnTo>
                    <a:pt x="558" y="70"/>
                  </a:lnTo>
                  <a:lnTo>
                    <a:pt x="559" y="61"/>
                  </a:lnTo>
                  <a:lnTo>
                    <a:pt x="558" y="57"/>
                  </a:lnTo>
                  <a:lnTo>
                    <a:pt x="549" y="47"/>
                  </a:lnTo>
                  <a:lnTo>
                    <a:pt x="548" y="44"/>
                  </a:lnTo>
                  <a:lnTo>
                    <a:pt x="546" y="37"/>
                  </a:lnTo>
                  <a:lnTo>
                    <a:pt x="546" y="33"/>
                  </a:lnTo>
                  <a:lnTo>
                    <a:pt x="548" y="28"/>
                  </a:lnTo>
                  <a:lnTo>
                    <a:pt x="549" y="26"/>
                  </a:lnTo>
                  <a:lnTo>
                    <a:pt x="555" y="28"/>
                  </a:lnTo>
                  <a:lnTo>
                    <a:pt x="556" y="27"/>
                  </a:lnTo>
                  <a:lnTo>
                    <a:pt x="559" y="23"/>
                  </a:lnTo>
                  <a:lnTo>
                    <a:pt x="560" y="16"/>
                  </a:lnTo>
                  <a:lnTo>
                    <a:pt x="562" y="14"/>
                  </a:lnTo>
                  <a:lnTo>
                    <a:pt x="566" y="14"/>
                  </a:lnTo>
                  <a:lnTo>
                    <a:pt x="572" y="18"/>
                  </a:lnTo>
                  <a:lnTo>
                    <a:pt x="578" y="18"/>
                  </a:lnTo>
                  <a:lnTo>
                    <a:pt x="579" y="17"/>
                  </a:lnTo>
                  <a:lnTo>
                    <a:pt x="579" y="13"/>
                  </a:lnTo>
                  <a:lnTo>
                    <a:pt x="579" y="10"/>
                  </a:lnTo>
                  <a:lnTo>
                    <a:pt x="580" y="8"/>
                  </a:lnTo>
                  <a:lnTo>
                    <a:pt x="599" y="8"/>
                  </a:lnTo>
                  <a:lnTo>
                    <a:pt x="603" y="7"/>
                  </a:lnTo>
                  <a:lnTo>
                    <a:pt x="607" y="4"/>
                  </a:lnTo>
                  <a:lnTo>
                    <a:pt x="612" y="4"/>
                  </a:lnTo>
                  <a:lnTo>
                    <a:pt x="615" y="6"/>
                  </a:lnTo>
                  <a:lnTo>
                    <a:pt x="620" y="10"/>
                  </a:lnTo>
                  <a:lnTo>
                    <a:pt x="625" y="10"/>
                  </a:lnTo>
                  <a:lnTo>
                    <a:pt x="632" y="3"/>
                  </a:lnTo>
                  <a:lnTo>
                    <a:pt x="639" y="0"/>
                  </a:lnTo>
                  <a:lnTo>
                    <a:pt x="675" y="1"/>
                  </a:lnTo>
                  <a:lnTo>
                    <a:pt x="687" y="4"/>
                  </a:lnTo>
                  <a:close/>
                  <a:moveTo>
                    <a:pt x="448" y="195"/>
                  </a:moveTo>
                  <a:lnTo>
                    <a:pt x="445" y="197"/>
                  </a:lnTo>
                  <a:lnTo>
                    <a:pt x="438" y="185"/>
                  </a:lnTo>
                  <a:lnTo>
                    <a:pt x="428" y="173"/>
                  </a:lnTo>
                  <a:lnTo>
                    <a:pt x="418" y="164"/>
                  </a:lnTo>
                  <a:lnTo>
                    <a:pt x="409" y="141"/>
                  </a:lnTo>
                  <a:lnTo>
                    <a:pt x="408" y="134"/>
                  </a:lnTo>
                  <a:lnTo>
                    <a:pt x="409" y="127"/>
                  </a:lnTo>
                  <a:lnTo>
                    <a:pt x="418" y="126"/>
                  </a:lnTo>
                  <a:lnTo>
                    <a:pt x="423" y="121"/>
                  </a:lnTo>
                  <a:lnTo>
                    <a:pt x="439" y="137"/>
                  </a:lnTo>
                  <a:lnTo>
                    <a:pt x="448" y="148"/>
                  </a:lnTo>
                  <a:lnTo>
                    <a:pt x="449" y="158"/>
                  </a:lnTo>
                  <a:lnTo>
                    <a:pt x="449" y="177"/>
                  </a:lnTo>
                  <a:lnTo>
                    <a:pt x="448" y="195"/>
                  </a:lnTo>
                  <a:close/>
                  <a:moveTo>
                    <a:pt x="867" y="223"/>
                  </a:moveTo>
                  <a:lnTo>
                    <a:pt x="866" y="227"/>
                  </a:lnTo>
                  <a:lnTo>
                    <a:pt x="861" y="225"/>
                  </a:lnTo>
                  <a:lnTo>
                    <a:pt x="856" y="214"/>
                  </a:lnTo>
                  <a:lnTo>
                    <a:pt x="853" y="207"/>
                  </a:lnTo>
                  <a:lnTo>
                    <a:pt x="853" y="197"/>
                  </a:lnTo>
                  <a:lnTo>
                    <a:pt x="854" y="191"/>
                  </a:lnTo>
                  <a:lnTo>
                    <a:pt x="857" y="191"/>
                  </a:lnTo>
                  <a:lnTo>
                    <a:pt x="861" y="200"/>
                  </a:lnTo>
                  <a:lnTo>
                    <a:pt x="866" y="211"/>
                  </a:lnTo>
                  <a:lnTo>
                    <a:pt x="867" y="223"/>
                  </a:lnTo>
                  <a:close/>
                  <a:moveTo>
                    <a:pt x="884" y="427"/>
                  </a:moveTo>
                  <a:lnTo>
                    <a:pt x="877" y="437"/>
                  </a:lnTo>
                  <a:lnTo>
                    <a:pt x="867" y="437"/>
                  </a:lnTo>
                  <a:lnTo>
                    <a:pt x="861" y="431"/>
                  </a:lnTo>
                  <a:lnTo>
                    <a:pt x="860" y="424"/>
                  </a:lnTo>
                  <a:lnTo>
                    <a:pt x="863" y="417"/>
                  </a:lnTo>
                  <a:lnTo>
                    <a:pt x="870" y="410"/>
                  </a:lnTo>
                  <a:lnTo>
                    <a:pt x="879" y="405"/>
                  </a:lnTo>
                  <a:lnTo>
                    <a:pt x="887" y="408"/>
                  </a:lnTo>
                  <a:lnTo>
                    <a:pt x="887" y="417"/>
                  </a:lnTo>
                  <a:lnTo>
                    <a:pt x="884" y="427"/>
                  </a:lnTo>
                  <a:close/>
                  <a:moveTo>
                    <a:pt x="863" y="581"/>
                  </a:moveTo>
                  <a:lnTo>
                    <a:pt x="860" y="584"/>
                  </a:lnTo>
                  <a:lnTo>
                    <a:pt x="859" y="577"/>
                  </a:lnTo>
                  <a:lnTo>
                    <a:pt x="857" y="565"/>
                  </a:lnTo>
                  <a:lnTo>
                    <a:pt x="857" y="552"/>
                  </a:lnTo>
                  <a:lnTo>
                    <a:pt x="860" y="547"/>
                  </a:lnTo>
                  <a:lnTo>
                    <a:pt x="861" y="545"/>
                  </a:lnTo>
                  <a:lnTo>
                    <a:pt x="863" y="547"/>
                  </a:lnTo>
                  <a:lnTo>
                    <a:pt x="863" y="552"/>
                  </a:lnTo>
                  <a:lnTo>
                    <a:pt x="863" y="562"/>
                  </a:lnTo>
                  <a:lnTo>
                    <a:pt x="864" y="571"/>
                  </a:lnTo>
                  <a:lnTo>
                    <a:pt x="863" y="581"/>
                  </a:lnTo>
                  <a:close/>
                  <a:moveTo>
                    <a:pt x="879" y="607"/>
                  </a:moveTo>
                  <a:lnTo>
                    <a:pt x="876" y="607"/>
                  </a:lnTo>
                  <a:lnTo>
                    <a:pt x="874" y="605"/>
                  </a:lnTo>
                  <a:lnTo>
                    <a:pt x="876" y="601"/>
                  </a:lnTo>
                  <a:lnTo>
                    <a:pt x="880" y="590"/>
                  </a:lnTo>
                  <a:lnTo>
                    <a:pt x="881" y="590"/>
                  </a:lnTo>
                  <a:lnTo>
                    <a:pt x="883" y="590"/>
                  </a:lnTo>
                  <a:lnTo>
                    <a:pt x="884" y="597"/>
                  </a:lnTo>
                  <a:lnTo>
                    <a:pt x="883" y="602"/>
                  </a:lnTo>
                  <a:lnTo>
                    <a:pt x="879" y="607"/>
                  </a:lnTo>
                  <a:close/>
                  <a:moveTo>
                    <a:pt x="18" y="629"/>
                  </a:moveTo>
                  <a:lnTo>
                    <a:pt x="13" y="631"/>
                  </a:lnTo>
                  <a:lnTo>
                    <a:pt x="7" y="628"/>
                  </a:lnTo>
                  <a:lnTo>
                    <a:pt x="6" y="625"/>
                  </a:lnTo>
                  <a:lnTo>
                    <a:pt x="6" y="622"/>
                  </a:lnTo>
                  <a:lnTo>
                    <a:pt x="7" y="621"/>
                  </a:lnTo>
                  <a:lnTo>
                    <a:pt x="10" y="619"/>
                  </a:lnTo>
                  <a:lnTo>
                    <a:pt x="13" y="619"/>
                  </a:lnTo>
                  <a:lnTo>
                    <a:pt x="14" y="619"/>
                  </a:lnTo>
                  <a:lnTo>
                    <a:pt x="18" y="622"/>
                  </a:lnTo>
                  <a:lnTo>
                    <a:pt x="21" y="624"/>
                  </a:lnTo>
                  <a:lnTo>
                    <a:pt x="23" y="625"/>
                  </a:lnTo>
                  <a:lnTo>
                    <a:pt x="23" y="628"/>
                  </a:lnTo>
                  <a:lnTo>
                    <a:pt x="18" y="629"/>
                  </a:lnTo>
                  <a:close/>
                  <a:moveTo>
                    <a:pt x="869" y="719"/>
                  </a:moveTo>
                  <a:lnTo>
                    <a:pt x="867" y="721"/>
                  </a:lnTo>
                  <a:lnTo>
                    <a:pt x="861" y="694"/>
                  </a:lnTo>
                  <a:lnTo>
                    <a:pt x="861" y="682"/>
                  </a:lnTo>
                  <a:lnTo>
                    <a:pt x="861" y="675"/>
                  </a:lnTo>
                  <a:lnTo>
                    <a:pt x="864" y="674"/>
                  </a:lnTo>
                  <a:lnTo>
                    <a:pt x="867" y="678"/>
                  </a:lnTo>
                  <a:lnTo>
                    <a:pt x="867" y="695"/>
                  </a:lnTo>
                  <a:lnTo>
                    <a:pt x="869" y="719"/>
                  </a:lnTo>
                  <a:close/>
                  <a:moveTo>
                    <a:pt x="879" y="761"/>
                  </a:moveTo>
                  <a:lnTo>
                    <a:pt x="880" y="768"/>
                  </a:lnTo>
                  <a:lnTo>
                    <a:pt x="880" y="774"/>
                  </a:lnTo>
                  <a:lnTo>
                    <a:pt x="881" y="777"/>
                  </a:lnTo>
                  <a:lnTo>
                    <a:pt x="886" y="777"/>
                  </a:lnTo>
                  <a:lnTo>
                    <a:pt x="888" y="784"/>
                  </a:lnTo>
                  <a:lnTo>
                    <a:pt x="884" y="787"/>
                  </a:lnTo>
                  <a:lnTo>
                    <a:pt x="873" y="785"/>
                  </a:lnTo>
                  <a:lnTo>
                    <a:pt x="867" y="787"/>
                  </a:lnTo>
                  <a:lnTo>
                    <a:pt x="864" y="782"/>
                  </a:lnTo>
                  <a:lnTo>
                    <a:pt x="864" y="774"/>
                  </a:lnTo>
                  <a:lnTo>
                    <a:pt x="864" y="767"/>
                  </a:lnTo>
                  <a:lnTo>
                    <a:pt x="869" y="762"/>
                  </a:lnTo>
                  <a:lnTo>
                    <a:pt x="871" y="765"/>
                  </a:lnTo>
                  <a:lnTo>
                    <a:pt x="874" y="762"/>
                  </a:lnTo>
                  <a:lnTo>
                    <a:pt x="879" y="761"/>
                  </a:lnTo>
                  <a:close/>
                  <a:moveTo>
                    <a:pt x="285" y="914"/>
                  </a:moveTo>
                  <a:lnTo>
                    <a:pt x="284" y="918"/>
                  </a:lnTo>
                  <a:lnTo>
                    <a:pt x="281" y="919"/>
                  </a:lnTo>
                  <a:lnTo>
                    <a:pt x="277" y="926"/>
                  </a:lnTo>
                  <a:lnTo>
                    <a:pt x="277" y="926"/>
                  </a:lnTo>
                  <a:lnTo>
                    <a:pt x="275" y="925"/>
                  </a:lnTo>
                  <a:lnTo>
                    <a:pt x="275" y="924"/>
                  </a:lnTo>
                  <a:lnTo>
                    <a:pt x="274" y="924"/>
                  </a:lnTo>
                  <a:lnTo>
                    <a:pt x="272" y="922"/>
                  </a:lnTo>
                  <a:lnTo>
                    <a:pt x="272" y="921"/>
                  </a:lnTo>
                  <a:lnTo>
                    <a:pt x="272" y="921"/>
                  </a:lnTo>
                  <a:lnTo>
                    <a:pt x="271" y="921"/>
                  </a:lnTo>
                  <a:lnTo>
                    <a:pt x="269" y="921"/>
                  </a:lnTo>
                  <a:lnTo>
                    <a:pt x="268" y="921"/>
                  </a:lnTo>
                  <a:lnTo>
                    <a:pt x="267" y="918"/>
                  </a:lnTo>
                  <a:lnTo>
                    <a:pt x="268" y="916"/>
                  </a:lnTo>
                  <a:lnTo>
                    <a:pt x="269" y="915"/>
                  </a:lnTo>
                  <a:lnTo>
                    <a:pt x="275" y="914"/>
                  </a:lnTo>
                  <a:lnTo>
                    <a:pt x="277" y="915"/>
                  </a:lnTo>
                  <a:lnTo>
                    <a:pt x="278" y="915"/>
                  </a:lnTo>
                  <a:lnTo>
                    <a:pt x="279" y="914"/>
                  </a:lnTo>
                  <a:lnTo>
                    <a:pt x="282" y="912"/>
                  </a:lnTo>
                  <a:lnTo>
                    <a:pt x="282" y="911"/>
                  </a:lnTo>
                  <a:lnTo>
                    <a:pt x="285" y="912"/>
                  </a:lnTo>
                  <a:lnTo>
                    <a:pt x="285" y="914"/>
                  </a:lnTo>
                  <a:close/>
                  <a:moveTo>
                    <a:pt x="309" y="1004"/>
                  </a:moveTo>
                  <a:lnTo>
                    <a:pt x="308" y="1005"/>
                  </a:lnTo>
                  <a:lnTo>
                    <a:pt x="304" y="1002"/>
                  </a:lnTo>
                  <a:lnTo>
                    <a:pt x="302" y="1001"/>
                  </a:lnTo>
                  <a:lnTo>
                    <a:pt x="302" y="999"/>
                  </a:lnTo>
                  <a:lnTo>
                    <a:pt x="302" y="999"/>
                  </a:lnTo>
                  <a:lnTo>
                    <a:pt x="304" y="996"/>
                  </a:lnTo>
                  <a:lnTo>
                    <a:pt x="307" y="992"/>
                  </a:lnTo>
                  <a:lnTo>
                    <a:pt x="308" y="992"/>
                  </a:lnTo>
                  <a:lnTo>
                    <a:pt x="309" y="994"/>
                  </a:lnTo>
                  <a:lnTo>
                    <a:pt x="311" y="996"/>
                  </a:lnTo>
                  <a:lnTo>
                    <a:pt x="311" y="999"/>
                  </a:lnTo>
                  <a:lnTo>
                    <a:pt x="311" y="1001"/>
                  </a:lnTo>
                  <a:lnTo>
                    <a:pt x="311" y="1002"/>
                  </a:lnTo>
                  <a:lnTo>
                    <a:pt x="309" y="1004"/>
                  </a:lnTo>
                  <a:lnTo>
                    <a:pt x="309" y="1004"/>
                  </a:lnTo>
                  <a:close/>
                  <a:moveTo>
                    <a:pt x="759" y="1011"/>
                  </a:moveTo>
                  <a:lnTo>
                    <a:pt x="760" y="1014"/>
                  </a:lnTo>
                  <a:lnTo>
                    <a:pt x="760" y="1015"/>
                  </a:lnTo>
                  <a:lnTo>
                    <a:pt x="760" y="1015"/>
                  </a:lnTo>
                  <a:lnTo>
                    <a:pt x="759" y="1016"/>
                  </a:lnTo>
                  <a:lnTo>
                    <a:pt x="759" y="1016"/>
                  </a:lnTo>
                  <a:lnTo>
                    <a:pt x="760" y="1019"/>
                  </a:lnTo>
                  <a:lnTo>
                    <a:pt x="760" y="1021"/>
                  </a:lnTo>
                  <a:lnTo>
                    <a:pt x="760" y="1021"/>
                  </a:lnTo>
                  <a:lnTo>
                    <a:pt x="760" y="1024"/>
                  </a:lnTo>
                  <a:lnTo>
                    <a:pt x="753" y="1026"/>
                  </a:lnTo>
                  <a:lnTo>
                    <a:pt x="752" y="1026"/>
                  </a:lnTo>
                  <a:lnTo>
                    <a:pt x="749" y="1031"/>
                  </a:lnTo>
                  <a:lnTo>
                    <a:pt x="746" y="1032"/>
                  </a:lnTo>
                  <a:lnTo>
                    <a:pt x="746" y="1032"/>
                  </a:lnTo>
                  <a:lnTo>
                    <a:pt x="744" y="1031"/>
                  </a:lnTo>
                  <a:lnTo>
                    <a:pt x="740" y="1028"/>
                  </a:lnTo>
                  <a:lnTo>
                    <a:pt x="733" y="1029"/>
                  </a:lnTo>
                  <a:lnTo>
                    <a:pt x="723" y="1032"/>
                  </a:lnTo>
                  <a:lnTo>
                    <a:pt x="720" y="1032"/>
                  </a:lnTo>
                  <a:lnTo>
                    <a:pt x="717" y="1032"/>
                  </a:lnTo>
                  <a:lnTo>
                    <a:pt x="717" y="1031"/>
                  </a:lnTo>
                  <a:lnTo>
                    <a:pt x="717" y="1029"/>
                  </a:lnTo>
                  <a:lnTo>
                    <a:pt x="719" y="1026"/>
                  </a:lnTo>
                  <a:lnTo>
                    <a:pt x="719" y="1025"/>
                  </a:lnTo>
                  <a:lnTo>
                    <a:pt x="722" y="1024"/>
                  </a:lnTo>
                  <a:lnTo>
                    <a:pt x="723" y="1021"/>
                  </a:lnTo>
                  <a:lnTo>
                    <a:pt x="722" y="1016"/>
                  </a:lnTo>
                  <a:lnTo>
                    <a:pt x="723" y="1011"/>
                  </a:lnTo>
                  <a:lnTo>
                    <a:pt x="724" y="1011"/>
                  </a:lnTo>
                  <a:lnTo>
                    <a:pt x="727" y="1012"/>
                  </a:lnTo>
                  <a:lnTo>
                    <a:pt x="730" y="1012"/>
                  </a:lnTo>
                  <a:lnTo>
                    <a:pt x="734" y="1014"/>
                  </a:lnTo>
                  <a:lnTo>
                    <a:pt x="740" y="1012"/>
                  </a:lnTo>
                  <a:lnTo>
                    <a:pt x="744" y="1011"/>
                  </a:lnTo>
                  <a:lnTo>
                    <a:pt x="753" y="1004"/>
                  </a:lnTo>
                  <a:lnTo>
                    <a:pt x="754" y="1004"/>
                  </a:lnTo>
                  <a:lnTo>
                    <a:pt x="756" y="1006"/>
                  </a:lnTo>
                  <a:lnTo>
                    <a:pt x="756" y="1008"/>
                  </a:lnTo>
                  <a:lnTo>
                    <a:pt x="759" y="1009"/>
                  </a:lnTo>
                  <a:lnTo>
                    <a:pt x="759" y="1011"/>
                  </a:lnTo>
                  <a:close/>
                  <a:moveTo>
                    <a:pt x="339" y="1014"/>
                  </a:moveTo>
                  <a:lnTo>
                    <a:pt x="336" y="1014"/>
                  </a:lnTo>
                  <a:lnTo>
                    <a:pt x="332" y="1012"/>
                  </a:lnTo>
                  <a:lnTo>
                    <a:pt x="331" y="1012"/>
                  </a:lnTo>
                  <a:lnTo>
                    <a:pt x="331" y="1011"/>
                  </a:lnTo>
                  <a:lnTo>
                    <a:pt x="332" y="1008"/>
                  </a:lnTo>
                  <a:lnTo>
                    <a:pt x="334" y="1008"/>
                  </a:lnTo>
                  <a:lnTo>
                    <a:pt x="336" y="1009"/>
                  </a:lnTo>
                  <a:lnTo>
                    <a:pt x="339" y="1012"/>
                  </a:lnTo>
                  <a:lnTo>
                    <a:pt x="339" y="1012"/>
                  </a:lnTo>
                  <a:lnTo>
                    <a:pt x="339" y="1014"/>
                  </a:lnTo>
                  <a:close/>
                  <a:moveTo>
                    <a:pt x="322" y="1056"/>
                  </a:moveTo>
                  <a:lnTo>
                    <a:pt x="328" y="1061"/>
                  </a:lnTo>
                  <a:lnTo>
                    <a:pt x="334" y="1063"/>
                  </a:lnTo>
                  <a:lnTo>
                    <a:pt x="334" y="1065"/>
                  </a:lnTo>
                  <a:lnTo>
                    <a:pt x="334" y="1066"/>
                  </a:lnTo>
                  <a:lnTo>
                    <a:pt x="334" y="1068"/>
                  </a:lnTo>
                  <a:lnTo>
                    <a:pt x="334" y="1068"/>
                  </a:lnTo>
                  <a:lnTo>
                    <a:pt x="334" y="1069"/>
                  </a:lnTo>
                  <a:lnTo>
                    <a:pt x="334" y="1069"/>
                  </a:lnTo>
                  <a:lnTo>
                    <a:pt x="335" y="1071"/>
                  </a:lnTo>
                  <a:lnTo>
                    <a:pt x="335" y="1072"/>
                  </a:lnTo>
                  <a:lnTo>
                    <a:pt x="334" y="1075"/>
                  </a:lnTo>
                  <a:lnTo>
                    <a:pt x="332" y="1078"/>
                  </a:lnTo>
                  <a:lnTo>
                    <a:pt x="321" y="1083"/>
                  </a:lnTo>
                  <a:lnTo>
                    <a:pt x="318" y="1085"/>
                  </a:lnTo>
                  <a:lnTo>
                    <a:pt x="308" y="1088"/>
                  </a:lnTo>
                  <a:lnTo>
                    <a:pt x="305" y="1088"/>
                  </a:lnTo>
                  <a:lnTo>
                    <a:pt x="305" y="1088"/>
                  </a:lnTo>
                  <a:lnTo>
                    <a:pt x="304" y="1086"/>
                  </a:lnTo>
                  <a:lnTo>
                    <a:pt x="301" y="1085"/>
                  </a:lnTo>
                  <a:lnTo>
                    <a:pt x="299" y="1083"/>
                  </a:lnTo>
                  <a:lnTo>
                    <a:pt x="299" y="1082"/>
                  </a:lnTo>
                  <a:lnTo>
                    <a:pt x="299" y="1081"/>
                  </a:lnTo>
                  <a:lnTo>
                    <a:pt x="301" y="1081"/>
                  </a:lnTo>
                  <a:lnTo>
                    <a:pt x="304" y="1081"/>
                  </a:lnTo>
                  <a:lnTo>
                    <a:pt x="307" y="1079"/>
                  </a:lnTo>
                  <a:lnTo>
                    <a:pt x="307" y="1078"/>
                  </a:lnTo>
                  <a:lnTo>
                    <a:pt x="305" y="1078"/>
                  </a:lnTo>
                  <a:lnTo>
                    <a:pt x="305" y="1075"/>
                  </a:lnTo>
                  <a:lnTo>
                    <a:pt x="302" y="1076"/>
                  </a:lnTo>
                  <a:lnTo>
                    <a:pt x="302" y="1075"/>
                  </a:lnTo>
                  <a:lnTo>
                    <a:pt x="299" y="1075"/>
                  </a:lnTo>
                  <a:lnTo>
                    <a:pt x="294" y="1073"/>
                  </a:lnTo>
                  <a:lnTo>
                    <a:pt x="289" y="1072"/>
                  </a:lnTo>
                  <a:lnTo>
                    <a:pt x="289" y="1072"/>
                  </a:lnTo>
                  <a:lnTo>
                    <a:pt x="288" y="1069"/>
                  </a:lnTo>
                  <a:lnTo>
                    <a:pt x="287" y="1068"/>
                  </a:lnTo>
                  <a:lnTo>
                    <a:pt x="288" y="1059"/>
                  </a:lnTo>
                  <a:lnTo>
                    <a:pt x="289" y="1056"/>
                  </a:lnTo>
                  <a:lnTo>
                    <a:pt x="291" y="1056"/>
                  </a:lnTo>
                  <a:lnTo>
                    <a:pt x="297" y="1058"/>
                  </a:lnTo>
                  <a:lnTo>
                    <a:pt x="297" y="1056"/>
                  </a:lnTo>
                  <a:lnTo>
                    <a:pt x="291" y="1053"/>
                  </a:lnTo>
                  <a:lnTo>
                    <a:pt x="289" y="1052"/>
                  </a:lnTo>
                  <a:lnTo>
                    <a:pt x="289" y="1051"/>
                  </a:lnTo>
                  <a:lnTo>
                    <a:pt x="288" y="1048"/>
                  </a:lnTo>
                  <a:lnTo>
                    <a:pt x="288" y="1046"/>
                  </a:lnTo>
                  <a:lnTo>
                    <a:pt x="288" y="1045"/>
                  </a:lnTo>
                  <a:lnTo>
                    <a:pt x="289" y="1043"/>
                  </a:lnTo>
                  <a:lnTo>
                    <a:pt x="291" y="1042"/>
                  </a:lnTo>
                  <a:lnTo>
                    <a:pt x="295" y="1039"/>
                  </a:lnTo>
                  <a:lnTo>
                    <a:pt x="302" y="1041"/>
                  </a:lnTo>
                  <a:lnTo>
                    <a:pt x="312" y="1043"/>
                  </a:lnTo>
                  <a:lnTo>
                    <a:pt x="312" y="1045"/>
                  </a:lnTo>
                  <a:lnTo>
                    <a:pt x="316" y="1048"/>
                  </a:lnTo>
                  <a:lnTo>
                    <a:pt x="322" y="1056"/>
                  </a:lnTo>
                  <a:close/>
                  <a:moveTo>
                    <a:pt x="349" y="1075"/>
                  </a:moveTo>
                  <a:lnTo>
                    <a:pt x="346" y="1076"/>
                  </a:lnTo>
                  <a:lnTo>
                    <a:pt x="346" y="1076"/>
                  </a:lnTo>
                  <a:lnTo>
                    <a:pt x="346" y="1075"/>
                  </a:lnTo>
                  <a:lnTo>
                    <a:pt x="345" y="1069"/>
                  </a:lnTo>
                  <a:lnTo>
                    <a:pt x="344" y="1066"/>
                  </a:lnTo>
                  <a:lnTo>
                    <a:pt x="345" y="1063"/>
                  </a:lnTo>
                  <a:lnTo>
                    <a:pt x="344" y="1061"/>
                  </a:lnTo>
                  <a:lnTo>
                    <a:pt x="346" y="1058"/>
                  </a:lnTo>
                  <a:lnTo>
                    <a:pt x="348" y="1058"/>
                  </a:lnTo>
                  <a:lnTo>
                    <a:pt x="351" y="1059"/>
                  </a:lnTo>
                  <a:lnTo>
                    <a:pt x="355" y="1061"/>
                  </a:lnTo>
                  <a:lnTo>
                    <a:pt x="355" y="1062"/>
                  </a:lnTo>
                  <a:lnTo>
                    <a:pt x="354" y="1063"/>
                  </a:lnTo>
                  <a:lnTo>
                    <a:pt x="351" y="1065"/>
                  </a:lnTo>
                  <a:lnTo>
                    <a:pt x="351" y="1069"/>
                  </a:lnTo>
                  <a:lnTo>
                    <a:pt x="351" y="1072"/>
                  </a:lnTo>
                  <a:lnTo>
                    <a:pt x="351" y="1073"/>
                  </a:lnTo>
                  <a:lnTo>
                    <a:pt x="349" y="1075"/>
                  </a:lnTo>
                  <a:close/>
                  <a:moveTo>
                    <a:pt x="573" y="1243"/>
                  </a:moveTo>
                  <a:lnTo>
                    <a:pt x="570" y="1243"/>
                  </a:lnTo>
                  <a:lnTo>
                    <a:pt x="570" y="1241"/>
                  </a:lnTo>
                  <a:lnTo>
                    <a:pt x="570" y="1238"/>
                  </a:lnTo>
                  <a:lnTo>
                    <a:pt x="573" y="1236"/>
                  </a:lnTo>
                  <a:lnTo>
                    <a:pt x="575" y="1239"/>
                  </a:lnTo>
                  <a:lnTo>
                    <a:pt x="575" y="1242"/>
                  </a:lnTo>
                  <a:lnTo>
                    <a:pt x="573" y="1243"/>
                  </a:lnTo>
                  <a:close/>
                  <a:moveTo>
                    <a:pt x="425" y="1413"/>
                  </a:moveTo>
                  <a:lnTo>
                    <a:pt x="423" y="1416"/>
                  </a:lnTo>
                  <a:lnTo>
                    <a:pt x="422" y="1416"/>
                  </a:lnTo>
                  <a:lnTo>
                    <a:pt x="421" y="1415"/>
                  </a:lnTo>
                  <a:lnTo>
                    <a:pt x="419" y="1413"/>
                  </a:lnTo>
                  <a:lnTo>
                    <a:pt x="418" y="1413"/>
                  </a:lnTo>
                  <a:lnTo>
                    <a:pt x="418" y="1413"/>
                  </a:lnTo>
                  <a:lnTo>
                    <a:pt x="423" y="1409"/>
                  </a:lnTo>
                  <a:lnTo>
                    <a:pt x="426" y="1408"/>
                  </a:lnTo>
                  <a:lnTo>
                    <a:pt x="426" y="1409"/>
                  </a:lnTo>
                  <a:lnTo>
                    <a:pt x="426" y="1410"/>
                  </a:lnTo>
                  <a:lnTo>
                    <a:pt x="425" y="141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6" name="Google Shape;216;p3"/>
            <p:cNvSpPr/>
            <p:nvPr/>
          </p:nvSpPr>
          <p:spPr>
            <a:xfrm>
              <a:off x="3762781" y="4233567"/>
              <a:ext cx="34364" cy="8161"/>
            </a:xfrm>
            <a:custGeom>
              <a:rect b="b" l="l" r="r" t="t"/>
              <a:pathLst>
                <a:path extrusionOk="0" h="13" w="49">
                  <a:moveTo>
                    <a:pt x="1" y="13"/>
                  </a:moveTo>
                  <a:lnTo>
                    <a:pt x="1" y="11"/>
                  </a:lnTo>
                  <a:lnTo>
                    <a:pt x="0" y="8"/>
                  </a:lnTo>
                  <a:lnTo>
                    <a:pt x="1" y="7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7"/>
                  </a:lnTo>
                  <a:lnTo>
                    <a:pt x="4" y="8"/>
                  </a:lnTo>
                  <a:lnTo>
                    <a:pt x="7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3" y="7"/>
                  </a:lnTo>
                  <a:lnTo>
                    <a:pt x="16" y="7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7" y="8"/>
                  </a:lnTo>
                  <a:lnTo>
                    <a:pt x="6" y="7"/>
                  </a:lnTo>
                  <a:lnTo>
                    <a:pt x="4" y="5"/>
                  </a:lnTo>
                  <a:lnTo>
                    <a:pt x="4" y="4"/>
                  </a:lnTo>
                  <a:lnTo>
                    <a:pt x="9" y="4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3" y="1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3" y="4"/>
                  </a:lnTo>
                  <a:lnTo>
                    <a:pt x="46" y="4"/>
                  </a:lnTo>
                  <a:lnTo>
                    <a:pt x="47" y="5"/>
                  </a:lnTo>
                  <a:lnTo>
                    <a:pt x="49" y="7"/>
                  </a:lnTo>
                  <a:lnTo>
                    <a:pt x="47" y="8"/>
                  </a:lnTo>
                  <a:lnTo>
                    <a:pt x="44" y="8"/>
                  </a:lnTo>
                  <a:lnTo>
                    <a:pt x="41" y="10"/>
                  </a:lnTo>
                  <a:lnTo>
                    <a:pt x="39" y="8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5"/>
                  </a:lnTo>
                  <a:lnTo>
                    <a:pt x="26" y="7"/>
                  </a:lnTo>
                  <a:lnTo>
                    <a:pt x="24" y="7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6" y="11"/>
                  </a:lnTo>
                  <a:lnTo>
                    <a:pt x="3" y="11"/>
                  </a:lnTo>
                  <a:lnTo>
                    <a:pt x="1" y="11"/>
                  </a:lnTo>
                  <a:lnTo>
                    <a:pt x="1" y="1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Google Shape;217;p3"/>
            <p:cNvSpPr/>
            <p:nvPr/>
          </p:nvSpPr>
          <p:spPr>
            <a:xfrm>
              <a:off x="3783119" y="4244867"/>
              <a:ext cx="82753" cy="55873"/>
            </a:xfrm>
            <a:custGeom>
              <a:rect b="b" l="l" r="r" t="t"/>
              <a:pathLst>
                <a:path extrusionOk="0" h="89" w="118">
                  <a:moveTo>
                    <a:pt x="58" y="5"/>
                  </a:moveTo>
                  <a:lnTo>
                    <a:pt x="58" y="6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8" y="10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61" y="12"/>
                  </a:lnTo>
                  <a:lnTo>
                    <a:pt x="62" y="10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7" y="9"/>
                  </a:lnTo>
                  <a:lnTo>
                    <a:pt x="67" y="10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1" y="12"/>
                  </a:lnTo>
                  <a:lnTo>
                    <a:pt x="72" y="9"/>
                  </a:lnTo>
                  <a:lnTo>
                    <a:pt x="74" y="9"/>
                  </a:lnTo>
                  <a:lnTo>
                    <a:pt x="75" y="9"/>
                  </a:lnTo>
                  <a:lnTo>
                    <a:pt x="75" y="7"/>
                  </a:lnTo>
                  <a:lnTo>
                    <a:pt x="78" y="9"/>
                  </a:lnTo>
                  <a:lnTo>
                    <a:pt x="79" y="10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5" y="10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8" y="7"/>
                  </a:lnTo>
                  <a:lnTo>
                    <a:pt x="89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7" y="6"/>
                  </a:lnTo>
                  <a:lnTo>
                    <a:pt x="97" y="7"/>
                  </a:lnTo>
                  <a:lnTo>
                    <a:pt x="98" y="10"/>
                  </a:lnTo>
                  <a:lnTo>
                    <a:pt x="99" y="13"/>
                  </a:lnTo>
                  <a:lnTo>
                    <a:pt x="99" y="15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2" y="19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5" y="23"/>
                  </a:lnTo>
                  <a:lnTo>
                    <a:pt x="105" y="23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4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8" y="29"/>
                  </a:lnTo>
                  <a:lnTo>
                    <a:pt x="107" y="30"/>
                  </a:lnTo>
                  <a:lnTo>
                    <a:pt x="107" y="32"/>
                  </a:lnTo>
                  <a:lnTo>
                    <a:pt x="108" y="35"/>
                  </a:lnTo>
                  <a:lnTo>
                    <a:pt x="108" y="36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40"/>
                  </a:lnTo>
                  <a:lnTo>
                    <a:pt x="112" y="42"/>
                  </a:lnTo>
                  <a:lnTo>
                    <a:pt x="112" y="42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6"/>
                  </a:lnTo>
                  <a:lnTo>
                    <a:pt x="109" y="49"/>
                  </a:lnTo>
                  <a:lnTo>
                    <a:pt x="109" y="52"/>
                  </a:lnTo>
                  <a:lnTo>
                    <a:pt x="111" y="53"/>
                  </a:lnTo>
                  <a:lnTo>
                    <a:pt x="112" y="53"/>
                  </a:lnTo>
                  <a:lnTo>
                    <a:pt x="112" y="53"/>
                  </a:lnTo>
                  <a:lnTo>
                    <a:pt x="114" y="53"/>
                  </a:lnTo>
                  <a:lnTo>
                    <a:pt x="114" y="55"/>
                  </a:lnTo>
                  <a:lnTo>
                    <a:pt x="114" y="57"/>
                  </a:lnTo>
                  <a:lnTo>
                    <a:pt x="115" y="57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62"/>
                  </a:lnTo>
                  <a:lnTo>
                    <a:pt x="114" y="63"/>
                  </a:lnTo>
                  <a:lnTo>
                    <a:pt x="115" y="65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8" y="70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15" y="69"/>
                  </a:lnTo>
                  <a:lnTo>
                    <a:pt x="115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1" y="69"/>
                  </a:lnTo>
                  <a:lnTo>
                    <a:pt x="109" y="69"/>
                  </a:lnTo>
                  <a:lnTo>
                    <a:pt x="109" y="69"/>
                  </a:lnTo>
                  <a:lnTo>
                    <a:pt x="108" y="69"/>
                  </a:lnTo>
                  <a:lnTo>
                    <a:pt x="108" y="70"/>
                  </a:lnTo>
                  <a:lnTo>
                    <a:pt x="108" y="72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2" y="76"/>
                  </a:lnTo>
                  <a:lnTo>
                    <a:pt x="111" y="76"/>
                  </a:lnTo>
                  <a:lnTo>
                    <a:pt x="111" y="79"/>
                  </a:lnTo>
                  <a:lnTo>
                    <a:pt x="111" y="79"/>
                  </a:lnTo>
                  <a:lnTo>
                    <a:pt x="111" y="80"/>
                  </a:lnTo>
                  <a:lnTo>
                    <a:pt x="109" y="83"/>
                  </a:lnTo>
                  <a:lnTo>
                    <a:pt x="108" y="83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1" y="82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5"/>
                  </a:lnTo>
                  <a:lnTo>
                    <a:pt x="99" y="85"/>
                  </a:lnTo>
                  <a:lnTo>
                    <a:pt x="99" y="86"/>
                  </a:lnTo>
                  <a:lnTo>
                    <a:pt x="98" y="87"/>
                  </a:lnTo>
                  <a:lnTo>
                    <a:pt x="98" y="89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9"/>
                  </a:lnTo>
                  <a:lnTo>
                    <a:pt x="95" y="89"/>
                  </a:lnTo>
                  <a:lnTo>
                    <a:pt x="94" y="89"/>
                  </a:lnTo>
                  <a:lnTo>
                    <a:pt x="94" y="89"/>
                  </a:lnTo>
                  <a:lnTo>
                    <a:pt x="94" y="87"/>
                  </a:lnTo>
                  <a:lnTo>
                    <a:pt x="92" y="87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89" y="80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9" y="76"/>
                  </a:lnTo>
                  <a:lnTo>
                    <a:pt x="89" y="76"/>
                  </a:lnTo>
                  <a:lnTo>
                    <a:pt x="88" y="75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7" y="70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8" y="67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2" y="70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69" y="67"/>
                  </a:lnTo>
                  <a:lnTo>
                    <a:pt x="72" y="66"/>
                  </a:lnTo>
                  <a:lnTo>
                    <a:pt x="72" y="65"/>
                  </a:lnTo>
                  <a:lnTo>
                    <a:pt x="71" y="65"/>
                  </a:lnTo>
                  <a:lnTo>
                    <a:pt x="71" y="62"/>
                  </a:lnTo>
                  <a:lnTo>
                    <a:pt x="71" y="60"/>
                  </a:lnTo>
                  <a:lnTo>
                    <a:pt x="71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7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5"/>
                  </a:lnTo>
                  <a:lnTo>
                    <a:pt x="68" y="55"/>
                  </a:lnTo>
                  <a:lnTo>
                    <a:pt x="67" y="52"/>
                  </a:lnTo>
                  <a:lnTo>
                    <a:pt x="65" y="49"/>
                  </a:lnTo>
                  <a:lnTo>
                    <a:pt x="64" y="47"/>
                  </a:lnTo>
                  <a:lnTo>
                    <a:pt x="62" y="46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59" y="45"/>
                  </a:lnTo>
                  <a:lnTo>
                    <a:pt x="57" y="45"/>
                  </a:lnTo>
                  <a:lnTo>
                    <a:pt x="52" y="45"/>
                  </a:lnTo>
                  <a:lnTo>
                    <a:pt x="50" y="45"/>
                  </a:lnTo>
                  <a:lnTo>
                    <a:pt x="50" y="46"/>
                  </a:lnTo>
                  <a:lnTo>
                    <a:pt x="45" y="46"/>
                  </a:lnTo>
                  <a:lnTo>
                    <a:pt x="44" y="45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0" y="49"/>
                  </a:lnTo>
                  <a:lnTo>
                    <a:pt x="38" y="49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5"/>
                  </a:lnTo>
                  <a:lnTo>
                    <a:pt x="35" y="56"/>
                  </a:lnTo>
                  <a:lnTo>
                    <a:pt x="32" y="56"/>
                  </a:lnTo>
                  <a:lnTo>
                    <a:pt x="32" y="57"/>
                  </a:lnTo>
                  <a:lnTo>
                    <a:pt x="32" y="59"/>
                  </a:lnTo>
                  <a:lnTo>
                    <a:pt x="31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7" y="59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3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2" y="50"/>
                  </a:lnTo>
                  <a:lnTo>
                    <a:pt x="21" y="47"/>
                  </a:lnTo>
                  <a:lnTo>
                    <a:pt x="21" y="46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7" y="45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0" y="40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4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7" y="17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1" y="6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8" y="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Google Shape;218;p3"/>
            <p:cNvSpPr/>
            <p:nvPr/>
          </p:nvSpPr>
          <p:spPr>
            <a:xfrm>
              <a:off x="4046106" y="4335268"/>
              <a:ext cx="32961" cy="28251"/>
            </a:xfrm>
            <a:custGeom>
              <a:rect b="b" l="l" r="r" t="t"/>
              <a:pathLst>
                <a:path extrusionOk="0" h="45" w="47">
                  <a:moveTo>
                    <a:pt x="5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5"/>
                  </a:lnTo>
                  <a:lnTo>
                    <a:pt x="1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0"/>
                  </a:lnTo>
                  <a:lnTo>
                    <a:pt x="5" y="0"/>
                  </a:lnTo>
                  <a:close/>
                  <a:moveTo>
                    <a:pt x="47" y="26"/>
                  </a:moveTo>
                  <a:lnTo>
                    <a:pt x="47" y="29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9"/>
                  </a:lnTo>
                  <a:lnTo>
                    <a:pt x="47" y="42"/>
                  </a:lnTo>
                  <a:lnTo>
                    <a:pt x="47" y="45"/>
                  </a:lnTo>
                  <a:lnTo>
                    <a:pt x="44" y="45"/>
                  </a:lnTo>
                  <a:lnTo>
                    <a:pt x="40" y="45"/>
                  </a:lnTo>
                  <a:lnTo>
                    <a:pt x="35" y="45"/>
                  </a:lnTo>
                  <a:lnTo>
                    <a:pt x="31" y="45"/>
                  </a:lnTo>
                  <a:lnTo>
                    <a:pt x="28" y="43"/>
                  </a:lnTo>
                  <a:lnTo>
                    <a:pt x="25" y="43"/>
                  </a:lnTo>
                  <a:lnTo>
                    <a:pt x="25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20" y="43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5" y="42"/>
                  </a:lnTo>
                  <a:lnTo>
                    <a:pt x="17" y="39"/>
                  </a:lnTo>
                  <a:lnTo>
                    <a:pt x="17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1" y="32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5" y="26"/>
                  </a:lnTo>
                  <a:lnTo>
                    <a:pt x="31" y="26"/>
                  </a:lnTo>
                  <a:lnTo>
                    <a:pt x="34" y="26"/>
                  </a:lnTo>
                  <a:lnTo>
                    <a:pt x="38" y="26"/>
                  </a:lnTo>
                  <a:lnTo>
                    <a:pt x="43" y="26"/>
                  </a:lnTo>
                  <a:lnTo>
                    <a:pt x="47" y="2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9" name="Google Shape;219;p3"/>
            <p:cNvSpPr/>
            <p:nvPr/>
          </p:nvSpPr>
          <p:spPr>
            <a:xfrm>
              <a:off x="4171638" y="3912768"/>
              <a:ext cx="97481" cy="86634"/>
            </a:xfrm>
            <a:custGeom>
              <a:rect b="b" l="l" r="r" t="t"/>
              <a:pathLst>
                <a:path extrusionOk="0" h="138" w="139">
                  <a:moveTo>
                    <a:pt x="107" y="0"/>
                  </a:moveTo>
                  <a:lnTo>
                    <a:pt x="109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3" y="4"/>
                  </a:lnTo>
                  <a:lnTo>
                    <a:pt x="113" y="7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07" y="10"/>
                  </a:lnTo>
                  <a:lnTo>
                    <a:pt x="107" y="12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9" y="14"/>
                  </a:lnTo>
                  <a:lnTo>
                    <a:pt x="109" y="15"/>
                  </a:lnTo>
                  <a:lnTo>
                    <a:pt x="107" y="17"/>
                  </a:lnTo>
                  <a:lnTo>
                    <a:pt x="106" y="18"/>
                  </a:lnTo>
                  <a:lnTo>
                    <a:pt x="106" y="20"/>
                  </a:lnTo>
                  <a:lnTo>
                    <a:pt x="105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0" y="18"/>
                  </a:lnTo>
                  <a:lnTo>
                    <a:pt x="95" y="18"/>
                  </a:lnTo>
                  <a:lnTo>
                    <a:pt x="92" y="17"/>
                  </a:lnTo>
                  <a:lnTo>
                    <a:pt x="90" y="17"/>
                  </a:lnTo>
                  <a:lnTo>
                    <a:pt x="89" y="15"/>
                  </a:lnTo>
                  <a:lnTo>
                    <a:pt x="87" y="17"/>
                  </a:lnTo>
                  <a:lnTo>
                    <a:pt x="83" y="18"/>
                  </a:lnTo>
                  <a:lnTo>
                    <a:pt x="82" y="18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20"/>
                  </a:lnTo>
                  <a:lnTo>
                    <a:pt x="72" y="21"/>
                  </a:lnTo>
                  <a:lnTo>
                    <a:pt x="70" y="21"/>
                  </a:lnTo>
                  <a:lnTo>
                    <a:pt x="68" y="21"/>
                  </a:lnTo>
                  <a:lnTo>
                    <a:pt x="66" y="22"/>
                  </a:lnTo>
                  <a:lnTo>
                    <a:pt x="68" y="24"/>
                  </a:lnTo>
                  <a:lnTo>
                    <a:pt x="69" y="25"/>
                  </a:lnTo>
                  <a:lnTo>
                    <a:pt x="68" y="27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2" y="28"/>
                  </a:lnTo>
                  <a:lnTo>
                    <a:pt x="75" y="30"/>
                  </a:lnTo>
                  <a:lnTo>
                    <a:pt x="76" y="31"/>
                  </a:lnTo>
                  <a:lnTo>
                    <a:pt x="76" y="34"/>
                  </a:lnTo>
                  <a:lnTo>
                    <a:pt x="75" y="32"/>
                  </a:lnTo>
                  <a:lnTo>
                    <a:pt x="73" y="31"/>
                  </a:lnTo>
                  <a:lnTo>
                    <a:pt x="72" y="30"/>
                  </a:lnTo>
                  <a:lnTo>
                    <a:pt x="69" y="28"/>
                  </a:lnTo>
                  <a:lnTo>
                    <a:pt x="68" y="28"/>
                  </a:lnTo>
                  <a:lnTo>
                    <a:pt x="66" y="30"/>
                  </a:lnTo>
                  <a:lnTo>
                    <a:pt x="66" y="31"/>
                  </a:lnTo>
                  <a:lnTo>
                    <a:pt x="68" y="32"/>
                  </a:lnTo>
                  <a:lnTo>
                    <a:pt x="69" y="32"/>
                  </a:lnTo>
                  <a:lnTo>
                    <a:pt x="70" y="34"/>
                  </a:lnTo>
                  <a:lnTo>
                    <a:pt x="70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8" y="35"/>
                  </a:lnTo>
                  <a:lnTo>
                    <a:pt x="65" y="31"/>
                  </a:lnTo>
                  <a:lnTo>
                    <a:pt x="62" y="31"/>
                  </a:lnTo>
                  <a:lnTo>
                    <a:pt x="60" y="31"/>
                  </a:lnTo>
                  <a:lnTo>
                    <a:pt x="62" y="34"/>
                  </a:lnTo>
                  <a:lnTo>
                    <a:pt x="62" y="35"/>
                  </a:lnTo>
                  <a:lnTo>
                    <a:pt x="66" y="37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0" y="37"/>
                  </a:lnTo>
                  <a:lnTo>
                    <a:pt x="60" y="34"/>
                  </a:lnTo>
                  <a:lnTo>
                    <a:pt x="60" y="32"/>
                  </a:lnTo>
                  <a:lnTo>
                    <a:pt x="56" y="30"/>
                  </a:lnTo>
                  <a:lnTo>
                    <a:pt x="53" y="28"/>
                  </a:lnTo>
                  <a:lnTo>
                    <a:pt x="52" y="27"/>
                  </a:lnTo>
                  <a:lnTo>
                    <a:pt x="53" y="25"/>
                  </a:lnTo>
                  <a:lnTo>
                    <a:pt x="53" y="24"/>
                  </a:lnTo>
                  <a:lnTo>
                    <a:pt x="52" y="24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9" y="27"/>
                  </a:lnTo>
                  <a:lnTo>
                    <a:pt x="49" y="28"/>
                  </a:lnTo>
                  <a:lnTo>
                    <a:pt x="49" y="31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52" y="41"/>
                  </a:lnTo>
                  <a:lnTo>
                    <a:pt x="53" y="44"/>
                  </a:lnTo>
                  <a:lnTo>
                    <a:pt x="55" y="45"/>
                  </a:lnTo>
                  <a:lnTo>
                    <a:pt x="56" y="47"/>
                  </a:lnTo>
                  <a:lnTo>
                    <a:pt x="59" y="50"/>
                  </a:lnTo>
                  <a:lnTo>
                    <a:pt x="59" y="51"/>
                  </a:lnTo>
                  <a:lnTo>
                    <a:pt x="60" y="54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6" y="54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5" y="50"/>
                  </a:lnTo>
                  <a:lnTo>
                    <a:pt x="53" y="51"/>
                  </a:lnTo>
                  <a:lnTo>
                    <a:pt x="52" y="51"/>
                  </a:lnTo>
                  <a:lnTo>
                    <a:pt x="53" y="54"/>
                  </a:lnTo>
                  <a:lnTo>
                    <a:pt x="53" y="55"/>
                  </a:lnTo>
                  <a:lnTo>
                    <a:pt x="55" y="57"/>
                  </a:lnTo>
                  <a:lnTo>
                    <a:pt x="56" y="57"/>
                  </a:lnTo>
                  <a:lnTo>
                    <a:pt x="53" y="58"/>
                  </a:lnTo>
                  <a:lnTo>
                    <a:pt x="52" y="60"/>
                  </a:lnTo>
                  <a:lnTo>
                    <a:pt x="49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9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5" y="62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60" y="67"/>
                  </a:lnTo>
                  <a:lnTo>
                    <a:pt x="63" y="68"/>
                  </a:lnTo>
                  <a:lnTo>
                    <a:pt x="66" y="71"/>
                  </a:lnTo>
                  <a:lnTo>
                    <a:pt x="68" y="71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75"/>
                  </a:lnTo>
                  <a:lnTo>
                    <a:pt x="72" y="78"/>
                  </a:lnTo>
                  <a:lnTo>
                    <a:pt x="72" y="81"/>
                  </a:lnTo>
                  <a:lnTo>
                    <a:pt x="72" y="82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69" y="82"/>
                  </a:lnTo>
                  <a:lnTo>
                    <a:pt x="66" y="80"/>
                  </a:lnTo>
                  <a:lnTo>
                    <a:pt x="65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8"/>
                  </a:lnTo>
                  <a:lnTo>
                    <a:pt x="58" y="78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5" y="80"/>
                  </a:lnTo>
                  <a:lnTo>
                    <a:pt x="56" y="81"/>
                  </a:lnTo>
                  <a:lnTo>
                    <a:pt x="58" y="81"/>
                  </a:lnTo>
                  <a:lnTo>
                    <a:pt x="58" y="84"/>
                  </a:lnTo>
                  <a:lnTo>
                    <a:pt x="58" y="85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59" y="90"/>
                  </a:lnTo>
                  <a:lnTo>
                    <a:pt x="58" y="91"/>
                  </a:lnTo>
                  <a:lnTo>
                    <a:pt x="58" y="91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5" y="88"/>
                  </a:lnTo>
                  <a:lnTo>
                    <a:pt x="53" y="87"/>
                  </a:lnTo>
                  <a:lnTo>
                    <a:pt x="52" y="87"/>
                  </a:lnTo>
                  <a:lnTo>
                    <a:pt x="50" y="85"/>
                  </a:lnTo>
                  <a:lnTo>
                    <a:pt x="50" y="87"/>
                  </a:lnTo>
                  <a:lnTo>
                    <a:pt x="50" y="90"/>
                  </a:lnTo>
                  <a:lnTo>
                    <a:pt x="52" y="92"/>
                  </a:lnTo>
                  <a:lnTo>
                    <a:pt x="55" y="97"/>
                  </a:lnTo>
                  <a:lnTo>
                    <a:pt x="56" y="101"/>
                  </a:lnTo>
                  <a:lnTo>
                    <a:pt x="56" y="102"/>
                  </a:lnTo>
                  <a:lnTo>
                    <a:pt x="55" y="105"/>
                  </a:lnTo>
                  <a:lnTo>
                    <a:pt x="56" y="107"/>
                  </a:lnTo>
                  <a:lnTo>
                    <a:pt x="58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5" y="107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0" y="101"/>
                  </a:lnTo>
                  <a:lnTo>
                    <a:pt x="49" y="102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5" y="104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0" y="98"/>
                  </a:lnTo>
                  <a:lnTo>
                    <a:pt x="40" y="97"/>
                  </a:lnTo>
                  <a:lnTo>
                    <a:pt x="39" y="97"/>
                  </a:lnTo>
                  <a:lnTo>
                    <a:pt x="38" y="98"/>
                  </a:lnTo>
                  <a:lnTo>
                    <a:pt x="38" y="100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5" y="100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2" y="87"/>
                  </a:lnTo>
                  <a:lnTo>
                    <a:pt x="29" y="85"/>
                  </a:lnTo>
                  <a:lnTo>
                    <a:pt x="28" y="84"/>
                  </a:lnTo>
                  <a:lnTo>
                    <a:pt x="28" y="82"/>
                  </a:lnTo>
                  <a:lnTo>
                    <a:pt x="26" y="81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8" y="77"/>
                  </a:lnTo>
                  <a:lnTo>
                    <a:pt x="29" y="74"/>
                  </a:lnTo>
                  <a:lnTo>
                    <a:pt x="30" y="74"/>
                  </a:lnTo>
                  <a:lnTo>
                    <a:pt x="32" y="74"/>
                  </a:lnTo>
                  <a:lnTo>
                    <a:pt x="33" y="74"/>
                  </a:lnTo>
                  <a:lnTo>
                    <a:pt x="35" y="72"/>
                  </a:lnTo>
                  <a:lnTo>
                    <a:pt x="36" y="71"/>
                  </a:lnTo>
                  <a:lnTo>
                    <a:pt x="38" y="71"/>
                  </a:lnTo>
                  <a:lnTo>
                    <a:pt x="43" y="74"/>
                  </a:lnTo>
                  <a:lnTo>
                    <a:pt x="48" y="75"/>
                  </a:lnTo>
                  <a:lnTo>
                    <a:pt x="50" y="77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3" y="78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5" y="75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4"/>
                  </a:lnTo>
                  <a:lnTo>
                    <a:pt x="56" y="74"/>
                  </a:lnTo>
                  <a:lnTo>
                    <a:pt x="55" y="74"/>
                  </a:lnTo>
                  <a:lnTo>
                    <a:pt x="55" y="72"/>
                  </a:lnTo>
                  <a:lnTo>
                    <a:pt x="53" y="74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6" y="68"/>
                  </a:lnTo>
                  <a:lnTo>
                    <a:pt x="45" y="70"/>
                  </a:lnTo>
                  <a:lnTo>
                    <a:pt x="43" y="70"/>
                  </a:lnTo>
                  <a:lnTo>
                    <a:pt x="42" y="70"/>
                  </a:lnTo>
                  <a:lnTo>
                    <a:pt x="38" y="70"/>
                  </a:lnTo>
                  <a:lnTo>
                    <a:pt x="36" y="70"/>
                  </a:lnTo>
                  <a:lnTo>
                    <a:pt x="35" y="70"/>
                  </a:lnTo>
                  <a:lnTo>
                    <a:pt x="33" y="70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29" y="70"/>
                  </a:lnTo>
                  <a:lnTo>
                    <a:pt x="29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6" y="71"/>
                  </a:lnTo>
                  <a:lnTo>
                    <a:pt x="25" y="70"/>
                  </a:lnTo>
                  <a:lnTo>
                    <a:pt x="23" y="67"/>
                  </a:lnTo>
                  <a:lnTo>
                    <a:pt x="22" y="64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0" y="58"/>
                  </a:lnTo>
                  <a:lnTo>
                    <a:pt x="23" y="60"/>
                  </a:lnTo>
                  <a:lnTo>
                    <a:pt x="25" y="60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5"/>
                  </a:lnTo>
                  <a:lnTo>
                    <a:pt x="16" y="54"/>
                  </a:lnTo>
                  <a:lnTo>
                    <a:pt x="15" y="52"/>
                  </a:lnTo>
                  <a:lnTo>
                    <a:pt x="12" y="50"/>
                  </a:lnTo>
                  <a:lnTo>
                    <a:pt x="9" y="45"/>
                  </a:lnTo>
                  <a:lnTo>
                    <a:pt x="8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5" y="35"/>
                  </a:lnTo>
                  <a:lnTo>
                    <a:pt x="16" y="34"/>
                  </a:lnTo>
                  <a:lnTo>
                    <a:pt x="18" y="34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7"/>
                  </a:lnTo>
                  <a:lnTo>
                    <a:pt x="20" y="27"/>
                  </a:lnTo>
                  <a:lnTo>
                    <a:pt x="22" y="25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2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2" y="18"/>
                  </a:lnTo>
                  <a:lnTo>
                    <a:pt x="33" y="18"/>
                  </a:lnTo>
                  <a:lnTo>
                    <a:pt x="35" y="17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9" y="12"/>
                  </a:lnTo>
                  <a:lnTo>
                    <a:pt x="50" y="11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5" y="8"/>
                  </a:lnTo>
                  <a:lnTo>
                    <a:pt x="58" y="8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8" y="7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7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2" y="7"/>
                  </a:lnTo>
                  <a:lnTo>
                    <a:pt x="83" y="8"/>
                  </a:lnTo>
                  <a:lnTo>
                    <a:pt x="83" y="7"/>
                  </a:lnTo>
                  <a:lnTo>
                    <a:pt x="85" y="7"/>
                  </a:lnTo>
                  <a:lnTo>
                    <a:pt x="86" y="8"/>
                  </a:lnTo>
                  <a:lnTo>
                    <a:pt x="89" y="8"/>
                  </a:lnTo>
                  <a:lnTo>
                    <a:pt x="90" y="10"/>
                  </a:lnTo>
                  <a:lnTo>
                    <a:pt x="93" y="10"/>
                  </a:lnTo>
                  <a:lnTo>
                    <a:pt x="95" y="10"/>
                  </a:lnTo>
                  <a:lnTo>
                    <a:pt x="96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2" y="8"/>
                  </a:lnTo>
                  <a:lnTo>
                    <a:pt x="103" y="8"/>
                  </a:lnTo>
                  <a:lnTo>
                    <a:pt x="105" y="7"/>
                  </a:lnTo>
                  <a:lnTo>
                    <a:pt x="105" y="5"/>
                  </a:lnTo>
                  <a:lnTo>
                    <a:pt x="105" y="4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3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7" y="0"/>
                  </a:lnTo>
                  <a:close/>
                  <a:moveTo>
                    <a:pt x="83" y="24"/>
                  </a:moveTo>
                  <a:lnTo>
                    <a:pt x="80" y="24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2" y="20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2"/>
                  </a:lnTo>
                  <a:lnTo>
                    <a:pt x="83" y="24"/>
                  </a:lnTo>
                  <a:close/>
                  <a:moveTo>
                    <a:pt x="97" y="28"/>
                  </a:moveTo>
                  <a:lnTo>
                    <a:pt x="96" y="28"/>
                  </a:lnTo>
                  <a:lnTo>
                    <a:pt x="93" y="27"/>
                  </a:lnTo>
                  <a:lnTo>
                    <a:pt x="96" y="25"/>
                  </a:lnTo>
                  <a:lnTo>
                    <a:pt x="96" y="27"/>
                  </a:lnTo>
                  <a:lnTo>
                    <a:pt x="97" y="27"/>
                  </a:lnTo>
                  <a:lnTo>
                    <a:pt x="97" y="28"/>
                  </a:lnTo>
                  <a:close/>
                  <a:moveTo>
                    <a:pt x="93" y="37"/>
                  </a:moveTo>
                  <a:lnTo>
                    <a:pt x="93" y="37"/>
                  </a:lnTo>
                  <a:lnTo>
                    <a:pt x="93" y="38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9" y="40"/>
                  </a:lnTo>
                  <a:lnTo>
                    <a:pt x="87" y="40"/>
                  </a:lnTo>
                  <a:lnTo>
                    <a:pt x="87" y="38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90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3" y="37"/>
                  </a:lnTo>
                  <a:close/>
                  <a:moveTo>
                    <a:pt x="8" y="48"/>
                  </a:moveTo>
                  <a:lnTo>
                    <a:pt x="8" y="50"/>
                  </a:lnTo>
                  <a:lnTo>
                    <a:pt x="6" y="48"/>
                  </a:lnTo>
                  <a:lnTo>
                    <a:pt x="5" y="48"/>
                  </a:lnTo>
                  <a:lnTo>
                    <a:pt x="3" y="45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2" y="41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8" y="48"/>
                  </a:lnTo>
                  <a:lnTo>
                    <a:pt x="8" y="48"/>
                  </a:lnTo>
                  <a:close/>
                  <a:moveTo>
                    <a:pt x="109" y="50"/>
                  </a:moveTo>
                  <a:lnTo>
                    <a:pt x="109" y="51"/>
                  </a:lnTo>
                  <a:lnTo>
                    <a:pt x="112" y="54"/>
                  </a:lnTo>
                  <a:lnTo>
                    <a:pt x="112" y="55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2" y="55"/>
                  </a:lnTo>
                  <a:lnTo>
                    <a:pt x="110" y="55"/>
                  </a:lnTo>
                  <a:lnTo>
                    <a:pt x="110" y="57"/>
                  </a:lnTo>
                  <a:lnTo>
                    <a:pt x="112" y="57"/>
                  </a:lnTo>
                  <a:lnTo>
                    <a:pt x="110" y="58"/>
                  </a:lnTo>
                  <a:lnTo>
                    <a:pt x="109" y="58"/>
                  </a:lnTo>
                  <a:lnTo>
                    <a:pt x="105" y="57"/>
                  </a:lnTo>
                  <a:lnTo>
                    <a:pt x="105" y="55"/>
                  </a:lnTo>
                  <a:lnTo>
                    <a:pt x="106" y="54"/>
                  </a:lnTo>
                  <a:lnTo>
                    <a:pt x="107" y="52"/>
                  </a:lnTo>
                  <a:lnTo>
                    <a:pt x="106" y="52"/>
                  </a:lnTo>
                  <a:lnTo>
                    <a:pt x="103" y="55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0" y="52"/>
                  </a:lnTo>
                  <a:lnTo>
                    <a:pt x="102" y="51"/>
                  </a:lnTo>
                  <a:lnTo>
                    <a:pt x="103" y="51"/>
                  </a:lnTo>
                  <a:lnTo>
                    <a:pt x="105" y="51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09" y="50"/>
                  </a:lnTo>
                  <a:close/>
                  <a:moveTo>
                    <a:pt x="69" y="54"/>
                  </a:moveTo>
                  <a:lnTo>
                    <a:pt x="68" y="54"/>
                  </a:lnTo>
                  <a:lnTo>
                    <a:pt x="69" y="52"/>
                  </a:lnTo>
                  <a:lnTo>
                    <a:pt x="70" y="51"/>
                  </a:lnTo>
                  <a:lnTo>
                    <a:pt x="70" y="52"/>
                  </a:lnTo>
                  <a:lnTo>
                    <a:pt x="69" y="54"/>
                  </a:lnTo>
                  <a:close/>
                  <a:moveTo>
                    <a:pt x="68" y="55"/>
                  </a:moveTo>
                  <a:lnTo>
                    <a:pt x="66" y="55"/>
                  </a:lnTo>
                  <a:lnTo>
                    <a:pt x="65" y="55"/>
                  </a:lnTo>
                  <a:lnTo>
                    <a:pt x="65" y="52"/>
                  </a:lnTo>
                  <a:lnTo>
                    <a:pt x="68" y="55"/>
                  </a:lnTo>
                  <a:close/>
                  <a:moveTo>
                    <a:pt x="62" y="58"/>
                  </a:moveTo>
                  <a:lnTo>
                    <a:pt x="62" y="60"/>
                  </a:lnTo>
                  <a:lnTo>
                    <a:pt x="63" y="61"/>
                  </a:lnTo>
                  <a:lnTo>
                    <a:pt x="65" y="62"/>
                  </a:lnTo>
                  <a:lnTo>
                    <a:pt x="66" y="62"/>
                  </a:lnTo>
                  <a:lnTo>
                    <a:pt x="69" y="64"/>
                  </a:lnTo>
                  <a:lnTo>
                    <a:pt x="72" y="64"/>
                  </a:lnTo>
                  <a:lnTo>
                    <a:pt x="73" y="64"/>
                  </a:lnTo>
                  <a:lnTo>
                    <a:pt x="73" y="65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3" y="68"/>
                  </a:lnTo>
                  <a:lnTo>
                    <a:pt x="75" y="71"/>
                  </a:lnTo>
                  <a:lnTo>
                    <a:pt x="75" y="72"/>
                  </a:lnTo>
                  <a:lnTo>
                    <a:pt x="76" y="74"/>
                  </a:lnTo>
                  <a:lnTo>
                    <a:pt x="77" y="74"/>
                  </a:lnTo>
                  <a:lnTo>
                    <a:pt x="80" y="74"/>
                  </a:lnTo>
                  <a:lnTo>
                    <a:pt x="80" y="75"/>
                  </a:lnTo>
                  <a:lnTo>
                    <a:pt x="80" y="77"/>
                  </a:lnTo>
                  <a:lnTo>
                    <a:pt x="79" y="78"/>
                  </a:lnTo>
                  <a:lnTo>
                    <a:pt x="79" y="78"/>
                  </a:lnTo>
                  <a:lnTo>
                    <a:pt x="79" y="78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5" y="75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73" y="72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69" y="70"/>
                  </a:lnTo>
                  <a:lnTo>
                    <a:pt x="68" y="70"/>
                  </a:lnTo>
                  <a:lnTo>
                    <a:pt x="65" y="68"/>
                  </a:lnTo>
                  <a:lnTo>
                    <a:pt x="65" y="67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2" y="64"/>
                  </a:lnTo>
                  <a:lnTo>
                    <a:pt x="60" y="62"/>
                  </a:lnTo>
                  <a:lnTo>
                    <a:pt x="59" y="61"/>
                  </a:lnTo>
                  <a:lnTo>
                    <a:pt x="58" y="60"/>
                  </a:lnTo>
                  <a:lnTo>
                    <a:pt x="55" y="60"/>
                  </a:lnTo>
                  <a:lnTo>
                    <a:pt x="53" y="61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5" y="58"/>
                  </a:lnTo>
                  <a:lnTo>
                    <a:pt x="58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2" y="58"/>
                  </a:lnTo>
                  <a:close/>
                  <a:moveTo>
                    <a:pt x="82" y="61"/>
                  </a:moveTo>
                  <a:lnTo>
                    <a:pt x="80" y="61"/>
                  </a:lnTo>
                  <a:lnTo>
                    <a:pt x="79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77" y="60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80" y="58"/>
                  </a:lnTo>
                  <a:lnTo>
                    <a:pt x="80" y="60"/>
                  </a:lnTo>
                  <a:lnTo>
                    <a:pt x="82" y="61"/>
                  </a:lnTo>
                  <a:close/>
                  <a:moveTo>
                    <a:pt x="18" y="65"/>
                  </a:moveTo>
                  <a:lnTo>
                    <a:pt x="18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4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8" y="60"/>
                  </a:lnTo>
                  <a:lnTo>
                    <a:pt x="18" y="61"/>
                  </a:lnTo>
                  <a:lnTo>
                    <a:pt x="18" y="64"/>
                  </a:lnTo>
                  <a:lnTo>
                    <a:pt x="18" y="65"/>
                  </a:lnTo>
                  <a:close/>
                  <a:moveTo>
                    <a:pt x="105" y="72"/>
                  </a:moveTo>
                  <a:lnTo>
                    <a:pt x="103" y="74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2" y="71"/>
                  </a:lnTo>
                  <a:lnTo>
                    <a:pt x="103" y="70"/>
                  </a:lnTo>
                  <a:lnTo>
                    <a:pt x="102" y="70"/>
                  </a:lnTo>
                  <a:lnTo>
                    <a:pt x="100" y="67"/>
                  </a:lnTo>
                  <a:lnTo>
                    <a:pt x="100" y="65"/>
                  </a:lnTo>
                  <a:lnTo>
                    <a:pt x="103" y="65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68"/>
                  </a:lnTo>
                  <a:lnTo>
                    <a:pt x="105" y="68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close/>
                  <a:moveTo>
                    <a:pt x="19" y="71"/>
                  </a:moveTo>
                  <a:lnTo>
                    <a:pt x="18" y="71"/>
                  </a:lnTo>
                  <a:lnTo>
                    <a:pt x="18" y="70"/>
                  </a:lnTo>
                  <a:lnTo>
                    <a:pt x="16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9" y="70"/>
                  </a:lnTo>
                  <a:lnTo>
                    <a:pt x="19" y="71"/>
                  </a:lnTo>
                  <a:close/>
                  <a:moveTo>
                    <a:pt x="16" y="70"/>
                  </a:moveTo>
                  <a:lnTo>
                    <a:pt x="16" y="72"/>
                  </a:lnTo>
                  <a:lnTo>
                    <a:pt x="18" y="72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2"/>
                  </a:lnTo>
                  <a:lnTo>
                    <a:pt x="13" y="72"/>
                  </a:lnTo>
                  <a:lnTo>
                    <a:pt x="13" y="74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0"/>
                  </a:lnTo>
                  <a:close/>
                  <a:moveTo>
                    <a:pt x="63" y="80"/>
                  </a:moveTo>
                  <a:lnTo>
                    <a:pt x="63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3" y="80"/>
                  </a:lnTo>
                  <a:close/>
                  <a:moveTo>
                    <a:pt x="86" y="82"/>
                  </a:moveTo>
                  <a:lnTo>
                    <a:pt x="86" y="84"/>
                  </a:lnTo>
                  <a:lnTo>
                    <a:pt x="85" y="82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2" y="80"/>
                  </a:lnTo>
                  <a:lnTo>
                    <a:pt x="82" y="78"/>
                  </a:lnTo>
                  <a:lnTo>
                    <a:pt x="83" y="78"/>
                  </a:lnTo>
                  <a:lnTo>
                    <a:pt x="83" y="78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6" y="82"/>
                  </a:lnTo>
                  <a:close/>
                  <a:moveTo>
                    <a:pt x="20" y="81"/>
                  </a:moveTo>
                  <a:lnTo>
                    <a:pt x="22" y="84"/>
                  </a:lnTo>
                  <a:lnTo>
                    <a:pt x="22" y="82"/>
                  </a:lnTo>
                  <a:lnTo>
                    <a:pt x="20" y="84"/>
                  </a:lnTo>
                  <a:lnTo>
                    <a:pt x="18" y="82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8" y="80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1"/>
                  </a:lnTo>
                  <a:close/>
                  <a:moveTo>
                    <a:pt x="116" y="81"/>
                  </a:moveTo>
                  <a:lnTo>
                    <a:pt x="117" y="82"/>
                  </a:lnTo>
                  <a:lnTo>
                    <a:pt x="119" y="82"/>
                  </a:lnTo>
                  <a:lnTo>
                    <a:pt x="119" y="82"/>
                  </a:lnTo>
                  <a:lnTo>
                    <a:pt x="120" y="84"/>
                  </a:lnTo>
                  <a:lnTo>
                    <a:pt x="119" y="84"/>
                  </a:lnTo>
                  <a:lnTo>
                    <a:pt x="116" y="85"/>
                  </a:lnTo>
                  <a:lnTo>
                    <a:pt x="116" y="84"/>
                  </a:lnTo>
                  <a:lnTo>
                    <a:pt x="115" y="84"/>
                  </a:lnTo>
                  <a:lnTo>
                    <a:pt x="113" y="84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5" y="81"/>
                  </a:lnTo>
                  <a:lnTo>
                    <a:pt x="116" y="81"/>
                  </a:lnTo>
                  <a:close/>
                  <a:moveTo>
                    <a:pt x="76" y="87"/>
                  </a:moveTo>
                  <a:lnTo>
                    <a:pt x="75" y="87"/>
                  </a:lnTo>
                  <a:lnTo>
                    <a:pt x="75" y="85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6" y="87"/>
                  </a:lnTo>
                  <a:close/>
                  <a:moveTo>
                    <a:pt x="90" y="85"/>
                  </a:moveTo>
                  <a:lnTo>
                    <a:pt x="90" y="87"/>
                  </a:lnTo>
                  <a:lnTo>
                    <a:pt x="89" y="87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6" y="84"/>
                  </a:lnTo>
                  <a:lnTo>
                    <a:pt x="87" y="84"/>
                  </a:lnTo>
                  <a:lnTo>
                    <a:pt x="87" y="85"/>
                  </a:lnTo>
                  <a:lnTo>
                    <a:pt x="90" y="85"/>
                  </a:lnTo>
                  <a:lnTo>
                    <a:pt x="90" y="85"/>
                  </a:lnTo>
                  <a:close/>
                  <a:moveTo>
                    <a:pt x="103" y="87"/>
                  </a:moveTo>
                  <a:lnTo>
                    <a:pt x="102" y="87"/>
                  </a:lnTo>
                  <a:lnTo>
                    <a:pt x="103" y="87"/>
                  </a:lnTo>
                  <a:lnTo>
                    <a:pt x="105" y="85"/>
                  </a:lnTo>
                  <a:lnTo>
                    <a:pt x="106" y="85"/>
                  </a:lnTo>
                  <a:lnTo>
                    <a:pt x="107" y="84"/>
                  </a:lnTo>
                  <a:lnTo>
                    <a:pt x="109" y="84"/>
                  </a:lnTo>
                  <a:lnTo>
                    <a:pt x="107" y="85"/>
                  </a:lnTo>
                  <a:lnTo>
                    <a:pt x="106" y="87"/>
                  </a:lnTo>
                  <a:lnTo>
                    <a:pt x="103" y="87"/>
                  </a:lnTo>
                  <a:close/>
                  <a:moveTo>
                    <a:pt x="93" y="90"/>
                  </a:moveTo>
                  <a:lnTo>
                    <a:pt x="92" y="90"/>
                  </a:lnTo>
                  <a:lnTo>
                    <a:pt x="92" y="88"/>
                  </a:lnTo>
                  <a:lnTo>
                    <a:pt x="92" y="87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3" y="90"/>
                  </a:lnTo>
                  <a:close/>
                  <a:moveTo>
                    <a:pt x="86" y="88"/>
                  </a:moveTo>
                  <a:lnTo>
                    <a:pt x="86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88"/>
                  </a:lnTo>
                  <a:lnTo>
                    <a:pt x="85" y="87"/>
                  </a:lnTo>
                  <a:lnTo>
                    <a:pt x="86" y="88"/>
                  </a:lnTo>
                  <a:close/>
                  <a:moveTo>
                    <a:pt x="77" y="91"/>
                  </a:moveTo>
                  <a:lnTo>
                    <a:pt x="76" y="91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9" y="90"/>
                  </a:lnTo>
                  <a:lnTo>
                    <a:pt x="77" y="91"/>
                  </a:lnTo>
                  <a:close/>
                  <a:moveTo>
                    <a:pt x="79" y="95"/>
                  </a:moveTo>
                  <a:lnTo>
                    <a:pt x="79" y="95"/>
                  </a:lnTo>
                  <a:lnTo>
                    <a:pt x="77" y="95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9" y="95"/>
                  </a:lnTo>
                  <a:close/>
                  <a:moveTo>
                    <a:pt x="96" y="98"/>
                  </a:moveTo>
                  <a:lnTo>
                    <a:pt x="95" y="100"/>
                  </a:lnTo>
                  <a:lnTo>
                    <a:pt x="93" y="98"/>
                  </a:lnTo>
                  <a:lnTo>
                    <a:pt x="93" y="97"/>
                  </a:lnTo>
                  <a:lnTo>
                    <a:pt x="95" y="94"/>
                  </a:lnTo>
                  <a:lnTo>
                    <a:pt x="96" y="94"/>
                  </a:lnTo>
                  <a:lnTo>
                    <a:pt x="96" y="94"/>
                  </a:lnTo>
                  <a:lnTo>
                    <a:pt x="96" y="97"/>
                  </a:lnTo>
                  <a:lnTo>
                    <a:pt x="96" y="98"/>
                  </a:lnTo>
                  <a:close/>
                  <a:moveTo>
                    <a:pt x="92" y="97"/>
                  </a:moveTo>
                  <a:lnTo>
                    <a:pt x="90" y="98"/>
                  </a:lnTo>
                  <a:lnTo>
                    <a:pt x="89" y="98"/>
                  </a:lnTo>
                  <a:lnTo>
                    <a:pt x="89" y="97"/>
                  </a:lnTo>
                  <a:lnTo>
                    <a:pt x="89" y="95"/>
                  </a:lnTo>
                  <a:lnTo>
                    <a:pt x="90" y="95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2" y="97"/>
                  </a:lnTo>
                  <a:close/>
                  <a:moveTo>
                    <a:pt x="119" y="98"/>
                  </a:moveTo>
                  <a:lnTo>
                    <a:pt x="117" y="98"/>
                  </a:lnTo>
                  <a:lnTo>
                    <a:pt x="117" y="97"/>
                  </a:lnTo>
                  <a:lnTo>
                    <a:pt x="117" y="95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8"/>
                  </a:lnTo>
                  <a:lnTo>
                    <a:pt x="119" y="98"/>
                  </a:lnTo>
                  <a:lnTo>
                    <a:pt x="119" y="98"/>
                  </a:lnTo>
                  <a:close/>
                  <a:moveTo>
                    <a:pt x="82" y="100"/>
                  </a:moveTo>
                  <a:lnTo>
                    <a:pt x="82" y="100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2" y="97"/>
                  </a:lnTo>
                  <a:lnTo>
                    <a:pt x="82" y="97"/>
                  </a:lnTo>
                  <a:lnTo>
                    <a:pt x="83" y="98"/>
                  </a:lnTo>
                  <a:lnTo>
                    <a:pt x="82" y="100"/>
                  </a:lnTo>
                  <a:close/>
                  <a:moveTo>
                    <a:pt x="100" y="102"/>
                  </a:moveTo>
                  <a:lnTo>
                    <a:pt x="99" y="102"/>
                  </a:lnTo>
                  <a:lnTo>
                    <a:pt x="99" y="102"/>
                  </a:lnTo>
                  <a:lnTo>
                    <a:pt x="99" y="101"/>
                  </a:lnTo>
                  <a:lnTo>
                    <a:pt x="100" y="101"/>
                  </a:lnTo>
                  <a:lnTo>
                    <a:pt x="100" y="101"/>
                  </a:lnTo>
                  <a:lnTo>
                    <a:pt x="102" y="100"/>
                  </a:lnTo>
                  <a:lnTo>
                    <a:pt x="103" y="98"/>
                  </a:lnTo>
                  <a:lnTo>
                    <a:pt x="103" y="100"/>
                  </a:lnTo>
                  <a:lnTo>
                    <a:pt x="102" y="100"/>
                  </a:lnTo>
                  <a:lnTo>
                    <a:pt x="100" y="102"/>
                  </a:lnTo>
                  <a:close/>
                  <a:moveTo>
                    <a:pt x="117" y="102"/>
                  </a:moveTo>
                  <a:lnTo>
                    <a:pt x="117" y="102"/>
                  </a:lnTo>
                  <a:lnTo>
                    <a:pt x="117" y="102"/>
                  </a:lnTo>
                  <a:lnTo>
                    <a:pt x="120" y="101"/>
                  </a:lnTo>
                  <a:lnTo>
                    <a:pt x="122" y="100"/>
                  </a:lnTo>
                  <a:lnTo>
                    <a:pt x="123" y="100"/>
                  </a:lnTo>
                  <a:lnTo>
                    <a:pt x="125" y="100"/>
                  </a:lnTo>
                  <a:lnTo>
                    <a:pt x="122" y="101"/>
                  </a:lnTo>
                  <a:lnTo>
                    <a:pt x="122" y="102"/>
                  </a:lnTo>
                  <a:lnTo>
                    <a:pt x="119" y="102"/>
                  </a:lnTo>
                  <a:lnTo>
                    <a:pt x="117" y="102"/>
                  </a:lnTo>
                  <a:close/>
                  <a:moveTo>
                    <a:pt x="93" y="104"/>
                  </a:moveTo>
                  <a:lnTo>
                    <a:pt x="93" y="104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92" y="102"/>
                  </a:lnTo>
                  <a:lnTo>
                    <a:pt x="93" y="104"/>
                  </a:lnTo>
                  <a:lnTo>
                    <a:pt x="93" y="104"/>
                  </a:lnTo>
                  <a:close/>
                  <a:moveTo>
                    <a:pt x="79" y="102"/>
                  </a:moveTo>
                  <a:lnTo>
                    <a:pt x="79" y="104"/>
                  </a:lnTo>
                  <a:lnTo>
                    <a:pt x="79" y="104"/>
                  </a:lnTo>
                  <a:lnTo>
                    <a:pt x="76" y="104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7" y="104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79" y="102"/>
                  </a:lnTo>
                  <a:close/>
                  <a:moveTo>
                    <a:pt x="133" y="107"/>
                  </a:moveTo>
                  <a:lnTo>
                    <a:pt x="132" y="107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3" y="107"/>
                  </a:lnTo>
                  <a:close/>
                  <a:moveTo>
                    <a:pt x="110" y="105"/>
                  </a:moveTo>
                  <a:lnTo>
                    <a:pt x="109" y="107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09" y="105"/>
                  </a:lnTo>
                  <a:lnTo>
                    <a:pt x="109" y="105"/>
                  </a:lnTo>
                  <a:lnTo>
                    <a:pt x="110" y="105"/>
                  </a:lnTo>
                  <a:close/>
                  <a:moveTo>
                    <a:pt x="95" y="110"/>
                  </a:moveTo>
                  <a:lnTo>
                    <a:pt x="93" y="111"/>
                  </a:lnTo>
                  <a:lnTo>
                    <a:pt x="93" y="111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3" y="108"/>
                  </a:lnTo>
                  <a:lnTo>
                    <a:pt x="93" y="108"/>
                  </a:lnTo>
                  <a:lnTo>
                    <a:pt x="93" y="108"/>
                  </a:lnTo>
                  <a:lnTo>
                    <a:pt x="95" y="110"/>
                  </a:lnTo>
                  <a:lnTo>
                    <a:pt x="95" y="110"/>
                  </a:lnTo>
                  <a:close/>
                  <a:moveTo>
                    <a:pt x="132" y="118"/>
                  </a:moveTo>
                  <a:lnTo>
                    <a:pt x="132" y="120"/>
                  </a:lnTo>
                  <a:lnTo>
                    <a:pt x="130" y="120"/>
                  </a:lnTo>
                  <a:lnTo>
                    <a:pt x="130" y="118"/>
                  </a:lnTo>
                  <a:lnTo>
                    <a:pt x="130" y="117"/>
                  </a:lnTo>
                  <a:lnTo>
                    <a:pt x="130" y="115"/>
                  </a:lnTo>
                  <a:lnTo>
                    <a:pt x="130" y="114"/>
                  </a:lnTo>
                  <a:lnTo>
                    <a:pt x="132" y="114"/>
                  </a:lnTo>
                  <a:lnTo>
                    <a:pt x="132" y="112"/>
                  </a:lnTo>
                  <a:lnTo>
                    <a:pt x="133" y="111"/>
                  </a:lnTo>
                  <a:lnTo>
                    <a:pt x="137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7" y="114"/>
                  </a:lnTo>
                  <a:lnTo>
                    <a:pt x="136" y="115"/>
                  </a:lnTo>
                  <a:lnTo>
                    <a:pt x="136" y="117"/>
                  </a:lnTo>
                  <a:lnTo>
                    <a:pt x="135" y="117"/>
                  </a:lnTo>
                  <a:lnTo>
                    <a:pt x="132" y="118"/>
                  </a:lnTo>
                  <a:close/>
                  <a:moveTo>
                    <a:pt x="56" y="114"/>
                  </a:moveTo>
                  <a:lnTo>
                    <a:pt x="55" y="114"/>
                  </a:lnTo>
                  <a:lnTo>
                    <a:pt x="53" y="114"/>
                  </a:lnTo>
                  <a:lnTo>
                    <a:pt x="53" y="112"/>
                  </a:lnTo>
                  <a:lnTo>
                    <a:pt x="53" y="111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5" y="111"/>
                  </a:lnTo>
                  <a:lnTo>
                    <a:pt x="56" y="112"/>
                  </a:lnTo>
                  <a:lnTo>
                    <a:pt x="56" y="114"/>
                  </a:lnTo>
                  <a:close/>
                  <a:moveTo>
                    <a:pt x="122" y="128"/>
                  </a:moveTo>
                  <a:lnTo>
                    <a:pt x="120" y="130"/>
                  </a:lnTo>
                  <a:lnTo>
                    <a:pt x="120" y="128"/>
                  </a:lnTo>
                  <a:lnTo>
                    <a:pt x="120" y="127"/>
                  </a:lnTo>
                  <a:lnTo>
                    <a:pt x="120" y="125"/>
                  </a:lnTo>
                  <a:lnTo>
                    <a:pt x="122" y="122"/>
                  </a:lnTo>
                  <a:lnTo>
                    <a:pt x="122" y="121"/>
                  </a:lnTo>
                  <a:lnTo>
                    <a:pt x="122" y="121"/>
                  </a:lnTo>
                  <a:lnTo>
                    <a:pt x="122" y="122"/>
                  </a:lnTo>
                  <a:lnTo>
                    <a:pt x="122" y="125"/>
                  </a:lnTo>
                  <a:lnTo>
                    <a:pt x="122" y="127"/>
                  </a:lnTo>
                  <a:lnTo>
                    <a:pt x="123" y="128"/>
                  </a:lnTo>
                  <a:lnTo>
                    <a:pt x="122" y="128"/>
                  </a:lnTo>
                  <a:close/>
                  <a:moveTo>
                    <a:pt x="69" y="127"/>
                  </a:moveTo>
                  <a:lnTo>
                    <a:pt x="69" y="127"/>
                  </a:lnTo>
                  <a:lnTo>
                    <a:pt x="70" y="127"/>
                  </a:lnTo>
                  <a:lnTo>
                    <a:pt x="72" y="127"/>
                  </a:lnTo>
                  <a:lnTo>
                    <a:pt x="72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3" y="127"/>
                  </a:lnTo>
                  <a:lnTo>
                    <a:pt x="72" y="127"/>
                  </a:lnTo>
                  <a:lnTo>
                    <a:pt x="73" y="128"/>
                  </a:lnTo>
                  <a:lnTo>
                    <a:pt x="73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30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0" y="130"/>
                  </a:lnTo>
                  <a:lnTo>
                    <a:pt x="82" y="128"/>
                  </a:lnTo>
                  <a:lnTo>
                    <a:pt x="86" y="130"/>
                  </a:lnTo>
                  <a:lnTo>
                    <a:pt x="89" y="131"/>
                  </a:lnTo>
                  <a:lnTo>
                    <a:pt x="92" y="131"/>
                  </a:lnTo>
                  <a:lnTo>
                    <a:pt x="95" y="131"/>
                  </a:lnTo>
                  <a:lnTo>
                    <a:pt x="96" y="131"/>
                  </a:lnTo>
                  <a:lnTo>
                    <a:pt x="99" y="130"/>
                  </a:lnTo>
                  <a:lnTo>
                    <a:pt x="99" y="131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99" y="135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3" y="132"/>
                  </a:lnTo>
                  <a:lnTo>
                    <a:pt x="106" y="132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2"/>
                  </a:lnTo>
                  <a:lnTo>
                    <a:pt x="107" y="134"/>
                  </a:lnTo>
                  <a:lnTo>
                    <a:pt x="107" y="135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03" y="137"/>
                  </a:lnTo>
                  <a:lnTo>
                    <a:pt x="100" y="137"/>
                  </a:lnTo>
                  <a:lnTo>
                    <a:pt x="96" y="137"/>
                  </a:lnTo>
                  <a:lnTo>
                    <a:pt x="90" y="138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3" y="137"/>
                  </a:lnTo>
                  <a:lnTo>
                    <a:pt x="82" y="135"/>
                  </a:lnTo>
                  <a:lnTo>
                    <a:pt x="82" y="135"/>
                  </a:lnTo>
                  <a:lnTo>
                    <a:pt x="80" y="135"/>
                  </a:lnTo>
                  <a:lnTo>
                    <a:pt x="77" y="134"/>
                  </a:lnTo>
                  <a:lnTo>
                    <a:pt x="70" y="132"/>
                  </a:lnTo>
                  <a:lnTo>
                    <a:pt x="69" y="132"/>
                  </a:lnTo>
                  <a:lnTo>
                    <a:pt x="66" y="132"/>
                  </a:lnTo>
                  <a:lnTo>
                    <a:pt x="65" y="132"/>
                  </a:lnTo>
                  <a:lnTo>
                    <a:pt x="65" y="132"/>
                  </a:lnTo>
                  <a:lnTo>
                    <a:pt x="63" y="131"/>
                  </a:lnTo>
                  <a:lnTo>
                    <a:pt x="63" y="130"/>
                  </a:lnTo>
                  <a:lnTo>
                    <a:pt x="63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6" y="127"/>
                  </a:lnTo>
                  <a:lnTo>
                    <a:pt x="66" y="127"/>
                  </a:lnTo>
                  <a:lnTo>
                    <a:pt x="66" y="125"/>
                  </a:lnTo>
                  <a:lnTo>
                    <a:pt x="66" y="124"/>
                  </a:lnTo>
                  <a:lnTo>
                    <a:pt x="68" y="125"/>
                  </a:lnTo>
                  <a:lnTo>
                    <a:pt x="68" y="127"/>
                  </a:lnTo>
                  <a:lnTo>
                    <a:pt x="69" y="12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0" name="Google Shape;220;p3"/>
            <p:cNvSpPr/>
            <p:nvPr/>
          </p:nvSpPr>
          <p:spPr>
            <a:xfrm>
              <a:off x="2915613" y="4192133"/>
              <a:ext cx="44883" cy="42062"/>
            </a:xfrm>
            <a:custGeom>
              <a:rect b="b" l="l" r="r" t="t"/>
              <a:pathLst>
                <a:path extrusionOk="0" h="67" w="64">
                  <a:moveTo>
                    <a:pt x="50" y="0"/>
                  </a:moveTo>
                  <a:lnTo>
                    <a:pt x="50" y="4"/>
                  </a:lnTo>
                  <a:lnTo>
                    <a:pt x="50" y="9"/>
                  </a:lnTo>
                  <a:lnTo>
                    <a:pt x="50" y="11"/>
                  </a:lnTo>
                  <a:lnTo>
                    <a:pt x="48" y="16"/>
                  </a:lnTo>
                  <a:lnTo>
                    <a:pt x="48" y="21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50" y="31"/>
                  </a:lnTo>
                  <a:lnTo>
                    <a:pt x="53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5" y="31"/>
                  </a:lnTo>
                  <a:lnTo>
                    <a:pt x="57" y="33"/>
                  </a:lnTo>
                  <a:lnTo>
                    <a:pt x="58" y="34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58" y="31"/>
                  </a:lnTo>
                  <a:lnTo>
                    <a:pt x="58" y="30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3" y="36"/>
                  </a:lnTo>
                  <a:lnTo>
                    <a:pt x="60" y="39"/>
                  </a:lnTo>
                  <a:lnTo>
                    <a:pt x="57" y="40"/>
                  </a:lnTo>
                  <a:lnTo>
                    <a:pt x="55" y="43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50" y="50"/>
                  </a:lnTo>
                  <a:lnTo>
                    <a:pt x="50" y="51"/>
                  </a:lnTo>
                  <a:lnTo>
                    <a:pt x="50" y="53"/>
                  </a:lnTo>
                  <a:lnTo>
                    <a:pt x="47" y="54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9"/>
                  </a:lnTo>
                  <a:lnTo>
                    <a:pt x="44" y="59"/>
                  </a:lnTo>
                  <a:lnTo>
                    <a:pt x="43" y="59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7" y="63"/>
                  </a:lnTo>
                  <a:lnTo>
                    <a:pt x="36" y="64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7"/>
                  </a:lnTo>
                  <a:lnTo>
                    <a:pt x="28" y="64"/>
                  </a:lnTo>
                  <a:lnTo>
                    <a:pt x="27" y="64"/>
                  </a:lnTo>
                  <a:lnTo>
                    <a:pt x="18" y="64"/>
                  </a:lnTo>
                  <a:lnTo>
                    <a:pt x="14" y="63"/>
                  </a:lnTo>
                  <a:lnTo>
                    <a:pt x="10" y="61"/>
                  </a:lnTo>
                  <a:lnTo>
                    <a:pt x="7" y="59"/>
                  </a:lnTo>
                  <a:lnTo>
                    <a:pt x="0" y="54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1" y="51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47"/>
                  </a:lnTo>
                  <a:lnTo>
                    <a:pt x="1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1" y="43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3" y="39"/>
                  </a:lnTo>
                  <a:lnTo>
                    <a:pt x="4" y="34"/>
                  </a:lnTo>
                  <a:lnTo>
                    <a:pt x="7" y="31"/>
                  </a:lnTo>
                  <a:lnTo>
                    <a:pt x="8" y="29"/>
                  </a:lnTo>
                  <a:lnTo>
                    <a:pt x="13" y="29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26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30" y="24"/>
                  </a:lnTo>
                  <a:lnTo>
                    <a:pt x="30" y="23"/>
                  </a:lnTo>
                  <a:lnTo>
                    <a:pt x="28" y="23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4" y="19"/>
                  </a:lnTo>
                  <a:lnTo>
                    <a:pt x="23" y="17"/>
                  </a:lnTo>
                  <a:lnTo>
                    <a:pt x="21" y="16"/>
                  </a:lnTo>
                  <a:lnTo>
                    <a:pt x="18" y="14"/>
                  </a:lnTo>
                  <a:lnTo>
                    <a:pt x="17" y="11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7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41" y="0"/>
                  </a:lnTo>
                  <a:lnTo>
                    <a:pt x="47" y="0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Google Shape;221;p3"/>
            <p:cNvSpPr/>
            <p:nvPr/>
          </p:nvSpPr>
          <p:spPr>
            <a:xfrm>
              <a:off x="3763483" y="4244867"/>
              <a:ext cx="34364" cy="18206"/>
            </a:xfrm>
            <a:custGeom>
              <a:rect b="b" l="l" r="r" t="t"/>
              <a:pathLst>
                <a:path extrusionOk="0" h="29" w="49">
                  <a:moveTo>
                    <a:pt x="49" y="0"/>
                  </a:moveTo>
                  <a:lnTo>
                    <a:pt x="49" y="2"/>
                  </a:lnTo>
                  <a:lnTo>
                    <a:pt x="49" y="3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9" y="16"/>
                  </a:lnTo>
                  <a:lnTo>
                    <a:pt x="45" y="17"/>
                  </a:lnTo>
                  <a:lnTo>
                    <a:pt x="42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9"/>
                  </a:lnTo>
                  <a:lnTo>
                    <a:pt x="35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2" y="22"/>
                  </a:lnTo>
                  <a:lnTo>
                    <a:pt x="29" y="26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6" y="27"/>
                  </a:lnTo>
                  <a:lnTo>
                    <a:pt x="28" y="26"/>
                  </a:lnTo>
                  <a:lnTo>
                    <a:pt x="26" y="2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0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5" y="16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5" y="13"/>
                  </a:lnTo>
                  <a:lnTo>
                    <a:pt x="22" y="12"/>
                  </a:lnTo>
                  <a:lnTo>
                    <a:pt x="20" y="13"/>
                  </a:lnTo>
                  <a:lnTo>
                    <a:pt x="18" y="15"/>
                  </a:lnTo>
                  <a:lnTo>
                    <a:pt x="15" y="16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0" y="13"/>
                  </a:lnTo>
                  <a:lnTo>
                    <a:pt x="8" y="12"/>
                  </a:lnTo>
                  <a:lnTo>
                    <a:pt x="6" y="10"/>
                  </a:lnTo>
                  <a:lnTo>
                    <a:pt x="8" y="9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5" y="9"/>
                  </a:lnTo>
                  <a:lnTo>
                    <a:pt x="0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5" y="5"/>
                  </a:lnTo>
                  <a:lnTo>
                    <a:pt x="19" y="3"/>
                  </a:lnTo>
                  <a:lnTo>
                    <a:pt x="22" y="2"/>
                  </a:lnTo>
                  <a:lnTo>
                    <a:pt x="25" y="0"/>
                  </a:lnTo>
                  <a:lnTo>
                    <a:pt x="29" y="0"/>
                  </a:lnTo>
                  <a:lnTo>
                    <a:pt x="33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9" y="0"/>
                  </a:lnTo>
                  <a:close/>
                  <a:moveTo>
                    <a:pt x="12" y="13"/>
                  </a:moveTo>
                  <a:lnTo>
                    <a:pt x="12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3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9" y="19"/>
                  </a:moveTo>
                  <a:lnTo>
                    <a:pt x="19" y="19"/>
                  </a:lnTo>
                  <a:lnTo>
                    <a:pt x="18" y="19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19" y="19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20"/>
                  </a:lnTo>
                  <a:close/>
                  <a:moveTo>
                    <a:pt x="16" y="25"/>
                  </a:move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5"/>
                  </a:lnTo>
                  <a:lnTo>
                    <a:pt x="16" y="25"/>
                  </a:lnTo>
                  <a:close/>
                  <a:moveTo>
                    <a:pt x="10" y="27"/>
                  </a:moveTo>
                  <a:lnTo>
                    <a:pt x="9" y="27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10" y="27"/>
                  </a:lnTo>
                  <a:close/>
                  <a:moveTo>
                    <a:pt x="13" y="26"/>
                  </a:move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Google Shape;222;p3"/>
            <p:cNvSpPr/>
            <p:nvPr/>
          </p:nvSpPr>
          <p:spPr>
            <a:xfrm>
              <a:off x="3262756" y="4286928"/>
              <a:ext cx="54701" cy="73451"/>
            </a:xfrm>
            <a:custGeom>
              <a:rect b="b" l="l" r="r" t="t"/>
              <a:pathLst>
                <a:path extrusionOk="0" h="117" w="78">
                  <a:moveTo>
                    <a:pt x="67" y="49"/>
                  </a:moveTo>
                  <a:lnTo>
                    <a:pt x="65" y="49"/>
                  </a:lnTo>
                  <a:lnTo>
                    <a:pt x="65" y="50"/>
                  </a:lnTo>
                  <a:lnTo>
                    <a:pt x="65" y="52"/>
                  </a:lnTo>
                  <a:lnTo>
                    <a:pt x="64" y="52"/>
                  </a:lnTo>
                  <a:lnTo>
                    <a:pt x="65" y="53"/>
                  </a:lnTo>
                  <a:lnTo>
                    <a:pt x="65" y="53"/>
                  </a:lnTo>
                  <a:lnTo>
                    <a:pt x="65" y="53"/>
                  </a:lnTo>
                  <a:lnTo>
                    <a:pt x="67" y="53"/>
                  </a:lnTo>
                  <a:lnTo>
                    <a:pt x="67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7"/>
                  </a:lnTo>
                  <a:lnTo>
                    <a:pt x="63" y="57"/>
                  </a:lnTo>
                  <a:lnTo>
                    <a:pt x="61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7" y="57"/>
                  </a:lnTo>
                  <a:lnTo>
                    <a:pt x="57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2"/>
                  </a:lnTo>
                  <a:lnTo>
                    <a:pt x="55" y="63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6"/>
                  </a:lnTo>
                  <a:lnTo>
                    <a:pt x="54" y="67"/>
                  </a:lnTo>
                  <a:lnTo>
                    <a:pt x="54" y="69"/>
                  </a:lnTo>
                  <a:lnTo>
                    <a:pt x="53" y="70"/>
                  </a:lnTo>
                  <a:lnTo>
                    <a:pt x="53" y="72"/>
                  </a:lnTo>
                  <a:lnTo>
                    <a:pt x="53" y="73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7" y="79"/>
                  </a:lnTo>
                  <a:lnTo>
                    <a:pt x="58" y="80"/>
                  </a:lnTo>
                  <a:lnTo>
                    <a:pt x="60" y="80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5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70" y="97"/>
                  </a:lnTo>
                  <a:lnTo>
                    <a:pt x="71" y="97"/>
                  </a:lnTo>
                  <a:lnTo>
                    <a:pt x="71" y="99"/>
                  </a:lnTo>
                  <a:lnTo>
                    <a:pt x="71" y="100"/>
                  </a:lnTo>
                  <a:lnTo>
                    <a:pt x="73" y="100"/>
                  </a:lnTo>
                  <a:lnTo>
                    <a:pt x="73" y="102"/>
                  </a:lnTo>
                  <a:lnTo>
                    <a:pt x="74" y="103"/>
                  </a:lnTo>
                  <a:lnTo>
                    <a:pt x="74" y="105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7" y="106"/>
                  </a:lnTo>
                  <a:lnTo>
                    <a:pt x="78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5" y="106"/>
                  </a:lnTo>
                  <a:lnTo>
                    <a:pt x="74" y="106"/>
                  </a:lnTo>
                  <a:lnTo>
                    <a:pt x="74" y="107"/>
                  </a:lnTo>
                  <a:lnTo>
                    <a:pt x="73" y="107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7" y="106"/>
                  </a:lnTo>
                  <a:lnTo>
                    <a:pt x="65" y="106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3" y="106"/>
                  </a:lnTo>
                  <a:lnTo>
                    <a:pt x="61" y="109"/>
                  </a:lnTo>
                  <a:lnTo>
                    <a:pt x="61" y="109"/>
                  </a:lnTo>
                  <a:lnTo>
                    <a:pt x="60" y="110"/>
                  </a:lnTo>
                  <a:lnTo>
                    <a:pt x="58" y="110"/>
                  </a:lnTo>
                  <a:lnTo>
                    <a:pt x="57" y="110"/>
                  </a:lnTo>
                  <a:lnTo>
                    <a:pt x="55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2"/>
                  </a:lnTo>
                  <a:lnTo>
                    <a:pt x="54" y="113"/>
                  </a:lnTo>
                  <a:lnTo>
                    <a:pt x="53" y="113"/>
                  </a:lnTo>
                  <a:lnTo>
                    <a:pt x="53" y="113"/>
                  </a:lnTo>
                  <a:lnTo>
                    <a:pt x="51" y="113"/>
                  </a:lnTo>
                  <a:lnTo>
                    <a:pt x="51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5" y="113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4" y="116"/>
                  </a:lnTo>
                  <a:lnTo>
                    <a:pt x="43" y="116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0" y="117"/>
                  </a:lnTo>
                  <a:lnTo>
                    <a:pt x="40" y="117"/>
                  </a:lnTo>
                  <a:lnTo>
                    <a:pt x="38" y="117"/>
                  </a:lnTo>
                  <a:lnTo>
                    <a:pt x="38" y="116"/>
                  </a:lnTo>
                  <a:lnTo>
                    <a:pt x="35" y="116"/>
                  </a:lnTo>
                  <a:lnTo>
                    <a:pt x="34" y="115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1" y="113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6"/>
                  </a:lnTo>
                  <a:lnTo>
                    <a:pt x="26" y="103"/>
                  </a:lnTo>
                  <a:lnTo>
                    <a:pt x="26" y="100"/>
                  </a:lnTo>
                  <a:lnTo>
                    <a:pt x="24" y="100"/>
                  </a:lnTo>
                  <a:lnTo>
                    <a:pt x="23" y="99"/>
                  </a:lnTo>
                  <a:lnTo>
                    <a:pt x="23" y="96"/>
                  </a:lnTo>
                  <a:lnTo>
                    <a:pt x="21" y="95"/>
                  </a:lnTo>
                  <a:lnTo>
                    <a:pt x="21" y="93"/>
                  </a:lnTo>
                  <a:lnTo>
                    <a:pt x="23" y="89"/>
                  </a:lnTo>
                  <a:lnTo>
                    <a:pt x="23" y="87"/>
                  </a:lnTo>
                  <a:lnTo>
                    <a:pt x="24" y="85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0"/>
                  </a:lnTo>
                  <a:lnTo>
                    <a:pt x="26" y="79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8" y="76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7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6" y="66"/>
                  </a:lnTo>
                  <a:lnTo>
                    <a:pt x="24" y="66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21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4" y="55"/>
                  </a:lnTo>
                  <a:lnTo>
                    <a:pt x="13" y="55"/>
                  </a:lnTo>
                  <a:lnTo>
                    <a:pt x="11" y="53"/>
                  </a:lnTo>
                  <a:lnTo>
                    <a:pt x="10" y="55"/>
                  </a:lnTo>
                  <a:lnTo>
                    <a:pt x="7" y="50"/>
                  </a:lnTo>
                  <a:lnTo>
                    <a:pt x="3" y="46"/>
                  </a:lnTo>
                  <a:lnTo>
                    <a:pt x="0" y="43"/>
                  </a:lnTo>
                  <a:lnTo>
                    <a:pt x="0" y="42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3" y="39"/>
                  </a:lnTo>
                  <a:lnTo>
                    <a:pt x="4" y="37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10" y="29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0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30" y="5"/>
                  </a:lnTo>
                  <a:lnTo>
                    <a:pt x="34" y="8"/>
                  </a:lnTo>
                  <a:lnTo>
                    <a:pt x="41" y="13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5"/>
                  </a:lnTo>
                  <a:lnTo>
                    <a:pt x="44" y="27"/>
                  </a:lnTo>
                  <a:lnTo>
                    <a:pt x="44" y="30"/>
                  </a:lnTo>
                  <a:lnTo>
                    <a:pt x="44" y="33"/>
                  </a:lnTo>
                  <a:lnTo>
                    <a:pt x="43" y="35"/>
                  </a:lnTo>
                  <a:lnTo>
                    <a:pt x="44" y="35"/>
                  </a:lnTo>
                  <a:lnTo>
                    <a:pt x="44" y="32"/>
                  </a:lnTo>
                  <a:lnTo>
                    <a:pt x="45" y="29"/>
                  </a:lnTo>
                  <a:lnTo>
                    <a:pt x="47" y="27"/>
                  </a:lnTo>
                  <a:lnTo>
                    <a:pt x="48" y="27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4" y="29"/>
                  </a:lnTo>
                  <a:lnTo>
                    <a:pt x="57" y="32"/>
                  </a:lnTo>
                  <a:lnTo>
                    <a:pt x="60" y="35"/>
                  </a:lnTo>
                  <a:lnTo>
                    <a:pt x="61" y="36"/>
                  </a:lnTo>
                  <a:lnTo>
                    <a:pt x="64" y="37"/>
                  </a:lnTo>
                  <a:lnTo>
                    <a:pt x="65" y="39"/>
                  </a:lnTo>
                  <a:lnTo>
                    <a:pt x="67" y="40"/>
                  </a:lnTo>
                  <a:lnTo>
                    <a:pt x="67" y="43"/>
                  </a:lnTo>
                  <a:lnTo>
                    <a:pt x="67" y="49"/>
                  </a:lnTo>
                  <a:lnTo>
                    <a:pt x="67" y="4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Google Shape;223;p3"/>
            <p:cNvSpPr/>
            <p:nvPr/>
          </p:nvSpPr>
          <p:spPr>
            <a:xfrm>
              <a:off x="5230598" y="4141282"/>
              <a:ext cx="4909" cy="4395"/>
            </a:xfrm>
            <a:custGeom>
              <a:rect b="b" l="l" r="r" t="t"/>
              <a:pathLst>
                <a:path extrusionOk="0" h="7" w="7">
                  <a:moveTo>
                    <a:pt x="7" y="0"/>
                  </a:moveTo>
                  <a:lnTo>
                    <a:pt x="7" y="1"/>
                  </a:lnTo>
                  <a:lnTo>
                    <a:pt x="7" y="1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4" y="4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close/>
                  <a:moveTo>
                    <a:pt x="2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5" y="5"/>
                  </a:moveTo>
                  <a:lnTo>
                    <a:pt x="5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Google Shape;224;p3"/>
            <p:cNvSpPr/>
            <p:nvPr/>
          </p:nvSpPr>
          <p:spPr>
            <a:xfrm>
              <a:off x="2948575" y="4205316"/>
              <a:ext cx="68727" cy="37039"/>
            </a:xfrm>
            <a:custGeom>
              <a:rect b="b" l="l" r="r" t="t"/>
              <a:pathLst>
                <a:path extrusionOk="0" h="59" w="98">
                  <a:moveTo>
                    <a:pt x="56" y="2"/>
                  </a:moveTo>
                  <a:lnTo>
                    <a:pt x="54" y="2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2"/>
                  </a:lnTo>
                  <a:close/>
                  <a:moveTo>
                    <a:pt x="47" y="2"/>
                  </a:moveTo>
                  <a:lnTo>
                    <a:pt x="44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7" y="2"/>
                  </a:lnTo>
                  <a:close/>
                  <a:moveTo>
                    <a:pt x="98" y="26"/>
                  </a:moveTo>
                  <a:lnTo>
                    <a:pt x="94" y="25"/>
                  </a:lnTo>
                  <a:lnTo>
                    <a:pt x="93" y="26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8" y="32"/>
                  </a:lnTo>
                  <a:lnTo>
                    <a:pt x="77" y="32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3" y="29"/>
                  </a:lnTo>
                  <a:lnTo>
                    <a:pt x="71" y="29"/>
                  </a:lnTo>
                  <a:lnTo>
                    <a:pt x="70" y="29"/>
                  </a:lnTo>
                  <a:lnTo>
                    <a:pt x="68" y="30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7" y="32"/>
                  </a:lnTo>
                  <a:lnTo>
                    <a:pt x="67" y="33"/>
                  </a:lnTo>
                  <a:lnTo>
                    <a:pt x="66" y="35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4" y="38"/>
                  </a:lnTo>
                  <a:lnTo>
                    <a:pt x="63" y="38"/>
                  </a:lnTo>
                  <a:lnTo>
                    <a:pt x="61" y="40"/>
                  </a:lnTo>
                  <a:lnTo>
                    <a:pt x="60" y="42"/>
                  </a:lnTo>
                  <a:lnTo>
                    <a:pt x="58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4" y="42"/>
                  </a:lnTo>
                  <a:lnTo>
                    <a:pt x="53" y="40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3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4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8"/>
                  </a:lnTo>
                  <a:lnTo>
                    <a:pt x="41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6"/>
                  </a:lnTo>
                  <a:lnTo>
                    <a:pt x="38" y="58"/>
                  </a:lnTo>
                  <a:lnTo>
                    <a:pt x="37" y="58"/>
                  </a:lnTo>
                  <a:lnTo>
                    <a:pt x="36" y="59"/>
                  </a:lnTo>
                  <a:lnTo>
                    <a:pt x="31" y="59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0" y="55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0" y="52"/>
                  </a:lnTo>
                  <a:lnTo>
                    <a:pt x="27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6" y="48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4" y="43"/>
                  </a:lnTo>
                  <a:lnTo>
                    <a:pt x="23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8" y="22"/>
                  </a:lnTo>
                  <a:lnTo>
                    <a:pt x="10" y="19"/>
                  </a:lnTo>
                  <a:lnTo>
                    <a:pt x="13" y="18"/>
                  </a:lnTo>
                  <a:lnTo>
                    <a:pt x="16" y="15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8" y="13"/>
                  </a:lnTo>
                  <a:lnTo>
                    <a:pt x="41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50" y="10"/>
                  </a:lnTo>
                  <a:lnTo>
                    <a:pt x="53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7" y="9"/>
                  </a:lnTo>
                  <a:lnTo>
                    <a:pt x="61" y="10"/>
                  </a:lnTo>
                  <a:lnTo>
                    <a:pt x="67" y="10"/>
                  </a:lnTo>
                  <a:lnTo>
                    <a:pt x="68" y="9"/>
                  </a:lnTo>
                  <a:lnTo>
                    <a:pt x="70" y="9"/>
                  </a:lnTo>
                  <a:lnTo>
                    <a:pt x="76" y="10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81" y="12"/>
                  </a:lnTo>
                  <a:lnTo>
                    <a:pt x="88" y="18"/>
                  </a:lnTo>
                  <a:lnTo>
                    <a:pt x="88" y="19"/>
                  </a:lnTo>
                  <a:lnTo>
                    <a:pt x="86" y="16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8" y="20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0"/>
                  </a:lnTo>
                  <a:lnTo>
                    <a:pt x="90" y="19"/>
                  </a:lnTo>
                  <a:lnTo>
                    <a:pt x="91" y="19"/>
                  </a:lnTo>
                  <a:lnTo>
                    <a:pt x="96" y="22"/>
                  </a:lnTo>
                  <a:lnTo>
                    <a:pt x="97" y="23"/>
                  </a:lnTo>
                  <a:lnTo>
                    <a:pt x="98" y="25"/>
                  </a:lnTo>
                  <a:lnTo>
                    <a:pt x="98" y="2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225;p3"/>
            <p:cNvSpPr/>
            <p:nvPr/>
          </p:nvSpPr>
          <p:spPr>
            <a:xfrm>
              <a:off x="4103612" y="3845596"/>
              <a:ext cx="66624" cy="57756"/>
            </a:xfrm>
            <a:custGeom>
              <a:rect b="b" l="l" r="r" t="t"/>
              <a:pathLst>
                <a:path extrusionOk="0" h="92" w="95">
                  <a:moveTo>
                    <a:pt x="48" y="1"/>
                  </a:moveTo>
                  <a:lnTo>
                    <a:pt x="49" y="1"/>
                  </a:lnTo>
                  <a:lnTo>
                    <a:pt x="52" y="2"/>
                  </a:lnTo>
                  <a:lnTo>
                    <a:pt x="53" y="4"/>
                  </a:lnTo>
                  <a:lnTo>
                    <a:pt x="55" y="7"/>
                  </a:lnTo>
                  <a:lnTo>
                    <a:pt x="56" y="8"/>
                  </a:lnTo>
                  <a:lnTo>
                    <a:pt x="58" y="10"/>
                  </a:lnTo>
                  <a:lnTo>
                    <a:pt x="59" y="11"/>
                  </a:lnTo>
                  <a:lnTo>
                    <a:pt x="60" y="12"/>
                  </a:lnTo>
                  <a:lnTo>
                    <a:pt x="62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6" y="15"/>
                  </a:lnTo>
                  <a:lnTo>
                    <a:pt x="68" y="17"/>
                  </a:lnTo>
                  <a:lnTo>
                    <a:pt x="69" y="17"/>
                  </a:lnTo>
                  <a:lnTo>
                    <a:pt x="70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5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5"/>
                  </a:lnTo>
                  <a:lnTo>
                    <a:pt x="85" y="17"/>
                  </a:lnTo>
                  <a:lnTo>
                    <a:pt x="86" y="18"/>
                  </a:lnTo>
                  <a:lnTo>
                    <a:pt x="87" y="20"/>
                  </a:lnTo>
                  <a:lnTo>
                    <a:pt x="86" y="21"/>
                  </a:lnTo>
                  <a:lnTo>
                    <a:pt x="87" y="22"/>
                  </a:lnTo>
                  <a:lnTo>
                    <a:pt x="89" y="22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5"/>
                  </a:lnTo>
                  <a:lnTo>
                    <a:pt x="89" y="27"/>
                  </a:lnTo>
                  <a:lnTo>
                    <a:pt x="92" y="28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5" y="30"/>
                  </a:lnTo>
                  <a:lnTo>
                    <a:pt x="95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9" y="32"/>
                  </a:lnTo>
                  <a:lnTo>
                    <a:pt x="89" y="35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7" y="38"/>
                  </a:lnTo>
                  <a:lnTo>
                    <a:pt x="86" y="38"/>
                  </a:lnTo>
                  <a:lnTo>
                    <a:pt x="85" y="38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5"/>
                  </a:lnTo>
                  <a:lnTo>
                    <a:pt x="83" y="34"/>
                  </a:lnTo>
                  <a:lnTo>
                    <a:pt x="82" y="34"/>
                  </a:lnTo>
                  <a:lnTo>
                    <a:pt x="79" y="34"/>
                  </a:lnTo>
                  <a:lnTo>
                    <a:pt x="79" y="32"/>
                  </a:lnTo>
                  <a:lnTo>
                    <a:pt x="77" y="32"/>
                  </a:lnTo>
                  <a:lnTo>
                    <a:pt x="76" y="32"/>
                  </a:lnTo>
                  <a:lnTo>
                    <a:pt x="75" y="32"/>
                  </a:lnTo>
                  <a:lnTo>
                    <a:pt x="73" y="32"/>
                  </a:lnTo>
                  <a:lnTo>
                    <a:pt x="72" y="32"/>
                  </a:lnTo>
                  <a:lnTo>
                    <a:pt x="70" y="3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5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59" y="31"/>
                  </a:lnTo>
                  <a:lnTo>
                    <a:pt x="58" y="31"/>
                  </a:lnTo>
                  <a:lnTo>
                    <a:pt x="55" y="28"/>
                  </a:lnTo>
                  <a:lnTo>
                    <a:pt x="52" y="31"/>
                  </a:lnTo>
                  <a:lnTo>
                    <a:pt x="48" y="30"/>
                  </a:lnTo>
                  <a:lnTo>
                    <a:pt x="46" y="31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3" y="34"/>
                  </a:lnTo>
                  <a:lnTo>
                    <a:pt x="42" y="34"/>
                  </a:lnTo>
                  <a:lnTo>
                    <a:pt x="40" y="31"/>
                  </a:lnTo>
                  <a:lnTo>
                    <a:pt x="39" y="31"/>
                  </a:lnTo>
                  <a:lnTo>
                    <a:pt x="38" y="30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5" y="38"/>
                  </a:lnTo>
                  <a:lnTo>
                    <a:pt x="35" y="41"/>
                  </a:lnTo>
                  <a:lnTo>
                    <a:pt x="38" y="42"/>
                  </a:lnTo>
                  <a:lnTo>
                    <a:pt x="40" y="45"/>
                  </a:lnTo>
                  <a:lnTo>
                    <a:pt x="42" y="45"/>
                  </a:lnTo>
                  <a:lnTo>
                    <a:pt x="42" y="47"/>
                  </a:lnTo>
                  <a:lnTo>
                    <a:pt x="42" y="50"/>
                  </a:lnTo>
                  <a:lnTo>
                    <a:pt x="43" y="52"/>
                  </a:lnTo>
                  <a:lnTo>
                    <a:pt x="45" y="55"/>
                  </a:lnTo>
                  <a:lnTo>
                    <a:pt x="46" y="57"/>
                  </a:lnTo>
                  <a:lnTo>
                    <a:pt x="48" y="58"/>
                  </a:lnTo>
                  <a:lnTo>
                    <a:pt x="49" y="60"/>
                  </a:lnTo>
                  <a:lnTo>
                    <a:pt x="50" y="61"/>
                  </a:lnTo>
                  <a:lnTo>
                    <a:pt x="50" y="62"/>
                  </a:lnTo>
                  <a:lnTo>
                    <a:pt x="55" y="65"/>
                  </a:lnTo>
                  <a:lnTo>
                    <a:pt x="58" y="68"/>
                  </a:lnTo>
                  <a:lnTo>
                    <a:pt x="59" y="70"/>
                  </a:lnTo>
                  <a:lnTo>
                    <a:pt x="60" y="70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2" y="75"/>
                  </a:lnTo>
                  <a:lnTo>
                    <a:pt x="66" y="78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0" y="77"/>
                  </a:lnTo>
                  <a:lnTo>
                    <a:pt x="58" y="75"/>
                  </a:lnTo>
                  <a:lnTo>
                    <a:pt x="55" y="71"/>
                  </a:lnTo>
                  <a:lnTo>
                    <a:pt x="49" y="70"/>
                  </a:lnTo>
                  <a:lnTo>
                    <a:pt x="46" y="68"/>
                  </a:lnTo>
                  <a:lnTo>
                    <a:pt x="43" y="68"/>
                  </a:lnTo>
                  <a:lnTo>
                    <a:pt x="42" y="68"/>
                  </a:lnTo>
                  <a:lnTo>
                    <a:pt x="40" y="68"/>
                  </a:lnTo>
                  <a:lnTo>
                    <a:pt x="39" y="68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2" y="60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6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3" y="44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2" y="35"/>
                  </a:lnTo>
                  <a:lnTo>
                    <a:pt x="22" y="34"/>
                  </a:lnTo>
                  <a:lnTo>
                    <a:pt x="18" y="30"/>
                  </a:lnTo>
                  <a:lnTo>
                    <a:pt x="16" y="28"/>
                  </a:lnTo>
                  <a:lnTo>
                    <a:pt x="13" y="27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9" y="35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6" y="40"/>
                  </a:lnTo>
                  <a:lnTo>
                    <a:pt x="5" y="38"/>
                  </a:lnTo>
                  <a:lnTo>
                    <a:pt x="3" y="35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5" y="24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5" y="25"/>
                  </a:lnTo>
                  <a:lnTo>
                    <a:pt x="28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7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4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8" y="1"/>
                  </a:lnTo>
                  <a:close/>
                  <a:moveTo>
                    <a:pt x="20" y="35"/>
                  </a:moveTo>
                  <a:lnTo>
                    <a:pt x="19" y="37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8" y="31"/>
                  </a:lnTo>
                  <a:lnTo>
                    <a:pt x="19" y="32"/>
                  </a:lnTo>
                  <a:lnTo>
                    <a:pt x="19" y="34"/>
                  </a:lnTo>
                  <a:lnTo>
                    <a:pt x="20" y="35"/>
                  </a:lnTo>
                  <a:close/>
                  <a:moveTo>
                    <a:pt x="15" y="42"/>
                  </a:moveTo>
                  <a:lnTo>
                    <a:pt x="15" y="44"/>
                  </a:lnTo>
                  <a:lnTo>
                    <a:pt x="15" y="42"/>
                  </a:lnTo>
                  <a:lnTo>
                    <a:pt x="13" y="41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2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5" y="35"/>
                  </a:lnTo>
                  <a:lnTo>
                    <a:pt x="15" y="38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20" y="41"/>
                  </a:moveTo>
                  <a:lnTo>
                    <a:pt x="22" y="41"/>
                  </a:lnTo>
                  <a:lnTo>
                    <a:pt x="20" y="41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20" y="40"/>
                  </a:lnTo>
                  <a:lnTo>
                    <a:pt x="20" y="41"/>
                  </a:lnTo>
                  <a:close/>
                  <a:moveTo>
                    <a:pt x="26" y="50"/>
                  </a:moveTo>
                  <a:lnTo>
                    <a:pt x="26" y="51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3" y="48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3" y="45"/>
                  </a:lnTo>
                  <a:lnTo>
                    <a:pt x="25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0"/>
                  </a:lnTo>
                  <a:close/>
                  <a:moveTo>
                    <a:pt x="26" y="60"/>
                  </a:move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3" y="55"/>
                  </a:lnTo>
                  <a:lnTo>
                    <a:pt x="26" y="60"/>
                  </a:lnTo>
                  <a:close/>
                  <a:moveTo>
                    <a:pt x="28" y="57"/>
                  </a:moveTo>
                  <a:lnTo>
                    <a:pt x="28" y="57"/>
                  </a:lnTo>
                  <a:lnTo>
                    <a:pt x="26" y="55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8" y="57"/>
                  </a:lnTo>
                  <a:close/>
                  <a:moveTo>
                    <a:pt x="29" y="58"/>
                  </a:moveTo>
                  <a:lnTo>
                    <a:pt x="30" y="60"/>
                  </a:lnTo>
                  <a:lnTo>
                    <a:pt x="29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9" y="58"/>
                  </a:lnTo>
                  <a:close/>
                  <a:moveTo>
                    <a:pt x="52" y="74"/>
                  </a:moveTo>
                  <a:lnTo>
                    <a:pt x="49" y="74"/>
                  </a:lnTo>
                  <a:lnTo>
                    <a:pt x="48" y="74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6" y="71"/>
                  </a:lnTo>
                  <a:lnTo>
                    <a:pt x="49" y="71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2" y="74"/>
                  </a:lnTo>
                  <a:close/>
                  <a:moveTo>
                    <a:pt x="59" y="77"/>
                  </a:moveTo>
                  <a:lnTo>
                    <a:pt x="58" y="77"/>
                  </a:lnTo>
                  <a:lnTo>
                    <a:pt x="50" y="77"/>
                  </a:lnTo>
                  <a:lnTo>
                    <a:pt x="49" y="77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8" y="74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6" y="77"/>
                  </a:lnTo>
                  <a:lnTo>
                    <a:pt x="59" y="77"/>
                  </a:lnTo>
                  <a:close/>
                  <a:moveTo>
                    <a:pt x="66" y="82"/>
                  </a:moveTo>
                  <a:lnTo>
                    <a:pt x="68" y="81"/>
                  </a:lnTo>
                  <a:lnTo>
                    <a:pt x="69" y="81"/>
                  </a:lnTo>
                  <a:lnTo>
                    <a:pt x="69" y="82"/>
                  </a:lnTo>
                  <a:lnTo>
                    <a:pt x="70" y="84"/>
                  </a:lnTo>
                  <a:lnTo>
                    <a:pt x="72" y="85"/>
                  </a:lnTo>
                  <a:lnTo>
                    <a:pt x="73" y="87"/>
                  </a:lnTo>
                  <a:lnTo>
                    <a:pt x="76" y="88"/>
                  </a:lnTo>
                  <a:lnTo>
                    <a:pt x="77" y="88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9" y="91"/>
                  </a:lnTo>
                  <a:lnTo>
                    <a:pt x="80" y="92"/>
                  </a:lnTo>
                  <a:lnTo>
                    <a:pt x="77" y="89"/>
                  </a:lnTo>
                  <a:lnTo>
                    <a:pt x="75" y="88"/>
                  </a:lnTo>
                  <a:lnTo>
                    <a:pt x="69" y="84"/>
                  </a:lnTo>
                  <a:lnTo>
                    <a:pt x="65" y="82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0"/>
                  </a:lnTo>
                  <a:lnTo>
                    <a:pt x="68" y="82"/>
                  </a:lnTo>
                  <a:lnTo>
                    <a:pt x="66" y="82"/>
                  </a:lnTo>
                  <a:close/>
                  <a:moveTo>
                    <a:pt x="50" y="80"/>
                  </a:moveTo>
                  <a:lnTo>
                    <a:pt x="53" y="80"/>
                  </a:lnTo>
                  <a:lnTo>
                    <a:pt x="55" y="80"/>
                  </a:lnTo>
                  <a:lnTo>
                    <a:pt x="58" y="80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5" y="81"/>
                  </a:lnTo>
                  <a:lnTo>
                    <a:pt x="53" y="82"/>
                  </a:lnTo>
                  <a:lnTo>
                    <a:pt x="52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0" y="80"/>
                  </a:lnTo>
                  <a:close/>
                  <a:moveTo>
                    <a:pt x="65" y="84"/>
                  </a:moveTo>
                  <a:lnTo>
                    <a:pt x="68" y="87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5" y="8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Google Shape;226;p3"/>
            <p:cNvSpPr/>
            <p:nvPr/>
          </p:nvSpPr>
          <p:spPr>
            <a:xfrm>
              <a:off x="3115484" y="4167649"/>
              <a:ext cx="32260" cy="21973"/>
            </a:xfrm>
            <a:custGeom>
              <a:rect b="b" l="l" r="r" t="t"/>
              <a:pathLst>
                <a:path extrusionOk="0" h="35" w="46">
                  <a:moveTo>
                    <a:pt x="29" y="0"/>
                  </a:moveTo>
                  <a:lnTo>
                    <a:pt x="30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9" y="0"/>
                  </a:lnTo>
                  <a:close/>
                  <a:moveTo>
                    <a:pt x="43" y="6"/>
                  </a:moveTo>
                  <a:lnTo>
                    <a:pt x="43" y="8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4" y="15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2"/>
                  </a:lnTo>
                  <a:lnTo>
                    <a:pt x="43" y="23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0" y="25"/>
                  </a:lnTo>
                  <a:lnTo>
                    <a:pt x="40" y="26"/>
                  </a:lnTo>
                  <a:lnTo>
                    <a:pt x="40" y="28"/>
                  </a:lnTo>
                  <a:lnTo>
                    <a:pt x="42" y="29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2"/>
                  </a:lnTo>
                  <a:lnTo>
                    <a:pt x="43" y="35"/>
                  </a:lnTo>
                  <a:lnTo>
                    <a:pt x="42" y="33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9" y="32"/>
                  </a:lnTo>
                  <a:lnTo>
                    <a:pt x="32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2" y="32"/>
                  </a:lnTo>
                  <a:lnTo>
                    <a:pt x="19" y="32"/>
                  </a:lnTo>
                  <a:lnTo>
                    <a:pt x="17" y="32"/>
                  </a:lnTo>
                  <a:lnTo>
                    <a:pt x="16" y="32"/>
                  </a:lnTo>
                  <a:lnTo>
                    <a:pt x="13" y="32"/>
                  </a:lnTo>
                  <a:lnTo>
                    <a:pt x="12" y="32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7" y="33"/>
                  </a:lnTo>
                  <a:lnTo>
                    <a:pt x="6" y="32"/>
                  </a:lnTo>
                  <a:lnTo>
                    <a:pt x="4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10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24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9" y="28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2" y="23"/>
                  </a:lnTo>
                  <a:lnTo>
                    <a:pt x="29" y="20"/>
                  </a:lnTo>
                  <a:lnTo>
                    <a:pt x="26" y="18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3"/>
                  </a:lnTo>
                  <a:lnTo>
                    <a:pt x="29" y="12"/>
                  </a:lnTo>
                  <a:lnTo>
                    <a:pt x="26" y="10"/>
                  </a:lnTo>
                  <a:lnTo>
                    <a:pt x="23" y="9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6" y="6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3"/>
                  </a:lnTo>
                  <a:lnTo>
                    <a:pt x="33" y="5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3" y="6"/>
                  </a:lnTo>
                  <a:close/>
                  <a:moveTo>
                    <a:pt x="27" y="22"/>
                  </a:moveTo>
                  <a:lnTo>
                    <a:pt x="26" y="23"/>
                  </a:lnTo>
                  <a:lnTo>
                    <a:pt x="22" y="22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20" y="19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Google Shape;227;p3"/>
            <p:cNvSpPr/>
            <p:nvPr/>
          </p:nvSpPr>
          <p:spPr>
            <a:xfrm>
              <a:off x="4131664" y="3815462"/>
              <a:ext cx="77143" cy="41434"/>
            </a:xfrm>
            <a:custGeom>
              <a:rect b="b" l="l" r="r" t="t"/>
              <a:pathLst>
                <a:path extrusionOk="0" h="66" w="110">
                  <a:moveTo>
                    <a:pt x="97" y="3"/>
                  </a:move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3" y="8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09" y="12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3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99" y="22"/>
                  </a:lnTo>
                  <a:lnTo>
                    <a:pt x="97" y="23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8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3" y="30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9" y="40"/>
                  </a:lnTo>
                  <a:lnTo>
                    <a:pt x="87" y="42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45"/>
                  </a:lnTo>
                  <a:lnTo>
                    <a:pt x="86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9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0" y="55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5" y="58"/>
                  </a:lnTo>
                  <a:lnTo>
                    <a:pt x="73" y="58"/>
                  </a:lnTo>
                  <a:lnTo>
                    <a:pt x="72" y="56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6" y="58"/>
                  </a:lnTo>
                  <a:lnTo>
                    <a:pt x="63" y="56"/>
                  </a:lnTo>
                  <a:lnTo>
                    <a:pt x="62" y="58"/>
                  </a:lnTo>
                  <a:lnTo>
                    <a:pt x="59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5" y="58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3" y="59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7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5" y="62"/>
                  </a:lnTo>
                  <a:lnTo>
                    <a:pt x="43" y="63"/>
                  </a:lnTo>
                  <a:lnTo>
                    <a:pt x="42" y="62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29" y="65"/>
                  </a:lnTo>
                  <a:lnTo>
                    <a:pt x="28" y="65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2" y="62"/>
                  </a:lnTo>
                  <a:lnTo>
                    <a:pt x="20" y="60"/>
                  </a:lnTo>
                  <a:lnTo>
                    <a:pt x="19" y="59"/>
                  </a:lnTo>
                  <a:lnTo>
                    <a:pt x="18" y="58"/>
                  </a:lnTo>
                  <a:lnTo>
                    <a:pt x="16" y="56"/>
                  </a:lnTo>
                  <a:lnTo>
                    <a:pt x="15" y="55"/>
                  </a:lnTo>
                  <a:lnTo>
                    <a:pt x="13" y="52"/>
                  </a:lnTo>
                  <a:lnTo>
                    <a:pt x="12" y="50"/>
                  </a:lnTo>
                  <a:lnTo>
                    <a:pt x="9" y="49"/>
                  </a:lnTo>
                  <a:lnTo>
                    <a:pt x="8" y="49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2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6"/>
                  </a:lnTo>
                  <a:lnTo>
                    <a:pt x="10" y="26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3" y="16"/>
                  </a:lnTo>
                  <a:lnTo>
                    <a:pt x="26" y="18"/>
                  </a:lnTo>
                  <a:lnTo>
                    <a:pt x="28" y="19"/>
                  </a:lnTo>
                  <a:lnTo>
                    <a:pt x="30" y="19"/>
                  </a:lnTo>
                  <a:lnTo>
                    <a:pt x="33" y="19"/>
                  </a:lnTo>
                  <a:lnTo>
                    <a:pt x="39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5" y="13"/>
                  </a:lnTo>
                  <a:lnTo>
                    <a:pt x="46" y="12"/>
                  </a:lnTo>
                  <a:lnTo>
                    <a:pt x="52" y="12"/>
                  </a:lnTo>
                  <a:lnTo>
                    <a:pt x="55" y="10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9" y="9"/>
                  </a:lnTo>
                  <a:lnTo>
                    <a:pt x="60" y="9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6" y="8"/>
                  </a:lnTo>
                  <a:lnTo>
                    <a:pt x="69" y="6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0" y="2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9" y="2"/>
                  </a:lnTo>
                  <a:lnTo>
                    <a:pt x="89" y="2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7" y="3"/>
                  </a:lnTo>
                  <a:lnTo>
                    <a:pt x="97" y="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Google Shape;228;p3"/>
            <p:cNvSpPr/>
            <p:nvPr/>
          </p:nvSpPr>
          <p:spPr>
            <a:xfrm>
              <a:off x="5021611" y="4313923"/>
              <a:ext cx="512649" cy="168874"/>
            </a:xfrm>
            <a:custGeom>
              <a:rect b="b" l="l" r="r" t="t"/>
              <a:pathLst>
                <a:path extrusionOk="0" h="269" w="731">
                  <a:moveTo>
                    <a:pt x="443" y="269"/>
                  </a:moveTo>
                  <a:lnTo>
                    <a:pt x="442" y="269"/>
                  </a:lnTo>
                  <a:lnTo>
                    <a:pt x="442" y="269"/>
                  </a:lnTo>
                  <a:lnTo>
                    <a:pt x="442" y="267"/>
                  </a:lnTo>
                  <a:lnTo>
                    <a:pt x="442" y="266"/>
                  </a:lnTo>
                  <a:lnTo>
                    <a:pt x="445" y="266"/>
                  </a:lnTo>
                  <a:lnTo>
                    <a:pt x="446" y="264"/>
                  </a:lnTo>
                  <a:lnTo>
                    <a:pt x="449" y="263"/>
                  </a:lnTo>
                  <a:lnTo>
                    <a:pt x="449" y="261"/>
                  </a:lnTo>
                  <a:lnTo>
                    <a:pt x="450" y="261"/>
                  </a:lnTo>
                  <a:lnTo>
                    <a:pt x="450" y="261"/>
                  </a:lnTo>
                  <a:lnTo>
                    <a:pt x="450" y="263"/>
                  </a:lnTo>
                  <a:lnTo>
                    <a:pt x="450" y="264"/>
                  </a:lnTo>
                  <a:lnTo>
                    <a:pt x="450" y="264"/>
                  </a:lnTo>
                  <a:lnTo>
                    <a:pt x="449" y="266"/>
                  </a:lnTo>
                  <a:lnTo>
                    <a:pt x="447" y="267"/>
                  </a:lnTo>
                  <a:lnTo>
                    <a:pt x="445" y="269"/>
                  </a:lnTo>
                  <a:lnTo>
                    <a:pt x="443" y="269"/>
                  </a:lnTo>
                  <a:close/>
                  <a:moveTo>
                    <a:pt x="426" y="263"/>
                  </a:moveTo>
                  <a:lnTo>
                    <a:pt x="425" y="264"/>
                  </a:lnTo>
                  <a:lnTo>
                    <a:pt x="423" y="263"/>
                  </a:lnTo>
                  <a:lnTo>
                    <a:pt x="423" y="263"/>
                  </a:lnTo>
                  <a:lnTo>
                    <a:pt x="425" y="263"/>
                  </a:lnTo>
                  <a:lnTo>
                    <a:pt x="426" y="261"/>
                  </a:lnTo>
                  <a:lnTo>
                    <a:pt x="427" y="261"/>
                  </a:lnTo>
                  <a:lnTo>
                    <a:pt x="427" y="261"/>
                  </a:lnTo>
                  <a:lnTo>
                    <a:pt x="427" y="263"/>
                  </a:lnTo>
                  <a:lnTo>
                    <a:pt x="426" y="263"/>
                  </a:lnTo>
                  <a:close/>
                  <a:moveTo>
                    <a:pt x="450" y="259"/>
                  </a:moveTo>
                  <a:lnTo>
                    <a:pt x="449" y="260"/>
                  </a:lnTo>
                  <a:lnTo>
                    <a:pt x="449" y="259"/>
                  </a:lnTo>
                  <a:lnTo>
                    <a:pt x="450" y="257"/>
                  </a:lnTo>
                  <a:lnTo>
                    <a:pt x="452" y="256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50" y="257"/>
                  </a:lnTo>
                  <a:lnTo>
                    <a:pt x="450" y="259"/>
                  </a:lnTo>
                  <a:close/>
                  <a:moveTo>
                    <a:pt x="396" y="244"/>
                  </a:moveTo>
                  <a:lnTo>
                    <a:pt x="397" y="244"/>
                  </a:lnTo>
                  <a:lnTo>
                    <a:pt x="399" y="246"/>
                  </a:lnTo>
                  <a:lnTo>
                    <a:pt x="400" y="247"/>
                  </a:lnTo>
                  <a:lnTo>
                    <a:pt x="400" y="247"/>
                  </a:lnTo>
                  <a:lnTo>
                    <a:pt x="400" y="249"/>
                  </a:lnTo>
                  <a:lnTo>
                    <a:pt x="402" y="249"/>
                  </a:lnTo>
                  <a:lnTo>
                    <a:pt x="403" y="249"/>
                  </a:lnTo>
                  <a:lnTo>
                    <a:pt x="405" y="249"/>
                  </a:lnTo>
                  <a:lnTo>
                    <a:pt x="405" y="250"/>
                  </a:lnTo>
                  <a:lnTo>
                    <a:pt x="406" y="251"/>
                  </a:lnTo>
                  <a:lnTo>
                    <a:pt x="407" y="253"/>
                  </a:lnTo>
                  <a:lnTo>
                    <a:pt x="409" y="253"/>
                  </a:lnTo>
                  <a:lnTo>
                    <a:pt x="409" y="254"/>
                  </a:lnTo>
                  <a:lnTo>
                    <a:pt x="409" y="256"/>
                  </a:lnTo>
                  <a:lnTo>
                    <a:pt x="407" y="257"/>
                  </a:lnTo>
                  <a:lnTo>
                    <a:pt x="406" y="257"/>
                  </a:lnTo>
                  <a:lnTo>
                    <a:pt x="405" y="257"/>
                  </a:lnTo>
                  <a:lnTo>
                    <a:pt x="403" y="259"/>
                  </a:lnTo>
                  <a:lnTo>
                    <a:pt x="402" y="259"/>
                  </a:lnTo>
                  <a:lnTo>
                    <a:pt x="400" y="259"/>
                  </a:lnTo>
                  <a:lnTo>
                    <a:pt x="399" y="257"/>
                  </a:lnTo>
                  <a:lnTo>
                    <a:pt x="396" y="256"/>
                  </a:lnTo>
                  <a:lnTo>
                    <a:pt x="396" y="254"/>
                  </a:lnTo>
                  <a:lnTo>
                    <a:pt x="395" y="253"/>
                  </a:lnTo>
                  <a:lnTo>
                    <a:pt x="393" y="253"/>
                  </a:lnTo>
                  <a:lnTo>
                    <a:pt x="389" y="250"/>
                  </a:lnTo>
                  <a:lnTo>
                    <a:pt x="387" y="250"/>
                  </a:lnTo>
                  <a:lnTo>
                    <a:pt x="386" y="250"/>
                  </a:lnTo>
                  <a:lnTo>
                    <a:pt x="386" y="250"/>
                  </a:lnTo>
                  <a:lnTo>
                    <a:pt x="382" y="249"/>
                  </a:lnTo>
                  <a:lnTo>
                    <a:pt x="380" y="249"/>
                  </a:lnTo>
                  <a:lnTo>
                    <a:pt x="380" y="247"/>
                  </a:lnTo>
                  <a:lnTo>
                    <a:pt x="379" y="247"/>
                  </a:lnTo>
                  <a:lnTo>
                    <a:pt x="379" y="246"/>
                  </a:lnTo>
                  <a:lnTo>
                    <a:pt x="380" y="246"/>
                  </a:lnTo>
                  <a:lnTo>
                    <a:pt x="380" y="244"/>
                  </a:lnTo>
                  <a:lnTo>
                    <a:pt x="383" y="244"/>
                  </a:lnTo>
                  <a:lnTo>
                    <a:pt x="385" y="244"/>
                  </a:lnTo>
                  <a:lnTo>
                    <a:pt x="386" y="244"/>
                  </a:lnTo>
                  <a:lnTo>
                    <a:pt x="390" y="243"/>
                  </a:lnTo>
                  <a:lnTo>
                    <a:pt x="393" y="244"/>
                  </a:lnTo>
                  <a:lnTo>
                    <a:pt x="393" y="244"/>
                  </a:lnTo>
                  <a:lnTo>
                    <a:pt x="395" y="243"/>
                  </a:lnTo>
                  <a:lnTo>
                    <a:pt x="396" y="243"/>
                  </a:lnTo>
                  <a:lnTo>
                    <a:pt x="396" y="244"/>
                  </a:lnTo>
                  <a:close/>
                  <a:moveTo>
                    <a:pt x="475" y="239"/>
                  </a:moveTo>
                  <a:lnTo>
                    <a:pt x="476" y="239"/>
                  </a:lnTo>
                  <a:lnTo>
                    <a:pt x="477" y="239"/>
                  </a:lnTo>
                  <a:lnTo>
                    <a:pt x="477" y="239"/>
                  </a:lnTo>
                  <a:lnTo>
                    <a:pt x="479" y="239"/>
                  </a:lnTo>
                  <a:lnTo>
                    <a:pt x="479" y="240"/>
                  </a:lnTo>
                  <a:lnTo>
                    <a:pt x="477" y="241"/>
                  </a:lnTo>
                  <a:lnTo>
                    <a:pt x="476" y="241"/>
                  </a:lnTo>
                  <a:lnTo>
                    <a:pt x="476" y="241"/>
                  </a:lnTo>
                  <a:lnTo>
                    <a:pt x="476" y="241"/>
                  </a:lnTo>
                  <a:lnTo>
                    <a:pt x="476" y="243"/>
                  </a:lnTo>
                  <a:lnTo>
                    <a:pt x="476" y="243"/>
                  </a:lnTo>
                  <a:lnTo>
                    <a:pt x="476" y="244"/>
                  </a:lnTo>
                  <a:lnTo>
                    <a:pt x="477" y="246"/>
                  </a:lnTo>
                  <a:lnTo>
                    <a:pt x="476" y="247"/>
                  </a:lnTo>
                  <a:lnTo>
                    <a:pt x="476" y="249"/>
                  </a:lnTo>
                  <a:lnTo>
                    <a:pt x="473" y="250"/>
                  </a:lnTo>
                  <a:lnTo>
                    <a:pt x="472" y="253"/>
                  </a:lnTo>
                  <a:lnTo>
                    <a:pt x="470" y="254"/>
                  </a:lnTo>
                  <a:lnTo>
                    <a:pt x="469" y="256"/>
                  </a:lnTo>
                  <a:lnTo>
                    <a:pt x="467" y="256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59" y="259"/>
                  </a:lnTo>
                  <a:lnTo>
                    <a:pt x="457" y="260"/>
                  </a:lnTo>
                  <a:lnTo>
                    <a:pt x="456" y="260"/>
                  </a:lnTo>
                  <a:lnTo>
                    <a:pt x="455" y="259"/>
                  </a:lnTo>
                  <a:lnTo>
                    <a:pt x="453" y="259"/>
                  </a:lnTo>
                  <a:lnTo>
                    <a:pt x="453" y="257"/>
                  </a:lnTo>
                  <a:lnTo>
                    <a:pt x="455" y="257"/>
                  </a:lnTo>
                  <a:lnTo>
                    <a:pt x="455" y="256"/>
                  </a:lnTo>
                  <a:lnTo>
                    <a:pt x="456" y="256"/>
                  </a:lnTo>
                  <a:lnTo>
                    <a:pt x="453" y="254"/>
                  </a:lnTo>
                  <a:lnTo>
                    <a:pt x="453" y="253"/>
                  </a:lnTo>
                  <a:lnTo>
                    <a:pt x="455" y="251"/>
                  </a:lnTo>
                  <a:lnTo>
                    <a:pt x="455" y="249"/>
                  </a:lnTo>
                  <a:lnTo>
                    <a:pt x="456" y="247"/>
                  </a:lnTo>
                  <a:lnTo>
                    <a:pt x="457" y="246"/>
                  </a:lnTo>
                  <a:lnTo>
                    <a:pt x="460" y="244"/>
                  </a:lnTo>
                  <a:lnTo>
                    <a:pt x="460" y="243"/>
                  </a:lnTo>
                  <a:lnTo>
                    <a:pt x="460" y="244"/>
                  </a:lnTo>
                  <a:lnTo>
                    <a:pt x="462" y="244"/>
                  </a:lnTo>
                  <a:lnTo>
                    <a:pt x="462" y="244"/>
                  </a:lnTo>
                  <a:lnTo>
                    <a:pt x="462" y="244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6" y="243"/>
                  </a:lnTo>
                  <a:lnTo>
                    <a:pt x="466" y="243"/>
                  </a:lnTo>
                  <a:lnTo>
                    <a:pt x="467" y="241"/>
                  </a:lnTo>
                  <a:lnTo>
                    <a:pt x="467" y="241"/>
                  </a:lnTo>
                  <a:lnTo>
                    <a:pt x="469" y="240"/>
                  </a:lnTo>
                  <a:lnTo>
                    <a:pt x="470" y="240"/>
                  </a:lnTo>
                  <a:lnTo>
                    <a:pt x="472" y="239"/>
                  </a:lnTo>
                  <a:lnTo>
                    <a:pt x="475" y="237"/>
                  </a:lnTo>
                  <a:lnTo>
                    <a:pt x="475" y="237"/>
                  </a:lnTo>
                  <a:lnTo>
                    <a:pt x="475" y="239"/>
                  </a:lnTo>
                  <a:lnTo>
                    <a:pt x="475" y="239"/>
                  </a:lnTo>
                  <a:close/>
                  <a:moveTo>
                    <a:pt x="326" y="234"/>
                  </a:moveTo>
                  <a:lnTo>
                    <a:pt x="325" y="234"/>
                  </a:lnTo>
                  <a:lnTo>
                    <a:pt x="323" y="234"/>
                  </a:lnTo>
                  <a:lnTo>
                    <a:pt x="323" y="233"/>
                  </a:lnTo>
                  <a:lnTo>
                    <a:pt x="325" y="233"/>
                  </a:lnTo>
                  <a:lnTo>
                    <a:pt x="325" y="233"/>
                  </a:lnTo>
                  <a:lnTo>
                    <a:pt x="326" y="233"/>
                  </a:lnTo>
                  <a:lnTo>
                    <a:pt x="326" y="234"/>
                  </a:lnTo>
                  <a:close/>
                  <a:moveTo>
                    <a:pt x="443" y="230"/>
                  </a:moveTo>
                  <a:lnTo>
                    <a:pt x="443" y="231"/>
                  </a:lnTo>
                  <a:lnTo>
                    <a:pt x="442" y="231"/>
                  </a:lnTo>
                  <a:lnTo>
                    <a:pt x="443" y="230"/>
                  </a:lnTo>
                  <a:lnTo>
                    <a:pt x="443" y="230"/>
                  </a:lnTo>
                  <a:lnTo>
                    <a:pt x="445" y="229"/>
                  </a:lnTo>
                  <a:lnTo>
                    <a:pt x="446" y="229"/>
                  </a:lnTo>
                  <a:lnTo>
                    <a:pt x="446" y="229"/>
                  </a:lnTo>
                  <a:lnTo>
                    <a:pt x="446" y="230"/>
                  </a:lnTo>
                  <a:lnTo>
                    <a:pt x="445" y="230"/>
                  </a:lnTo>
                  <a:lnTo>
                    <a:pt x="443" y="230"/>
                  </a:lnTo>
                  <a:close/>
                  <a:moveTo>
                    <a:pt x="387" y="234"/>
                  </a:moveTo>
                  <a:lnTo>
                    <a:pt x="386" y="234"/>
                  </a:lnTo>
                  <a:lnTo>
                    <a:pt x="386" y="233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0"/>
                  </a:lnTo>
                  <a:lnTo>
                    <a:pt x="387" y="229"/>
                  </a:lnTo>
                  <a:lnTo>
                    <a:pt x="387" y="229"/>
                  </a:lnTo>
                  <a:lnTo>
                    <a:pt x="387" y="229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9" y="230"/>
                  </a:lnTo>
                  <a:lnTo>
                    <a:pt x="389" y="230"/>
                  </a:lnTo>
                  <a:lnTo>
                    <a:pt x="389" y="230"/>
                  </a:lnTo>
                  <a:lnTo>
                    <a:pt x="389" y="231"/>
                  </a:lnTo>
                  <a:lnTo>
                    <a:pt x="387" y="231"/>
                  </a:lnTo>
                  <a:lnTo>
                    <a:pt x="387" y="233"/>
                  </a:lnTo>
                  <a:lnTo>
                    <a:pt x="387" y="234"/>
                  </a:lnTo>
                  <a:close/>
                  <a:moveTo>
                    <a:pt x="449" y="227"/>
                  </a:moveTo>
                  <a:lnTo>
                    <a:pt x="449" y="229"/>
                  </a:lnTo>
                  <a:lnTo>
                    <a:pt x="445" y="229"/>
                  </a:lnTo>
                  <a:lnTo>
                    <a:pt x="445" y="227"/>
                  </a:lnTo>
                  <a:lnTo>
                    <a:pt x="446" y="226"/>
                  </a:lnTo>
                  <a:lnTo>
                    <a:pt x="446" y="226"/>
                  </a:lnTo>
                  <a:lnTo>
                    <a:pt x="447" y="226"/>
                  </a:lnTo>
                  <a:lnTo>
                    <a:pt x="449" y="226"/>
                  </a:lnTo>
                  <a:lnTo>
                    <a:pt x="449" y="227"/>
                  </a:lnTo>
                  <a:close/>
                  <a:moveTo>
                    <a:pt x="342" y="231"/>
                  </a:moveTo>
                  <a:lnTo>
                    <a:pt x="340" y="234"/>
                  </a:lnTo>
                  <a:lnTo>
                    <a:pt x="340" y="236"/>
                  </a:lnTo>
                  <a:lnTo>
                    <a:pt x="342" y="236"/>
                  </a:lnTo>
                  <a:lnTo>
                    <a:pt x="338" y="237"/>
                  </a:lnTo>
                  <a:lnTo>
                    <a:pt x="336" y="236"/>
                  </a:lnTo>
                  <a:lnTo>
                    <a:pt x="336" y="236"/>
                  </a:lnTo>
                  <a:lnTo>
                    <a:pt x="332" y="236"/>
                  </a:lnTo>
                  <a:lnTo>
                    <a:pt x="330" y="234"/>
                  </a:lnTo>
                  <a:lnTo>
                    <a:pt x="329" y="234"/>
                  </a:lnTo>
                  <a:lnTo>
                    <a:pt x="330" y="234"/>
                  </a:lnTo>
                  <a:lnTo>
                    <a:pt x="330" y="234"/>
                  </a:lnTo>
                  <a:lnTo>
                    <a:pt x="332" y="234"/>
                  </a:lnTo>
                  <a:lnTo>
                    <a:pt x="333" y="234"/>
                  </a:lnTo>
                  <a:lnTo>
                    <a:pt x="333" y="231"/>
                  </a:lnTo>
                  <a:lnTo>
                    <a:pt x="333" y="229"/>
                  </a:lnTo>
                  <a:lnTo>
                    <a:pt x="335" y="227"/>
                  </a:lnTo>
                  <a:lnTo>
                    <a:pt x="336" y="226"/>
                  </a:lnTo>
                  <a:lnTo>
                    <a:pt x="339" y="224"/>
                  </a:lnTo>
                  <a:lnTo>
                    <a:pt x="342" y="226"/>
                  </a:lnTo>
                  <a:lnTo>
                    <a:pt x="343" y="227"/>
                  </a:lnTo>
                  <a:lnTo>
                    <a:pt x="343" y="227"/>
                  </a:lnTo>
                  <a:lnTo>
                    <a:pt x="343" y="229"/>
                  </a:lnTo>
                  <a:lnTo>
                    <a:pt x="342" y="231"/>
                  </a:lnTo>
                  <a:close/>
                  <a:moveTo>
                    <a:pt x="465" y="227"/>
                  </a:moveTo>
                  <a:lnTo>
                    <a:pt x="463" y="229"/>
                  </a:lnTo>
                  <a:lnTo>
                    <a:pt x="463" y="230"/>
                  </a:lnTo>
                  <a:lnTo>
                    <a:pt x="462" y="230"/>
                  </a:lnTo>
                  <a:lnTo>
                    <a:pt x="462" y="230"/>
                  </a:lnTo>
                  <a:lnTo>
                    <a:pt x="460" y="229"/>
                  </a:lnTo>
                  <a:lnTo>
                    <a:pt x="459" y="229"/>
                  </a:lnTo>
                  <a:lnTo>
                    <a:pt x="459" y="227"/>
                  </a:lnTo>
                  <a:lnTo>
                    <a:pt x="460" y="227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63" y="224"/>
                  </a:lnTo>
                  <a:lnTo>
                    <a:pt x="465" y="224"/>
                  </a:lnTo>
                  <a:lnTo>
                    <a:pt x="465" y="226"/>
                  </a:lnTo>
                  <a:lnTo>
                    <a:pt x="465" y="226"/>
                  </a:lnTo>
                  <a:lnTo>
                    <a:pt x="465" y="227"/>
                  </a:lnTo>
                  <a:close/>
                  <a:moveTo>
                    <a:pt x="459" y="226"/>
                  </a:moveTo>
                  <a:lnTo>
                    <a:pt x="456" y="227"/>
                  </a:lnTo>
                  <a:lnTo>
                    <a:pt x="455" y="229"/>
                  </a:lnTo>
                  <a:lnTo>
                    <a:pt x="455" y="229"/>
                  </a:lnTo>
                  <a:lnTo>
                    <a:pt x="453" y="230"/>
                  </a:lnTo>
                  <a:lnTo>
                    <a:pt x="453" y="230"/>
                  </a:lnTo>
                  <a:lnTo>
                    <a:pt x="453" y="230"/>
                  </a:lnTo>
                  <a:lnTo>
                    <a:pt x="453" y="230"/>
                  </a:lnTo>
                  <a:lnTo>
                    <a:pt x="453" y="231"/>
                  </a:lnTo>
                  <a:lnTo>
                    <a:pt x="452" y="230"/>
                  </a:lnTo>
                  <a:lnTo>
                    <a:pt x="450" y="231"/>
                  </a:lnTo>
                  <a:lnTo>
                    <a:pt x="450" y="231"/>
                  </a:lnTo>
                  <a:lnTo>
                    <a:pt x="449" y="230"/>
                  </a:lnTo>
                  <a:lnTo>
                    <a:pt x="447" y="230"/>
                  </a:lnTo>
                  <a:lnTo>
                    <a:pt x="447" y="230"/>
                  </a:lnTo>
                  <a:lnTo>
                    <a:pt x="449" y="229"/>
                  </a:lnTo>
                  <a:lnTo>
                    <a:pt x="452" y="227"/>
                  </a:lnTo>
                  <a:lnTo>
                    <a:pt x="452" y="227"/>
                  </a:lnTo>
                  <a:lnTo>
                    <a:pt x="450" y="227"/>
                  </a:lnTo>
                  <a:lnTo>
                    <a:pt x="450" y="227"/>
                  </a:lnTo>
                  <a:lnTo>
                    <a:pt x="450" y="226"/>
                  </a:lnTo>
                  <a:lnTo>
                    <a:pt x="452" y="226"/>
                  </a:lnTo>
                  <a:lnTo>
                    <a:pt x="453" y="226"/>
                  </a:lnTo>
                  <a:lnTo>
                    <a:pt x="453" y="226"/>
                  </a:lnTo>
                  <a:lnTo>
                    <a:pt x="453" y="226"/>
                  </a:lnTo>
                  <a:lnTo>
                    <a:pt x="456" y="224"/>
                  </a:lnTo>
                  <a:lnTo>
                    <a:pt x="457" y="226"/>
                  </a:lnTo>
                  <a:lnTo>
                    <a:pt x="459" y="226"/>
                  </a:lnTo>
                  <a:lnTo>
                    <a:pt x="459" y="226"/>
                  </a:lnTo>
                  <a:close/>
                  <a:moveTo>
                    <a:pt x="698" y="229"/>
                  </a:moveTo>
                  <a:lnTo>
                    <a:pt x="697" y="229"/>
                  </a:lnTo>
                  <a:lnTo>
                    <a:pt x="694" y="227"/>
                  </a:lnTo>
                  <a:lnTo>
                    <a:pt x="693" y="227"/>
                  </a:lnTo>
                  <a:lnTo>
                    <a:pt x="693" y="227"/>
                  </a:lnTo>
                  <a:lnTo>
                    <a:pt x="694" y="226"/>
                  </a:lnTo>
                  <a:lnTo>
                    <a:pt x="696" y="224"/>
                  </a:lnTo>
                  <a:lnTo>
                    <a:pt x="697" y="224"/>
                  </a:lnTo>
                  <a:lnTo>
                    <a:pt x="697" y="224"/>
                  </a:lnTo>
                  <a:lnTo>
                    <a:pt x="698" y="227"/>
                  </a:lnTo>
                  <a:lnTo>
                    <a:pt x="698" y="229"/>
                  </a:lnTo>
                  <a:close/>
                  <a:moveTo>
                    <a:pt x="356" y="227"/>
                  </a:moveTo>
                  <a:lnTo>
                    <a:pt x="356" y="227"/>
                  </a:lnTo>
                  <a:lnTo>
                    <a:pt x="356" y="227"/>
                  </a:lnTo>
                  <a:lnTo>
                    <a:pt x="356" y="227"/>
                  </a:lnTo>
                  <a:lnTo>
                    <a:pt x="356" y="226"/>
                  </a:lnTo>
                  <a:lnTo>
                    <a:pt x="356" y="224"/>
                  </a:lnTo>
                  <a:lnTo>
                    <a:pt x="356" y="224"/>
                  </a:lnTo>
                  <a:lnTo>
                    <a:pt x="359" y="224"/>
                  </a:lnTo>
                  <a:lnTo>
                    <a:pt x="359" y="224"/>
                  </a:lnTo>
                  <a:lnTo>
                    <a:pt x="356" y="227"/>
                  </a:lnTo>
                  <a:close/>
                  <a:moveTo>
                    <a:pt x="382" y="226"/>
                  </a:moveTo>
                  <a:lnTo>
                    <a:pt x="380" y="226"/>
                  </a:lnTo>
                  <a:lnTo>
                    <a:pt x="380" y="224"/>
                  </a:lnTo>
                  <a:lnTo>
                    <a:pt x="380" y="224"/>
                  </a:lnTo>
                  <a:lnTo>
                    <a:pt x="382" y="224"/>
                  </a:lnTo>
                  <a:lnTo>
                    <a:pt x="382" y="224"/>
                  </a:lnTo>
                  <a:lnTo>
                    <a:pt x="382" y="224"/>
                  </a:lnTo>
                  <a:lnTo>
                    <a:pt x="382" y="224"/>
                  </a:lnTo>
                  <a:lnTo>
                    <a:pt x="382" y="226"/>
                  </a:lnTo>
                  <a:lnTo>
                    <a:pt x="382" y="226"/>
                  </a:lnTo>
                  <a:close/>
                  <a:moveTo>
                    <a:pt x="469" y="224"/>
                  </a:moveTo>
                  <a:lnTo>
                    <a:pt x="470" y="224"/>
                  </a:lnTo>
                  <a:lnTo>
                    <a:pt x="470" y="224"/>
                  </a:lnTo>
                  <a:lnTo>
                    <a:pt x="472" y="224"/>
                  </a:lnTo>
                  <a:lnTo>
                    <a:pt x="475" y="224"/>
                  </a:lnTo>
                  <a:lnTo>
                    <a:pt x="477" y="224"/>
                  </a:lnTo>
                  <a:lnTo>
                    <a:pt x="477" y="224"/>
                  </a:lnTo>
                  <a:lnTo>
                    <a:pt x="479" y="227"/>
                  </a:lnTo>
                  <a:lnTo>
                    <a:pt x="477" y="227"/>
                  </a:lnTo>
                  <a:lnTo>
                    <a:pt x="467" y="229"/>
                  </a:lnTo>
                  <a:lnTo>
                    <a:pt x="466" y="229"/>
                  </a:lnTo>
                  <a:lnTo>
                    <a:pt x="466" y="229"/>
                  </a:lnTo>
                  <a:lnTo>
                    <a:pt x="467" y="227"/>
                  </a:lnTo>
                  <a:lnTo>
                    <a:pt x="466" y="226"/>
                  </a:lnTo>
                  <a:lnTo>
                    <a:pt x="467" y="224"/>
                  </a:lnTo>
                  <a:lnTo>
                    <a:pt x="469" y="224"/>
                  </a:lnTo>
                  <a:lnTo>
                    <a:pt x="469" y="224"/>
                  </a:lnTo>
                  <a:close/>
                  <a:moveTo>
                    <a:pt x="522" y="223"/>
                  </a:moveTo>
                  <a:lnTo>
                    <a:pt x="524" y="224"/>
                  </a:lnTo>
                  <a:lnTo>
                    <a:pt x="526" y="224"/>
                  </a:lnTo>
                  <a:lnTo>
                    <a:pt x="526" y="224"/>
                  </a:lnTo>
                  <a:lnTo>
                    <a:pt x="524" y="226"/>
                  </a:lnTo>
                  <a:lnTo>
                    <a:pt x="522" y="224"/>
                  </a:lnTo>
                  <a:lnTo>
                    <a:pt x="520" y="224"/>
                  </a:lnTo>
                  <a:lnTo>
                    <a:pt x="522" y="223"/>
                  </a:lnTo>
                  <a:close/>
                  <a:moveTo>
                    <a:pt x="440" y="231"/>
                  </a:moveTo>
                  <a:lnTo>
                    <a:pt x="439" y="231"/>
                  </a:lnTo>
                  <a:lnTo>
                    <a:pt x="437" y="233"/>
                  </a:lnTo>
                  <a:lnTo>
                    <a:pt x="436" y="233"/>
                  </a:lnTo>
                  <a:lnTo>
                    <a:pt x="435" y="233"/>
                  </a:lnTo>
                  <a:lnTo>
                    <a:pt x="433" y="234"/>
                  </a:lnTo>
                  <a:lnTo>
                    <a:pt x="430" y="233"/>
                  </a:lnTo>
                  <a:lnTo>
                    <a:pt x="429" y="234"/>
                  </a:lnTo>
                  <a:lnTo>
                    <a:pt x="426" y="236"/>
                  </a:lnTo>
                  <a:lnTo>
                    <a:pt x="423" y="236"/>
                  </a:lnTo>
                  <a:lnTo>
                    <a:pt x="422" y="236"/>
                  </a:lnTo>
                  <a:lnTo>
                    <a:pt x="422" y="236"/>
                  </a:lnTo>
                  <a:lnTo>
                    <a:pt x="422" y="234"/>
                  </a:lnTo>
                  <a:lnTo>
                    <a:pt x="420" y="234"/>
                  </a:lnTo>
                  <a:lnTo>
                    <a:pt x="419" y="234"/>
                  </a:lnTo>
                  <a:lnTo>
                    <a:pt x="417" y="237"/>
                  </a:lnTo>
                  <a:lnTo>
                    <a:pt x="415" y="236"/>
                  </a:lnTo>
                  <a:lnTo>
                    <a:pt x="415" y="236"/>
                  </a:lnTo>
                  <a:lnTo>
                    <a:pt x="413" y="237"/>
                  </a:lnTo>
                  <a:lnTo>
                    <a:pt x="413" y="237"/>
                  </a:lnTo>
                  <a:lnTo>
                    <a:pt x="412" y="237"/>
                  </a:lnTo>
                  <a:lnTo>
                    <a:pt x="409" y="236"/>
                  </a:lnTo>
                  <a:lnTo>
                    <a:pt x="405" y="234"/>
                  </a:lnTo>
                  <a:lnTo>
                    <a:pt x="402" y="234"/>
                  </a:lnTo>
                  <a:lnTo>
                    <a:pt x="397" y="234"/>
                  </a:lnTo>
                  <a:lnTo>
                    <a:pt x="396" y="234"/>
                  </a:lnTo>
                  <a:lnTo>
                    <a:pt x="395" y="236"/>
                  </a:lnTo>
                  <a:lnTo>
                    <a:pt x="395" y="234"/>
                  </a:lnTo>
                  <a:lnTo>
                    <a:pt x="393" y="234"/>
                  </a:lnTo>
                  <a:lnTo>
                    <a:pt x="393" y="233"/>
                  </a:lnTo>
                  <a:lnTo>
                    <a:pt x="393" y="231"/>
                  </a:lnTo>
                  <a:lnTo>
                    <a:pt x="393" y="231"/>
                  </a:lnTo>
                  <a:lnTo>
                    <a:pt x="393" y="230"/>
                  </a:lnTo>
                  <a:lnTo>
                    <a:pt x="393" y="230"/>
                  </a:lnTo>
                  <a:lnTo>
                    <a:pt x="395" y="229"/>
                  </a:lnTo>
                  <a:lnTo>
                    <a:pt x="395" y="229"/>
                  </a:lnTo>
                  <a:lnTo>
                    <a:pt x="396" y="229"/>
                  </a:lnTo>
                  <a:lnTo>
                    <a:pt x="397" y="227"/>
                  </a:lnTo>
                  <a:lnTo>
                    <a:pt x="400" y="226"/>
                  </a:lnTo>
                  <a:lnTo>
                    <a:pt x="402" y="226"/>
                  </a:lnTo>
                  <a:lnTo>
                    <a:pt x="403" y="226"/>
                  </a:lnTo>
                  <a:lnTo>
                    <a:pt x="403" y="226"/>
                  </a:lnTo>
                  <a:lnTo>
                    <a:pt x="405" y="226"/>
                  </a:lnTo>
                  <a:lnTo>
                    <a:pt x="406" y="226"/>
                  </a:lnTo>
                  <a:lnTo>
                    <a:pt x="407" y="227"/>
                  </a:lnTo>
                  <a:lnTo>
                    <a:pt x="407" y="227"/>
                  </a:lnTo>
                  <a:lnTo>
                    <a:pt x="410" y="227"/>
                  </a:lnTo>
                  <a:lnTo>
                    <a:pt x="412" y="227"/>
                  </a:lnTo>
                  <a:lnTo>
                    <a:pt x="413" y="229"/>
                  </a:lnTo>
                  <a:lnTo>
                    <a:pt x="416" y="230"/>
                  </a:lnTo>
                  <a:lnTo>
                    <a:pt x="417" y="230"/>
                  </a:lnTo>
                  <a:lnTo>
                    <a:pt x="419" y="231"/>
                  </a:lnTo>
                  <a:lnTo>
                    <a:pt x="420" y="231"/>
                  </a:lnTo>
                  <a:lnTo>
                    <a:pt x="420" y="231"/>
                  </a:lnTo>
                  <a:lnTo>
                    <a:pt x="422" y="230"/>
                  </a:lnTo>
                  <a:lnTo>
                    <a:pt x="423" y="230"/>
                  </a:lnTo>
                  <a:lnTo>
                    <a:pt x="425" y="230"/>
                  </a:lnTo>
                  <a:lnTo>
                    <a:pt x="426" y="230"/>
                  </a:lnTo>
                  <a:lnTo>
                    <a:pt x="426" y="230"/>
                  </a:lnTo>
                  <a:lnTo>
                    <a:pt x="427" y="229"/>
                  </a:lnTo>
                  <a:lnTo>
                    <a:pt x="429" y="229"/>
                  </a:lnTo>
                  <a:lnTo>
                    <a:pt x="429" y="230"/>
                  </a:lnTo>
                  <a:lnTo>
                    <a:pt x="432" y="231"/>
                  </a:lnTo>
                  <a:lnTo>
                    <a:pt x="433" y="231"/>
                  </a:lnTo>
                  <a:lnTo>
                    <a:pt x="435" y="231"/>
                  </a:lnTo>
                  <a:lnTo>
                    <a:pt x="436" y="231"/>
                  </a:lnTo>
                  <a:lnTo>
                    <a:pt x="436" y="230"/>
                  </a:lnTo>
                  <a:lnTo>
                    <a:pt x="436" y="229"/>
                  </a:lnTo>
                  <a:lnTo>
                    <a:pt x="437" y="229"/>
                  </a:lnTo>
                  <a:lnTo>
                    <a:pt x="437" y="229"/>
                  </a:lnTo>
                  <a:lnTo>
                    <a:pt x="440" y="227"/>
                  </a:lnTo>
                  <a:lnTo>
                    <a:pt x="442" y="227"/>
                  </a:lnTo>
                  <a:lnTo>
                    <a:pt x="443" y="226"/>
                  </a:lnTo>
                  <a:lnTo>
                    <a:pt x="440" y="224"/>
                  </a:lnTo>
                  <a:lnTo>
                    <a:pt x="440" y="224"/>
                  </a:lnTo>
                  <a:lnTo>
                    <a:pt x="442" y="223"/>
                  </a:lnTo>
                  <a:lnTo>
                    <a:pt x="443" y="223"/>
                  </a:lnTo>
                  <a:lnTo>
                    <a:pt x="443" y="224"/>
                  </a:lnTo>
                  <a:lnTo>
                    <a:pt x="445" y="227"/>
                  </a:lnTo>
                  <a:lnTo>
                    <a:pt x="443" y="227"/>
                  </a:lnTo>
                  <a:lnTo>
                    <a:pt x="443" y="227"/>
                  </a:lnTo>
                  <a:lnTo>
                    <a:pt x="442" y="229"/>
                  </a:lnTo>
                  <a:lnTo>
                    <a:pt x="440" y="230"/>
                  </a:lnTo>
                  <a:lnTo>
                    <a:pt x="442" y="231"/>
                  </a:lnTo>
                  <a:lnTo>
                    <a:pt x="442" y="231"/>
                  </a:lnTo>
                  <a:lnTo>
                    <a:pt x="440" y="231"/>
                  </a:lnTo>
                  <a:close/>
                  <a:moveTo>
                    <a:pt x="570" y="227"/>
                  </a:moveTo>
                  <a:lnTo>
                    <a:pt x="569" y="227"/>
                  </a:lnTo>
                  <a:lnTo>
                    <a:pt x="570" y="226"/>
                  </a:lnTo>
                  <a:lnTo>
                    <a:pt x="573" y="223"/>
                  </a:lnTo>
                  <a:lnTo>
                    <a:pt x="573" y="224"/>
                  </a:lnTo>
                  <a:lnTo>
                    <a:pt x="574" y="224"/>
                  </a:lnTo>
                  <a:lnTo>
                    <a:pt x="573" y="226"/>
                  </a:lnTo>
                  <a:lnTo>
                    <a:pt x="570" y="226"/>
                  </a:lnTo>
                  <a:lnTo>
                    <a:pt x="570" y="227"/>
                  </a:lnTo>
                  <a:close/>
                  <a:moveTo>
                    <a:pt x="368" y="227"/>
                  </a:moveTo>
                  <a:lnTo>
                    <a:pt x="369" y="227"/>
                  </a:lnTo>
                  <a:lnTo>
                    <a:pt x="369" y="227"/>
                  </a:lnTo>
                  <a:lnTo>
                    <a:pt x="370" y="226"/>
                  </a:lnTo>
                  <a:lnTo>
                    <a:pt x="372" y="226"/>
                  </a:lnTo>
                  <a:lnTo>
                    <a:pt x="373" y="226"/>
                  </a:lnTo>
                  <a:lnTo>
                    <a:pt x="373" y="226"/>
                  </a:lnTo>
                  <a:lnTo>
                    <a:pt x="375" y="227"/>
                  </a:lnTo>
                  <a:lnTo>
                    <a:pt x="375" y="229"/>
                  </a:lnTo>
                  <a:lnTo>
                    <a:pt x="375" y="229"/>
                  </a:lnTo>
                  <a:lnTo>
                    <a:pt x="376" y="227"/>
                  </a:lnTo>
                  <a:lnTo>
                    <a:pt x="376" y="227"/>
                  </a:lnTo>
                  <a:lnTo>
                    <a:pt x="378" y="226"/>
                  </a:lnTo>
                  <a:lnTo>
                    <a:pt x="379" y="227"/>
                  </a:lnTo>
                  <a:lnTo>
                    <a:pt x="380" y="227"/>
                  </a:lnTo>
                  <a:lnTo>
                    <a:pt x="380" y="229"/>
                  </a:lnTo>
                  <a:lnTo>
                    <a:pt x="380" y="230"/>
                  </a:lnTo>
                  <a:lnTo>
                    <a:pt x="380" y="231"/>
                  </a:lnTo>
                  <a:lnTo>
                    <a:pt x="382" y="231"/>
                  </a:lnTo>
                  <a:lnTo>
                    <a:pt x="382" y="233"/>
                  </a:lnTo>
                  <a:lnTo>
                    <a:pt x="382" y="233"/>
                  </a:lnTo>
                  <a:lnTo>
                    <a:pt x="382" y="233"/>
                  </a:lnTo>
                  <a:lnTo>
                    <a:pt x="380" y="234"/>
                  </a:lnTo>
                  <a:lnTo>
                    <a:pt x="379" y="234"/>
                  </a:lnTo>
                  <a:lnTo>
                    <a:pt x="379" y="233"/>
                  </a:lnTo>
                  <a:lnTo>
                    <a:pt x="379" y="233"/>
                  </a:lnTo>
                  <a:lnTo>
                    <a:pt x="378" y="233"/>
                  </a:lnTo>
                  <a:lnTo>
                    <a:pt x="376" y="233"/>
                  </a:lnTo>
                  <a:lnTo>
                    <a:pt x="376" y="234"/>
                  </a:lnTo>
                  <a:lnTo>
                    <a:pt x="378" y="234"/>
                  </a:lnTo>
                  <a:lnTo>
                    <a:pt x="378" y="234"/>
                  </a:lnTo>
                  <a:lnTo>
                    <a:pt x="378" y="236"/>
                  </a:lnTo>
                  <a:lnTo>
                    <a:pt x="378" y="236"/>
                  </a:lnTo>
                  <a:lnTo>
                    <a:pt x="376" y="234"/>
                  </a:lnTo>
                  <a:lnTo>
                    <a:pt x="375" y="234"/>
                  </a:lnTo>
                  <a:lnTo>
                    <a:pt x="372" y="236"/>
                  </a:lnTo>
                  <a:lnTo>
                    <a:pt x="370" y="236"/>
                  </a:lnTo>
                  <a:lnTo>
                    <a:pt x="370" y="234"/>
                  </a:lnTo>
                  <a:lnTo>
                    <a:pt x="370" y="233"/>
                  </a:lnTo>
                  <a:lnTo>
                    <a:pt x="370" y="233"/>
                  </a:lnTo>
                  <a:lnTo>
                    <a:pt x="368" y="234"/>
                  </a:lnTo>
                  <a:lnTo>
                    <a:pt x="368" y="236"/>
                  </a:lnTo>
                  <a:lnTo>
                    <a:pt x="366" y="236"/>
                  </a:lnTo>
                  <a:lnTo>
                    <a:pt x="365" y="236"/>
                  </a:lnTo>
                  <a:lnTo>
                    <a:pt x="362" y="237"/>
                  </a:lnTo>
                  <a:lnTo>
                    <a:pt x="360" y="237"/>
                  </a:lnTo>
                  <a:lnTo>
                    <a:pt x="359" y="237"/>
                  </a:lnTo>
                  <a:lnTo>
                    <a:pt x="356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2" y="239"/>
                  </a:lnTo>
                  <a:lnTo>
                    <a:pt x="352" y="239"/>
                  </a:lnTo>
                  <a:lnTo>
                    <a:pt x="350" y="239"/>
                  </a:lnTo>
                  <a:lnTo>
                    <a:pt x="349" y="240"/>
                  </a:lnTo>
                  <a:lnTo>
                    <a:pt x="348" y="239"/>
                  </a:lnTo>
                  <a:lnTo>
                    <a:pt x="346" y="239"/>
                  </a:lnTo>
                  <a:lnTo>
                    <a:pt x="345" y="239"/>
                  </a:lnTo>
                  <a:lnTo>
                    <a:pt x="345" y="237"/>
                  </a:lnTo>
                  <a:lnTo>
                    <a:pt x="345" y="236"/>
                  </a:lnTo>
                  <a:lnTo>
                    <a:pt x="345" y="234"/>
                  </a:lnTo>
                  <a:lnTo>
                    <a:pt x="345" y="233"/>
                  </a:lnTo>
                  <a:lnTo>
                    <a:pt x="345" y="231"/>
                  </a:lnTo>
                  <a:lnTo>
                    <a:pt x="345" y="230"/>
                  </a:lnTo>
                  <a:lnTo>
                    <a:pt x="346" y="230"/>
                  </a:lnTo>
                  <a:lnTo>
                    <a:pt x="348" y="230"/>
                  </a:lnTo>
                  <a:lnTo>
                    <a:pt x="349" y="229"/>
                  </a:lnTo>
                  <a:lnTo>
                    <a:pt x="350" y="227"/>
                  </a:lnTo>
                  <a:lnTo>
                    <a:pt x="352" y="227"/>
                  </a:lnTo>
                  <a:lnTo>
                    <a:pt x="353" y="229"/>
                  </a:lnTo>
                  <a:lnTo>
                    <a:pt x="355" y="229"/>
                  </a:lnTo>
                  <a:lnTo>
                    <a:pt x="358" y="229"/>
                  </a:lnTo>
                  <a:lnTo>
                    <a:pt x="358" y="229"/>
                  </a:lnTo>
                  <a:lnTo>
                    <a:pt x="358" y="230"/>
                  </a:lnTo>
                  <a:lnTo>
                    <a:pt x="359" y="231"/>
                  </a:lnTo>
                  <a:lnTo>
                    <a:pt x="359" y="231"/>
                  </a:lnTo>
                  <a:lnTo>
                    <a:pt x="360" y="233"/>
                  </a:lnTo>
                  <a:lnTo>
                    <a:pt x="362" y="233"/>
                  </a:lnTo>
                  <a:lnTo>
                    <a:pt x="363" y="233"/>
                  </a:lnTo>
                  <a:lnTo>
                    <a:pt x="366" y="231"/>
                  </a:lnTo>
                  <a:lnTo>
                    <a:pt x="368" y="233"/>
                  </a:lnTo>
                  <a:lnTo>
                    <a:pt x="368" y="231"/>
                  </a:lnTo>
                  <a:lnTo>
                    <a:pt x="366" y="230"/>
                  </a:lnTo>
                  <a:lnTo>
                    <a:pt x="366" y="230"/>
                  </a:lnTo>
                  <a:lnTo>
                    <a:pt x="365" y="229"/>
                  </a:lnTo>
                  <a:lnTo>
                    <a:pt x="365" y="229"/>
                  </a:lnTo>
                  <a:lnTo>
                    <a:pt x="363" y="229"/>
                  </a:lnTo>
                  <a:lnTo>
                    <a:pt x="360" y="227"/>
                  </a:lnTo>
                  <a:lnTo>
                    <a:pt x="360" y="226"/>
                  </a:lnTo>
                  <a:lnTo>
                    <a:pt x="360" y="224"/>
                  </a:lnTo>
                  <a:lnTo>
                    <a:pt x="360" y="224"/>
                  </a:lnTo>
                  <a:lnTo>
                    <a:pt x="362" y="223"/>
                  </a:lnTo>
                  <a:lnTo>
                    <a:pt x="363" y="223"/>
                  </a:lnTo>
                  <a:lnTo>
                    <a:pt x="366" y="224"/>
                  </a:lnTo>
                  <a:lnTo>
                    <a:pt x="366" y="224"/>
                  </a:lnTo>
                  <a:lnTo>
                    <a:pt x="368" y="226"/>
                  </a:lnTo>
                  <a:lnTo>
                    <a:pt x="368" y="227"/>
                  </a:lnTo>
                  <a:close/>
                  <a:moveTo>
                    <a:pt x="323" y="224"/>
                  </a:moveTo>
                  <a:lnTo>
                    <a:pt x="325" y="226"/>
                  </a:lnTo>
                  <a:lnTo>
                    <a:pt x="328" y="227"/>
                  </a:lnTo>
                  <a:lnTo>
                    <a:pt x="328" y="229"/>
                  </a:lnTo>
                  <a:lnTo>
                    <a:pt x="326" y="229"/>
                  </a:lnTo>
                  <a:lnTo>
                    <a:pt x="325" y="230"/>
                  </a:lnTo>
                  <a:lnTo>
                    <a:pt x="322" y="231"/>
                  </a:lnTo>
                  <a:lnTo>
                    <a:pt x="320" y="233"/>
                  </a:lnTo>
                  <a:lnTo>
                    <a:pt x="320" y="234"/>
                  </a:lnTo>
                  <a:lnTo>
                    <a:pt x="319" y="234"/>
                  </a:lnTo>
                  <a:lnTo>
                    <a:pt x="319" y="234"/>
                  </a:lnTo>
                  <a:lnTo>
                    <a:pt x="319" y="236"/>
                  </a:lnTo>
                  <a:lnTo>
                    <a:pt x="318" y="236"/>
                  </a:lnTo>
                  <a:lnTo>
                    <a:pt x="318" y="236"/>
                  </a:lnTo>
                  <a:lnTo>
                    <a:pt x="318" y="234"/>
                  </a:lnTo>
                  <a:lnTo>
                    <a:pt x="318" y="233"/>
                  </a:lnTo>
                  <a:lnTo>
                    <a:pt x="318" y="231"/>
                  </a:lnTo>
                  <a:lnTo>
                    <a:pt x="316" y="231"/>
                  </a:lnTo>
                  <a:lnTo>
                    <a:pt x="315" y="230"/>
                  </a:lnTo>
                  <a:lnTo>
                    <a:pt x="313" y="229"/>
                  </a:lnTo>
                  <a:lnTo>
                    <a:pt x="312" y="229"/>
                  </a:lnTo>
                  <a:lnTo>
                    <a:pt x="309" y="227"/>
                  </a:lnTo>
                  <a:lnTo>
                    <a:pt x="309" y="227"/>
                  </a:lnTo>
                  <a:lnTo>
                    <a:pt x="308" y="226"/>
                  </a:lnTo>
                  <a:lnTo>
                    <a:pt x="308" y="226"/>
                  </a:lnTo>
                  <a:lnTo>
                    <a:pt x="308" y="224"/>
                  </a:lnTo>
                  <a:lnTo>
                    <a:pt x="308" y="224"/>
                  </a:lnTo>
                  <a:lnTo>
                    <a:pt x="308" y="224"/>
                  </a:lnTo>
                  <a:lnTo>
                    <a:pt x="310" y="224"/>
                  </a:lnTo>
                  <a:lnTo>
                    <a:pt x="313" y="224"/>
                  </a:lnTo>
                  <a:lnTo>
                    <a:pt x="315" y="224"/>
                  </a:lnTo>
                  <a:lnTo>
                    <a:pt x="316" y="224"/>
                  </a:lnTo>
                  <a:lnTo>
                    <a:pt x="319" y="223"/>
                  </a:lnTo>
                  <a:lnTo>
                    <a:pt x="319" y="223"/>
                  </a:lnTo>
                  <a:lnTo>
                    <a:pt x="322" y="223"/>
                  </a:lnTo>
                  <a:lnTo>
                    <a:pt x="323" y="224"/>
                  </a:lnTo>
                  <a:close/>
                  <a:moveTo>
                    <a:pt x="553" y="221"/>
                  </a:moveTo>
                  <a:lnTo>
                    <a:pt x="553" y="223"/>
                  </a:lnTo>
                  <a:lnTo>
                    <a:pt x="552" y="223"/>
                  </a:lnTo>
                  <a:lnTo>
                    <a:pt x="550" y="220"/>
                  </a:lnTo>
                  <a:lnTo>
                    <a:pt x="550" y="219"/>
                  </a:lnTo>
                  <a:lnTo>
                    <a:pt x="550" y="219"/>
                  </a:lnTo>
                  <a:lnTo>
                    <a:pt x="550" y="219"/>
                  </a:lnTo>
                  <a:lnTo>
                    <a:pt x="553" y="219"/>
                  </a:lnTo>
                  <a:lnTo>
                    <a:pt x="553" y="220"/>
                  </a:lnTo>
                  <a:lnTo>
                    <a:pt x="553" y="221"/>
                  </a:lnTo>
                  <a:close/>
                  <a:moveTo>
                    <a:pt x="504" y="216"/>
                  </a:moveTo>
                  <a:lnTo>
                    <a:pt x="504" y="217"/>
                  </a:lnTo>
                  <a:lnTo>
                    <a:pt x="504" y="217"/>
                  </a:lnTo>
                  <a:lnTo>
                    <a:pt x="503" y="217"/>
                  </a:lnTo>
                  <a:lnTo>
                    <a:pt x="502" y="219"/>
                  </a:lnTo>
                  <a:lnTo>
                    <a:pt x="500" y="220"/>
                  </a:lnTo>
                  <a:lnTo>
                    <a:pt x="500" y="221"/>
                  </a:lnTo>
                  <a:lnTo>
                    <a:pt x="497" y="220"/>
                  </a:lnTo>
                  <a:lnTo>
                    <a:pt x="494" y="220"/>
                  </a:lnTo>
                  <a:lnTo>
                    <a:pt x="493" y="220"/>
                  </a:lnTo>
                  <a:lnTo>
                    <a:pt x="493" y="220"/>
                  </a:lnTo>
                  <a:lnTo>
                    <a:pt x="492" y="220"/>
                  </a:lnTo>
                  <a:lnTo>
                    <a:pt x="489" y="221"/>
                  </a:lnTo>
                  <a:lnTo>
                    <a:pt x="489" y="221"/>
                  </a:lnTo>
                  <a:lnTo>
                    <a:pt x="489" y="220"/>
                  </a:lnTo>
                  <a:lnTo>
                    <a:pt x="490" y="219"/>
                  </a:lnTo>
                  <a:lnTo>
                    <a:pt x="492" y="216"/>
                  </a:lnTo>
                  <a:lnTo>
                    <a:pt x="493" y="217"/>
                  </a:lnTo>
                  <a:lnTo>
                    <a:pt x="496" y="217"/>
                  </a:lnTo>
                  <a:lnTo>
                    <a:pt x="497" y="217"/>
                  </a:lnTo>
                  <a:lnTo>
                    <a:pt x="499" y="216"/>
                  </a:lnTo>
                  <a:lnTo>
                    <a:pt x="502" y="214"/>
                  </a:lnTo>
                  <a:lnTo>
                    <a:pt x="503" y="216"/>
                  </a:lnTo>
                  <a:lnTo>
                    <a:pt x="504" y="216"/>
                  </a:lnTo>
                  <a:close/>
                  <a:moveTo>
                    <a:pt x="514" y="216"/>
                  </a:moveTo>
                  <a:lnTo>
                    <a:pt x="513" y="216"/>
                  </a:lnTo>
                  <a:lnTo>
                    <a:pt x="514" y="214"/>
                  </a:lnTo>
                  <a:lnTo>
                    <a:pt x="514" y="214"/>
                  </a:lnTo>
                  <a:lnTo>
                    <a:pt x="516" y="214"/>
                  </a:lnTo>
                  <a:lnTo>
                    <a:pt x="516" y="214"/>
                  </a:lnTo>
                  <a:lnTo>
                    <a:pt x="516" y="216"/>
                  </a:lnTo>
                  <a:lnTo>
                    <a:pt x="514" y="216"/>
                  </a:lnTo>
                  <a:close/>
                  <a:moveTo>
                    <a:pt x="693" y="226"/>
                  </a:moveTo>
                  <a:lnTo>
                    <a:pt x="688" y="229"/>
                  </a:lnTo>
                  <a:lnTo>
                    <a:pt x="684" y="227"/>
                  </a:lnTo>
                  <a:lnTo>
                    <a:pt x="683" y="227"/>
                  </a:lnTo>
                  <a:lnTo>
                    <a:pt x="678" y="229"/>
                  </a:lnTo>
                  <a:lnTo>
                    <a:pt x="678" y="229"/>
                  </a:lnTo>
                  <a:lnTo>
                    <a:pt x="678" y="226"/>
                  </a:lnTo>
                  <a:lnTo>
                    <a:pt x="681" y="220"/>
                  </a:lnTo>
                  <a:lnTo>
                    <a:pt x="684" y="216"/>
                  </a:lnTo>
                  <a:lnTo>
                    <a:pt x="686" y="214"/>
                  </a:lnTo>
                  <a:lnTo>
                    <a:pt x="687" y="214"/>
                  </a:lnTo>
                  <a:lnTo>
                    <a:pt x="688" y="213"/>
                  </a:lnTo>
                  <a:lnTo>
                    <a:pt x="693" y="211"/>
                  </a:lnTo>
                  <a:lnTo>
                    <a:pt x="697" y="211"/>
                  </a:lnTo>
                  <a:lnTo>
                    <a:pt x="697" y="213"/>
                  </a:lnTo>
                  <a:lnTo>
                    <a:pt x="698" y="214"/>
                  </a:lnTo>
                  <a:lnTo>
                    <a:pt x="700" y="216"/>
                  </a:lnTo>
                  <a:lnTo>
                    <a:pt x="700" y="217"/>
                  </a:lnTo>
                  <a:lnTo>
                    <a:pt x="698" y="220"/>
                  </a:lnTo>
                  <a:lnTo>
                    <a:pt x="697" y="223"/>
                  </a:lnTo>
                  <a:lnTo>
                    <a:pt x="694" y="224"/>
                  </a:lnTo>
                  <a:lnTo>
                    <a:pt x="693" y="226"/>
                  </a:lnTo>
                  <a:close/>
                  <a:moveTo>
                    <a:pt x="577" y="221"/>
                  </a:moveTo>
                  <a:lnTo>
                    <a:pt x="577" y="221"/>
                  </a:lnTo>
                  <a:lnTo>
                    <a:pt x="574" y="221"/>
                  </a:lnTo>
                  <a:lnTo>
                    <a:pt x="574" y="221"/>
                  </a:lnTo>
                  <a:lnTo>
                    <a:pt x="574" y="220"/>
                  </a:lnTo>
                  <a:lnTo>
                    <a:pt x="573" y="220"/>
                  </a:lnTo>
                  <a:lnTo>
                    <a:pt x="574" y="219"/>
                  </a:lnTo>
                  <a:lnTo>
                    <a:pt x="574" y="217"/>
                  </a:lnTo>
                  <a:lnTo>
                    <a:pt x="576" y="216"/>
                  </a:lnTo>
                  <a:lnTo>
                    <a:pt x="576" y="216"/>
                  </a:lnTo>
                  <a:lnTo>
                    <a:pt x="576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9" y="211"/>
                  </a:lnTo>
                  <a:lnTo>
                    <a:pt x="579" y="210"/>
                  </a:lnTo>
                  <a:lnTo>
                    <a:pt x="580" y="210"/>
                  </a:lnTo>
                  <a:lnTo>
                    <a:pt x="580" y="209"/>
                  </a:lnTo>
                  <a:lnTo>
                    <a:pt x="580" y="209"/>
                  </a:lnTo>
                  <a:lnTo>
                    <a:pt x="581" y="207"/>
                  </a:lnTo>
                  <a:lnTo>
                    <a:pt x="583" y="207"/>
                  </a:lnTo>
                  <a:lnTo>
                    <a:pt x="583" y="209"/>
                  </a:lnTo>
                  <a:lnTo>
                    <a:pt x="584" y="209"/>
                  </a:lnTo>
                  <a:lnTo>
                    <a:pt x="583" y="210"/>
                  </a:lnTo>
                  <a:lnTo>
                    <a:pt x="583" y="213"/>
                  </a:lnTo>
                  <a:lnTo>
                    <a:pt x="581" y="216"/>
                  </a:lnTo>
                  <a:lnTo>
                    <a:pt x="581" y="217"/>
                  </a:lnTo>
                  <a:lnTo>
                    <a:pt x="580" y="217"/>
                  </a:lnTo>
                  <a:lnTo>
                    <a:pt x="580" y="219"/>
                  </a:lnTo>
                  <a:lnTo>
                    <a:pt x="579" y="220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close/>
                  <a:moveTo>
                    <a:pt x="587" y="209"/>
                  </a:moveTo>
                  <a:lnTo>
                    <a:pt x="587" y="210"/>
                  </a:lnTo>
                  <a:lnTo>
                    <a:pt x="587" y="209"/>
                  </a:lnTo>
                  <a:lnTo>
                    <a:pt x="586" y="209"/>
                  </a:lnTo>
                  <a:lnTo>
                    <a:pt x="586" y="209"/>
                  </a:lnTo>
                  <a:lnTo>
                    <a:pt x="584" y="209"/>
                  </a:lnTo>
                  <a:lnTo>
                    <a:pt x="584" y="207"/>
                  </a:lnTo>
                  <a:lnTo>
                    <a:pt x="587" y="207"/>
                  </a:lnTo>
                  <a:lnTo>
                    <a:pt x="587" y="209"/>
                  </a:lnTo>
                  <a:close/>
                  <a:moveTo>
                    <a:pt x="306" y="207"/>
                  </a:moveTo>
                  <a:lnTo>
                    <a:pt x="306" y="209"/>
                  </a:lnTo>
                  <a:lnTo>
                    <a:pt x="305" y="209"/>
                  </a:lnTo>
                  <a:lnTo>
                    <a:pt x="305" y="207"/>
                  </a:lnTo>
                  <a:lnTo>
                    <a:pt x="305" y="207"/>
                  </a:lnTo>
                  <a:lnTo>
                    <a:pt x="305" y="207"/>
                  </a:lnTo>
                  <a:lnTo>
                    <a:pt x="306" y="207"/>
                  </a:lnTo>
                  <a:lnTo>
                    <a:pt x="306" y="207"/>
                  </a:lnTo>
                  <a:close/>
                  <a:moveTo>
                    <a:pt x="534" y="209"/>
                  </a:moveTo>
                  <a:lnTo>
                    <a:pt x="534" y="209"/>
                  </a:lnTo>
                  <a:lnTo>
                    <a:pt x="533" y="209"/>
                  </a:lnTo>
                  <a:lnTo>
                    <a:pt x="533" y="207"/>
                  </a:lnTo>
                  <a:lnTo>
                    <a:pt x="533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4" y="209"/>
                  </a:lnTo>
                  <a:close/>
                  <a:moveTo>
                    <a:pt x="409" y="207"/>
                  </a:moveTo>
                  <a:lnTo>
                    <a:pt x="406" y="207"/>
                  </a:lnTo>
                  <a:lnTo>
                    <a:pt x="406" y="207"/>
                  </a:lnTo>
                  <a:lnTo>
                    <a:pt x="406" y="206"/>
                  </a:lnTo>
                  <a:lnTo>
                    <a:pt x="407" y="207"/>
                  </a:lnTo>
                  <a:lnTo>
                    <a:pt x="409" y="207"/>
                  </a:lnTo>
                  <a:lnTo>
                    <a:pt x="409" y="207"/>
                  </a:lnTo>
                  <a:close/>
                  <a:moveTo>
                    <a:pt x="298" y="207"/>
                  </a:moveTo>
                  <a:lnTo>
                    <a:pt x="298" y="207"/>
                  </a:lnTo>
                  <a:lnTo>
                    <a:pt x="295" y="207"/>
                  </a:lnTo>
                  <a:lnTo>
                    <a:pt x="292" y="209"/>
                  </a:lnTo>
                  <a:lnTo>
                    <a:pt x="292" y="209"/>
                  </a:lnTo>
                  <a:lnTo>
                    <a:pt x="288" y="209"/>
                  </a:lnTo>
                  <a:lnTo>
                    <a:pt x="286" y="209"/>
                  </a:lnTo>
                  <a:lnTo>
                    <a:pt x="286" y="209"/>
                  </a:lnTo>
                  <a:lnTo>
                    <a:pt x="286" y="209"/>
                  </a:lnTo>
                  <a:lnTo>
                    <a:pt x="285" y="209"/>
                  </a:lnTo>
                  <a:lnTo>
                    <a:pt x="281" y="207"/>
                  </a:lnTo>
                  <a:lnTo>
                    <a:pt x="279" y="207"/>
                  </a:lnTo>
                  <a:lnTo>
                    <a:pt x="281" y="206"/>
                  </a:lnTo>
                  <a:lnTo>
                    <a:pt x="282" y="204"/>
                  </a:lnTo>
                  <a:lnTo>
                    <a:pt x="285" y="204"/>
                  </a:lnTo>
                  <a:lnTo>
                    <a:pt x="299" y="203"/>
                  </a:lnTo>
                  <a:lnTo>
                    <a:pt x="300" y="204"/>
                  </a:lnTo>
                  <a:lnTo>
                    <a:pt x="300" y="206"/>
                  </a:lnTo>
                  <a:lnTo>
                    <a:pt x="298" y="206"/>
                  </a:lnTo>
                  <a:lnTo>
                    <a:pt x="298" y="207"/>
                  </a:lnTo>
                  <a:close/>
                  <a:moveTo>
                    <a:pt x="322" y="206"/>
                  </a:moveTo>
                  <a:lnTo>
                    <a:pt x="320" y="206"/>
                  </a:lnTo>
                  <a:lnTo>
                    <a:pt x="319" y="204"/>
                  </a:lnTo>
                  <a:lnTo>
                    <a:pt x="319" y="204"/>
                  </a:lnTo>
                  <a:lnTo>
                    <a:pt x="319" y="203"/>
                  </a:lnTo>
                  <a:lnTo>
                    <a:pt x="322" y="203"/>
                  </a:lnTo>
                  <a:lnTo>
                    <a:pt x="322" y="203"/>
                  </a:lnTo>
                  <a:lnTo>
                    <a:pt x="323" y="203"/>
                  </a:lnTo>
                  <a:lnTo>
                    <a:pt x="325" y="204"/>
                  </a:lnTo>
                  <a:lnTo>
                    <a:pt x="325" y="204"/>
                  </a:lnTo>
                  <a:lnTo>
                    <a:pt x="323" y="204"/>
                  </a:lnTo>
                  <a:lnTo>
                    <a:pt x="322" y="206"/>
                  </a:lnTo>
                  <a:close/>
                  <a:moveTo>
                    <a:pt x="631" y="201"/>
                  </a:moveTo>
                  <a:lnTo>
                    <a:pt x="630" y="201"/>
                  </a:lnTo>
                  <a:lnTo>
                    <a:pt x="630" y="201"/>
                  </a:lnTo>
                  <a:lnTo>
                    <a:pt x="630" y="201"/>
                  </a:lnTo>
                  <a:lnTo>
                    <a:pt x="631" y="200"/>
                  </a:lnTo>
                  <a:lnTo>
                    <a:pt x="631" y="200"/>
                  </a:lnTo>
                  <a:lnTo>
                    <a:pt x="631" y="200"/>
                  </a:lnTo>
                  <a:lnTo>
                    <a:pt x="631" y="200"/>
                  </a:lnTo>
                  <a:lnTo>
                    <a:pt x="631" y="201"/>
                  </a:lnTo>
                  <a:close/>
                  <a:moveTo>
                    <a:pt x="159" y="200"/>
                  </a:moveTo>
                  <a:lnTo>
                    <a:pt x="159" y="200"/>
                  </a:lnTo>
                  <a:lnTo>
                    <a:pt x="158" y="200"/>
                  </a:lnTo>
                  <a:lnTo>
                    <a:pt x="158" y="200"/>
                  </a:lnTo>
                  <a:lnTo>
                    <a:pt x="159" y="199"/>
                  </a:lnTo>
                  <a:lnTo>
                    <a:pt x="159" y="199"/>
                  </a:lnTo>
                  <a:lnTo>
                    <a:pt x="159" y="199"/>
                  </a:lnTo>
                  <a:lnTo>
                    <a:pt x="161" y="199"/>
                  </a:lnTo>
                  <a:lnTo>
                    <a:pt x="159" y="200"/>
                  </a:lnTo>
                  <a:close/>
                  <a:moveTo>
                    <a:pt x="631" y="199"/>
                  </a:moveTo>
                  <a:lnTo>
                    <a:pt x="630" y="199"/>
                  </a:lnTo>
                  <a:lnTo>
                    <a:pt x="630" y="197"/>
                  </a:lnTo>
                  <a:lnTo>
                    <a:pt x="631" y="197"/>
                  </a:lnTo>
                  <a:lnTo>
                    <a:pt x="631" y="197"/>
                  </a:lnTo>
                  <a:lnTo>
                    <a:pt x="631" y="199"/>
                  </a:lnTo>
                  <a:close/>
                  <a:moveTo>
                    <a:pt x="633" y="197"/>
                  </a:moveTo>
                  <a:lnTo>
                    <a:pt x="633" y="197"/>
                  </a:lnTo>
                  <a:lnTo>
                    <a:pt x="633" y="196"/>
                  </a:lnTo>
                  <a:lnTo>
                    <a:pt x="633" y="196"/>
                  </a:lnTo>
                  <a:lnTo>
                    <a:pt x="634" y="194"/>
                  </a:lnTo>
                  <a:lnTo>
                    <a:pt x="634" y="194"/>
                  </a:lnTo>
                  <a:lnTo>
                    <a:pt x="633" y="197"/>
                  </a:lnTo>
                  <a:close/>
                  <a:moveTo>
                    <a:pt x="629" y="197"/>
                  </a:moveTo>
                  <a:lnTo>
                    <a:pt x="629" y="197"/>
                  </a:lnTo>
                  <a:lnTo>
                    <a:pt x="629" y="199"/>
                  </a:lnTo>
                  <a:lnTo>
                    <a:pt x="627" y="200"/>
                  </a:lnTo>
                  <a:lnTo>
                    <a:pt x="626" y="203"/>
                  </a:lnTo>
                  <a:lnTo>
                    <a:pt x="626" y="203"/>
                  </a:lnTo>
                  <a:lnTo>
                    <a:pt x="623" y="204"/>
                  </a:lnTo>
                  <a:lnTo>
                    <a:pt x="621" y="203"/>
                  </a:lnTo>
                  <a:lnTo>
                    <a:pt x="621" y="201"/>
                  </a:lnTo>
                  <a:lnTo>
                    <a:pt x="621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1" y="196"/>
                  </a:lnTo>
                  <a:lnTo>
                    <a:pt x="621" y="194"/>
                  </a:lnTo>
                  <a:lnTo>
                    <a:pt x="621" y="193"/>
                  </a:lnTo>
                  <a:lnTo>
                    <a:pt x="623" y="193"/>
                  </a:lnTo>
                  <a:lnTo>
                    <a:pt x="624" y="193"/>
                  </a:lnTo>
                  <a:lnTo>
                    <a:pt x="626" y="194"/>
                  </a:lnTo>
                  <a:lnTo>
                    <a:pt x="627" y="196"/>
                  </a:lnTo>
                  <a:lnTo>
                    <a:pt x="629" y="197"/>
                  </a:lnTo>
                  <a:close/>
                  <a:moveTo>
                    <a:pt x="193" y="190"/>
                  </a:moveTo>
                  <a:lnTo>
                    <a:pt x="195" y="191"/>
                  </a:lnTo>
                  <a:lnTo>
                    <a:pt x="196" y="193"/>
                  </a:lnTo>
                  <a:lnTo>
                    <a:pt x="198" y="193"/>
                  </a:lnTo>
                  <a:lnTo>
                    <a:pt x="201" y="193"/>
                  </a:lnTo>
                  <a:lnTo>
                    <a:pt x="202" y="193"/>
                  </a:lnTo>
                  <a:lnTo>
                    <a:pt x="203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208" y="194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11" y="196"/>
                  </a:lnTo>
                  <a:lnTo>
                    <a:pt x="212" y="197"/>
                  </a:lnTo>
                  <a:lnTo>
                    <a:pt x="212" y="199"/>
                  </a:lnTo>
                  <a:lnTo>
                    <a:pt x="213" y="201"/>
                  </a:lnTo>
                  <a:lnTo>
                    <a:pt x="215" y="203"/>
                  </a:lnTo>
                  <a:lnTo>
                    <a:pt x="216" y="203"/>
                  </a:lnTo>
                  <a:lnTo>
                    <a:pt x="218" y="203"/>
                  </a:lnTo>
                  <a:lnTo>
                    <a:pt x="221" y="203"/>
                  </a:lnTo>
                  <a:lnTo>
                    <a:pt x="225" y="203"/>
                  </a:lnTo>
                  <a:lnTo>
                    <a:pt x="226" y="203"/>
                  </a:lnTo>
                  <a:lnTo>
                    <a:pt x="228" y="203"/>
                  </a:lnTo>
                  <a:lnTo>
                    <a:pt x="229" y="203"/>
                  </a:lnTo>
                  <a:lnTo>
                    <a:pt x="233" y="204"/>
                  </a:lnTo>
                  <a:lnTo>
                    <a:pt x="235" y="204"/>
                  </a:lnTo>
                  <a:lnTo>
                    <a:pt x="236" y="204"/>
                  </a:lnTo>
                  <a:lnTo>
                    <a:pt x="239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2" y="204"/>
                  </a:lnTo>
                  <a:lnTo>
                    <a:pt x="242" y="204"/>
                  </a:lnTo>
                  <a:lnTo>
                    <a:pt x="245" y="204"/>
                  </a:lnTo>
                  <a:lnTo>
                    <a:pt x="245" y="203"/>
                  </a:lnTo>
                  <a:lnTo>
                    <a:pt x="246" y="200"/>
                  </a:lnTo>
                  <a:lnTo>
                    <a:pt x="246" y="199"/>
                  </a:lnTo>
                  <a:lnTo>
                    <a:pt x="248" y="199"/>
                  </a:lnTo>
                  <a:lnTo>
                    <a:pt x="248" y="197"/>
                  </a:lnTo>
                  <a:lnTo>
                    <a:pt x="248" y="197"/>
                  </a:lnTo>
                  <a:lnTo>
                    <a:pt x="249" y="196"/>
                  </a:lnTo>
                  <a:lnTo>
                    <a:pt x="252" y="197"/>
                  </a:lnTo>
                  <a:lnTo>
                    <a:pt x="252" y="197"/>
                  </a:lnTo>
                  <a:lnTo>
                    <a:pt x="255" y="200"/>
                  </a:lnTo>
                  <a:lnTo>
                    <a:pt x="255" y="200"/>
                  </a:lnTo>
                  <a:lnTo>
                    <a:pt x="258" y="201"/>
                  </a:lnTo>
                  <a:lnTo>
                    <a:pt x="258" y="200"/>
                  </a:lnTo>
                  <a:lnTo>
                    <a:pt x="259" y="200"/>
                  </a:lnTo>
                  <a:lnTo>
                    <a:pt x="261" y="200"/>
                  </a:lnTo>
                  <a:lnTo>
                    <a:pt x="262" y="201"/>
                  </a:lnTo>
                  <a:lnTo>
                    <a:pt x="263" y="201"/>
                  </a:lnTo>
                  <a:lnTo>
                    <a:pt x="263" y="201"/>
                  </a:lnTo>
                  <a:lnTo>
                    <a:pt x="268" y="203"/>
                  </a:lnTo>
                  <a:lnTo>
                    <a:pt x="269" y="204"/>
                  </a:lnTo>
                  <a:lnTo>
                    <a:pt x="271" y="204"/>
                  </a:lnTo>
                  <a:lnTo>
                    <a:pt x="273" y="204"/>
                  </a:lnTo>
                  <a:lnTo>
                    <a:pt x="275" y="204"/>
                  </a:lnTo>
                  <a:lnTo>
                    <a:pt x="276" y="204"/>
                  </a:lnTo>
                  <a:lnTo>
                    <a:pt x="278" y="207"/>
                  </a:lnTo>
                  <a:lnTo>
                    <a:pt x="278" y="209"/>
                  </a:lnTo>
                  <a:lnTo>
                    <a:pt x="278" y="209"/>
                  </a:lnTo>
                  <a:lnTo>
                    <a:pt x="281" y="210"/>
                  </a:lnTo>
                  <a:lnTo>
                    <a:pt x="281" y="210"/>
                  </a:lnTo>
                  <a:lnTo>
                    <a:pt x="281" y="213"/>
                  </a:lnTo>
                  <a:lnTo>
                    <a:pt x="281" y="214"/>
                  </a:lnTo>
                  <a:lnTo>
                    <a:pt x="283" y="216"/>
                  </a:lnTo>
                  <a:lnTo>
                    <a:pt x="288" y="217"/>
                  </a:lnTo>
                  <a:lnTo>
                    <a:pt x="292" y="217"/>
                  </a:lnTo>
                  <a:lnTo>
                    <a:pt x="296" y="217"/>
                  </a:lnTo>
                  <a:lnTo>
                    <a:pt x="298" y="217"/>
                  </a:lnTo>
                  <a:lnTo>
                    <a:pt x="300" y="216"/>
                  </a:lnTo>
                  <a:lnTo>
                    <a:pt x="300" y="216"/>
                  </a:lnTo>
                  <a:lnTo>
                    <a:pt x="306" y="219"/>
                  </a:lnTo>
                  <a:lnTo>
                    <a:pt x="306" y="219"/>
                  </a:lnTo>
                  <a:lnTo>
                    <a:pt x="308" y="220"/>
                  </a:lnTo>
                  <a:lnTo>
                    <a:pt x="308" y="221"/>
                  </a:lnTo>
                  <a:lnTo>
                    <a:pt x="306" y="226"/>
                  </a:lnTo>
                  <a:lnTo>
                    <a:pt x="306" y="227"/>
                  </a:lnTo>
                  <a:lnTo>
                    <a:pt x="306" y="229"/>
                  </a:lnTo>
                  <a:lnTo>
                    <a:pt x="308" y="231"/>
                  </a:lnTo>
                  <a:lnTo>
                    <a:pt x="308" y="231"/>
                  </a:lnTo>
                  <a:lnTo>
                    <a:pt x="309" y="233"/>
                  </a:lnTo>
                  <a:lnTo>
                    <a:pt x="309" y="233"/>
                  </a:lnTo>
                  <a:lnTo>
                    <a:pt x="309" y="234"/>
                  </a:lnTo>
                  <a:lnTo>
                    <a:pt x="308" y="234"/>
                  </a:lnTo>
                  <a:lnTo>
                    <a:pt x="306" y="233"/>
                  </a:lnTo>
                  <a:lnTo>
                    <a:pt x="305" y="231"/>
                  </a:lnTo>
                  <a:lnTo>
                    <a:pt x="305" y="231"/>
                  </a:lnTo>
                  <a:lnTo>
                    <a:pt x="302" y="231"/>
                  </a:lnTo>
                  <a:lnTo>
                    <a:pt x="299" y="231"/>
                  </a:lnTo>
                  <a:lnTo>
                    <a:pt x="295" y="230"/>
                  </a:lnTo>
                  <a:lnTo>
                    <a:pt x="288" y="226"/>
                  </a:lnTo>
                  <a:lnTo>
                    <a:pt x="286" y="226"/>
                  </a:lnTo>
                  <a:lnTo>
                    <a:pt x="285" y="227"/>
                  </a:lnTo>
                  <a:lnTo>
                    <a:pt x="282" y="227"/>
                  </a:lnTo>
                  <a:lnTo>
                    <a:pt x="281" y="229"/>
                  </a:lnTo>
                  <a:lnTo>
                    <a:pt x="279" y="229"/>
                  </a:lnTo>
                  <a:lnTo>
                    <a:pt x="278" y="229"/>
                  </a:lnTo>
                  <a:lnTo>
                    <a:pt x="273" y="227"/>
                  </a:lnTo>
                  <a:lnTo>
                    <a:pt x="269" y="227"/>
                  </a:lnTo>
                  <a:lnTo>
                    <a:pt x="261" y="227"/>
                  </a:lnTo>
                  <a:lnTo>
                    <a:pt x="258" y="226"/>
                  </a:lnTo>
                  <a:lnTo>
                    <a:pt x="253" y="226"/>
                  </a:lnTo>
                  <a:lnTo>
                    <a:pt x="249" y="224"/>
                  </a:lnTo>
                  <a:lnTo>
                    <a:pt x="245" y="224"/>
                  </a:lnTo>
                  <a:lnTo>
                    <a:pt x="236" y="220"/>
                  </a:lnTo>
                  <a:lnTo>
                    <a:pt x="233" y="219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19" y="217"/>
                  </a:lnTo>
                  <a:lnTo>
                    <a:pt x="218" y="216"/>
                  </a:lnTo>
                  <a:lnTo>
                    <a:pt x="216" y="216"/>
                  </a:lnTo>
                  <a:lnTo>
                    <a:pt x="213" y="217"/>
                  </a:lnTo>
                  <a:lnTo>
                    <a:pt x="212" y="217"/>
                  </a:lnTo>
                  <a:lnTo>
                    <a:pt x="211" y="219"/>
                  </a:lnTo>
                  <a:lnTo>
                    <a:pt x="209" y="219"/>
                  </a:lnTo>
                  <a:lnTo>
                    <a:pt x="208" y="219"/>
                  </a:lnTo>
                  <a:lnTo>
                    <a:pt x="202" y="217"/>
                  </a:lnTo>
                  <a:lnTo>
                    <a:pt x="201" y="217"/>
                  </a:lnTo>
                  <a:lnTo>
                    <a:pt x="199" y="216"/>
                  </a:lnTo>
                  <a:lnTo>
                    <a:pt x="198" y="214"/>
                  </a:lnTo>
                  <a:lnTo>
                    <a:pt x="196" y="214"/>
                  </a:lnTo>
                  <a:lnTo>
                    <a:pt x="192" y="213"/>
                  </a:lnTo>
                  <a:lnTo>
                    <a:pt x="189" y="213"/>
                  </a:lnTo>
                  <a:lnTo>
                    <a:pt x="182" y="213"/>
                  </a:lnTo>
                  <a:lnTo>
                    <a:pt x="181" y="211"/>
                  </a:lnTo>
                  <a:lnTo>
                    <a:pt x="179" y="211"/>
                  </a:lnTo>
                  <a:lnTo>
                    <a:pt x="178" y="210"/>
                  </a:lnTo>
                  <a:lnTo>
                    <a:pt x="178" y="210"/>
                  </a:lnTo>
                  <a:lnTo>
                    <a:pt x="179" y="209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75" y="204"/>
                  </a:lnTo>
                  <a:lnTo>
                    <a:pt x="171" y="203"/>
                  </a:lnTo>
                  <a:lnTo>
                    <a:pt x="169" y="203"/>
                  </a:lnTo>
                  <a:lnTo>
                    <a:pt x="168" y="203"/>
                  </a:lnTo>
                  <a:lnTo>
                    <a:pt x="165" y="203"/>
                  </a:lnTo>
                  <a:lnTo>
                    <a:pt x="164" y="203"/>
                  </a:lnTo>
                  <a:lnTo>
                    <a:pt x="162" y="203"/>
                  </a:lnTo>
                  <a:lnTo>
                    <a:pt x="162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9" y="201"/>
                  </a:lnTo>
                  <a:lnTo>
                    <a:pt x="161" y="201"/>
                  </a:lnTo>
                  <a:lnTo>
                    <a:pt x="161" y="200"/>
                  </a:lnTo>
                  <a:lnTo>
                    <a:pt x="162" y="200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5" y="200"/>
                  </a:lnTo>
                  <a:lnTo>
                    <a:pt x="165" y="200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8" y="197"/>
                  </a:lnTo>
                  <a:lnTo>
                    <a:pt x="168" y="197"/>
                  </a:lnTo>
                  <a:lnTo>
                    <a:pt x="169" y="191"/>
                  </a:lnTo>
                  <a:lnTo>
                    <a:pt x="171" y="190"/>
                  </a:lnTo>
                  <a:lnTo>
                    <a:pt x="172" y="189"/>
                  </a:lnTo>
                  <a:lnTo>
                    <a:pt x="174" y="189"/>
                  </a:lnTo>
                  <a:lnTo>
                    <a:pt x="175" y="189"/>
                  </a:lnTo>
                  <a:lnTo>
                    <a:pt x="178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82" y="190"/>
                  </a:lnTo>
                  <a:lnTo>
                    <a:pt x="185" y="191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88" y="190"/>
                  </a:lnTo>
                  <a:lnTo>
                    <a:pt x="189" y="189"/>
                  </a:lnTo>
                  <a:lnTo>
                    <a:pt x="191" y="189"/>
                  </a:lnTo>
                  <a:lnTo>
                    <a:pt x="193" y="189"/>
                  </a:lnTo>
                  <a:lnTo>
                    <a:pt x="193" y="190"/>
                  </a:lnTo>
                  <a:close/>
                  <a:moveTo>
                    <a:pt x="460" y="189"/>
                  </a:moveTo>
                  <a:lnTo>
                    <a:pt x="460" y="190"/>
                  </a:lnTo>
                  <a:lnTo>
                    <a:pt x="460" y="189"/>
                  </a:lnTo>
                  <a:lnTo>
                    <a:pt x="460" y="189"/>
                  </a:lnTo>
                  <a:lnTo>
                    <a:pt x="460" y="187"/>
                  </a:lnTo>
                  <a:lnTo>
                    <a:pt x="460" y="189"/>
                  </a:lnTo>
                  <a:lnTo>
                    <a:pt x="460" y="189"/>
                  </a:lnTo>
                  <a:close/>
                  <a:moveTo>
                    <a:pt x="405" y="194"/>
                  </a:moveTo>
                  <a:lnTo>
                    <a:pt x="403" y="197"/>
                  </a:lnTo>
                  <a:lnTo>
                    <a:pt x="403" y="196"/>
                  </a:lnTo>
                  <a:lnTo>
                    <a:pt x="403" y="194"/>
                  </a:lnTo>
                  <a:lnTo>
                    <a:pt x="403" y="193"/>
                  </a:lnTo>
                  <a:lnTo>
                    <a:pt x="403" y="191"/>
                  </a:lnTo>
                  <a:lnTo>
                    <a:pt x="403" y="187"/>
                  </a:lnTo>
                  <a:lnTo>
                    <a:pt x="403" y="186"/>
                  </a:lnTo>
                  <a:lnTo>
                    <a:pt x="405" y="189"/>
                  </a:lnTo>
                  <a:lnTo>
                    <a:pt x="405" y="189"/>
                  </a:lnTo>
                  <a:lnTo>
                    <a:pt x="405" y="194"/>
                  </a:lnTo>
                  <a:close/>
                  <a:moveTo>
                    <a:pt x="279" y="187"/>
                  </a:moveTo>
                  <a:lnTo>
                    <a:pt x="279" y="187"/>
                  </a:lnTo>
                  <a:lnTo>
                    <a:pt x="278" y="187"/>
                  </a:lnTo>
                  <a:lnTo>
                    <a:pt x="278" y="187"/>
                  </a:lnTo>
                  <a:lnTo>
                    <a:pt x="278" y="186"/>
                  </a:lnTo>
                  <a:lnTo>
                    <a:pt x="279" y="186"/>
                  </a:lnTo>
                  <a:lnTo>
                    <a:pt x="279" y="186"/>
                  </a:lnTo>
                  <a:lnTo>
                    <a:pt x="279" y="187"/>
                  </a:lnTo>
                  <a:close/>
                  <a:moveTo>
                    <a:pt x="601" y="187"/>
                  </a:moveTo>
                  <a:lnTo>
                    <a:pt x="600" y="189"/>
                  </a:lnTo>
                  <a:lnTo>
                    <a:pt x="600" y="189"/>
                  </a:lnTo>
                  <a:lnTo>
                    <a:pt x="599" y="189"/>
                  </a:lnTo>
                  <a:lnTo>
                    <a:pt x="599" y="187"/>
                  </a:lnTo>
                  <a:lnTo>
                    <a:pt x="599" y="186"/>
                  </a:lnTo>
                  <a:lnTo>
                    <a:pt x="599" y="183"/>
                  </a:lnTo>
                  <a:lnTo>
                    <a:pt x="599" y="183"/>
                  </a:lnTo>
                  <a:lnTo>
                    <a:pt x="600" y="184"/>
                  </a:lnTo>
                  <a:lnTo>
                    <a:pt x="600" y="184"/>
                  </a:lnTo>
                  <a:lnTo>
                    <a:pt x="601" y="186"/>
                  </a:lnTo>
                  <a:lnTo>
                    <a:pt x="601" y="187"/>
                  </a:lnTo>
                  <a:close/>
                  <a:moveTo>
                    <a:pt x="631" y="184"/>
                  </a:moveTo>
                  <a:lnTo>
                    <a:pt x="631" y="186"/>
                  </a:lnTo>
                  <a:lnTo>
                    <a:pt x="631" y="187"/>
                  </a:lnTo>
                  <a:lnTo>
                    <a:pt x="633" y="187"/>
                  </a:lnTo>
                  <a:lnTo>
                    <a:pt x="631" y="189"/>
                  </a:lnTo>
                  <a:lnTo>
                    <a:pt x="633" y="190"/>
                  </a:lnTo>
                  <a:lnTo>
                    <a:pt x="633" y="191"/>
                  </a:lnTo>
                  <a:lnTo>
                    <a:pt x="633" y="193"/>
                  </a:lnTo>
                  <a:lnTo>
                    <a:pt x="631" y="193"/>
                  </a:lnTo>
                  <a:lnTo>
                    <a:pt x="631" y="194"/>
                  </a:lnTo>
                  <a:lnTo>
                    <a:pt x="631" y="194"/>
                  </a:lnTo>
                  <a:lnTo>
                    <a:pt x="631" y="194"/>
                  </a:lnTo>
                  <a:lnTo>
                    <a:pt x="630" y="196"/>
                  </a:lnTo>
                  <a:lnTo>
                    <a:pt x="627" y="194"/>
                  </a:lnTo>
                  <a:lnTo>
                    <a:pt x="626" y="194"/>
                  </a:lnTo>
                  <a:lnTo>
                    <a:pt x="624" y="193"/>
                  </a:lnTo>
                  <a:lnTo>
                    <a:pt x="624" y="193"/>
                  </a:lnTo>
                  <a:lnTo>
                    <a:pt x="623" y="191"/>
                  </a:lnTo>
                  <a:lnTo>
                    <a:pt x="623" y="190"/>
                  </a:lnTo>
                  <a:lnTo>
                    <a:pt x="623" y="190"/>
                  </a:lnTo>
                  <a:lnTo>
                    <a:pt x="624" y="190"/>
                  </a:lnTo>
                  <a:lnTo>
                    <a:pt x="624" y="190"/>
                  </a:lnTo>
                  <a:lnTo>
                    <a:pt x="624" y="189"/>
                  </a:lnTo>
                  <a:lnTo>
                    <a:pt x="626" y="187"/>
                  </a:lnTo>
                  <a:lnTo>
                    <a:pt x="624" y="186"/>
                  </a:lnTo>
                  <a:lnTo>
                    <a:pt x="623" y="184"/>
                  </a:lnTo>
                  <a:lnTo>
                    <a:pt x="624" y="184"/>
                  </a:lnTo>
                  <a:lnTo>
                    <a:pt x="626" y="184"/>
                  </a:lnTo>
                  <a:lnTo>
                    <a:pt x="627" y="183"/>
                  </a:lnTo>
                  <a:lnTo>
                    <a:pt x="629" y="182"/>
                  </a:lnTo>
                  <a:lnTo>
                    <a:pt x="629" y="180"/>
                  </a:lnTo>
                  <a:lnTo>
                    <a:pt x="629" y="180"/>
                  </a:lnTo>
                  <a:lnTo>
                    <a:pt x="630" y="180"/>
                  </a:lnTo>
                  <a:lnTo>
                    <a:pt x="630" y="182"/>
                  </a:lnTo>
                  <a:lnTo>
                    <a:pt x="630" y="183"/>
                  </a:lnTo>
                  <a:lnTo>
                    <a:pt x="630" y="183"/>
                  </a:lnTo>
                  <a:lnTo>
                    <a:pt x="631" y="183"/>
                  </a:lnTo>
                  <a:lnTo>
                    <a:pt x="631" y="184"/>
                  </a:lnTo>
                  <a:close/>
                  <a:moveTo>
                    <a:pt x="603" y="189"/>
                  </a:moveTo>
                  <a:lnTo>
                    <a:pt x="601" y="190"/>
                  </a:lnTo>
                  <a:lnTo>
                    <a:pt x="603" y="186"/>
                  </a:lnTo>
                  <a:lnTo>
                    <a:pt x="603" y="184"/>
                  </a:lnTo>
                  <a:lnTo>
                    <a:pt x="604" y="183"/>
                  </a:lnTo>
                  <a:lnTo>
                    <a:pt x="606" y="179"/>
                  </a:lnTo>
                  <a:lnTo>
                    <a:pt x="606" y="179"/>
                  </a:lnTo>
                  <a:lnTo>
                    <a:pt x="607" y="179"/>
                  </a:lnTo>
                  <a:lnTo>
                    <a:pt x="606" y="183"/>
                  </a:lnTo>
                  <a:lnTo>
                    <a:pt x="604" y="186"/>
                  </a:lnTo>
                  <a:lnTo>
                    <a:pt x="603" y="189"/>
                  </a:lnTo>
                  <a:close/>
                  <a:moveTo>
                    <a:pt x="114" y="182"/>
                  </a:moveTo>
                  <a:lnTo>
                    <a:pt x="112" y="182"/>
                  </a:lnTo>
                  <a:lnTo>
                    <a:pt x="109" y="180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79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4" y="182"/>
                  </a:lnTo>
                  <a:close/>
                  <a:moveTo>
                    <a:pt x="455" y="179"/>
                  </a:moveTo>
                  <a:lnTo>
                    <a:pt x="455" y="180"/>
                  </a:lnTo>
                  <a:lnTo>
                    <a:pt x="453" y="180"/>
                  </a:lnTo>
                  <a:lnTo>
                    <a:pt x="453" y="179"/>
                  </a:lnTo>
                  <a:lnTo>
                    <a:pt x="453" y="179"/>
                  </a:lnTo>
                  <a:lnTo>
                    <a:pt x="453" y="179"/>
                  </a:lnTo>
                  <a:lnTo>
                    <a:pt x="453" y="177"/>
                  </a:lnTo>
                  <a:lnTo>
                    <a:pt x="455" y="179"/>
                  </a:lnTo>
                  <a:close/>
                  <a:moveTo>
                    <a:pt x="429" y="180"/>
                  </a:moveTo>
                  <a:lnTo>
                    <a:pt x="427" y="182"/>
                  </a:lnTo>
                  <a:lnTo>
                    <a:pt x="426" y="179"/>
                  </a:lnTo>
                  <a:lnTo>
                    <a:pt x="425" y="177"/>
                  </a:lnTo>
                  <a:lnTo>
                    <a:pt x="425" y="177"/>
                  </a:lnTo>
                  <a:lnTo>
                    <a:pt x="426" y="176"/>
                  </a:lnTo>
                  <a:lnTo>
                    <a:pt x="426" y="176"/>
                  </a:lnTo>
                  <a:lnTo>
                    <a:pt x="426" y="176"/>
                  </a:lnTo>
                  <a:lnTo>
                    <a:pt x="426" y="174"/>
                  </a:lnTo>
                  <a:lnTo>
                    <a:pt x="427" y="174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29" y="177"/>
                  </a:lnTo>
                  <a:lnTo>
                    <a:pt x="429" y="180"/>
                  </a:lnTo>
                  <a:close/>
                  <a:moveTo>
                    <a:pt x="439" y="179"/>
                  </a:moveTo>
                  <a:lnTo>
                    <a:pt x="437" y="179"/>
                  </a:lnTo>
                  <a:lnTo>
                    <a:pt x="437" y="180"/>
                  </a:lnTo>
                  <a:lnTo>
                    <a:pt x="436" y="180"/>
                  </a:lnTo>
                  <a:lnTo>
                    <a:pt x="436" y="180"/>
                  </a:lnTo>
                  <a:lnTo>
                    <a:pt x="435" y="179"/>
                  </a:lnTo>
                  <a:lnTo>
                    <a:pt x="435" y="180"/>
                  </a:lnTo>
                  <a:lnTo>
                    <a:pt x="433" y="180"/>
                  </a:lnTo>
                  <a:lnTo>
                    <a:pt x="433" y="179"/>
                  </a:lnTo>
                  <a:lnTo>
                    <a:pt x="433" y="176"/>
                  </a:lnTo>
                  <a:lnTo>
                    <a:pt x="435" y="174"/>
                  </a:lnTo>
                  <a:lnTo>
                    <a:pt x="435" y="173"/>
                  </a:lnTo>
                  <a:lnTo>
                    <a:pt x="433" y="172"/>
                  </a:lnTo>
                  <a:lnTo>
                    <a:pt x="433" y="170"/>
                  </a:lnTo>
                  <a:lnTo>
                    <a:pt x="436" y="169"/>
                  </a:lnTo>
                  <a:lnTo>
                    <a:pt x="439" y="167"/>
                  </a:lnTo>
                  <a:lnTo>
                    <a:pt x="439" y="167"/>
                  </a:lnTo>
                  <a:lnTo>
                    <a:pt x="440" y="169"/>
                  </a:lnTo>
                  <a:lnTo>
                    <a:pt x="440" y="173"/>
                  </a:lnTo>
                  <a:lnTo>
                    <a:pt x="437" y="176"/>
                  </a:lnTo>
                  <a:lnTo>
                    <a:pt x="439" y="179"/>
                  </a:lnTo>
                  <a:close/>
                  <a:moveTo>
                    <a:pt x="447" y="166"/>
                  </a:moveTo>
                  <a:lnTo>
                    <a:pt x="447" y="170"/>
                  </a:lnTo>
                  <a:lnTo>
                    <a:pt x="447" y="172"/>
                  </a:lnTo>
                  <a:lnTo>
                    <a:pt x="446" y="170"/>
                  </a:lnTo>
                  <a:lnTo>
                    <a:pt x="446" y="169"/>
                  </a:lnTo>
                  <a:lnTo>
                    <a:pt x="446" y="170"/>
                  </a:lnTo>
                  <a:lnTo>
                    <a:pt x="446" y="170"/>
                  </a:lnTo>
                  <a:lnTo>
                    <a:pt x="445" y="170"/>
                  </a:lnTo>
                  <a:lnTo>
                    <a:pt x="445" y="172"/>
                  </a:lnTo>
                  <a:lnTo>
                    <a:pt x="445" y="173"/>
                  </a:lnTo>
                  <a:lnTo>
                    <a:pt x="443" y="173"/>
                  </a:lnTo>
                  <a:lnTo>
                    <a:pt x="443" y="176"/>
                  </a:lnTo>
                  <a:lnTo>
                    <a:pt x="443" y="177"/>
                  </a:lnTo>
                  <a:lnTo>
                    <a:pt x="445" y="176"/>
                  </a:lnTo>
                  <a:lnTo>
                    <a:pt x="445" y="176"/>
                  </a:lnTo>
                  <a:lnTo>
                    <a:pt x="446" y="177"/>
                  </a:lnTo>
                  <a:lnTo>
                    <a:pt x="447" y="179"/>
                  </a:lnTo>
                  <a:lnTo>
                    <a:pt x="447" y="179"/>
                  </a:lnTo>
                  <a:lnTo>
                    <a:pt x="446" y="180"/>
                  </a:lnTo>
                  <a:lnTo>
                    <a:pt x="445" y="180"/>
                  </a:lnTo>
                  <a:lnTo>
                    <a:pt x="443" y="180"/>
                  </a:lnTo>
                  <a:lnTo>
                    <a:pt x="443" y="180"/>
                  </a:lnTo>
                  <a:lnTo>
                    <a:pt x="443" y="180"/>
                  </a:lnTo>
                  <a:lnTo>
                    <a:pt x="443" y="182"/>
                  </a:lnTo>
                  <a:lnTo>
                    <a:pt x="443" y="182"/>
                  </a:lnTo>
                  <a:lnTo>
                    <a:pt x="442" y="184"/>
                  </a:lnTo>
                  <a:lnTo>
                    <a:pt x="440" y="184"/>
                  </a:lnTo>
                  <a:lnTo>
                    <a:pt x="440" y="184"/>
                  </a:lnTo>
                  <a:lnTo>
                    <a:pt x="439" y="184"/>
                  </a:lnTo>
                  <a:lnTo>
                    <a:pt x="439" y="184"/>
                  </a:lnTo>
                  <a:lnTo>
                    <a:pt x="437" y="183"/>
                  </a:lnTo>
                  <a:lnTo>
                    <a:pt x="437" y="182"/>
                  </a:lnTo>
                  <a:lnTo>
                    <a:pt x="439" y="180"/>
                  </a:lnTo>
                  <a:lnTo>
                    <a:pt x="439" y="180"/>
                  </a:lnTo>
                  <a:lnTo>
                    <a:pt x="439" y="179"/>
                  </a:lnTo>
                  <a:lnTo>
                    <a:pt x="440" y="177"/>
                  </a:lnTo>
                  <a:lnTo>
                    <a:pt x="440" y="177"/>
                  </a:lnTo>
                  <a:lnTo>
                    <a:pt x="440" y="176"/>
                  </a:lnTo>
                  <a:lnTo>
                    <a:pt x="440" y="174"/>
                  </a:lnTo>
                  <a:lnTo>
                    <a:pt x="440" y="173"/>
                  </a:lnTo>
                  <a:lnTo>
                    <a:pt x="442" y="173"/>
                  </a:lnTo>
                  <a:lnTo>
                    <a:pt x="442" y="172"/>
                  </a:lnTo>
                  <a:lnTo>
                    <a:pt x="442" y="167"/>
                  </a:lnTo>
                  <a:lnTo>
                    <a:pt x="443" y="164"/>
                  </a:lnTo>
                  <a:lnTo>
                    <a:pt x="445" y="164"/>
                  </a:lnTo>
                  <a:lnTo>
                    <a:pt x="445" y="164"/>
                  </a:lnTo>
                  <a:lnTo>
                    <a:pt x="445" y="164"/>
                  </a:lnTo>
                  <a:lnTo>
                    <a:pt x="447" y="166"/>
                  </a:lnTo>
                  <a:close/>
                  <a:moveTo>
                    <a:pt x="613" y="162"/>
                  </a:moveTo>
                  <a:lnTo>
                    <a:pt x="614" y="163"/>
                  </a:lnTo>
                  <a:lnTo>
                    <a:pt x="611" y="162"/>
                  </a:lnTo>
                  <a:lnTo>
                    <a:pt x="610" y="160"/>
                  </a:lnTo>
                  <a:lnTo>
                    <a:pt x="609" y="160"/>
                  </a:lnTo>
                  <a:lnTo>
                    <a:pt x="611" y="162"/>
                  </a:lnTo>
                  <a:lnTo>
                    <a:pt x="613" y="162"/>
                  </a:lnTo>
                  <a:close/>
                  <a:moveTo>
                    <a:pt x="447" y="160"/>
                  </a:moveTo>
                  <a:lnTo>
                    <a:pt x="446" y="162"/>
                  </a:lnTo>
                  <a:lnTo>
                    <a:pt x="445" y="162"/>
                  </a:lnTo>
                  <a:lnTo>
                    <a:pt x="445" y="160"/>
                  </a:lnTo>
                  <a:lnTo>
                    <a:pt x="443" y="159"/>
                  </a:lnTo>
                  <a:lnTo>
                    <a:pt x="443" y="159"/>
                  </a:lnTo>
                  <a:lnTo>
                    <a:pt x="445" y="157"/>
                  </a:lnTo>
                  <a:lnTo>
                    <a:pt x="447" y="157"/>
                  </a:lnTo>
                  <a:lnTo>
                    <a:pt x="447" y="159"/>
                  </a:lnTo>
                  <a:lnTo>
                    <a:pt x="447" y="160"/>
                  </a:lnTo>
                  <a:close/>
                  <a:moveTo>
                    <a:pt x="533" y="152"/>
                  </a:moveTo>
                  <a:lnTo>
                    <a:pt x="530" y="152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3" y="150"/>
                  </a:lnTo>
                  <a:lnTo>
                    <a:pt x="533" y="152"/>
                  </a:lnTo>
                  <a:close/>
                  <a:moveTo>
                    <a:pt x="529" y="153"/>
                  </a:moveTo>
                  <a:lnTo>
                    <a:pt x="529" y="153"/>
                  </a:lnTo>
                  <a:lnTo>
                    <a:pt x="527" y="153"/>
                  </a:lnTo>
                  <a:lnTo>
                    <a:pt x="526" y="153"/>
                  </a:lnTo>
                  <a:lnTo>
                    <a:pt x="527" y="153"/>
                  </a:lnTo>
                  <a:lnTo>
                    <a:pt x="526" y="153"/>
                  </a:lnTo>
                  <a:lnTo>
                    <a:pt x="526" y="153"/>
                  </a:lnTo>
                  <a:lnTo>
                    <a:pt x="524" y="153"/>
                  </a:lnTo>
                  <a:lnTo>
                    <a:pt x="523" y="154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4" y="152"/>
                  </a:lnTo>
                  <a:lnTo>
                    <a:pt x="526" y="152"/>
                  </a:lnTo>
                  <a:lnTo>
                    <a:pt x="529" y="150"/>
                  </a:lnTo>
                  <a:lnTo>
                    <a:pt x="529" y="150"/>
                  </a:lnTo>
                  <a:lnTo>
                    <a:pt x="529" y="150"/>
                  </a:lnTo>
                  <a:lnTo>
                    <a:pt x="529" y="152"/>
                  </a:lnTo>
                  <a:lnTo>
                    <a:pt x="529" y="152"/>
                  </a:lnTo>
                  <a:lnTo>
                    <a:pt x="529" y="153"/>
                  </a:lnTo>
                  <a:close/>
                  <a:moveTo>
                    <a:pt x="536" y="150"/>
                  </a:moveTo>
                  <a:lnTo>
                    <a:pt x="536" y="152"/>
                  </a:lnTo>
                  <a:lnTo>
                    <a:pt x="536" y="152"/>
                  </a:lnTo>
                  <a:lnTo>
                    <a:pt x="534" y="152"/>
                  </a:lnTo>
                  <a:lnTo>
                    <a:pt x="534" y="152"/>
                  </a:lnTo>
                  <a:lnTo>
                    <a:pt x="533" y="150"/>
                  </a:lnTo>
                  <a:lnTo>
                    <a:pt x="533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6" y="150"/>
                  </a:lnTo>
                  <a:close/>
                  <a:moveTo>
                    <a:pt x="339" y="149"/>
                  </a:moveTo>
                  <a:lnTo>
                    <a:pt x="338" y="152"/>
                  </a:lnTo>
                  <a:lnTo>
                    <a:pt x="338" y="150"/>
                  </a:lnTo>
                  <a:lnTo>
                    <a:pt x="338" y="149"/>
                  </a:lnTo>
                  <a:lnTo>
                    <a:pt x="339" y="149"/>
                  </a:lnTo>
                  <a:lnTo>
                    <a:pt x="339" y="149"/>
                  </a:lnTo>
                  <a:close/>
                  <a:moveTo>
                    <a:pt x="517" y="147"/>
                  </a:moveTo>
                  <a:lnTo>
                    <a:pt x="519" y="147"/>
                  </a:lnTo>
                  <a:lnTo>
                    <a:pt x="516" y="147"/>
                  </a:lnTo>
                  <a:lnTo>
                    <a:pt x="516" y="146"/>
                  </a:lnTo>
                  <a:lnTo>
                    <a:pt x="516" y="146"/>
                  </a:lnTo>
                  <a:lnTo>
                    <a:pt x="517" y="146"/>
                  </a:lnTo>
                  <a:lnTo>
                    <a:pt x="517" y="147"/>
                  </a:lnTo>
                  <a:close/>
                  <a:moveTo>
                    <a:pt x="336" y="156"/>
                  </a:moveTo>
                  <a:lnTo>
                    <a:pt x="333" y="159"/>
                  </a:lnTo>
                  <a:lnTo>
                    <a:pt x="333" y="157"/>
                  </a:lnTo>
                  <a:lnTo>
                    <a:pt x="333" y="154"/>
                  </a:lnTo>
                  <a:lnTo>
                    <a:pt x="332" y="153"/>
                  </a:lnTo>
                  <a:lnTo>
                    <a:pt x="332" y="152"/>
                  </a:lnTo>
                  <a:lnTo>
                    <a:pt x="333" y="149"/>
                  </a:lnTo>
                  <a:lnTo>
                    <a:pt x="333" y="147"/>
                  </a:lnTo>
                  <a:lnTo>
                    <a:pt x="336" y="146"/>
                  </a:lnTo>
                  <a:lnTo>
                    <a:pt x="336" y="146"/>
                  </a:lnTo>
                  <a:lnTo>
                    <a:pt x="336" y="149"/>
                  </a:lnTo>
                  <a:lnTo>
                    <a:pt x="336" y="149"/>
                  </a:lnTo>
                  <a:lnTo>
                    <a:pt x="336" y="150"/>
                  </a:lnTo>
                  <a:lnTo>
                    <a:pt x="336" y="150"/>
                  </a:lnTo>
                  <a:lnTo>
                    <a:pt x="336" y="153"/>
                  </a:lnTo>
                  <a:lnTo>
                    <a:pt x="338" y="154"/>
                  </a:lnTo>
                  <a:lnTo>
                    <a:pt x="336" y="154"/>
                  </a:lnTo>
                  <a:lnTo>
                    <a:pt x="336" y="156"/>
                  </a:lnTo>
                  <a:close/>
                  <a:moveTo>
                    <a:pt x="506" y="143"/>
                  </a:moveTo>
                  <a:lnTo>
                    <a:pt x="509" y="144"/>
                  </a:lnTo>
                  <a:lnTo>
                    <a:pt x="509" y="146"/>
                  </a:lnTo>
                  <a:lnTo>
                    <a:pt x="510" y="146"/>
                  </a:lnTo>
                  <a:lnTo>
                    <a:pt x="510" y="147"/>
                  </a:lnTo>
                  <a:lnTo>
                    <a:pt x="510" y="147"/>
                  </a:lnTo>
                  <a:lnTo>
                    <a:pt x="512" y="149"/>
                  </a:lnTo>
                  <a:lnTo>
                    <a:pt x="512" y="149"/>
                  </a:lnTo>
                  <a:lnTo>
                    <a:pt x="512" y="152"/>
                  </a:lnTo>
                  <a:lnTo>
                    <a:pt x="510" y="152"/>
                  </a:lnTo>
                  <a:lnTo>
                    <a:pt x="509" y="153"/>
                  </a:lnTo>
                  <a:lnTo>
                    <a:pt x="507" y="154"/>
                  </a:lnTo>
                  <a:lnTo>
                    <a:pt x="506" y="154"/>
                  </a:lnTo>
                  <a:lnTo>
                    <a:pt x="504" y="154"/>
                  </a:lnTo>
                  <a:lnTo>
                    <a:pt x="504" y="154"/>
                  </a:lnTo>
                  <a:lnTo>
                    <a:pt x="503" y="154"/>
                  </a:lnTo>
                  <a:lnTo>
                    <a:pt x="500" y="154"/>
                  </a:lnTo>
                  <a:lnTo>
                    <a:pt x="499" y="153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3" y="149"/>
                  </a:lnTo>
                  <a:lnTo>
                    <a:pt x="493" y="147"/>
                  </a:lnTo>
                  <a:lnTo>
                    <a:pt x="493" y="144"/>
                  </a:lnTo>
                  <a:lnTo>
                    <a:pt x="493" y="144"/>
                  </a:lnTo>
                  <a:lnTo>
                    <a:pt x="493" y="143"/>
                  </a:lnTo>
                  <a:lnTo>
                    <a:pt x="496" y="144"/>
                  </a:lnTo>
                  <a:lnTo>
                    <a:pt x="497" y="143"/>
                  </a:lnTo>
                  <a:lnTo>
                    <a:pt x="500" y="143"/>
                  </a:lnTo>
                  <a:lnTo>
                    <a:pt x="504" y="143"/>
                  </a:lnTo>
                  <a:lnTo>
                    <a:pt x="506" y="143"/>
                  </a:lnTo>
                  <a:close/>
                  <a:moveTo>
                    <a:pt x="524" y="140"/>
                  </a:moveTo>
                  <a:lnTo>
                    <a:pt x="523" y="142"/>
                  </a:lnTo>
                  <a:lnTo>
                    <a:pt x="522" y="142"/>
                  </a:lnTo>
                  <a:lnTo>
                    <a:pt x="522" y="142"/>
                  </a:lnTo>
                  <a:lnTo>
                    <a:pt x="523" y="142"/>
                  </a:lnTo>
                  <a:lnTo>
                    <a:pt x="524" y="140"/>
                  </a:lnTo>
                  <a:close/>
                  <a:moveTo>
                    <a:pt x="186" y="142"/>
                  </a:moveTo>
                  <a:lnTo>
                    <a:pt x="186" y="142"/>
                  </a:lnTo>
                  <a:lnTo>
                    <a:pt x="185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0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2"/>
                  </a:lnTo>
                  <a:close/>
                  <a:moveTo>
                    <a:pt x="195" y="140"/>
                  </a:moveTo>
                  <a:lnTo>
                    <a:pt x="195" y="140"/>
                  </a:lnTo>
                  <a:lnTo>
                    <a:pt x="195" y="140"/>
                  </a:lnTo>
                  <a:lnTo>
                    <a:pt x="193" y="140"/>
                  </a:lnTo>
                  <a:lnTo>
                    <a:pt x="195" y="139"/>
                  </a:lnTo>
                  <a:lnTo>
                    <a:pt x="195" y="139"/>
                  </a:lnTo>
                  <a:lnTo>
                    <a:pt x="196" y="139"/>
                  </a:lnTo>
                  <a:lnTo>
                    <a:pt x="195" y="140"/>
                  </a:lnTo>
                  <a:close/>
                  <a:moveTo>
                    <a:pt x="552" y="140"/>
                  </a:moveTo>
                  <a:lnTo>
                    <a:pt x="556" y="142"/>
                  </a:lnTo>
                  <a:lnTo>
                    <a:pt x="557" y="142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66" y="144"/>
                  </a:lnTo>
                  <a:lnTo>
                    <a:pt x="566" y="146"/>
                  </a:lnTo>
                  <a:lnTo>
                    <a:pt x="566" y="147"/>
                  </a:lnTo>
                  <a:lnTo>
                    <a:pt x="567" y="149"/>
                  </a:lnTo>
                  <a:lnTo>
                    <a:pt x="567" y="149"/>
                  </a:lnTo>
                  <a:lnTo>
                    <a:pt x="569" y="149"/>
                  </a:lnTo>
                  <a:lnTo>
                    <a:pt x="570" y="150"/>
                  </a:lnTo>
                  <a:lnTo>
                    <a:pt x="570" y="152"/>
                  </a:lnTo>
                  <a:lnTo>
                    <a:pt x="569" y="156"/>
                  </a:lnTo>
                  <a:lnTo>
                    <a:pt x="566" y="154"/>
                  </a:lnTo>
                  <a:lnTo>
                    <a:pt x="562" y="152"/>
                  </a:lnTo>
                  <a:lnTo>
                    <a:pt x="560" y="152"/>
                  </a:lnTo>
                  <a:lnTo>
                    <a:pt x="556" y="149"/>
                  </a:lnTo>
                  <a:lnTo>
                    <a:pt x="556" y="149"/>
                  </a:lnTo>
                  <a:lnTo>
                    <a:pt x="556" y="149"/>
                  </a:lnTo>
                  <a:lnTo>
                    <a:pt x="553" y="147"/>
                  </a:lnTo>
                  <a:lnTo>
                    <a:pt x="550" y="147"/>
                  </a:lnTo>
                  <a:lnTo>
                    <a:pt x="549" y="147"/>
                  </a:lnTo>
                  <a:lnTo>
                    <a:pt x="549" y="147"/>
                  </a:lnTo>
                  <a:lnTo>
                    <a:pt x="549" y="147"/>
                  </a:lnTo>
                  <a:lnTo>
                    <a:pt x="549" y="149"/>
                  </a:lnTo>
                  <a:lnTo>
                    <a:pt x="547" y="149"/>
                  </a:lnTo>
                  <a:lnTo>
                    <a:pt x="546" y="149"/>
                  </a:lnTo>
                  <a:lnTo>
                    <a:pt x="543" y="149"/>
                  </a:lnTo>
                  <a:lnTo>
                    <a:pt x="542" y="147"/>
                  </a:lnTo>
                  <a:lnTo>
                    <a:pt x="540" y="147"/>
                  </a:lnTo>
                  <a:lnTo>
                    <a:pt x="539" y="147"/>
                  </a:lnTo>
                  <a:lnTo>
                    <a:pt x="540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6" y="147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3" y="149"/>
                  </a:lnTo>
                  <a:lnTo>
                    <a:pt x="532" y="149"/>
                  </a:lnTo>
                  <a:lnTo>
                    <a:pt x="530" y="149"/>
                  </a:lnTo>
                  <a:lnTo>
                    <a:pt x="529" y="146"/>
                  </a:lnTo>
                  <a:lnTo>
                    <a:pt x="527" y="144"/>
                  </a:lnTo>
                  <a:lnTo>
                    <a:pt x="527" y="144"/>
                  </a:lnTo>
                  <a:lnTo>
                    <a:pt x="526" y="144"/>
                  </a:lnTo>
                  <a:lnTo>
                    <a:pt x="526" y="144"/>
                  </a:lnTo>
                  <a:lnTo>
                    <a:pt x="524" y="146"/>
                  </a:lnTo>
                  <a:lnTo>
                    <a:pt x="524" y="147"/>
                  </a:lnTo>
                  <a:lnTo>
                    <a:pt x="524" y="147"/>
                  </a:lnTo>
                  <a:lnTo>
                    <a:pt x="523" y="149"/>
                  </a:lnTo>
                  <a:lnTo>
                    <a:pt x="523" y="150"/>
                  </a:lnTo>
                  <a:lnTo>
                    <a:pt x="523" y="150"/>
                  </a:lnTo>
                  <a:lnTo>
                    <a:pt x="523" y="149"/>
                  </a:lnTo>
                  <a:lnTo>
                    <a:pt x="523" y="147"/>
                  </a:lnTo>
                  <a:lnTo>
                    <a:pt x="523" y="146"/>
                  </a:lnTo>
                  <a:lnTo>
                    <a:pt x="522" y="146"/>
                  </a:lnTo>
                  <a:lnTo>
                    <a:pt x="526" y="140"/>
                  </a:lnTo>
                  <a:lnTo>
                    <a:pt x="527" y="140"/>
                  </a:lnTo>
                  <a:lnTo>
                    <a:pt x="533" y="139"/>
                  </a:lnTo>
                  <a:lnTo>
                    <a:pt x="537" y="140"/>
                  </a:lnTo>
                  <a:lnTo>
                    <a:pt x="539" y="140"/>
                  </a:lnTo>
                  <a:lnTo>
                    <a:pt x="540" y="139"/>
                  </a:lnTo>
                  <a:lnTo>
                    <a:pt x="542" y="139"/>
                  </a:lnTo>
                  <a:lnTo>
                    <a:pt x="542" y="140"/>
                  </a:lnTo>
                  <a:lnTo>
                    <a:pt x="542" y="140"/>
                  </a:lnTo>
                  <a:lnTo>
                    <a:pt x="543" y="140"/>
                  </a:lnTo>
                  <a:lnTo>
                    <a:pt x="544" y="140"/>
                  </a:lnTo>
                  <a:lnTo>
                    <a:pt x="546" y="139"/>
                  </a:lnTo>
                  <a:lnTo>
                    <a:pt x="547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50" y="139"/>
                  </a:lnTo>
                  <a:lnTo>
                    <a:pt x="552" y="140"/>
                  </a:lnTo>
                  <a:close/>
                  <a:moveTo>
                    <a:pt x="82" y="144"/>
                  </a:moveTo>
                  <a:lnTo>
                    <a:pt x="84" y="147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1" y="143"/>
                  </a:lnTo>
                  <a:lnTo>
                    <a:pt x="79" y="143"/>
                  </a:lnTo>
                  <a:lnTo>
                    <a:pt x="79" y="142"/>
                  </a:lnTo>
                  <a:lnTo>
                    <a:pt x="78" y="139"/>
                  </a:lnTo>
                  <a:lnTo>
                    <a:pt x="79" y="139"/>
                  </a:lnTo>
                  <a:lnTo>
                    <a:pt x="79" y="139"/>
                  </a:lnTo>
                  <a:lnTo>
                    <a:pt x="84" y="142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2" y="144"/>
                  </a:lnTo>
                  <a:lnTo>
                    <a:pt x="82" y="144"/>
                  </a:lnTo>
                  <a:close/>
                  <a:moveTo>
                    <a:pt x="208" y="142"/>
                  </a:moveTo>
                  <a:lnTo>
                    <a:pt x="206" y="143"/>
                  </a:lnTo>
                  <a:lnTo>
                    <a:pt x="206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4"/>
                  </a:lnTo>
                  <a:lnTo>
                    <a:pt x="203" y="144"/>
                  </a:lnTo>
                  <a:lnTo>
                    <a:pt x="202" y="143"/>
                  </a:lnTo>
                  <a:lnTo>
                    <a:pt x="201" y="143"/>
                  </a:lnTo>
                  <a:lnTo>
                    <a:pt x="201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3"/>
                  </a:lnTo>
                  <a:lnTo>
                    <a:pt x="198" y="142"/>
                  </a:lnTo>
                  <a:lnTo>
                    <a:pt x="198" y="140"/>
                  </a:lnTo>
                  <a:lnTo>
                    <a:pt x="196" y="140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8" y="137"/>
                  </a:lnTo>
                  <a:lnTo>
                    <a:pt x="198" y="134"/>
                  </a:lnTo>
                  <a:lnTo>
                    <a:pt x="201" y="134"/>
                  </a:lnTo>
                  <a:lnTo>
                    <a:pt x="202" y="134"/>
                  </a:lnTo>
                  <a:lnTo>
                    <a:pt x="205" y="136"/>
                  </a:lnTo>
                  <a:lnTo>
                    <a:pt x="208" y="137"/>
                  </a:lnTo>
                  <a:lnTo>
                    <a:pt x="208" y="139"/>
                  </a:lnTo>
                  <a:lnTo>
                    <a:pt x="208" y="142"/>
                  </a:lnTo>
                  <a:close/>
                  <a:moveTo>
                    <a:pt x="79" y="137"/>
                  </a:moveTo>
                  <a:lnTo>
                    <a:pt x="78" y="139"/>
                  </a:lnTo>
                  <a:lnTo>
                    <a:pt x="77" y="139"/>
                  </a:lnTo>
                  <a:lnTo>
                    <a:pt x="75" y="139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9" y="137"/>
                  </a:lnTo>
                  <a:lnTo>
                    <a:pt x="79" y="137"/>
                  </a:lnTo>
                  <a:close/>
                  <a:moveTo>
                    <a:pt x="626" y="127"/>
                  </a:moveTo>
                  <a:lnTo>
                    <a:pt x="626" y="129"/>
                  </a:lnTo>
                  <a:lnTo>
                    <a:pt x="626" y="127"/>
                  </a:lnTo>
                  <a:lnTo>
                    <a:pt x="626" y="126"/>
                  </a:lnTo>
                  <a:lnTo>
                    <a:pt x="626" y="126"/>
                  </a:lnTo>
                  <a:lnTo>
                    <a:pt x="626" y="126"/>
                  </a:lnTo>
                  <a:lnTo>
                    <a:pt x="627" y="127"/>
                  </a:lnTo>
                  <a:lnTo>
                    <a:pt x="626" y="127"/>
                  </a:lnTo>
                  <a:close/>
                  <a:moveTo>
                    <a:pt x="74" y="132"/>
                  </a:moveTo>
                  <a:lnTo>
                    <a:pt x="74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8" y="129"/>
                  </a:lnTo>
                  <a:lnTo>
                    <a:pt x="68" y="127"/>
                  </a:lnTo>
                  <a:lnTo>
                    <a:pt x="68" y="127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2" y="130"/>
                  </a:lnTo>
                  <a:lnTo>
                    <a:pt x="74" y="132"/>
                  </a:lnTo>
                  <a:close/>
                  <a:moveTo>
                    <a:pt x="493" y="133"/>
                  </a:moveTo>
                  <a:lnTo>
                    <a:pt x="493" y="133"/>
                  </a:lnTo>
                  <a:lnTo>
                    <a:pt x="492" y="133"/>
                  </a:lnTo>
                  <a:lnTo>
                    <a:pt x="492" y="130"/>
                  </a:lnTo>
                  <a:lnTo>
                    <a:pt x="490" y="129"/>
                  </a:lnTo>
                  <a:lnTo>
                    <a:pt x="490" y="127"/>
                  </a:lnTo>
                  <a:lnTo>
                    <a:pt x="490" y="126"/>
                  </a:lnTo>
                  <a:lnTo>
                    <a:pt x="490" y="126"/>
                  </a:lnTo>
                  <a:lnTo>
                    <a:pt x="492" y="126"/>
                  </a:lnTo>
                  <a:lnTo>
                    <a:pt x="492" y="126"/>
                  </a:lnTo>
                  <a:lnTo>
                    <a:pt x="492" y="129"/>
                  </a:lnTo>
                  <a:lnTo>
                    <a:pt x="493" y="132"/>
                  </a:lnTo>
                  <a:lnTo>
                    <a:pt x="493" y="133"/>
                  </a:lnTo>
                  <a:close/>
                  <a:moveTo>
                    <a:pt x="457" y="124"/>
                  </a:moveTo>
                  <a:lnTo>
                    <a:pt x="457" y="126"/>
                  </a:lnTo>
                  <a:lnTo>
                    <a:pt x="457" y="126"/>
                  </a:lnTo>
                  <a:lnTo>
                    <a:pt x="456" y="124"/>
                  </a:lnTo>
                  <a:lnTo>
                    <a:pt x="456" y="124"/>
                  </a:lnTo>
                  <a:lnTo>
                    <a:pt x="457" y="124"/>
                  </a:lnTo>
                  <a:close/>
                  <a:moveTo>
                    <a:pt x="493" y="123"/>
                  </a:moveTo>
                  <a:lnTo>
                    <a:pt x="497" y="123"/>
                  </a:lnTo>
                  <a:lnTo>
                    <a:pt x="497" y="123"/>
                  </a:lnTo>
                  <a:lnTo>
                    <a:pt x="492" y="124"/>
                  </a:lnTo>
                  <a:lnTo>
                    <a:pt x="489" y="124"/>
                  </a:lnTo>
                  <a:lnTo>
                    <a:pt x="483" y="124"/>
                  </a:lnTo>
                  <a:lnTo>
                    <a:pt x="483" y="124"/>
                  </a:lnTo>
                  <a:lnTo>
                    <a:pt x="483" y="124"/>
                  </a:lnTo>
                  <a:lnTo>
                    <a:pt x="482" y="123"/>
                  </a:lnTo>
                  <a:lnTo>
                    <a:pt x="483" y="123"/>
                  </a:lnTo>
                  <a:lnTo>
                    <a:pt x="484" y="123"/>
                  </a:lnTo>
                  <a:lnTo>
                    <a:pt x="487" y="123"/>
                  </a:lnTo>
                  <a:lnTo>
                    <a:pt x="493" y="123"/>
                  </a:lnTo>
                  <a:close/>
                  <a:moveTo>
                    <a:pt x="446" y="123"/>
                  </a:moveTo>
                  <a:lnTo>
                    <a:pt x="445" y="124"/>
                  </a:lnTo>
                  <a:lnTo>
                    <a:pt x="445" y="123"/>
                  </a:lnTo>
                  <a:lnTo>
                    <a:pt x="446" y="123"/>
                  </a:lnTo>
                  <a:lnTo>
                    <a:pt x="446" y="123"/>
                  </a:lnTo>
                  <a:lnTo>
                    <a:pt x="446" y="122"/>
                  </a:lnTo>
                  <a:lnTo>
                    <a:pt x="446" y="123"/>
                  </a:lnTo>
                  <a:close/>
                  <a:moveTo>
                    <a:pt x="562" y="122"/>
                  </a:moveTo>
                  <a:lnTo>
                    <a:pt x="562" y="122"/>
                  </a:lnTo>
                  <a:lnTo>
                    <a:pt x="563" y="123"/>
                  </a:lnTo>
                  <a:lnTo>
                    <a:pt x="563" y="124"/>
                  </a:lnTo>
                  <a:lnTo>
                    <a:pt x="562" y="124"/>
                  </a:lnTo>
                  <a:lnTo>
                    <a:pt x="563" y="124"/>
                  </a:lnTo>
                  <a:lnTo>
                    <a:pt x="563" y="126"/>
                  </a:lnTo>
                  <a:lnTo>
                    <a:pt x="562" y="126"/>
                  </a:lnTo>
                  <a:lnTo>
                    <a:pt x="562" y="126"/>
                  </a:lnTo>
                  <a:lnTo>
                    <a:pt x="560" y="126"/>
                  </a:lnTo>
                  <a:lnTo>
                    <a:pt x="560" y="127"/>
                  </a:lnTo>
                  <a:lnTo>
                    <a:pt x="559" y="127"/>
                  </a:lnTo>
                  <a:lnTo>
                    <a:pt x="557" y="126"/>
                  </a:lnTo>
                  <a:lnTo>
                    <a:pt x="554" y="126"/>
                  </a:lnTo>
                  <a:lnTo>
                    <a:pt x="552" y="124"/>
                  </a:lnTo>
                  <a:lnTo>
                    <a:pt x="552" y="124"/>
                  </a:lnTo>
                  <a:lnTo>
                    <a:pt x="556" y="122"/>
                  </a:lnTo>
                  <a:lnTo>
                    <a:pt x="557" y="122"/>
                  </a:lnTo>
                  <a:lnTo>
                    <a:pt x="559" y="122"/>
                  </a:lnTo>
                  <a:lnTo>
                    <a:pt x="562" y="122"/>
                  </a:lnTo>
                  <a:lnTo>
                    <a:pt x="562" y="122"/>
                  </a:lnTo>
                  <a:close/>
                  <a:moveTo>
                    <a:pt x="476" y="122"/>
                  </a:moveTo>
                  <a:lnTo>
                    <a:pt x="477" y="122"/>
                  </a:lnTo>
                  <a:lnTo>
                    <a:pt x="477" y="122"/>
                  </a:lnTo>
                  <a:lnTo>
                    <a:pt x="477" y="122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79" y="123"/>
                  </a:lnTo>
                  <a:lnTo>
                    <a:pt x="480" y="122"/>
                  </a:lnTo>
                  <a:lnTo>
                    <a:pt x="480" y="123"/>
                  </a:lnTo>
                  <a:lnTo>
                    <a:pt x="482" y="123"/>
                  </a:lnTo>
                  <a:lnTo>
                    <a:pt x="482" y="124"/>
                  </a:lnTo>
                  <a:lnTo>
                    <a:pt x="479" y="124"/>
                  </a:lnTo>
                  <a:lnTo>
                    <a:pt x="476" y="124"/>
                  </a:lnTo>
                  <a:lnTo>
                    <a:pt x="473" y="124"/>
                  </a:lnTo>
                  <a:lnTo>
                    <a:pt x="470" y="126"/>
                  </a:lnTo>
                  <a:lnTo>
                    <a:pt x="469" y="126"/>
                  </a:lnTo>
                  <a:lnTo>
                    <a:pt x="467" y="126"/>
                  </a:lnTo>
                  <a:lnTo>
                    <a:pt x="466" y="123"/>
                  </a:lnTo>
                  <a:lnTo>
                    <a:pt x="466" y="120"/>
                  </a:lnTo>
                  <a:lnTo>
                    <a:pt x="467" y="120"/>
                  </a:lnTo>
                  <a:lnTo>
                    <a:pt x="467" y="120"/>
                  </a:lnTo>
                  <a:lnTo>
                    <a:pt x="470" y="120"/>
                  </a:lnTo>
                  <a:lnTo>
                    <a:pt x="476" y="122"/>
                  </a:lnTo>
                  <a:close/>
                  <a:moveTo>
                    <a:pt x="644" y="119"/>
                  </a:moveTo>
                  <a:lnTo>
                    <a:pt x="650" y="120"/>
                  </a:lnTo>
                  <a:lnTo>
                    <a:pt x="651" y="120"/>
                  </a:lnTo>
                  <a:lnTo>
                    <a:pt x="656" y="120"/>
                  </a:lnTo>
                  <a:lnTo>
                    <a:pt x="659" y="122"/>
                  </a:lnTo>
                  <a:lnTo>
                    <a:pt x="664" y="122"/>
                  </a:lnTo>
                  <a:lnTo>
                    <a:pt x="666" y="122"/>
                  </a:lnTo>
                  <a:lnTo>
                    <a:pt x="667" y="123"/>
                  </a:lnTo>
                  <a:lnTo>
                    <a:pt x="663" y="123"/>
                  </a:lnTo>
                  <a:lnTo>
                    <a:pt x="663" y="124"/>
                  </a:lnTo>
                  <a:lnTo>
                    <a:pt x="660" y="124"/>
                  </a:lnTo>
                  <a:lnTo>
                    <a:pt x="657" y="124"/>
                  </a:lnTo>
                  <a:lnTo>
                    <a:pt x="656" y="124"/>
                  </a:lnTo>
                  <a:lnTo>
                    <a:pt x="656" y="123"/>
                  </a:lnTo>
                  <a:lnTo>
                    <a:pt x="653" y="123"/>
                  </a:lnTo>
                  <a:lnTo>
                    <a:pt x="650" y="122"/>
                  </a:lnTo>
                  <a:lnTo>
                    <a:pt x="644" y="120"/>
                  </a:lnTo>
                  <a:lnTo>
                    <a:pt x="644" y="120"/>
                  </a:lnTo>
                  <a:lnTo>
                    <a:pt x="644" y="119"/>
                  </a:lnTo>
                  <a:close/>
                  <a:moveTo>
                    <a:pt x="219" y="120"/>
                  </a:moveTo>
                  <a:lnTo>
                    <a:pt x="218" y="120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19"/>
                  </a:lnTo>
                  <a:lnTo>
                    <a:pt x="219" y="120"/>
                  </a:lnTo>
                  <a:close/>
                  <a:moveTo>
                    <a:pt x="172" y="120"/>
                  </a:moveTo>
                  <a:lnTo>
                    <a:pt x="174" y="122"/>
                  </a:lnTo>
                  <a:lnTo>
                    <a:pt x="174" y="123"/>
                  </a:lnTo>
                  <a:lnTo>
                    <a:pt x="175" y="124"/>
                  </a:lnTo>
                  <a:lnTo>
                    <a:pt x="175" y="129"/>
                  </a:lnTo>
                  <a:lnTo>
                    <a:pt x="178" y="133"/>
                  </a:lnTo>
                  <a:lnTo>
                    <a:pt x="185" y="134"/>
                  </a:lnTo>
                  <a:lnTo>
                    <a:pt x="184" y="136"/>
                  </a:lnTo>
                  <a:lnTo>
                    <a:pt x="184" y="136"/>
                  </a:lnTo>
                  <a:lnTo>
                    <a:pt x="182" y="137"/>
                  </a:lnTo>
                  <a:lnTo>
                    <a:pt x="182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1" y="143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2" y="139"/>
                  </a:lnTo>
                  <a:lnTo>
                    <a:pt x="171" y="137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0"/>
                  </a:lnTo>
                  <a:lnTo>
                    <a:pt x="168" y="129"/>
                  </a:lnTo>
                  <a:lnTo>
                    <a:pt x="166" y="127"/>
                  </a:lnTo>
                  <a:lnTo>
                    <a:pt x="165" y="127"/>
                  </a:lnTo>
                  <a:lnTo>
                    <a:pt x="165" y="127"/>
                  </a:lnTo>
                  <a:lnTo>
                    <a:pt x="161" y="127"/>
                  </a:lnTo>
                  <a:lnTo>
                    <a:pt x="161" y="127"/>
                  </a:lnTo>
                  <a:lnTo>
                    <a:pt x="159" y="127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9" y="124"/>
                  </a:lnTo>
                  <a:lnTo>
                    <a:pt x="161" y="123"/>
                  </a:lnTo>
                  <a:lnTo>
                    <a:pt x="162" y="123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64" y="119"/>
                  </a:lnTo>
                  <a:lnTo>
                    <a:pt x="165" y="119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2"/>
                  </a:lnTo>
                  <a:lnTo>
                    <a:pt x="168" y="120"/>
                  </a:lnTo>
                  <a:lnTo>
                    <a:pt x="168" y="119"/>
                  </a:lnTo>
                  <a:lnTo>
                    <a:pt x="169" y="117"/>
                  </a:lnTo>
                  <a:lnTo>
                    <a:pt x="171" y="117"/>
                  </a:lnTo>
                  <a:lnTo>
                    <a:pt x="172" y="119"/>
                  </a:lnTo>
                  <a:lnTo>
                    <a:pt x="172" y="119"/>
                  </a:lnTo>
                  <a:lnTo>
                    <a:pt x="172" y="120"/>
                  </a:lnTo>
                  <a:close/>
                  <a:moveTo>
                    <a:pt x="453" y="122"/>
                  </a:moveTo>
                  <a:lnTo>
                    <a:pt x="453" y="122"/>
                  </a:lnTo>
                  <a:lnTo>
                    <a:pt x="452" y="120"/>
                  </a:lnTo>
                  <a:lnTo>
                    <a:pt x="452" y="119"/>
                  </a:lnTo>
                  <a:lnTo>
                    <a:pt x="453" y="117"/>
                  </a:lnTo>
                  <a:lnTo>
                    <a:pt x="453" y="119"/>
                  </a:lnTo>
                  <a:lnTo>
                    <a:pt x="453" y="119"/>
                  </a:lnTo>
                  <a:lnTo>
                    <a:pt x="453" y="119"/>
                  </a:lnTo>
                  <a:lnTo>
                    <a:pt x="455" y="120"/>
                  </a:lnTo>
                  <a:lnTo>
                    <a:pt x="453" y="122"/>
                  </a:lnTo>
                  <a:close/>
                  <a:moveTo>
                    <a:pt x="526" y="120"/>
                  </a:moveTo>
                  <a:lnTo>
                    <a:pt x="526" y="122"/>
                  </a:lnTo>
                  <a:lnTo>
                    <a:pt x="524" y="122"/>
                  </a:lnTo>
                  <a:lnTo>
                    <a:pt x="523" y="120"/>
                  </a:lnTo>
                  <a:lnTo>
                    <a:pt x="520" y="122"/>
                  </a:lnTo>
                  <a:lnTo>
                    <a:pt x="517" y="122"/>
                  </a:lnTo>
                  <a:lnTo>
                    <a:pt x="516" y="122"/>
                  </a:lnTo>
                  <a:lnTo>
                    <a:pt x="514" y="120"/>
                  </a:lnTo>
                  <a:lnTo>
                    <a:pt x="514" y="119"/>
                  </a:lnTo>
                  <a:lnTo>
                    <a:pt x="516" y="117"/>
                  </a:lnTo>
                  <a:lnTo>
                    <a:pt x="517" y="116"/>
                  </a:lnTo>
                  <a:lnTo>
                    <a:pt x="519" y="116"/>
                  </a:lnTo>
                  <a:lnTo>
                    <a:pt x="520" y="116"/>
                  </a:lnTo>
                  <a:lnTo>
                    <a:pt x="523" y="117"/>
                  </a:lnTo>
                  <a:lnTo>
                    <a:pt x="524" y="119"/>
                  </a:lnTo>
                  <a:lnTo>
                    <a:pt x="526" y="120"/>
                  </a:lnTo>
                  <a:lnTo>
                    <a:pt x="526" y="120"/>
                  </a:lnTo>
                  <a:close/>
                  <a:moveTo>
                    <a:pt x="447" y="113"/>
                  </a:moveTo>
                  <a:lnTo>
                    <a:pt x="447" y="113"/>
                  </a:lnTo>
                  <a:lnTo>
                    <a:pt x="447" y="114"/>
                  </a:lnTo>
                  <a:lnTo>
                    <a:pt x="447" y="116"/>
                  </a:lnTo>
                  <a:lnTo>
                    <a:pt x="449" y="114"/>
                  </a:lnTo>
                  <a:lnTo>
                    <a:pt x="450" y="113"/>
                  </a:lnTo>
                  <a:lnTo>
                    <a:pt x="452" y="114"/>
                  </a:lnTo>
                  <a:lnTo>
                    <a:pt x="452" y="114"/>
                  </a:lnTo>
                  <a:lnTo>
                    <a:pt x="453" y="116"/>
                  </a:lnTo>
                  <a:lnTo>
                    <a:pt x="452" y="117"/>
                  </a:lnTo>
                  <a:lnTo>
                    <a:pt x="452" y="117"/>
                  </a:lnTo>
                  <a:lnTo>
                    <a:pt x="450" y="117"/>
                  </a:lnTo>
                  <a:lnTo>
                    <a:pt x="449" y="117"/>
                  </a:lnTo>
                  <a:lnTo>
                    <a:pt x="449" y="117"/>
                  </a:lnTo>
                  <a:lnTo>
                    <a:pt x="447" y="119"/>
                  </a:lnTo>
                  <a:lnTo>
                    <a:pt x="447" y="120"/>
                  </a:lnTo>
                  <a:lnTo>
                    <a:pt x="447" y="120"/>
                  </a:lnTo>
                  <a:lnTo>
                    <a:pt x="446" y="119"/>
                  </a:lnTo>
                  <a:lnTo>
                    <a:pt x="446" y="119"/>
                  </a:lnTo>
                  <a:lnTo>
                    <a:pt x="447" y="117"/>
                  </a:lnTo>
                  <a:lnTo>
                    <a:pt x="446" y="114"/>
                  </a:lnTo>
                  <a:lnTo>
                    <a:pt x="446" y="116"/>
                  </a:lnTo>
                  <a:lnTo>
                    <a:pt x="443" y="119"/>
                  </a:lnTo>
                  <a:lnTo>
                    <a:pt x="442" y="119"/>
                  </a:lnTo>
                  <a:lnTo>
                    <a:pt x="442" y="119"/>
                  </a:lnTo>
                  <a:lnTo>
                    <a:pt x="440" y="117"/>
                  </a:lnTo>
                  <a:lnTo>
                    <a:pt x="442" y="114"/>
                  </a:lnTo>
                  <a:lnTo>
                    <a:pt x="443" y="113"/>
                  </a:lnTo>
                  <a:lnTo>
                    <a:pt x="443" y="113"/>
                  </a:lnTo>
                  <a:lnTo>
                    <a:pt x="446" y="113"/>
                  </a:lnTo>
                  <a:lnTo>
                    <a:pt x="447" y="113"/>
                  </a:lnTo>
                  <a:close/>
                  <a:moveTo>
                    <a:pt x="231" y="113"/>
                  </a:moveTo>
                  <a:lnTo>
                    <a:pt x="228" y="114"/>
                  </a:lnTo>
                  <a:lnTo>
                    <a:pt x="228" y="114"/>
                  </a:lnTo>
                  <a:lnTo>
                    <a:pt x="226" y="114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9" y="110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1" y="113"/>
                  </a:lnTo>
                  <a:close/>
                  <a:moveTo>
                    <a:pt x="636" y="112"/>
                  </a:moveTo>
                  <a:lnTo>
                    <a:pt x="634" y="112"/>
                  </a:lnTo>
                  <a:lnTo>
                    <a:pt x="634" y="112"/>
                  </a:lnTo>
                  <a:lnTo>
                    <a:pt x="633" y="110"/>
                  </a:lnTo>
                  <a:lnTo>
                    <a:pt x="633" y="110"/>
                  </a:lnTo>
                  <a:lnTo>
                    <a:pt x="634" y="109"/>
                  </a:lnTo>
                  <a:lnTo>
                    <a:pt x="636" y="110"/>
                  </a:lnTo>
                  <a:lnTo>
                    <a:pt x="636" y="110"/>
                  </a:lnTo>
                  <a:lnTo>
                    <a:pt x="636" y="110"/>
                  </a:lnTo>
                  <a:lnTo>
                    <a:pt x="636" y="112"/>
                  </a:lnTo>
                  <a:close/>
                  <a:moveTo>
                    <a:pt x="62" y="123"/>
                  </a:moveTo>
                  <a:lnTo>
                    <a:pt x="61" y="123"/>
                  </a:lnTo>
                  <a:lnTo>
                    <a:pt x="58" y="120"/>
                  </a:lnTo>
                  <a:lnTo>
                    <a:pt x="57" y="120"/>
                  </a:lnTo>
                  <a:lnTo>
                    <a:pt x="57" y="119"/>
                  </a:lnTo>
                  <a:lnTo>
                    <a:pt x="54" y="114"/>
                  </a:lnTo>
                  <a:lnTo>
                    <a:pt x="54" y="113"/>
                  </a:lnTo>
                  <a:lnTo>
                    <a:pt x="55" y="110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59" y="110"/>
                  </a:lnTo>
                  <a:lnTo>
                    <a:pt x="61" y="114"/>
                  </a:lnTo>
                  <a:lnTo>
                    <a:pt x="61" y="116"/>
                  </a:lnTo>
                  <a:lnTo>
                    <a:pt x="62" y="116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4" y="119"/>
                  </a:lnTo>
                  <a:lnTo>
                    <a:pt x="64" y="120"/>
                  </a:lnTo>
                  <a:lnTo>
                    <a:pt x="64" y="122"/>
                  </a:lnTo>
                  <a:lnTo>
                    <a:pt x="62" y="123"/>
                  </a:lnTo>
                  <a:close/>
                  <a:moveTo>
                    <a:pt x="572" y="114"/>
                  </a:moveTo>
                  <a:lnTo>
                    <a:pt x="572" y="116"/>
                  </a:lnTo>
                  <a:lnTo>
                    <a:pt x="570" y="114"/>
                  </a:lnTo>
                  <a:lnTo>
                    <a:pt x="569" y="114"/>
                  </a:lnTo>
                  <a:lnTo>
                    <a:pt x="567" y="113"/>
                  </a:lnTo>
                  <a:lnTo>
                    <a:pt x="567" y="112"/>
                  </a:lnTo>
                  <a:lnTo>
                    <a:pt x="567" y="110"/>
                  </a:lnTo>
                  <a:lnTo>
                    <a:pt x="567" y="110"/>
                  </a:lnTo>
                  <a:lnTo>
                    <a:pt x="567" y="109"/>
                  </a:lnTo>
                  <a:lnTo>
                    <a:pt x="570" y="109"/>
                  </a:lnTo>
                  <a:lnTo>
                    <a:pt x="572" y="109"/>
                  </a:lnTo>
                  <a:lnTo>
                    <a:pt x="573" y="109"/>
                  </a:lnTo>
                  <a:lnTo>
                    <a:pt x="573" y="109"/>
                  </a:lnTo>
                  <a:lnTo>
                    <a:pt x="573" y="113"/>
                  </a:lnTo>
                  <a:lnTo>
                    <a:pt x="572" y="114"/>
                  </a:lnTo>
                  <a:close/>
                  <a:moveTo>
                    <a:pt x="570" y="106"/>
                  </a:moveTo>
                  <a:lnTo>
                    <a:pt x="570" y="107"/>
                  </a:lnTo>
                  <a:lnTo>
                    <a:pt x="570" y="107"/>
                  </a:lnTo>
                  <a:lnTo>
                    <a:pt x="563" y="109"/>
                  </a:lnTo>
                  <a:lnTo>
                    <a:pt x="563" y="109"/>
                  </a:lnTo>
                  <a:lnTo>
                    <a:pt x="563" y="107"/>
                  </a:lnTo>
                  <a:lnTo>
                    <a:pt x="564" y="107"/>
                  </a:lnTo>
                  <a:lnTo>
                    <a:pt x="564" y="107"/>
                  </a:lnTo>
                  <a:lnTo>
                    <a:pt x="564" y="107"/>
                  </a:lnTo>
                  <a:lnTo>
                    <a:pt x="566" y="107"/>
                  </a:lnTo>
                  <a:lnTo>
                    <a:pt x="566" y="107"/>
                  </a:lnTo>
                  <a:lnTo>
                    <a:pt x="566" y="107"/>
                  </a:lnTo>
                  <a:lnTo>
                    <a:pt x="567" y="107"/>
                  </a:lnTo>
                  <a:lnTo>
                    <a:pt x="569" y="107"/>
                  </a:lnTo>
                  <a:lnTo>
                    <a:pt x="569" y="106"/>
                  </a:lnTo>
                  <a:lnTo>
                    <a:pt x="570" y="106"/>
                  </a:lnTo>
                  <a:close/>
                  <a:moveTo>
                    <a:pt x="643" y="104"/>
                  </a:moveTo>
                  <a:lnTo>
                    <a:pt x="646" y="104"/>
                  </a:lnTo>
                  <a:lnTo>
                    <a:pt x="647" y="104"/>
                  </a:lnTo>
                  <a:lnTo>
                    <a:pt x="649" y="106"/>
                  </a:lnTo>
                  <a:lnTo>
                    <a:pt x="650" y="106"/>
                  </a:lnTo>
                  <a:lnTo>
                    <a:pt x="650" y="106"/>
                  </a:lnTo>
                  <a:lnTo>
                    <a:pt x="653" y="107"/>
                  </a:lnTo>
                  <a:lnTo>
                    <a:pt x="654" y="110"/>
                  </a:lnTo>
                  <a:lnTo>
                    <a:pt x="657" y="112"/>
                  </a:lnTo>
                  <a:lnTo>
                    <a:pt x="659" y="112"/>
                  </a:lnTo>
                  <a:lnTo>
                    <a:pt x="657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3" y="113"/>
                  </a:lnTo>
                  <a:lnTo>
                    <a:pt x="651" y="113"/>
                  </a:lnTo>
                  <a:lnTo>
                    <a:pt x="650" y="112"/>
                  </a:lnTo>
                  <a:lnTo>
                    <a:pt x="650" y="110"/>
                  </a:lnTo>
                  <a:lnTo>
                    <a:pt x="649" y="107"/>
                  </a:lnTo>
                  <a:lnTo>
                    <a:pt x="647" y="109"/>
                  </a:lnTo>
                  <a:lnTo>
                    <a:pt x="644" y="106"/>
                  </a:lnTo>
                  <a:lnTo>
                    <a:pt x="644" y="106"/>
                  </a:lnTo>
                  <a:lnTo>
                    <a:pt x="644" y="107"/>
                  </a:lnTo>
                  <a:lnTo>
                    <a:pt x="643" y="106"/>
                  </a:lnTo>
                  <a:lnTo>
                    <a:pt x="643" y="106"/>
                  </a:lnTo>
                  <a:lnTo>
                    <a:pt x="643" y="104"/>
                  </a:lnTo>
                  <a:close/>
                  <a:moveTo>
                    <a:pt x="513" y="106"/>
                  </a:moveTo>
                  <a:lnTo>
                    <a:pt x="513" y="107"/>
                  </a:lnTo>
                  <a:lnTo>
                    <a:pt x="512" y="106"/>
                  </a:lnTo>
                  <a:lnTo>
                    <a:pt x="510" y="106"/>
                  </a:lnTo>
                  <a:lnTo>
                    <a:pt x="512" y="104"/>
                  </a:lnTo>
                  <a:lnTo>
                    <a:pt x="512" y="104"/>
                  </a:lnTo>
                  <a:lnTo>
                    <a:pt x="513" y="106"/>
                  </a:lnTo>
                  <a:lnTo>
                    <a:pt x="513" y="106"/>
                  </a:lnTo>
                  <a:close/>
                  <a:moveTo>
                    <a:pt x="566" y="103"/>
                  </a:moveTo>
                  <a:lnTo>
                    <a:pt x="566" y="103"/>
                  </a:lnTo>
                  <a:lnTo>
                    <a:pt x="563" y="102"/>
                  </a:lnTo>
                  <a:lnTo>
                    <a:pt x="564" y="102"/>
                  </a:lnTo>
                  <a:lnTo>
                    <a:pt x="566" y="102"/>
                  </a:lnTo>
                  <a:lnTo>
                    <a:pt x="566" y="100"/>
                  </a:lnTo>
                  <a:lnTo>
                    <a:pt x="566" y="100"/>
                  </a:lnTo>
                  <a:lnTo>
                    <a:pt x="567" y="102"/>
                  </a:lnTo>
                  <a:lnTo>
                    <a:pt x="567" y="102"/>
                  </a:lnTo>
                  <a:lnTo>
                    <a:pt x="566" y="103"/>
                  </a:lnTo>
                  <a:close/>
                  <a:moveTo>
                    <a:pt x="426" y="100"/>
                  </a:moveTo>
                  <a:lnTo>
                    <a:pt x="426" y="102"/>
                  </a:lnTo>
                  <a:lnTo>
                    <a:pt x="426" y="102"/>
                  </a:lnTo>
                  <a:lnTo>
                    <a:pt x="426" y="102"/>
                  </a:lnTo>
                  <a:lnTo>
                    <a:pt x="425" y="102"/>
                  </a:lnTo>
                  <a:lnTo>
                    <a:pt x="423" y="102"/>
                  </a:lnTo>
                  <a:lnTo>
                    <a:pt x="423" y="103"/>
                  </a:lnTo>
                  <a:lnTo>
                    <a:pt x="422" y="103"/>
                  </a:lnTo>
                  <a:lnTo>
                    <a:pt x="423" y="102"/>
                  </a:lnTo>
                  <a:lnTo>
                    <a:pt x="425" y="100"/>
                  </a:lnTo>
                  <a:lnTo>
                    <a:pt x="425" y="100"/>
                  </a:lnTo>
                  <a:lnTo>
                    <a:pt x="426" y="100"/>
                  </a:lnTo>
                  <a:close/>
                  <a:moveTo>
                    <a:pt x="611" y="106"/>
                  </a:moveTo>
                  <a:lnTo>
                    <a:pt x="616" y="106"/>
                  </a:lnTo>
                  <a:lnTo>
                    <a:pt x="617" y="106"/>
                  </a:lnTo>
                  <a:lnTo>
                    <a:pt x="620" y="106"/>
                  </a:lnTo>
                  <a:lnTo>
                    <a:pt x="620" y="106"/>
                  </a:lnTo>
                  <a:lnTo>
                    <a:pt x="621" y="107"/>
                  </a:lnTo>
                  <a:lnTo>
                    <a:pt x="621" y="109"/>
                  </a:lnTo>
                  <a:lnTo>
                    <a:pt x="621" y="110"/>
                  </a:lnTo>
                  <a:lnTo>
                    <a:pt x="621" y="112"/>
                  </a:lnTo>
                  <a:lnTo>
                    <a:pt x="623" y="113"/>
                  </a:lnTo>
                  <a:lnTo>
                    <a:pt x="624" y="114"/>
                  </a:lnTo>
                  <a:lnTo>
                    <a:pt x="624" y="116"/>
                  </a:lnTo>
                  <a:lnTo>
                    <a:pt x="624" y="117"/>
                  </a:lnTo>
                  <a:lnTo>
                    <a:pt x="624" y="119"/>
                  </a:lnTo>
                  <a:lnTo>
                    <a:pt x="623" y="120"/>
                  </a:lnTo>
                  <a:lnTo>
                    <a:pt x="621" y="122"/>
                  </a:lnTo>
                  <a:lnTo>
                    <a:pt x="623" y="123"/>
                  </a:lnTo>
                  <a:lnTo>
                    <a:pt x="623" y="126"/>
                  </a:lnTo>
                  <a:lnTo>
                    <a:pt x="623" y="127"/>
                  </a:lnTo>
                  <a:lnTo>
                    <a:pt x="623" y="129"/>
                  </a:lnTo>
                  <a:lnTo>
                    <a:pt x="623" y="130"/>
                  </a:lnTo>
                  <a:lnTo>
                    <a:pt x="626" y="136"/>
                  </a:lnTo>
                  <a:lnTo>
                    <a:pt x="627" y="139"/>
                  </a:lnTo>
                  <a:lnTo>
                    <a:pt x="629" y="137"/>
                  </a:lnTo>
                  <a:lnTo>
                    <a:pt x="627" y="134"/>
                  </a:lnTo>
                  <a:lnTo>
                    <a:pt x="629" y="134"/>
                  </a:lnTo>
                  <a:lnTo>
                    <a:pt x="629" y="134"/>
                  </a:lnTo>
                  <a:lnTo>
                    <a:pt x="630" y="134"/>
                  </a:lnTo>
                  <a:lnTo>
                    <a:pt x="630" y="136"/>
                  </a:lnTo>
                  <a:lnTo>
                    <a:pt x="630" y="137"/>
                  </a:lnTo>
                  <a:lnTo>
                    <a:pt x="631" y="140"/>
                  </a:lnTo>
                  <a:lnTo>
                    <a:pt x="633" y="142"/>
                  </a:lnTo>
                  <a:lnTo>
                    <a:pt x="634" y="140"/>
                  </a:lnTo>
                  <a:lnTo>
                    <a:pt x="634" y="142"/>
                  </a:lnTo>
                  <a:lnTo>
                    <a:pt x="634" y="143"/>
                  </a:lnTo>
                  <a:lnTo>
                    <a:pt x="634" y="144"/>
                  </a:lnTo>
                  <a:lnTo>
                    <a:pt x="634" y="146"/>
                  </a:lnTo>
                  <a:lnTo>
                    <a:pt x="637" y="147"/>
                  </a:lnTo>
                  <a:lnTo>
                    <a:pt x="637" y="147"/>
                  </a:lnTo>
                  <a:lnTo>
                    <a:pt x="640" y="147"/>
                  </a:lnTo>
                  <a:lnTo>
                    <a:pt x="641" y="147"/>
                  </a:lnTo>
                  <a:lnTo>
                    <a:pt x="644" y="147"/>
                  </a:lnTo>
                  <a:lnTo>
                    <a:pt x="646" y="146"/>
                  </a:lnTo>
                  <a:lnTo>
                    <a:pt x="646" y="144"/>
                  </a:lnTo>
                  <a:lnTo>
                    <a:pt x="650" y="142"/>
                  </a:lnTo>
                  <a:lnTo>
                    <a:pt x="651" y="140"/>
                  </a:lnTo>
                  <a:lnTo>
                    <a:pt x="651" y="139"/>
                  </a:lnTo>
                  <a:lnTo>
                    <a:pt x="653" y="137"/>
                  </a:lnTo>
                  <a:lnTo>
                    <a:pt x="656" y="134"/>
                  </a:lnTo>
                  <a:lnTo>
                    <a:pt x="657" y="134"/>
                  </a:lnTo>
                  <a:lnTo>
                    <a:pt x="657" y="133"/>
                  </a:lnTo>
                  <a:lnTo>
                    <a:pt x="657" y="132"/>
                  </a:lnTo>
                  <a:lnTo>
                    <a:pt x="659" y="130"/>
                  </a:lnTo>
                  <a:lnTo>
                    <a:pt x="661" y="129"/>
                  </a:lnTo>
                  <a:lnTo>
                    <a:pt x="666" y="129"/>
                  </a:lnTo>
                  <a:lnTo>
                    <a:pt x="670" y="127"/>
                  </a:lnTo>
                  <a:lnTo>
                    <a:pt x="671" y="126"/>
                  </a:lnTo>
                  <a:lnTo>
                    <a:pt x="671" y="126"/>
                  </a:lnTo>
                  <a:lnTo>
                    <a:pt x="670" y="124"/>
                  </a:lnTo>
                  <a:lnTo>
                    <a:pt x="670" y="123"/>
                  </a:lnTo>
                  <a:lnTo>
                    <a:pt x="671" y="123"/>
                  </a:lnTo>
                  <a:lnTo>
                    <a:pt x="674" y="120"/>
                  </a:lnTo>
                  <a:lnTo>
                    <a:pt x="678" y="119"/>
                  </a:lnTo>
                  <a:lnTo>
                    <a:pt x="681" y="117"/>
                  </a:lnTo>
                  <a:lnTo>
                    <a:pt x="683" y="117"/>
                  </a:lnTo>
                  <a:lnTo>
                    <a:pt x="684" y="119"/>
                  </a:lnTo>
                  <a:lnTo>
                    <a:pt x="686" y="120"/>
                  </a:lnTo>
                  <a:lnTo>
                    <a:pt x="694" y="123"/>
                  </a:lnTo>
                  <a:lnTo>
                    <a:pt x="696" y="123"/>
                  </a:lnTo>
                  <a:lnTo>
                    <a:pt x="697" y="124"/>
                  </a:lnTo>
                  <a:lnTo>
                    <a:pt x="698" y="126"/>
                  </a:lnTo>
                  <a:lnTo>
                    <a:pt x="701" y="126"/>
                  </a:lnTo>
                  <a:lnTo>
                    <a:pt x="703" y="126"/>
                  </a:lnTo>
                  <a:lnTo>
                    <a:pt x="704" y="127"/>
                  </a:lnTo>
                  <a:lnTo>
                    <a:pt x="708" y="129"/>
                  </a:lnTo>
                  <a:lnTo>
                    <a:pt x="713" y="132"/>
                  </a:lnTo>
                  <a:lnTo>
                    <a:pt x="714" y="132"/>
                  </a:lnTo>
                  <a:lnTo>
                    <a:pt x="718" y="132"/>
                  </a:lnTo>
                  <a:lnTo>
                    <a:pt x="720" y="132"/>
                  </a:lnTo>
                  <a:lnTo>
                    <a:pt x="720" y="133"/>
                  </a:lnTo>
                  <a:lnTo>
                    <a:pt x="721" y="133"/>
                  </a:lnTo>
                  <a:lnTo>
                    <a:pt x="726" y="133"/>
                  </a:lnTo>
                  <a:lnTo>
                    <a:pt x="727" y="133"/>
                  </a:lnTo>
                  <a:lnTo>
                    <a:pt x="728" y="134"/>
                  </a:lnTo>
                  <a:lnTo>
                    <a:pt x="728" y="136"/>
                  </a:lnTo>
                  <a:lnTo>
                    <a:pt x="731" y="136"/>
                  </a:lnTo>
                  <a:lnTo>
                    <a:pt x="731" y="139"/>
                  </a:lnTo>
                  <a:lnTo>
                    <a:pt x="731" y="142"/>
                  </a:lnTo>
                  <a:lnTo>
                    <a:pt x="731" y="144"/>
                  </a:lnTo>
                  <a:lnTo>
                    <a:pt x="731" y="149"/>
                  </a:lnTo>
                  <a:lnTo>
                    <a:pt x="731" y="152"/>
                  </a:lnTo>
                  <a:lnTo>
                    <a:pt x="731" y="154"/>
                  </a:lnTo>
                  <a:lnTo>
                    <a:pt x="731" y="159"/>
                  </a:lnTo>
                  <a:lnTo>
                    <a:pt x="731" y="162"/>
                  </a:lnTo>
                  <a:lnTo>
                    <a:pt x="731" y="164"/>
                  </a:lnTo>
                  <a:lnTo>
                    <a:pt x="731" y="167"/>
                  </a:lnTo>
                  <a:lnTo>
                    <a:pt x="731" y="172"/>
                  </a:lnTo>
                  <a:lnTo>
                    <a:pt x="731" y="174"/>
                  </a:lnTo>
                  <a:lnTo>
                    <a:pt x="731" y="177"/>
                  </a:lnTo>
                  <a:lnTo>
                    <a:pt x="731" y="180"/>
                  </a:lnTo>
                  <a:lnTo>
                    <a:pt x="731" y="184"/>
                  </a:lnTo>
                  <a:lnTo>
                    <a:pt x="731" y="187"/>
                  </a:lnTo>
                  <a:lnTo>
                    <a:pt x="731" y="190"/>
                  </a:lnTo>
                  <a:lnTo>
                    <a:pt x="731" y="194"/>
                  </a:lnTo>
                  <a:lnTo>
                    <a:pt x="731" y="196"/>
                  </a:lnTo>
                  <a:lnTo>
                    <a:pt x="731" y="197"/>
                  </a:lnTo>
                  <a:lnTo>
                    <a:pt x="730" y="200"/>
                  </a:lnTo>
                  <a:lnTo>
                    <a:pt x="730" y="201"/>
                  </a:lnTo>
                  <a:lnTo>
                    <a:pt x="731" y="203"/>
                  </a:lnTo>
                  <a:lnTo>
                    <a:pt x="731" y="204"/>
                  </a:lnTo>
                  <a:lnTo>
                    <a:pt x="731" y="207"/>
                  </a:lnTo>
                  <a:lnTo>
                    <a:pt x="731" y="210"/>
                  </a:lnTo>
                  <a:lnTo>
                    <a:pt x="731" y="213"/>
                  </a:lnTo>
                  <a:lnTo>
                    <a:pt x="731" y="217"/>
                  </a:lnTo>
                  <a:lnTo>
                    <a:pt x="731" y="220"/>
                  </a:lnTo>
                  <a:lnTo>
                    <a:pt x="731" y="223"/>
                  </a:lnTo>
                  <a:lnTo>
                    <a:pt x="731" y="226"/>
                  </a:lnTo>
                  <a:lnTo>
                    <a:pt x="731" y="230"/>
                  </a:lnTo>
                  <a:lnTo>
                    <a:pt x="731" y="233"/>
                  </a:lnTo>
                  <a:lnTo>
                    <a:pt x="731" y="236"/>
                  </a:lnTo>
                  <a:lnTo>
                    <a:pt x="731" y="240"/>
                  </a:lnTo>
                  <a:lnTo>
                    <a:pt x="731" y="240"/>
                  </a:lnTo>
                  <a:lnTo>
                    <a:pt x="731" y="239"/>
                  </a:lnTo>
                  <a:lnTo>
                    <a:pt x="728" y="237"/>
                  </a:lnTo>
                  <a:lnTo>
                    <a:pt x="727" y="236"/>
                  </a:lnTo>
                  <a:lnTo>
                    <a:pt x="726" y="233"/>
                  </a:lnTo>
                  <a:lnTo>
                    <a:pt x="724" y="231"/>
                  </a:lnTo>
                  <a:lnTo>
                    <a:pt x="718" y="227"/>
                  </a:lnTo>
                  <a:lnTo>
                    <a:pt x="716" y="224"/>
                  </a:lnTo>
                  <a:lnTo>
                    <a:pt x="716" y="224"/>
                  </a:lnTo>
                  <a:lnTo>
                    <a:pt x="716" y="224"/>
                  </a:lnTo>
                  <a:lnTo>
                    <a:pt x="717" y="223"/>
                  </a:lnTo>
                  <a:lnTo>
                    <a:pt x="718" y="220"/>
                  </a:lnTo>
                  <a:lnTo>
                    <a:pt x="717" y="221"/>
                  </a:lnTo>
                  <a:lnTo>
                    <a:pt x="716" y="223"/>
                  </a:lnTo>
                  <a:lnTo>
                    <a:pt x="713" y="223"/>
                  </a:lnTo>
                  <a:lnTo>
                    <a:pt x="711" y="224"/>
                  </a:lnTo>
                  <a:lnTo>
                    <a:pt x="708" y="224"/>
                  </a:lnTo>
                  <a:lnTo>
                    <a:pt x="707" y="224"/>
                  </a:lnTo>
                  <a:lnTo>
                    <a:pt x="706" y="224"/>
                  </a:lnTo>
                  <a:lnTo>
                    <a:pt x="704" y="223"/>
                  </a:lnTo>
                  <a:lnTo>
                    <a:pt x="704" y="223"/>
                  </a:lnTo>
                  <a:lnTo>
                    <a:pt x="704" y="221"/>
                  </a:lnTo>
                  <a:lnTo>
                    <a:pt x="703" y="223"/>
                  </a:lnTo>
                  <a:lnTo>
                    <a:pt x="701" y="224"/>
                  </a:lnTo>
                  <a:lnTo>
                    <a:pt x="698" y="226"/>
                  </a:lnTo>
                  <a:lnTo>
                    <a:pt x="698" y="226"/>
                  </a:lnTo>
                  <a:lnTo>
                    <a:pt x="698" y="224"/>
                  </a:lnTo>
                  <a:lnTo>
                    <a:pt x="698" y="224"/>
                  </a:lnTo>
                  <a:lnTo>
                    <a:pt x="698" y="223"/>
                  </a:lnTo>
                  <a:lnTo>
                    <a:pt x="698" y="223"/>
                  </a:lnTo>
                  <a:lnTo>
                    <a:pt x="698" y="220"/>
                  </a:lnTo>
                  <a:lnTo>
                    <a:pt x="700" y="219"/>
                  </a:lnTo>
                  <a:lnTo>
                    <a:pt x="701" y="217"/>
                  </a:lnTo>
                  <a:lnTo>
                    <a:pt x="701" y="216"/>
                  </a:lnTo>
                  <a:lnTo>
                    <a:pt x="701" y="216"/>
                  </a:lnTo>
                  <a:lnTo>
                    <a:pt x="701" y="214"/>
                  </a:lnTo>
                  <a:lnTo>
                    <a:pt x="700" y="214"/>
                  </a:lnTo>
                  <a:lnTo>
                    <a:pt x="700" y="213"/>
                  </a:lnTo>
                  <a:lnTo>
                    <a:pt x="698" y="211"/>
                  </a:lnTo>
                  <a:lnTo>
                    <a:pt x="698" y="211"/>
                  </a:lnTo>
                  <a:lnTo>
                    <a:pt x="697" y="210"/>
                  </a:lnTo>
                  <a:lnTo>
                    <a:pt x="696" y="210"/>
                  </a:lnTo>
                  <a:lnTo>
                    <a:pt x="697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700" y="209"/>
                  </a:lnTo>
                  <a:lnTo>
                    <a:pt x="701" y="209"/>
                  </a:lnTo>
                  <a:lnTo>
                    <a:pt x="703" y="209"/>
                  </a:lnTo>
                  <a:lnTo>
                    <a:pt x="701" y="209"/>
                  </a:lnTo>
                  <a:lnTo>
                    <a:pt x="701" y="209"/>
                  </a:lnTo>
                  <a:lnTo>
                    <a:pt x="697" y="207"/>
                  </a:lnTo>
                  <a:lnTo>
                    <a:pt x="696" y="207"/>
                  </a:lnTo>
                  <a:lnTo>
                    <a:pt x="694" y="204"/>
                  </a:lnTo>
                  <a:lnTo>
                    <a:pt x="694" y="204"/>
                  </a:lnTo>
                  <a:lnTo>
                    <a:pt x="696" y="204"/>
                  </a:lnTo>
                  <a:lnTo>
                    <a:pt x="698" y="203"/>
                  </a:lnTo>
                  <a:lnTo>
                    <a:pt x="697" y="203"/>
                  </a:lnTo>
                  <a:lnTo>
                    <a:pt x="696" y="201"/>
                  </a:lnTo>
                  <a:lnTo>
                    <a:pt x="696" y="200"/>
                  </a:lnTo>
                  <a:lnTo>
                    <a:pt x="694" y="199"/>
                  </a:lnTo>
                  <a:lnTo>
                    <a:pt x="693" y="197"/>
                  </a:lnTo>
                  <a:lnTo>
                    <a:pt x="691" y="196"/>
                  </a:lnTo>
                  <a:lnTo>
                    <a:pt x="690" y="191"/>
                  </a:lnTo>
                  <a:lnTo>
                    <a:pt x="688" y="189"/>
                  </a:lnTo>
                  <a:lnTo>
                    <a:pt x="690" y="187"/>
                  </a:lnTo>
                  <a:lnTo>
                    <a:pt x="690" y="187"/>
                  </a:lnTo>
                  <a:lnTo>
                    <a:pt x="688" y="187"/>
                  </a:lnTo>
                  <a:lnTo>
                    <a:pt x="687" y="187"/>
                  </a:lnTo>
                  <a:lnTo>
                    <a:pt x="688" y="186"/>
                  </a:lnTo>
                  <a:lnTo>
                    <a:pt x="690" y="184"/>
                  </a:lnTo>
                  <a:lnTo>
                    <a:pt x="688" y="184"/>
                  </a:lnTo>
                  <a:lnTo>
                    <a:pt x="687" y="184"/>
                  </a:lnTo>
                  <a:lnTo>
                    <a:pt x="686" y="186"/>
                  </a:lnTo>
                  <a:lnTo>
                    <a:pt x="686" y="184"/>
                  </a:lnTo>
                  <a:lnTo>
                    <a:pt x="686" y="184"/>
                  </a:lnTo>
                  <a:lnTo>
                    <a:pt x="686" y="184"/>
                  </a:lnTo>
                  <a:lnTo>
                    <a:pt x="686" y="183"/>
                  </a:lnTo>
                  <a:lnTo>
                    <a:pt x="686" y="182"/>
                  </a:lnTo>
                  <a:lnTo>
                    <a:pt x="684" y="180"/>
                  </a:lnTo>
                  <a:lnTo>
                    <a:pt x="683" y="180"/>
                  </a:lnTo>
                  <a:lnTo>
                    <a:pt x="683" y="179"/>
                  </a:lnTo>
                  <a:lnTo>
                    <a:pt x="681" y="179"/>
                  </a:lnTo>
                  <a:lnTo>
                    <a:pt x="681" y="179"/>
                  </a:lnTo>
                  <a:lnTo>
                    <a:pt x="680" y="177"/>
                  </a:lnTo>
                  <a:lnTo>
                    <a:pt x="673" y="174"/>
                  </a:lnTo>
                  <a:lnTo>
                    <a:pt x="673" y="173"/>
                  </a:lnTo>
                  <a:lnTo>
                    <a:pt x="671" y="173"/>
                  </a:lnTo>
                  <a:lnTo>
                    <a:pt x="671" y="173"/>
                  </a:lnTo>
                  <a:lnTo>
                    <a:pt x="670" y="173"/>
                  </a:lnTo>
                  <a:lnTo>
                    <a:pt x="670" y="173"/>
                  </a:lnTo>
                  <a:lnTo>
                    <a:pt x="668" y="173"/>
                  </a:lnTo>
                  <a:lnTo>
                    <a:pt x="667" y="172"/>
                  </a:lnTo>
                  <a:lnTo>
                    <a:pt x="667" y="172"/>
                  </a:lnTo>
                  <a:lnTo>
                    <a:pt x="666" y="172"/>
                  </a:lnTo>
                  <a:lnTo>
                    <a:pt x="661" y="170"/>
                  </a:lnTo>
                  <a:lnTo>
                    <a:pt x="659" y="169"/>
                  </a:lnTo>
                  <a:lnTo>
                    <a:pt x="656" y="169"/>
                  </a:lnTo>
                  <a:lnTo>
                    <a:pt x="654" y="167"/>
                  </a:lnTo>
                  <a:lnTo>
                    <a:pt x="651" y="166"/>
                  </a:lnTo>
                  <a:lnTo>
                    <a:pt x="647" y="166"/>
                  </a:lnTo>
                  <a:lnTo>
                    <a:pt x="643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40" y="164"/>
                  </a:lnTo>
                  <a:lnTo>
                    <a:pt x="633" y="160"/>
                  </a:lnTo>
                  <a:lnTo>
                    <a:pt x="631" y="159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4" y="157"/>
                  </a:lnTo>
                  <a:lnTo>
                    <a:pt x="633" y="156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29" y="157"/>
                  </a:lnTo>
                  <a:lnTo>
                    <a:pt x="627" y="157"/>
                  </a:lnTo>
                  <a:lnTo>
                    <a:pt x="626" y="156"/>
                  </a:lnTo>
                  <a:lnTo>
                    <a:pt x="624" y="157"/>
                  </a:lnTo>
                  <a:lnTo>
                    <a:pt x="623" y="156"/>
                  </a:lnTo>
                  <a:lnTo>
                    <a:pt x="623" y="154"/>
                  </a:lnTo>
                  <a:lnTo>
                    <a:pt x="623" y="154"/>
                  </a:lnTo>
                  <a:lnTo>
                    <a:pt x="621" y="154"/>
                  </a:lnTo>
                  <a:lnTo>
                    <a:pt x="620" y="154"/>
                  </a:lnTo>
                  <a:lnTo>
                    <a:pt x="620" y="154"/>
                  </a:lnTo>
                  <a:lnTo>
                    <a:pt x="619" y="154"/>
                  </a:lnTo>
                  <a:lnTo>
                    <a:pt x="619" y="153"/>
                  </a:lnTo>
                  <a:lnTo>
                    <a:pt x="619" y="153"/>
                  </a:lnTo>
                  <a:lnTo>
                    <a:pt x="617" y="152"/>
                  </a:lnTo>
                  <a:lnTo>
                    <a:pt x="616" y="152"/>
                  </a:lnTo>
                  <a:lnTo>
                    <a:pt x="614" y="150"/>
                  </a:lnTo>
                  <a:lnTo>
                    <a:pt x="616" y="147"/>
                  </a:lnTo>
                  <a:lnTo>
                    <a:pt x="616" y="146"/>
                  </a:lnTo>
                  <a:lnTo>
                    <a:pt x="617" y="144"/>
                  </a:lnTo>
                  <a:lnTo>
                    <a:pt x="617" y="143"/>
                  </a:lnTo>
                  <a:lnTo>
                    <a:pt x="616" y="143"/>
                  </a:lnTo>
                  <a:lnTo>
                    <a:pt x="616" y="143"/>
                  </a:lnTo>
                  <a:lnTo>
                    <a:pt x="614" y="144"/>
                  </a:lnTo>
                  <a:lnTo>
                    <a:pt x="614" y="144"/>
                  </a:lnTo>
                  <a:lnTo>
                    <a:pt x="614" y="147"/>
                  </a:lnTo>
                  <a:lnTo>
                    <a:pt x="614" y="149"/>
                  </a:lnTo>
                  <a:lnTo>
                    <a:pt x="613" y="149"/>
                  </a:lnTo>
                  <a:lnTo>
                    <a:pt x="613" y="150"/>
                  </a:lnTo>
                  <a:lnTo>
                    <a:pt x="613" y="152"/>
                  </a:lnTo>
                  <a:lnTo>
                    <a:pt x="611" y="153"/>
                  </a:lnTo>
                  <a:lnTo>
                    <a:pt x="610" y="154"/>
                  </a:lnTo>
                  <a:lnTo>
                    <a:pt x="611" y="156"/>
                  </a:lnTo>
                  <a:lnTo>
                    <a:pt x="610" y="156"/>
                  </a:lnTo>
                  <a:lnTo>
                    <a:pt x="609" y="159"/>
                  </a:lnTo>
                  <a:lnTo>
                    <a:pt x="607" y="159"/>
                  </a:lnTo>
                  <a:lnTo>
                    <a:pt x="606" y="159"/>
                  </a:lnTo>
                  <a:lnTo>
                    <a:pt x="604" y="159"/>
                  </a:lnTo>
                  <a:lnTo>
                    <a:pt x="603" y="159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4"/>
                  </a:lnTo>
                  <a:lnTo>
                    <a:pt x="600" y="153"/>
                  </a:lnTo>
                  <a:lnTo>
                    <a:pt x="601" y="150"/>
                  </a:lnTo>
                  <a:lnTo>
                    <a:pt x="601" y="149"/>
                  </a:lnTo>
                  <a:lnTo>
                    <a:pt x="600" y="146"/>
                  </a:lnTo>
                  <a:lnTo>
                    <a:pt x="597" y="144"/>
                  </a:lnTo>
                  <a:lnTo>
                    <a:pt x="594" y="142"/>
                  </a:lnTo>
                  <a:lnTo>
                    <a:pt x="591" y="142"/>
                  </a:lnTo>
                  <a:lnTo>
                    <a:pt x="590" y="140"/>
                  </a:lnTo>
                  <a:lnTo>
                    <a:pt x="589" y="140"/>
                  </a:lnTo>
                  <a:lnTo>
                    <a:pt x="589" y="140"/>
                  </a:lnTo>
                  <a:lnTo>
                    <a:pt x="587" y="139"/>
                  </a:lnTo>
                  <a:lnTo>
                    <a:pt x="589" y="137"/>
                  </a:lnTo>
                  <a:lnTo>
                    <a:pt x="591" y="137"/>
                  </a:lnTo>
                  <a:lnTo>
                    <a:pt x="593" y="137"/>
                  </a:lnTo>
                  <a:lnTo>
                    <a:pt x="597" y="137"/>
                  </a:lnTo>
                  <a:lnTo>
                    <a:pt x="599" y="139"/>
                  </a:lnTo>
                  <a:lnTo>
                    <a:pt x="600" y="139"/>
                  </a:lnTo>
                  <a:lnTo>
                    <a:pt x="603" y="136"/>
                  </a:lnTo>
                  <a:lnTo>
                    <a:pt x="604" y="133"/>
                  </a:lnTo>
                  <a:lnTo>
                    <a:pt x="606" y="133"/>
                  </a:lnTo>
                  <a:lnTo>
                    <a:pt x="607" y="133"/>
                  </a:lnTo>
                  <a:lnTo>
                    <a:pt x="609" y="133"/>
                  </a:lnTo>
                  <a:lnTo>
                    <a:pt x="610" y="134"/>
                  </a:lnTo>
                  <a:lnTo>
                    <a:pt x="613" y="134"/>
                  </a:lnTo>
                  <a:lnTo>
                    <a:pt x="614" y="134"/>
                  </a:lnTo>
                  <a:lnTo>
                    <a:pt x="614" y="136"/>
                  </a:lnTo>
                  <a:lnTo>
                    <a:pt x="616" y="136"/>
                  </a:lnTo>
                  <a:lnTo>
                    <a:pt x="616" y="134"/>
                  </a:lnTo>
                  <a:lnTo>
                    <a:pt x="616" y="133"/>
                  </a:lnTo>
                  <a:lnTo>
                    <a:pt x="617" y="133"/>
                  </a:lnTo>
                  <a:lnTo>
                    <a:pt x="619" y="133"/>
                  </a:lnTo>
                  <a:lnTo>
                    <a:pt x="619" y="132"/>
                  </a:lnTo>
                  <a:lnTo>
                    <a:pt x="619" y="130"/>
                  </a:lnTo>
                  <a:lnTo>
                    <a:pt x="617" y="130"/>
                  </a:lnTo>
                  <a:lnTo>
                    <a:pt x="617" y="129"/>
                  </a:lnTo>
                  <a:lnTo>
                    <a:pt x="619" y="129"/>
                  </a:lnTo>
                  <a:lnTo>
                    <a:pt x="619" y="129"/>
                  </a:lnTo>
                  <a:lnTo>
                    <a:pt x="619" y="127"/>
                  </a:lnTo>
                  <a:lnTo>
                    <a:pt x="616" y="129"/>
                  </a:lnTo>
                  <a:lnTo>
                    <a:pt x="611" y="129"/>
                  </a:lnTo>
                  <a:lnTo>
                    <a:pt x="610" y="129"/>
                  </a:lnTo>
                  <a:lnTo>
                    <a:pt x="607" y="129"/>
                  </a:lnTo>
                  <a:lnTo>
                    <a:pt x="603" y="130"/>
                  </a:lnTo>
                  <a:lnTo>
                    <a:pt x="601" y="130"/>
                  </a:lnTo>
                  <a:lnTo>
                    <a:pt x="599" y="130"/>
                  </a:lnTo>
                  <a:lnTo>
                    <a:pt x="596" y="129"/>
                  </a:lnTo>
                  <a:lnTo>
                    <a:pt x="594" y="130"/>
                  </a:lnTo>
                  <a:lnTo>
                    <a:pt x="593" y="130"/>
                  </a:lnTo>
                  <a:lnTo>
                    <a:pt x="591" y="129"/>
                  </a:lnTo>
                  <a:lnTo>
                    <a:pt x="590" y="127"/>
                  </a:lnTo>
                  <a:lnTo>
                    <a:pt x="590" y="126"/>
                  </a:lnTo>
                  <a:lnTo>
                    <a:pt x="589" y="126"/>
                  </a:lnTo>
                  <a:lnTo>
                    <a:pt x="589" y="124"/>
                  </a:lnTo>
                  <a:lnTo>
                    <a:pt x="587" y="122"/>
                  </a:lnTo>
                  <a:lnTo>
                    <a:pt x="587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77" y="116"/>
                  </a:lnTo>
                  <a:lnTo>
                    <a:pt x="576" y="117"/>
                  </a:lnTo>
                  <a:lnTo>
                    <a:pt x="574" y="117"/>
                  </a:lnTo>
                  <a:lnTo>
                    <a:pt x="574" y="117"/>
                  </a:lnTo>
                  <a:lnTo>
                    <a:pt x="573" y="117"/>
                  </a:lnTo>
                  <a:lnTo>
                    <a:pt x="572" y="117"/>
                  </a:lnTo>
                  <a:lnTo>
                    <a:pt x="572" y="116"/>
                  </a:lnTo>
                  <a:lnTo>
                    <a:pt x="573" y="114"/>
                  </a:lnTo>
                  <a:lnTo>
                    <a:pt x="573" y="114"/>
                  </a:lnTo>
                  <a:lnTo>
                    <a:pt x="574" y="113"/>
                  </a:lnTo>
                  <a:lnTo>
                    <a:pt x="576" y="113"/>
                  </a:lnTo>
                  <a:lnTo>
                    <a:pt x="576" y="110"/>
                  </a:lnTo>
                  <a:lnTo>
                    <a:pt x="576" y="109"/>
                  </a:lnTo>
                  <a:lnTo>
                    <a:pt x="576" y="109"/>
                  </a:lnTo>
                  <a:lnTo>
                    <a:pt x="576" y="107"/>
                  </a:lnTo>
                  <a:lnTo>
                    <a:pt x="577" y="107"/>
                  </a:lnTo>
                  <a:lnTo>
                    <a:pt x="580" y="106"/>
                  </a:lnTo>
                  <a:lnTo>
                    <a:pt x="584" y="106"/>
                  </a:lnTo>
                  <a:lnTo>
                    <a:pt x="586" y="104"/>
                  </a:lnTo>
                  <a:lnTo>
                    <a:pt x="587" y="103"/>
                  </a:lnTo>
                  <a:lnTo>
                    <a:pt x="589" y="103"/>
                  </a:lnTo>
                  <a:lnTo>
                    <a:pt x="590" y="102"/>
                  </a:lnTo>
                  <a:lnTo>
                    <a:pt x="590" y="102"/>
                  </a:lnTo>
                  <a:lnTo>
                    <a:pt x="594" y="100"/>
                  </a:lnTo>
                  <a:lnTo>
                    <a:pt x="596" y="100"/>
                  </a:lnTo>
                  <a:lnTo>
                    <a:pt x="599" y="100"/>
                  </a:lnTo>
                  <a:lnTo>
                    <a:pt x="601" y="100"/>
                  </a:lnTo>
                  <a:lnTo>
                    <a:pt x="606" y="102"/>
                  </a:lnTo>
                  <a:lnTo>
                    <a:pt x="609" y="104"/>
                  </a:lnTo>
                  <a:lnTo>
                    <a:pt x="611" y="106"/>
                  </a:lnTo>
                  <a:close/>
                  <a:moveTo>
                    <a:pt x="148" y="99"/>
                  </a:moveTo>
                  <a:lnTo>
                    <a:pt x="149" y="100"/>
                  </a:lnTo>
                  <a:lnTo>
                    <a:pt x="149" y="102"/>
                  </a:lnTo>
                  <a:lnTo>
                    <a:pt x="148" y="102"/>
                  </a:lnTo>
                  <a:lnTo>
                    <a:pt x="148" y="103"/>
                  </a:lnTo>
                  <a:lnTo>
                    <a:pt x="148" y="104"/>
                  </a:lnTo>
                  <a:lnTo>
                    <a:pt x="146" y="103"/>
                  </a:lnTo>
                  <a:lnTo>
                    <a:pt x="145" y="104"/>
                  </a:lnTo>
                  <a:lnTo>
                    <a:pt x="145" y="103"/>
                  </a:lnTo>
                  <a:lnTo>
                    <a:pt x="144" y="102"/>
                  </a:lnTo>
                  <a:lnTo>
                    <a:pt x="145" y="100"/>
                  </a:lnTo>
                  <a:lnTo>
                    <a:pt x="145" y="100"/>
                  </a:lnTo>
                  <a:lnTo>
                    <a:pt x="145" y="100"/>
                  </a:lnTo>
                  <a:lnTo>
                    <a:pt x="145" y="100"/>
                  </a:lnTo>
                  <a:lnTo>
                    <a:pt x="148" y="99"/>
                  </a:lnTo>
                  <a:close/>
                  <a:moveTo>
                    <a:pt x="517" y="99"/>
                  </a:moveTo>
                  <a:lnTo>
                    <a:pt x="519" y="102"/>
                  </a:lnTo>
                  <a:lnTo>
                    <a:pt x="517" y="103"/>
                  </a:lnTo>
                  <a:lnTo>
                    <a:pt x="519" y="104"/>
                  </a:lnTo>
                  <a:lnTo>
                    <a:pt x="522" y="104"/>
                  </a:lnTo>
                  <a:lnTo>
                    <a:pt x="522" y="106"/>
                  </a:lnTo>
                  <a:lnTo>
                    <a:pt x="522" y="106"/>
                  </a:lnTo>
                  <a:lnTo>
                    <a:pt x="522" y="107"/>
                  </a:lnTo>
                  <a:lnTo>
                    <a:pt x="522" y="107"/>
                  </a:lnTo>
                  <a:lnTo>
                    <a:pt x="520" y="109"/>
                  </a:lnTo>
                  <a:lnTo>
                    <a:pt x="519" y="107"/>
                  </a:lnTo>
                  <a:lnTo>
                    <a:pt x="519" y="106"/>
                  </a:lnTo>
                  <a:lnTo>
                    <a:pt x="517" y="106"/>
                  </a:lnTo>
                  <a:lnTo>
                    <a:pt x="516" y="107"/>
                  </a:lnTo>
                  <a:lnTo>
                    <a:pt x="516" y="107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14" y="103"/>
                  </a:lnTo>
                  <a:lnTo>
                    <a:pt x="513" y="102"/>
                  </a:lnTo>
                  <a:lnTo>
                    <a:pt x="513" y="102"/>
                  </a:lnTo>
                  <a:lnTo>
                    <a:pt x="513" y="100"/>
                  </a:lnTo>
                  <a:lnTo>
                    <a:pt x="513" y="99"/>
                  </a:lnTo>
                  <a:lnTo>
                    <a:pt x="514" y="99"/>
                  </a:lnTo>
                  <a:lnTo>
                    <a:pt x="516" y="100"/>
                  </a:lnTo>
                  <a:lnTo>
                    <a:pt x="516" y="99"/>
                  </a:lnTo>
                  <a:lnTo>
                    <a:pt x="516" y="99"/>
                  </a:lnTo>
                  <a:lnTo>
                    <a:pt x="517" y="99"/>
                  </a:lnTo>
                  <a:close/>
                  <a:moveTo>
                    <a:pt x="512" y="102"/>
                  </a:moveTo>
                  <a:lnTo>
                    <a:pt x="512" y="102"/>
                  </a:lnTo>
                  <a:lnTo>
                    <a:pt x="510" y="102"/>
                  </a:lnTo>
                  <a:lnTo>
                    <a:pt x="510" y="100"/>
                  </a:lnTo>
                  <a:lnTo>
                    <a:pt x="510" y="99"/>
                  </a:lnTo>
                  <a:lnTo>
                    <a:pt x="512" y="99"/>
                  </a:lnTo>
                  <a:lnTo>
                    <a:pt x="513" y="99"/>
                  </a:lnTo>
                  <a:lnTo>
                    <a:pt x="512" y="99"/>
                  </a:lnTo>
                  <a:lnTo>
                    <a:pt x="513" y="100"/>
                  </a:lnTo>
                  <a:lnTo>
                    <a:pt x="512" y="102"/>
                  </a:lnTo>
                  <a:close/>
                  <a:moveTo>
                    <a:pt x="135" y="100"/>
                  </a:moveTo>
                  <a:lnTo>
                    <a:pt x="134" y="100"/>
                  </a:lnTo>
                  <a:lnTo>
                    <a:pt x="131" y="100"/>
                  </a:lnTo>
                  <a:lnTo>
                    <a:pt x="131" y="99"/>
                  </a:lnTo>
                  <a:lnTo>
                    <a:pt x="132" y="97"/>
                  </a:lnTo>
                  <a:lnTo>
                    <a:pt x="134" y="97"/>
                  </a:lnTo>
                  <a:lnTo>
                    <a:pt x="135" y="99"/>
                  </a:lnTo>
                  <a:lnTo>
                    <a:pt x="136" y="99"/>
                  </a:lnTo>
                  <a:lnTo>
                    <a:pt x="135" y="100"/>
                  </a:lnTo>
                  <a:close/>
                  <a:moveTo>
                    <a:pt x="569" y="94"/>
                  </a:moveTo>
                  <a:lnTo>
                    <a:pt x="572" y="94"/>
                  </a:lnTo>
                  <a:lnTo>
                    <a:pt x="573" y="94"/>
                  </a:lnTo>
                  <a:lnTo>
                    <a:pt x="577" y="96"/>
                  </a:lnTo>
                  <a:lnTo>
                    <a:pt x="577" y="97"/>
                  </a:lnTo>
                  <a:lnTo>
                    <a:pt x="577" y="97"/>
                  </a:lnTo>
                  <a:lnTo>
                    <a:pt x="577" y="99"/>
                  </a:lnTo>
                  <a:lnTo>
                    <a:pt x="576" y="100"/>
                  </a:lnTo>
                  <a:lnTo>
                    <a:pt x="576" y="100"/>
                  </a:lnTo>
                  <a:lnTo>
                    <a:pt x="574" y="100"/>
                  </a:lnTo>
                  <a:lnTo>
                    <a:pt x="573" y="99"/>
                  </a:lnTo>
                  <a:lnTo>
                    <a:pt x="572" y="100"/>
                  </a:lnTo>
                  <a:lnTo>
                    <a:pt x="572" y="99"/>
                  </a:lnTo>
                  <a:lnTo>
                    <a:pt x="570" y="99"/>
                  </a:lnTo>
                  <a:lnTo>
                    <a:pt x="569" y="97"/>
                  </a:lnTo>
                  <a:lnTo>
                    <a:pt x="567" y="96"/>
                  </a:lnTo>
                  <a:lnTo>
                    <a:pt x="566" y="96"/>
                  </a:lnTo>
                  <a:lnTo>
                    <a:pt x="566" y="96"/>
                  </a:lnTo>
                  <a:lnTo>
                    <a:pt x="567" y="97"/>
                  </a:lnTo>
                  <a:lnTo>
                    <a:pt x="569" y="99"/>
                  </a:lnTo>
                  <a:lnTo>
                    <a:pt x="569" y="99"/>
                  </a:lnTo>
                  <a:lnTo>
                    <a:pt x="570" y="99"/>
                  </a:lnTo>
                  <a:lnTo>
                    <a:pt x="570" y="100"/>
                  </a:lnTo>
                  <a:lnTo>
                    <a:pt x="570" y="100"/>
                  </a:lnTo>
                  <a:lnTo>
                    <a:pt x="569" y="102"/>
                  </a:lnTo>
                  <a:lnTo>
                    <a:pt x="567" y="100"/>
                  </a:lnTo>
                  <a:lnTo>
                    <a:pt x="567" y="99"/>
                  </a:lnTo>
                  <a:lnTo>
                    <a:pt x="566" y="99"/>
                  </a:lnTo>
                  <a:lnTo>
                    <a:pt x="566" y="100"/>
                  </a:lnTo>
                  <a:lnTo>
                    <a:pt x="564" y="100"/>
                  </a:lnTo>
                  <a:lnTo>
                    <a:pt x="564" y="99"/>
                  </a:lnTo>
                  <a:lnTo>
                    <a:pt x="562" y="99"/>
                  </a:lnTo>
                  <a:lnTo>
                    <a:pt x="560" y="97"/>
                  </a:lnTo>
                  <a:lnTo>
                    <a:pt x="560" y="96"/>
                  </a:lnTo>
                  <a:lnTo>
                    <a:pt x="560" y="96"/>
                  </a:lnTo>
                  <a:lnTo>
                    <a:pt x="562" y="96"/>
                  </a:lnTo>
                  <a:lnTo>
                    <a:pt x="563" y="96"/>
                  </a:lnTo>
                  <a:lnTo>
                    <a:pt x="564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7" y="94"/>
                  </a:lnTo>
                  <a:lnTo>
                    <a:pt x="569" y="94"/>
                  </a:lnTo>
                  <a:close/>
                  <a:moveTo>
                    <a:pt x="51" y="103"/>
                  </a:moveTo>
                  <a:lnTo>
                    <a:pt x="49" y="103"/>
                  </a:lnTo>
                  <a:lnTo>
                    <a:pt x="48" y="103"/>
                  </a:lnTo>
                  <a:lnTo>
                    <a:pt x="49" y="102"/>
                  </a:lnTo>
                  <a:lnTo>
                    <a:pt x="49" y="100"/>
                  </a:lnTo>
                  <a:lnTo>
                    <a:pt x="51" y="99"/>
                  </a:lnTo>
                  <a:lnTo>
                    <a:pt x="51" y="97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51" y="94"/>
                  </a:lnTo>
                  <a:lnTo>
                    <a:pt x="51" y="97"/>
                  </a:lnTo>
                  <a:lnTo>
                    <a:pt x="52" y="99"/>
                  </a:lnTo>
                  <a:lnTo>
                    <a:pt x="52" y="100"/>
                  </a:lnTo>
                  <a:lnTo>
                    <a:pt x="51" y="103"/>
                  </a:lnTo>
                  <a:close/>
                  <a:moveTo>
                    <a:pt x="152" y="97"/>
                  </a:moveTo>
                  <a:lnTo>
                    <a:pt x="152" y="97"/>
                  </a:lnTo>
                  <a:lnTo>
                    <a:pt x="154" y="96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6" y="99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1" y="97"/>
                  </a:lnTo>
                  <a:lnTo>
                    <a:pt x="149" y="97"/>
                  </a:lnTo>
                  <a:lnTo>
                    <a:pt x="148" y="97"/>
                  </a:lnTo>
                  <a:lnTo>
                    <a:pt x="146" y="97"/>
                  </a:lnTo>
                  <a:lnTo>
                    <a:pt x="148" y="96"/>
                  </a:lnTo>
                  <a:lnTo>
                    <a:pt x="148" y="93"/>
                  </a:lnTo>
                  <a:lnTo>
                    <a:pt x="149" y="94"/>
                  </a:lnTo>
                  <a:lnTo>
                    <a:pt x="151" y="94"/>
                  </a:lnTo>
                  <a:lnTo>
                    <a:pt x="151" y="96"/>
                  </a:lnTo>
                  <a:lnTo>
                    <a:pt x="151" y="96"/>
                  </a:lnTo>
                  <a:lnTo>
                    <a:pt x="152" y="97"/>
                  </a:lnTo>
                  <a:close/>
                  <a:moveTo>
                    <a:pt x="549" y="97"/>
                  </a:moveTo>
                  <a:lnTo>
                    <a:pt x="549" y="97"/>
                  </a:lnTo>
                  <a:lnTo>
                    <a:pt x="547" y="96"/>
                  </a:lnTo>
                  <a:lnTo>
                    <a:pt x="546" y="94"/>
                  </a:lnTo>
                  <a:lnTo>
                    <a:pt x="544" y="93"/>
                  </a:lnTo>
                  <a:lnTo>
                    <a:pt x="549" y="96"/>
                  </a:lnTo>
                  <a:lnTo>
                    <a:pt x="549" y="97"/>
                  </a:lnTo>
                  <a:close/>
                  <a:moveTo>
                    <a:pt x="516" y="94"/>
                  </a:moveTo>
                  <a:lnTo>
                    <a:pt x="516" y="94"/>
                  </a:lnTo>
                  <a:lnTo>
                    <a:pt x="514" y="94"/>
                  </a:lnTo>
                  <a:lnTo>
                    <a:pt x="514" y="93"/>
                  </a:lnTo>
                  <a:lnTo>
                    <a:pt x="514" y="92"/>
                  </a:lnTo>
                  <a:lnTo>
                    <a:pt x="514" y="92"/>
                  </a:lnTo>
                  <a:lnTo>
                    <a:pt x="516" y="93"/>
                  </a:lnTo>
                  <a:lnTo>
                    <a:pt x="516" y="94"/>
                  </a:lnTo>
                  <a:close/>
                  <a:moveTo>
                    <a:pt x="151" y="93"/>
                  </a:moveTo>
                  <a:lnTo>
                    <a:pt x="151" y="93"/>
                  </a:lnTo>
                  <a:lnTo>
                    <a:pt x="151" y="93"/>
                  </a:lnTo>
                  <a:lnTo>
                    <a:pt x="149" y="93"/>
                  </a:lnTo>
                  <a:lnTo>
                    <a:pt x="149" y="93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51" y="93"/>
                  </a:lnTo>
                  <a:lnTo>
                    <a:pt x="151" y="93"/>
                  </a:lnTo>
                  <a:close/>
                  <a:moveTo>
                    <a:pt x="128" y="86"/>
                  </a:moveTo>
                  <a:lnTo>
                    <a:pt x="126" y="86"/>
                  </a:lnTo>
                  <a:lnTo>
                    <a:pt x="126" y="86"/>
                  </a:lnTo>
                  <a:lnTo>
                    <a:pt x="126" y="84"/>
                  </a:lnTo>
                  <a:lnTo>
                    <a:pt x="126" y="83"/>
                  </a:lnTo>
                  <a:lnTo>
                    <a:pt x="128" y="83"/>
                  </a:lnTo>
                  <a:lnTo>
                    <a:pt x="128" y="84"/>
                  </a:lnTo>
                  <a:lnTo>
                    <a:pt x="128" y="86"/>
                  </a:lnTo>
                  <a:close/>
                  <a:moveTo>
                    <a:pt x="514" y="84"/>
                  </a:moveTo>
                  <a:lnTo>
                    <a:pt x="514" y="84"/>
                  </a:lnTo>
                  <a:lnTo>
                    <a:pt x="514" y="84"/>
                  </a:lnTo>
                  <a:lnTo>
                    <a:pt x="514" y="83"/>
                  </a:lnTo>
                  <a:lnTo>
                    <a:pt x="514" y="82"/>
                  </a:lnTo>
                  <a:lnTo>
                    <a:pt x="514" y="82"/>
                  </a:lnTo>
                  <a:lnTo>
                    <a:pt x="514" y="83"/>
                  </a:lnTo>
                  <a:lnTo>
                    <a:pt x="516" y="83"/>
                  </a:lnTo>
                  <a:lnTo>
                    <a:pt x="514" y="84"/>
                  </a:lnTo>
                  <a:close/>
                  <a:moveTo>
                    <a:pt x="514" y="82"/>
                  </a:moveTo>
                  <a:lnTo>
                    <a:pt x="513" y="82"/>
                  </a:lnTo>
                  <a:lnTo>
                    <a:pt x="513" y="82"/>
                  </a:lnTo>
                  <a:lnTo>
                    <a:pt x="513" y="82"/>
                  </a:lnTo>
                  <a:lnTo>
                    <a:pt x="513" y="80"/>
                  </a:lnTo>
                  <a:lnTo>
                    <a:pt x="513" y="80"/>
                  </a:lnTo>
                  <a:lnTo>
                    <a:pt x="513" y="80"/>
                  </a:lnTo>
                  <a:lnTo>
                    <a:pt x="514" y="82"/>
                  </a:lnTo>
                  <a:close/>
                  <a:moveTo>
                    <a:pt x="131" y="83"/>
                  </a:moveTo>
                  <a:lnTo>
                    <a:pt x="131" y="83"/>
                  </a:lnTo>
                  <a:lnTo>
                    <a:pt x="129" y="82"/>
                  </a:lnTo>
                  <a:lnTo>
                    <a:pt x="129" y="80"/>
                  </a:lnTo>
                  <a:lnTo>
                    <a:pt x="129" y="80"/>
                  </a:lnTo>
                  <a:lnTo>
                    <a:pt x="131" y="80"/>
                  </a:lnTo>
                  <a:lnTo>
                    <a:pt x="131" y="82"/>
                  </a:lnTo>
                  <a:lnTo>
                    <a:pt x="132" y="83"/>
                  </a:lnTo>
                  <a:lnTo>
                    <a:pt x="131" y="83"/>
                  </a:lnTo>
                  <a:close/>
                  <a:moveTo>
                    <a:pt x="136" y="82"/>
                  </a:moveTo>
                  <a:lnTo>
                    <a:pt x="136" y="82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6" y="82"/>
                  </a:lnTo>
                  <a:close/>
                  <a:moveTo>
                    <a:pt x="144" y="80"/>
                  </a:moveTo>
                  <a:lnTo>
                    <a:pt x="142" y="82"/>
                  </a:lnTo>
                  <a:lnTo>
                    <a:pt x="141" y="80"/>
                  </a:lnTo>
                  <a:lnTo>
                    <a:pt x="141" y="79"/>
                  </a:lnTo>
                  <a:lnTo>
                    <a:pt x="142" y="79"/>
                  </a:lnTo>
                  <a:lnTo>
                    <a:pt x="142" y="79"/>
                  </a:lnTo>
                  <a:lnTo>
                    <a:pt x="142" y="80"/>
                  </a:lnTo>
                  <a:lnTo>
                    <a:pt x="144" y="80"/>
                  </a:lnTo>
                  <a:lnTo>
                    <a:pt x="144" y="80"/>
                  </a:lnTo>
                  <a:close/>
                  <a:moveTo>
                    <a:pt x="124" y="82"/>
                  </a:moveTo>
                  <a:lnTo>
                    <a:pt x="124" y="83"/>
                  </a:lnTo>
                  <a:lnTo>
                    <a:pt x="124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6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79"/>
                  </a:lnTo>
                  <a:lnTo>
                    <a:pt x="115" y="79"/>
                  </a:lnTo>
                  <a:lnTo>
                    <a:pt x="116" y="77"/>
                  </a:lnTo>
                  <a:lnTo>
                    <a:pt x="116" y="76"/>
                  </a:lnTo>
                  <a:lnTo>
                    <a:pt x="118" y="77"/>
                  </a:lnTo>
                  <a:lnTo>
                    <a:pt x="119" y="79"/>
                  </a:lnTo>
                  <a:lnTo>
                    <a:pt x="121" y="79"/>
                  </a:lnTo>
                  <a:lnTo>
                    <a:pt x="122" y="80"/>
                  </a:lnTo>
                  <a:lnTo>
                    <a:pt x="124" y="80"/>
                  </a:lnTo>
                  <a:lnTo>
                    <a:pt x="124" y="82"/>
                  </a:lnTo>
                  <a:close/>
                  <a:moveTo>
                    <a:pt x="131" y="77"/>
                  </a:moveTo>
                  <a:lnTo>
                    <a:pt x="131" y="79"/>
                  </a:lnTo>
                  <a:lnTo>
                    <a:pt x="129" y="77"/>
                  </a:lnTo>
                  <a:lnTo>
                    <a:pt x="129" y="77"/>
                  </a:lnTo>
                  <a:lnTo>
                    <a:pt x="129" y="76"/>
                  </a:lnTo>
                  <a:lnTo>
                    <a:pt x="129" y="76"/>
                  </a:lnTo>
                  <a:lnTo>
                    <a:pt x="131" y="77"/>
                  </a:lnTo>
                  <a:lnTo>
                    <a:pt x="131" y="77"/>
                  </a:lnTo>
                  <a:close/>
                  <a:moveTo>
                    <a:pt x="126" y="80"/>
                  </a:moveTo>
                  <a:lnTo>
                    <a:pt x="126" y="80"/>
                  </a:lnTo>
                  <a:lnTo>
                    <a:pt x="125" y="80"/>
                  </a:lnTo>
                  <a:lnTo>
                    <a:pt x="124" y="80"/>
                  </a:lnTo>
                  <a:lnTo>
                    <a:pt x="124" y="79"/>
                  </a:lnTo>
                  <a:lnTo>
                    <a:pt x="122" y="79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7"/>
                  </a:lnTo>
                  <a:lnTo>
                    <a:pt x="119" y="76"/>
                  </a:lnTo>
                  <a:lnTo>
                    <a:pt x="121" y="76"/>
                  </a:lnTo>
                  <a:lnTo>
                    <a:pt x="124" y="77"/>
                  </a:lnTo>
                  <a:lnTo>
                    <a:pt x="125" y="77"/>
                  </a:lnTo>
                  <a:lnTo>
                    <a:pt x="126" y="80"/>
                  </a:lnTo>
                  <a:close/>
                  <a:moveTo>
                    <a:pt x="141" y="76"/>
                  </a:moveTo>
                  <a:lnTo>
                    <a:pt x="141" y="76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1" y="79"/>
                  </a:lnTo>
                  <a:lnTo>
                    <a:pt x="139" y="77"/>
                  </a:lnTo>
                  <a:lnTo>
                    <a:pt x="139" y="77"/>
                  </a:lnTo>
                  <a:lnTo>
                    <a:pt x="139" y="77"/>
                  </a:lnTo>
                  <a:lnTo>
                    <a:pt x="139" y="77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41" y="76"/>
                  </a:lnTo>
                  <a:close/>
                  <a:moveTo>
                    <a:pt x="149" y="74"/>
                  </a:moveTo>
                  <a:lnTo>
                    <a:pt x="149" y="76"/>
                  </a:lnTo>
                  <a:lnTo>
                    <a:pt x="151" y="76"/>
                  </a:lnTo>
                  <a:lnTo>
                    <a:pt x="151" y="77"/>
                  </a:lnTo>
                  <a:lnTo>
                    <a:pt x="151" y="79"/>
                  </a:lnTo>
                  <a:lnTo>
                    <a:pt x="149" y="80"/>
                  </a:lnTo>
                  <a:lnTo>
                    <a:pt x="149" y="80"/>
                  </a:lnTo>
                  <a:lnTo>
                    <a:pt x="148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6" y="77"/>
                  </a:lnTo>
                  <a:lnTo>
                    <a:pt x="145" y="77"/>
                  </a:lnTo>
                  <a:lnTo>
                    <a:pt x="144" y="77"/>
                  </a:lnTo>
                  <a:lnTo>
                    <a:pt x="144" y="77"/>
                  </a:lnTo>
                  <a:lnTo>
                    <a:pt x="144" y="76"/>
                  </a:lnTo>
                  <a:lnTo>
                    <a:pt x="145" y="76"/>
                  </a:lnTo>
                  <a:lnTo>
                    <a:pt x="146" y="74"/>
                  </a:lnTo>
                  <a:lnTo>
                    <a:pt x="148" y="76"/>
                  </a:lnTo>
                  <a:lnTo>
                    <a:pt x="149" y="74"/>
                  </a:lnTo>
                  <a:close/>
                  <a:moveTo>
                    <a:pt x="115" y="79"/>
                  </a:moveTo>
                  <a:lnTo>
                    <a:pt x="114" y="79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6"/>
                  </a:lnTo>
                  <a:lnTo>
                    <a:pt x="111" y="74"/>
                  </a:lnTo>
                  <a:lnTo>
                    <a:pt x="111" y="73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4" y="73"/>
                  </a:lnTo>
                  <a:lnTo>
                    <a:pt x="114" y="74"/>
                  </a:lnTo>
                  <a:lnTo>
                    <a:pt x="115" y="74"/>
                  </a:lnTo>
                  <a:lnTo>
                    <a:pt x="115" y="76"/>
                  </a:lnTo>
                  <a:lnTo>
                    <a:pt x="115" y="77"/>
                  </a:lnTo>
                  <a:lnTo>
                    <a:pt x="115" y="79"/>
                  </a:lnTo>
                  <a:close/>
                  <a:moveTo>
                    <a:pt x="35" y="70"/>
                  </a:moveTo>
                  <a:lnTo>
                    <a:pt x="39" y="74"/>
                  </a:lnTo>
                  <a:lnTo>
                    <a:pt x="41" y="76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2" y="80"/>
                  </a:lnTo>
                  <a:lnTo>
                    <a:pt x="42" y="84"/>
                  </a:lnTo>
                  <a:lnTo>
                    <a:pt x="41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7" y="80"/>
                  </a:lnTo>
                  <a:lnTo>
                    <a:pt x="35" y="79"/>
                  </a:lnTo>
                  <a:lnTo>
                    <a:pt x="34" y="79"/>
                  </a:lnTo>
                  <a:lnTo>
                    <a:pt x="34" y="77"/>
                  </a:lnTo>
                  <a:lnTo>
                    <a:pt x="32" y="74"/>
                  </a:lnTo>
                  <a:lnTo>
                    <a:pt x="29" y="72"/>
                  </a:lnTo>
                  <a:lnTo>
                    <a:pt x="31" y="72"/>
                  </a:lnTo>
                  <a:lnTo>
                    <a:pt x="32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5" y="70"/>
                  </a:lnTo>
                  <a:close/>
                  <a:moveTo>
                    <a:pt x="115" y="70"/>
                  </a:moveTo>
                  <a:lnTo>
                    <a:pt x="115" y="73"/>
                  </a:lnTo>
                  <a:lnTo>
                    <a:pt x="115" y="72"/>
                  </a:lnTo>
                  <a:lnTo>
                    <a:pt x="114" y="72"/>
                  </a:lnTo>
                  <a:lnTo>
                    <a:pt x="112" y="70"/>
                  </a:lnTo>
                  <a:lnTo>
                    <a:pt x="111" y="70"/>
                  </a:lnTo>
                  <a:lnTo>
                    <a:pt x="109" y="70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15" y="70"/>
                  </a:lnTo>
                  <a:lnTo>
                    <a:pt x="115" y="70"/>
                  </a:lnTo>
                  <a:close/>
                  <a:moveTo>
                    <a:pt x="475" y="79"/>
                  </a:moveTo>
                  <a:lnTo>
                    <a:pt x="472" y="80"/>
                  </a:lnTo>
                  <a:lnTo>
                    <a:pt x="470" y="82"/>
                  </a:lnTo>
                  <a:lnTo>
                    <a:pt x="469" y="83"/>
                  </a:lnTo>
                  <a:lnTo>
                    <a:pt x="469" y="84"/>
                  </a:lnTo>
                  <a:lnTo>
                    <a:pt x="467" y="86"/>
                  </a:lnTo>
                  <a:lnTo>
                    <a:pt x="466" y="87"/>
                  </a:lnTo>
                  <a:lnTo>
                    <a:pt x="465" y="87"/>
                  </a:lnTo>
                  <a:lnTo>
                    <a:pt x="463" y="87"/>
                  </a:lnTo>
                  <a:lnTo>
                    <a:pt x="462" y="89"/>
                  </a:lnTo>
                  <a:lnTo>
                    <a:pt x="456" y="89"/>
                  </a:lnTo>
                  <a:lnTo>
                    <a:pt x="455" y="89"/>
                  </a:lnTo>
                  <a:lnTo>
                    <a:pt x="452" y="89"/>
                  </a:lnTo>
                  <a:lnTo>
                    <a:pt x="449" y="89"/>
                  </a:lnTo>
                  <a:lnTo>
                    <a:pt x="449" y="89"/>
                  </a:lnTo>
                  <a:lnTo>
                    <a:pt x="447" y="87"/>
                  </a:lnTo>
                  <a:lnTo>
                    <a:pt x="446" y="86"/>
                  </a:lnTo>
                  <a:lnTo>
                    <a:pt x="445" y="86"/>
                  </a:lnTo>
                  <a:lnTo>
                    <a:pt x="443" y="86"/>
                  </a:lnTo>
                  <a:lnTo>
                    <a:pt x="433" y="86"/>
                  </a:lnTo>
                  <a:lnTo>
                    <a:pt x="429" y="86"/>
                  </a:lnTo>
                  <a:lnTo>
                    <a:pt x="426" y="87"/>
                  </a:lnTo>
                  <a:lnTo>
                    <a:pt x="423" y="87"/>
                  </a:lnTo>
                  <a:lnTo>
                    <a:pt x="422" y="86"/>
                  </a:lnTo>
                  <a:lnTo>
                    <a:pt x="420" y="86"/>
                  </a:lnTo>
                  <a:lnTo>
                    <a:pt x="419" y="86"/>
                  </a:lnTo>
                  <a:lnTo>
                    <a:pt x="412" y="87"/>
                  </a:lnTo>
                  <a:lnTo>
                    <a:pt x="410" y="87"/>
                  </a:lnTo>
                  <a:lnTo>
                    <a:pt x="407" y="86"/>
                  </a:lnTo>
                  <a:lnTo>
                    <a:pt x="405" y="86"/>
                  </a:lnTo>
                  <a:lnTo>
                    <a:pt x="403" y="86"/>
                  </a:lnTo>
                  <a:lnTo>
                    <a:pt x="402" y="87"/>
                  </a:lnTo>
                  <a:lnTo>
                    <a:pt x="400" y="87"/>
                  </a:lnTo>
                  <a:lnTo>
                    <a:pt x="399" y="90"/>
                  </a:lnTo>
                  <a:lnTo>
                    <a:pt x="397" y="92"/>
                  </a:lnTo>
                  <a:lnTo>
                    <a:pt x="397" y="93"/>
                  </a:lnTo>
                  <a:lnTo>
                    <a:pt x="396" y="96"/>
                  </a:lnTo>
                  <a:lnTo>
                    <a:pt x="396" y="97"/>
                  </a:lnTo>
                  <a:lnTo>
                    <a:pt x="396" y="99"/>
                  </a:lnTo>
                  <a:lnTo>
                    <a:pt x="396" y="100"/>
                  </a:lnTo>
                  <a:lnTo>
                    <a:pt x="397" y="103"/>
                  </a:lnTo>
                  <a:lnTo>
                    <a:pt x="397" y="104"/>
                  </a:lnTo>
                  <a:lnTo>
                    <a:pt x="400" y="107"/>
                  </a:lnTo>
                  <a:lnTo>
                    <a:pt x="400" y="109"/>
                  </a:lnTo>
                  <a:lnTo>
                    <a:pt x="403" y="109"/>
                  </a:lnTo>
                  <a:lnTo>
                    <a:pt x="405" y="110"/>
                  </a:lnTo>
                  <a:lnTo>
                    <a:pt x="406" y="114"/>
                  </a:lnTo>
                  <a:lnTo>
                    <a:pt x="406" y="116"/>
                  </a:lnTo>
                  <a:lnTo>
                    <a:pt x="407" y="116"/>
                  </a:lnTo>
                  <a:lnTo>
                    <a:pt x="409" y="116"/>
                  </a:lnTo>
                  <a:lnTo>
                    <a:pt x="410" y="116"/>
                  </a:lnTo>
                  <a:lnTo>
                    <a:pt x="413" y="116"/>
                  </a:lnTo>
                  <a:lnTo>
                    <a:pt x="415" y="116"/>
                  </a:lnTo>
                  <a:lnTo>
                    <a:pt x="416" y="113"/>
                  </a:lnTo>
                  <a:lnTo>
                    <a:pt x="416" y="112"/>
                  </a:lnTo>
                  <a:lnTo>
                    <a:pt x="419" y="109"/>
                  </a:lnTo>
                  <a:lnTo>
                    <a:pt x="420" y="107"/>
                  </a:lnTo>
                  <a:lnTo>
                    <a:pt x="422" y="107"/>
                  </a:lnTo>
                  <a:lnTo>
                    <a:pt x="422" y="107"/>
                  </a:lnTo>
                  <a:lnTo>
                    <a:pt x="423" y="109"/>
                  </a:lnTo>
                  <a:lnTo>
                    <a:pt x="423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9" y="107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3" y="106"/>
                  </a:lnTo>
                  <a:lnTo>
                    <a:pt x="436" y="106"/>
                  </a:lnTo>
                  <a:lnTo>
                    <a:pt x="439" y="106"/>
                  </a:lnTo>
                  <a:lnTo>
                    <a:pt x="442" y="106"/>
                  </a:lnTo>
                  <a:lnTo>
                    <a:pt x="442" y="106"/>
                  </a:lnTo>
                  <a:lnTo>
                    <a:pt x="442" y="104"/>
                  </a:lnTo>
                  <a:lnTo>
                    <a:pt x="442" y="104"/>
                  </a:lnTo>
                  <a:lnTo>
                    <a:pt x="442" y="104"/>
                  </a:lnTo>
                  <a:lnTo>
                    <a:pt x="445" y="103"/>
                  </a:lnTo>
                  <a:lnTo>
                    <a:pt x="447" y="103"/>
                  </a:lnTo>
                  <a:lnTo>
                    <a:pt x="449" y="103"/>
                  </a:lnTo>
                  <a:lnTo>
                    <a:pt x="450" y="104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09"/>
                  </a:lnTo>
                  <a:lnTo>
                    <a:pt x="450" y="110"/>
                  </a:lnTo>
                  <a:lnTo>
                    <a:pt x="449" y="110"/>
                  </a:lnTo>
                  <a:lnTo>
                    <a:pt x="447" y="110"/>
                  </a:lnTo>
                  <a:lnTo>
                    <a:pt x="446" y="109"/>
                  </a:lnTo>
                  <a:lnTo>
                    <a:pt x="445" y="107"/>
                  </a:lnTo>
                  <a:lnTo>
                    <a:pt x="443" y="109"/>
                  </a:lnTo>
                  <a:lnTo>
                    <a:pt x="442" y="109"/>
                  </a:lnTo>
                  <a:lnTo>
                    <a:pt x="440" y="109"/>
                  </a:lnTo>
                  <a:lnTo>
                    <a:pt x="440" y="112"/>
                  </a:lnTo>
                  <a:lnTo>
                    <a:pt x="439" y="113"/>
                  </a:lnTo>
                  <a:lnTo>
                    <a:pt x="436" y="116"/>
                  </a:lnTo>
                  <a:lnTo>
                    <a:pt x="433" y="117"/>
                  </a:lnTo>
                  <a:lnTo>
                    <a:pt x="432" y="119"/>
                  </a:lnTo>
                  <a:lnTo>
                    <a:pt x="430" y="119"/>
                  </a:lnTo>
                  <a:lnTo>
                    <a:pt x="426" y="122"/>
                  </a:lnTo>
                  <a:lnTo>
                    <a:pt x="425" y="122"/>
                  </a:lnTo>
                  <a:lnTo>
                    <a:pt x="423" y="123"/>
                  </a:lnTo>
                  <a:lnTo>
                    <a:pt x="422" y="124"/>
                  </a:lnTo>
                  <a:lnTo>
                    <a:pt x="422" y="124"/>
                  </a:lnTo>
                  <a:lnTo>
                    <a:pt x="420" y="124"/>
                  </a:lnTo>
                  <a:lnTo>
                    <a:pt x="419" y="123"/>
                  </a:lnTo>
                  <a:lnTo>
                    <a:pt x="417" y="124"/>
                  </a:lnTo>
                  <a:lnTo>
                    <a:pt x="417" y="124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22" y="129"/>
                  </a:lnTo>
                  <a:lnTo>
                    <a:pt x="422" y="129"/>
                  </a:lnTo>
                  <a:lnTo>
                    <a:pt x="423" y="129"/>
                  </a:lnTo>
                  <a:lnTo>
                    <a:pt x="425" y="130"/>
                  </a:lnTo>
                  <a:lnTo>
                    <a:pt x="426" y="132"/>
                  </a:lnTo>
                  <a:lnTo>
                    <a:pt x="427" y="134"/>
                  </a:lnTo>
                  <a:lnTo>
                    <a:pt x="429" y="136"/>
                  </a:lnTo>
                  <a:lnTo>
                    <a:pt x="429" y="137"/>
                  </a:lnTo>
                  <a:lnTo>
                    <a:pt x="433" y="140"/>
                  </a:lnTo>
                  <a:lnTo>
                    <a:pt x="433" y="142"/>
                  </a:lnTo>
                  <a:lnTo>
                    <a:pt x="433" y="142"/>
                  </a:lnTo>
                  <a:lnTo>
                    <a:pt x="433" y="143"/>
                  </a:lnTo>
                  <a:lnTo>
                    <a:pt x="435" y="144"/>
                  </a:lnTo>
                  <a:lnTo>
                    <a:pt x="435" y="144"/>
                  </a:lnTo>
                  <a:lnTo>
                    <a:pt x="433" y="146"/>
                  </a:lnTo>
                  <a:lnTo>
                    <a:pt x="433" y="147"/>
                  </a:lnTo>
                  <a:lnTo>
                    <a:pt x="432" y="150"/>
                  </a:lnTo>
                  <a:lnTo>
                    <a:pt x="432" y="152"/>
                  </a:lnTo>
                  <a:lnTo>
                    <a:pt x="432" y="152"/>
                  </a:lnTo>
                  <a:lnTo>
                    <a:pt x="433" y="153"/>
                  </a:lnTo>
                  <a:lnTo>
                    <a:pt x="433" y="153"/>
                  </a:lnTo>
                  <a:lnTo>
                    <a:pt x="435" y="153"/>
                  </a:lnTo>
                  <a:lnTo>
                    <a:pt x="435" y="153"/>
                  </a:lnTo>
                  <a:lnTo>
                    <a:pt x="436" y="156"/>
                  </a:lnTo>
                  <a:lnTo>
                    <a:pt x="437" y="156"/>
                  </a:lnTo>
                  <a:lnTo>
                    <a:pt x="437" y="156"/>
                  </a:lnTo>
                  <a:lnTo>
                    <a:pt x="437" y="157"/>
                  </a:lnTo>
                  <a:lnTo>
                    <a:pt x="439" y="159"/>
                  </a:lnTo>
                  <a:lnTo>
                    <a:pt x="439" y="159"/>
                  </a:lnTo>
                  <a:lnTo>
                    <a:pt x="440" y="159"/>
                  </a:lnTo>
                  <a:lnTo>
                    <a:pt x="440" y="159"/>
                  </a:lnTo>
                  <a:lnTo>
                    <a:pt x="440" y="159"/>
                  </a:lnTo>
                  <a:lnTo>
                    <a:pt x="442" y="159"/>
                  </a:lnTo>
                  <a:lnTo>
                    <a:pt x="442" y="160"/>
                  </a:lnTo>
                  <a:lnTo>
                    <a:pt x="442" y="160"/>
                  </a:lnTo>
                  <a:lnTo>
                    <a:pt x="443" y="162"/>
                  </a:lnTo>
                  <a:lnTo>
                    <a:pt x="442" y="163"/>
                  </a:lnTo>
                  <a:lnTo>
                    <a:pt x="442" y="164"/>
                  </a:lnTo>
                  <a:lnTo>
                    <a:pt x="442" y="164"/>
                  </a:lnTo>
                  <a:lnTo>
                    <a:pt x="439" y="163"/>
                  </a:lnTo>
                  <a:lnTo>
                    <a:pt x="439" y="164"/>
                  </a:lnTo>
                  <a:lnTo>
                    <a:pt x="440" y="164"/>
                  </a:lnTo>
                  <a:lnTo>
                    <a:pt x="439" y="164"/>
                  </a:lnTo>
                  <a:lnTo>
                    <a:pt x="437" y="164"/>
                  </a:lnTo>
                  <a:lnTo>
                    <a:pt x="436" y="164"/>
                  </a:lnTo>
                  <a:lnTo>
                    <a:pt x="432" y="166"/>
                  </a:lnTo>
                  <a:lnTo>
                    <a:pt x="430" y="166"/>
                  </a:lnTo>
                  <a:lnTo>
                    <a:pt x="429" y="167"/>
                  </a:lnTo>
                  <a:lnTo>
                    <a:pt x="429" y="169"/>
                  </a:lnTo>
                  <a:lnTo>
                    <a:pt x="429" y="170"/>
                  </a:lnTo>
                  <a:lnTo>
                    <a:pt x="429" y="172"/>
                  </a:lnTo>
                  <a:lnTo>
                    <a:pt x="426" y="172"/>
                  </a:lnTo>
                  <a:lnTo>
                    <a:pt x="425" y="170"/>
                  </a:lnTo>
                  <a:lnTo>
                    <a:pt x="422" y="170"/>
                  </a:lnTo>
                  <a:lnTo>
                    <a:pt x="422" y="170"/>
                  </a:lnTo>
                  <a:lnTo>
                    <a:pt x="420" y="169"/>
                  </a:lnTo>
                  <a:lnTo>
                    <a:pt x="420" y="167"/>
                  </a:lnTo>
                  <a:lnTo>
                    <a:pt x="420" y="162"/>
                  </a:lnTo>
                  <a:lnTo>
                    <a:pt x="420" y="162"/>
                  </a:lnTo>
                  <a:lnTo>
                    <a:pt x="422" y="162"/>
                  </a:lnTo>
                  <a:lnTo>
                    <a:pt x="422" y="160"/>
                  </a:lnTo>
                  <a:lnTo>
                    <a:pt x="422" y="159"/>
                  </a:lnTo>
                  <a:lnTo>
                    <a:pt x="420" y="157"/>
                  </a:lnTo>
                  <a:lnTo>
                    <a:pt x="419" y="157"/>
                  </a:lnTo>
                  <a:lnTo>
                    <a:pt x="417" y="156"/>
                  </a:lnTo>
                  <a:lnTo>
                    <a:pt x="410" y="150"/>
                  </a:lnTo>
                  <a:lnTo>
                    <a:pt x="410" y="150"/>
                  </a:lnTo>
                  <a:lnTo>
                    <a:pt x="410" y="149"/>
                  </a:lnTo>
                  <a:lnTo>
                    <a:pt x="410" y="149"/>
                  </a:lnTo>
                  <a:lnTo>
                    <a:pt x="413" y="144"/>
                  </a:lnTo>
                  <a:lnTo>
                    <a:pt x="413" y="144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3" y="137"/>
                  </a:lnTo>
                  <a:lnTo>
                    <a:pt x="412" y="136"/>
                  </a:lnTo>
                  <a:lnTo>
                    <a:pt x="410" y="136"/>
                  </a:lnTo>
                  <a:lnTo>
                    <a:pt x="409" y="136"/>
                  </a:lnTo>
                  <a:lnTo>
                    <a:pt x="406" y="136"/>
                  </a:lnTo>
                  <a:lnTo>
                    <a:pt x="405" y="137"/>
                  </a:lnTo>
                  <a:lnTo>
                    <a:pt x="402" y="140"/>
                  </a:lnTo>
                  <a:lnTo>
                    <a:pt x="400" y="142"/>
                  </a:lnTo>
                  <a:lnTo>
                    <a:pt x="400" y="143"/>
                  </a:lnTo>
                  <a:lnTo>
                    <a:pt x="400" y="144"/>
                  </a:lnTo>
                  <a:lnTo>
                    <a:pt x="402" y="146"/>
                  </a:lnTo>
                  <a:lnTo>
                    <a:pt x="402" y="147"/>
                  </a:lnTo>
                  <a:lnTo>
                    <a:pt x="403" y="153"/>
                  </a:lnTo>
                  <a:lnTo>
                    <a:pt x="403" y="153"/>
                  </a:lnTo>
                  <a:lnTo>
                    <a:pt x="402" y="156"/>
                  </a:lnTo>
                  <a:lnTo>
                    <a:pt x="402" y="159"/>
                  </a:lnTo>
                  <a:lnTo>
                    <a:pt x="402" y="164"/>
                  </a:lnTo>
                  <a:lnTo>
                    <a:pt x="403" y="167"/>
                  </a:lnTo>
                  <a:lnTo>
                    <a:pt x="402" y="169"/>
                  </a:lnTo>
                  <a:lnTo>
                    <a:pt x="400" y="173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2" y="180"/>
                  </a:lnTo>
                  <a:lnTo>
                    <a:pt x="403" y="182"/>
                  </a:lnTo>
                  <a:lnTo>
                    <a:pt x="403" y="183"/>
                  </a:lnTo>
                  <a:lnTo>
                    <a:pt x="400" y="183"/>
                  </a:lnTo>
                  <a:lnTo>
                    <a:pt x="400" y="183"/>
                  </a:lnTo>
                  <a:lnTo>
                    <a:pt x="399" y="183"/>
                  </a:lnTo>
                  <a:lnTo>
                    <a:pt x="397" y="183"/>
                  </a:lnTo>
                  <a:lnTo>
                    <a:pt x="395" y="183"/>
                  </a:lnTo>
                  <a:lnTo>
                    <a:pt x="395" y="183"/>
                  </a:lnTo>
                  <a:lnTo>
                    <a:pt x="393" y="184"/>
                  </a:lnTo>
                  <a:lnTo>
                    <a:pt x="392" y="184"/>
                  </a:lnTo>
                  <a:lnTo>
                    <a:pt x="392" y="184"/>
                  </a:lnTo>
                  <a:lnTo>
                    <a:pt x="389" y="183"/>
                  </a:lnTo>
                  <a:lnTo>
                    <a:pt x="387" y="182"/>
                  </a:lnTo>
                  <a:lnTo>
                    <a:pt x="386" y="180"/>
                  </a:lnTo>
                  <a:lnTo>
                    <a:pt x="386" y="179"/>
                  </a:lnTo>
                  <a:lnTo>
                    <a:pt x="386" y="177"/>
                  </a:lnTo>
                  <a:lnTo>
                    <a:pt x="387" y="174"/>
                  </a:lnTo>
                  <a:lnTo>
                    <a:pt x="389" y="172"/>
                  </a:lnTo>
                  <a:lnTo>
                    <a:pt x="387" y="170"/>
                  </a:lnTo>
                  <a:lnTo>
                    <a:pt x="389" y="167"/>
                  </a:lnTo>
                  <a:lnTo>
                    <a:pt x="389" y="166"/>
                  </a:lnTo>
                  <a:lnTo>
                    <a:pt x="390" y="164"/>
                  </a:lnTo>
                  <a:lnTo>
                    <a:pt x="390" y="159"/>
                  </a:lnTo>
                  <a:lnTo>
                    <a:pt x="390" y="157"/>
                  </a:lnTo>
                  <a:lnTo>
                    <a:pt x="387" y="154"/>
                  </a:lnTo>
                  <a:lnTo>
                    <a:pt x="387" y="153"/>
                  </a:lnTo>
                  <a:lnTo>
                    <a:pt x="387" y="153"/>
                  </a:lnTo>
                  <a:lnTo>
                    <a:pt x="387" y="152"/>
                  </a:lnTo>
                  <a:lnTo>
                    <a:pt x="387" y="150"/>
                  </a:lnTo>
                  <a:lnTo>
                    <a:pt x="387" y="150"/>
                  </a:lnTo>
                  <a:lnTo>
                    <a:pt x="386" y="149"/>
                  </a:lnTo>
                  <a:lnTo>
                    <a:pt x="386" y="149"/>
                  </a:lnTo>
                  <a:lnTo>
                    <a:pt x="383" y="149"/>
                  </a:lnTo>
                  <a:lnTo>
                    <a:pt x="380" y="150"/>
                  </a:lnTo>
                  <a:lnTo>
                    <a:pt x="379" y="150"/>
                  </a:lnTo>
                  <a:lnTo>
                    <a:pt x="378" y="149"/>
                  </a:lnTo>
                  <a:lnTo>
                    <a:pt x="378" y="146"/>
                  </a:lnTo>
                  <a:lnTo>
                    <a:pt x="378" y="144"/>
                  </a:lnTo>
                  <a:lnTo>
                    <a:pt x="378" y="143"/>
                  </a:lnTo>
                  <a:lnTo>
                    <a:pt x="378" y="140"/>
                  </a:lnTo>
                  <a:lnTo>
                    <a:pt x="378" y="139"/>
                  </a:lnTo>
                  <a:lnTo>
                    <a:pt x="376" y="137"/>
                  </a:lnTo>
                  <a:lnTo>
                    <a:pt x="376" y="137"/>
                  </a:lnTo>
                  <a:lnTo>
                    <a:pt x="378" y="137"/>
                  </a:lnTo>
                  <a:lnTo>
                    <a:pt x="378" y="136"/>
                  </a:lnTo>
                  <a:lnTo>
                    <a:pt x="379" y="136"/>
                  </a:lnTo>
                  <a:lnTo>
                    <a:pt x="379" y="136"/>
                  </a:lnTo>
                  <a:lnTo>
                    <a:pt x="382" y="133"/>
                  </a:lnTo>
                  <a:lnTo>
                    <a:pt x="382" y="132"/>
                  </a:lnTo>
                  <a:lnTo>
                    <a:pt x="382" y="130"/>
                  </a:lnTo>
                  <a:lnTo>
                    <a:pt x="383" y="129"/>
                  </a:lnTo>
                  <a:lnTo>
                    <a:pt x="383" y="126"/>
                  </a:lnTo>
                  <a:lnTo>
                    <a:pt x="385" y="124"/>
                  </a:lnTo>
                  <a:lnTo>
                    <a:pt x="386" y="123"/>
                  </a:lnTo>
                  <a:lnTo>
                    <a:pt x="385" y="120"/>
                  </a:lnTo>
                  <a:lnTo>
                    <a:pt x="385" y="119"/>
                  </a:lnTo>
                  <a:lnTo>
                    <a:pt x="385" y="117"/>
                  </a:lnTo>
                  <a:lnTo>
                    <a:pt x="385" y="116"/>
                  </a:lnTo>
                  <a:lnTo>
                    <a:pt x="386" y="114"/>
                  </a:lnTo>
                  <a:lnTo>
                    <a:pt x="387" y="109"/>
                  </a:lnTo>
                  <a:lnTo>
                    <a:pt x="390" y="106"/>
                  </a:lnTo>
                  <a:lnTo>
                    <a:pt x="392" y="104"/>
                  </a:lnTo>
                  <a:lnTo>
                    <a:pt x="393" y="106"/>
                  </a:lnTo>
                  <a:lnTo>
                    <a:pt x="393" y="107"/>
                  </a:lnTo>
                  <a:lnTo>
                    <a:pt x="393" y="106"/>
                  </a:lnTo>
                  <a:lnTo>
                    <a:pt x="393" y="104"/>
                  </a:lnTo>
                  <a:lnTo>
                    <a:pt x="392" y="102"/>
                  </a:lnTo>
                  <a:lnTo>
                    <a:pt x="392" y="96"/>
                  </a:lnTo>
                  <a:lnTo>
                    <a:pt x="392" y="94"/>
                  </a:lnTo>
                  <a:lnTo>
                    <a:pt x="393" y="94"/>
                  </a:lnTo>
                  <a:lnTo>
                    <a:pt x="393" y="94"/>
                  </a:lnTo>
                  <a:lnTo>
                    <a:pt x="393" y="93"/>
                  </a:lnTo>
                  <a:lnTo>
                    <a:pt x="393" y="92"/>
                  </a:lnTo>
                  <a:lnTo>
                    <a:pt x="393" y="90"/>
                  </a:lnTo>
                  <a:lnTo>
                    <a:pt x="395" y="87"/>
                  </a:lnTo>
                  <a:lnTo>
                    <a:pt x="396" y="86"/>
                  </a:lnTo>
                  <a:lnTo>
                    <a:pt x="396" y="84"/>
                  </a:lnTo>
                  <a:lnTo>
                    <a:pt x="397" y="83"/>
                  </a:lnTo>
                  <a:lnTo>
                    <a:pt x="397" y="82"/>
                  </a:lnTo>
                  <a:lnTo>
                    <a:pt x="399" y="82"/>
                  </a:lnTo>
                  <a:lnTo>
                    <a:pt x="399" y="80"/>
                  </a:lnTo>
                  <a:lnTo>
                    <a:pt x="400" y="79"/>
                  </a:lnTo>
                  <a:lnTo>
                    <a:pt x="400" y="79"/>
                  </a:lnTo>
                  <a:lnTo>
                    <a:pt x="402" y="79"/>
                  </a:lnTo>
                  <a:lnTo>
                    <a:pt x="402" y="80"/>
                  </a:lnTo>
                  <a:lnTo>
                    <a:pt x="403" y="80"/>
                  </a:lnTo>
                  <a:lnTo>
                    <a:pt x="405" y="82"/>
                  </a:lnTo>
                  <a:lnTo>
                    <a:pt x="406" y="80"/>
                  </a:lnTo>
                  <a:lnTo>
                    <a:pt x="406" y="80"/>
                  </a:lnTo>
                  <a:lnTo>
                    <a:pt x="406" y="79"/>
                  </a:lnTo>
                  <a:lnTo>
                    <a:pt x="407" y="79"/>
                  </a:lnTo>
                  <a:lnTo>
                    <a:pt x="407" y="77"/>
                  </a:lnTo>
                  <a:lnTo>
                    <a:pt x="409" y="76"/>
                  </a:lnTo>
                  <a:lnTo>
                    <a:pt x="410" y="74"/>
                  </a:lnTo>
                  <a:lnTo>
                    <a:pt x="410" y="73"/>
                  </a:lnTo>
                  <a:lnTo>
                    <a:pt x="412" y="73"/>
                  </a:lnTo>
                  <a:lnTo>
                    <a:pt x="412" y="73"/>
                  </a:lnTo>
                  <a:lnTo>
                    <a:pt x="413" y="73"/>
                  </a:lnTo>
                  <a:lnTo>
                    <a:pt x="415" y="74"/>
                  </a:lnTo>
                  <a:lnTo>
                    <a:pt x="416" y="74"/>
                  </a:lnTo>
                  <a:lnTo>
                    <a:pt x="417" y="74"/>
                  </a:lnTo>
                  <a:lnTo>
                    <a:pt x="419" y="74"/>
                  </a:lnTo>
                  <a:lnTo>
                    <a:pt x="419" y="74"/>
                  </a:lnTo>
                  <a:lnTo>
                    <a:pt x="419" y="76"/>
                  </a:lnTo>
                  <a:lnTo>
                    <a:pt x="420" y="76"/>
                  </a:lnTo>
                  <a:lnTo>
                    <a:pt x="420" y="77"/>
                  </a:lnTo>
                  <a:lnTo>
                    <a:pt x="422" y="77"/>
                  </a:lnTo>
                  <a:lnTo>
                    <a:pt x="426" y="77"/>
                  </a:lnTo>
                  <a:lnTo>
                    <a:pt x="430" y="77"/>
                  </a:lnTo>
                  <a:lnTo>
                    <a:pt x="435" y="77"/>
                  </a:lnTo>
                  <a:lnTo>
                    <a:pt x="437" y="79"/>
                  </a:lnTo>
                  <a:lnTo>
                    <a:pt x="439" y="79"/>
                  </a:lnTo>
                  <a:lnTo>
                    <a:pt x="440" y="80"/>
                  </a:lnTo>
                  <a:lnTo>
                    <a:pt x="442" y="80"/>
                  </a:lnTo>
                  <a:lnTo>
                    <a:pt x="442" y="80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5" y="79"/>
                  </a:lnTo>
                  <a:lnTo>
                    <a:pt x="449" y="79"/>
                  </a:lnTo>
                  <a:lnTo>
                    <a:pt x="457" y="80"/>
                  </a:lnTo>
                  <a:lnTo>
                    <a:pt x="459" y="80"/>
                  </a:lnTo>
                  <a:lnTo>
                    <a:pt x="465" y="77"/>
                  </a:lnTo>
                  <a:lnTo>
                    <a:pt x="466" y="74"/>
                  </a:lnTo>
                  <a:lnTo>
                    <a:pt x="469" y="74"/>
                  </a:lnTo>
                  <a:lnTo>
                    <a:pt x="469" y="73"/>
                  </a:lnTo>
                  <a:lnTo>
                    <a:pt x="470" y="72"/>
                  </a:lnTo>
                  <a:lnTo>
                    <a:pt x="470" y="72"/>
                  </a:lnTo>
                  <a:lnTo>
                    <a:pt x="472" y="72"/>
                  </a:lnTo>
                  <a:lnTo>
                    <a:pt x="473" y="70"/>
                  </a:lnTo>
                  <a:lnTo>
                    <a:pt x="473" y="69"/>
                  </a:lnTo>
                  <a:lnTo>
                    <a:pt x="475" y="67"/>
                  </a:lnTo>
                  <a:lnTo>
                    <a:pt x="476" y="67"/>
                  </a:lnTo>
                  <a:lnTo>
                    <a:pt x="477" y="67"/>
                  </a:lnTo>
                  <a:lnTo>
                    <a:pt x="479" y="67"/>
                  </a:lnTo>
                  <a:lnTo>
                    <a:pt x="480" y="70"/>
                  </a:lnTo>
                  <a:lnTo>
                    <a:pt x="479" y="70"/>
                  </a:lnTo>
                  <a:lnTo>
                    <a:pt x="479" y="72"/>
                  </a:lnTo>
                  <a:lnTo>
                    <a:pt x="477" y="72"/>
                  </a:lnTo>
                  <a:lnTo>
                    <a:pt x="476" y="76"/>
                  </a:lnTo>
                  <a:lnTo>
                    <a:pt x="476" y="77"/>
                  </a:lnTo>
                  <a:lnTo>
                    <a:pt x="475" y="79"/>
                  </a:lnTo>
                  <a:close/>
                  <a:moveTo>
                    <a:pt x="104" y="60"/>
                  </a:moveTo>
                  <a:lnTo>
                    <a:pt x="104" y="62"/>
                  </a:lnTo>
                  <a:lnTo>
                    <a:pt x="104" y="63"/>
                  </a:lnTo>
                  <a:lnTo>
                    <a:pt x="104" y="64"/>
                  </a:lnTo>
                  <a:lnTo>
                    <a:pt x="104" y="66"/>
                  </a:lnTo>
                  <a:lnTo>
                    <a:pt x="101" y="67"/>
                  </a:lnTo>
                  <a:lnTo>
                    <a:pt x="99" y="66"/>
                  </a:lnTo>
                  <a:lnTo>
                    <a:pt x="99" y="66"/>
                  </a:lnTo>
                  <a:lnTo>
                    <a:pt x="98" y="63"/>
                  </a:lnTo>
                  <a:lnTo>
                    <a:pt x="98" y="62"/>
                  </a:lnTo>
                  <a:lnTo>
                    <a:pt x="99" y="62"/>
                  </a:lnTo>
                  <a:lnTo>
                    <a:pt x="101" y="62"/>
                  </a:lnTo>
                  <a:lnTo>
                    <a:pt x="102" y="60"/>
                  </a:lnTo>
                  <a:lnTo>
                    <a:pt x="104" y="60"/>
                  </a:lnTo>
                  <a:close/>
                  <a:moveTo>
                    <a:pt x="520" y="80"/>
                  </a:moveTo>
                  <a:lnTo>
                    <a:pt x="522" y="80"/>
                  </a:lnTo>
                  <a:lnTo>
                    <a:pt x="522" y="80"/>
                  </a:lnTo>
                  <a:lnTo>
                    <a:pt x="523" y="80"/>
                  </a:lnTo>
                  <a:lnTo>
                    <a:pt x="523" y="79"/>
                  </a:lnTo>
                  <a:lnTo>
                    <a:pt x="523" y="77"/>
                  </a:lnTo>
                  <a:lnTo>
                    <a:pt x="524" y="76"/>
                  </a:lnTo>
                  <a:lnTo>
                    <a:pt x="526" y="76"/>
                  </a:lnTo>
                  <a:lnTo>
                    <a:pt x="527" y="76"/>
                  </a:lnTo>
                  <a:lnTo>
                    <a:pt x="526" y="74"/>
                  </a:lnTo>
                  <a:lnTo>
                    <a:pt x="526" y="73"/>
                  </a:lnTo>
                  <a:lnTo>
                    <a:pt x="527" y="72"/>
                  </a:lnTo>
                  <a:lnTo>
                    <a:pt x="530" y="70"/>
                  </a:lnTo>
                  <a:lnTo>
                    <a:pt x="533" y="69"/>
                  </a:lnTo>
                  <a:lnTo>
                    <a:pt x="534" y="69"/>
                  </a:lnTo>
                  <a:lnTo>
                    <a:pt x="536" y="70"/>
                  </a:lnTo>
                  <a:lnTo>
                    <a:pt x="534" y="70"/>
                  </a:lnTo>
                  <a:lnTo>
                    <a:pt x="536" y="72"/>
                  </a:lnTo>
                  <a:lnTo>
                    <a:pt x="536" y="76"/>
                  </a:lnTo>
                  <a:lnTo>
                    <a:pt x="534" y="77"/>
                  </a:lnTo>
                  <a:lnTo>
                    <a:pt x="532" y="79"/>
                  </a:lnTo>
                  <a:lnTo>
                    <a:pt x="530" y="80"/>
                  </a:lnTo>
                  <a:lnTo>
                    <a:pt x="529" y="80"/>
                  </a:lnTo>
                  <a:lnTo>
                    <a:pt x="529" y="82"/>
                  </a:lnTo>
                  <a:lnTo>
                    <a:pt x="529" y="83"/>
                  </a:lnTo>
                  <a:lnTo>
                    <a:pt x="530" y="84"/>
                  </a:lnTo>
                  <a:lnTo>
                    <a:pt x="534" y="86"/>
                  </a:lnTo>
                  <a:lnTo>
                    <a:pt x="534" y="86"/>
                  </a:lnTo>
                  <a:lnTo>
                    <a:pt x="534" y="87"/>
                  </a:lnTo>
                  <a:lnTo>
                    <a:pt x="534" y="89"/>
                  </a:lnTo>
                  <a:lnTo>
                    <a:pt x="536" y="89"/>
                  </a:lnTo>
                  <a:lnTo>
                    <a:pt x="537" y="89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3" y="89"/>
                  </a:lnTo>
                  <a:lnTo>
                    <a:pt x="532" y="87"/>
                  </a:lnTo>
                  <a:lnTo>
                    <a:pt x="529" y="87"/>
                  </a:lnTo>
                  <a:lnTo>
                    <a:pt x="527" y="87"/>
                  </a:lnTo>
                  <a:lnTo>
                    <a:pt x="526" y="87"/>
                  </a:lnTo>
                  <a:lnTo>
                    <a:pt x="524" y="86"/>
                  </a:lnTo>
                  <a:lnTo>
                    <a:pt x="523" y="87"/>
                  </a:lnTo>
                  <a:lnTo>
                    <a:pt x="523" y="89"/>
                  </a:lnTo>
                  <a:lnTo>
                    <a:pt x="522" y="89"/>
                  </a:lnTo>
                  <a:lnTo>
                    <a:pt x="523" y="90"/>
                  </a:lnTo>
                  <a:lnTo>
                    <a:pt x="523" y="92"/>
                  </a:lnTo>
                  <a:lnTo>
                    <a:pt x="522" y="93"/>
                  </a:lnTo>
                  <a:lnTo>
                    <a:pt x="523" y="97"/>
                  </a:lnTo>
                  <a:lnTo>
                    <a:pt x="526" y="102"/>
                  </a:lnTo>
                  <a:lnTo>
                    <a:pt x="529" y="106"/>
                  </a:lnTo>
                  <a:lnTo>
                    <a:pt x="529" y="107"/>
                  </a:lnTo>
                  <a:lnTo>
                    <a:pt x="532" y="109"/>
                  </a:lnTo>
                  <a:lnTo>
                    <a:pt x="529" y="107"/>
                  </a:lnTo>
                  <a:lnTo>
                    <a:pt x="527" y="106"/>
                  </a:lnTo>
                  <a:lnTo>
                    <a:pt x="524" y="106"/>
                  </a:lnTo>
                  <a:lnTo>
                    <a:pt x="524" y="104"/>
                  </a:lnTo>
                  <a:lnTo>
                    <a:pt x="522" y="100"/>
                  </a:lnTo>
                  <a:lnTo>
                    <a:pt x="522" y="100"/>
                  </a:lnTo>
                  <a:lnTo>
                    <a:pt x="520" y="99"/>
                  </a:lnTo>
                  <a:lnTo>
                    <a:pt x="519" y="97"/>
                  </a:lnTo>
                  <a:lnTo>
                    <a:pt x="519" y="97"/>
                  </a:lnTo>
                  <a:lnTo>
                    <a:pt x="519" y="96"/>
                  </a:lnTo>
                  <a:lnTo>
                    <a:pt x="519" y="93"/>
                  </a:lnTo>
                  <a:lnTo>
                    <a:pt x="519" y="92"/>
                  </a:lnTo>
                  <a:lnTo>
                    <a:pt x="519" y="89"/>
                  </a:lnTo>
                  <a:lnTo>
                    <a:pt x="519" y="89"/>
                  </a:lnTo>
                  <a:lnTo>
                    <a:pt x="517" y="87"/>
                  </a:lnTo>
                  <a:lnTo>
                    <a:pt x="517" y="86"/>
                  </a:lnTo>
                  <a:lnTo>
                    <a:pt x="517" y="84"/>
                  </a:lnTo>
                  <a:lnTo>
                    <a:pt x="517" y="83"/>
                  </a:lnTo>
                  <a:lnTo>
                    <a:pt x="517" y="82"/>
                  </a:lnTo>
                  <a:lnTo>
                    <a:pt x="517" y="82"/>
                  </a:lnTo>
                  <a:lnTo>
                    <a:pt x="517" y="80"/>
                  </a:lnTo>
                  <a:lnTo>
                    <a:pt x="516" y="79"/>
                  </a:lnTo>
                  <a:lnTo>
                    <a:pt x="514" y="76"/>
                  </a:lnTo>
                  <a:lnTo>
                    <a:pt x="514" y="74"/>
                  </a:lnTo>
                  <a:lnTo>
                    <a:pt x="517" y="70"/>
                  </a:lnTo>
                  <a:lnTo>
                    <a:pt x="517" y="69"/>
                  </a:lnTo>
                  <a:lnTo>
                    <a:pt x="517" y="67"/>
                  </a:lnTo>
                  <a:lnTo>
                    <a:pt x="517" y="67"/>
                  </a:lnTo>
                  <a:lnTo>
                    <a:pt x="519" y="64"/>
                  </a:lnTo>
                  <a:lnTo>
                    <a:pt x="520" y="63"/>
                  </a:lnTo>
                  <a:lnTo>
                    <a:pt x="523" y="60"/>
                  </a:lnTo>
                  <a:lnTo>
                    <a:pt x="523" y="59"/>
                  </a:lnTo>
                  <a:lnTo>
                    <a:pt x="524" y="59"/>
                  </a:lnTo>
                  <a:lnTo>
                    <a:pt x="524" y="60"/>
                  </a:lnTo>
                  <a:lnTo>
                    <a:pt x="524" y="60"/>
                  </a:lnTo>
                  <a:lnTo>
                    <a:pt x="523" y="63"/>
                  </a:lnTo>
                  <a:lnTo>
                    <a:pt x="522" y="63"/>
                  </a:lnTo>
                  <a:lnTo>
                    <a:pt x="522" y="64"/>
                  </a:lnTo>
                  <a:lnTo>
                    <a:pt x="523" y="66"/>
                  </a:lnTo>
                  <a:lnTo>
                    <a:pt x="524" y="67"/>
                  </a:lnTo>
                  <a:lnTo>
                    <a:pt x="524" y="69"/>
                  </a:lnTo>
                  <a:lnTo>
                    <a:pt x="524" y="70"/>
                  </a:lnTo>
                  <a:lnTo>
                    <a:pt x="524" y="73"/>
                  </a:lnTo>
                  <a:lnTo>
                    <a:pt x="524" y="73"/>
                  </a:lnTo>
                  <a:lnTo>
                    <a:pt x="522" y="76"/>
                  </a:lnTo>
                  <a:lnTo>
                    <a:pt x="519" y="77"/>
                  </a:lnTo>
                  <a:lnTo>
                    <a:pt x="519" y="79"/>
                  </a:lnTo>
                  <a:lnTo>
                    <a:pt x="519" y="79"/>
                  </a:lnTo>
                  <a:lnTo>
                    <a:pt x="519" y="80"/>
                  </a:lnTo>
                  <a:lnTo>
                    <a:pt x="520" y="80"/>
                  </a:lnTo>
                  <a:close/>
                  <a:moveTo>
                    <a:pt x="32" y="62"/>
                  </a:moveTo>
                  <a:lnTo>
                    <a:pt x="32" y="62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60"/>
                  </a:lnTo>
                  <a:lnTo>
                    <a:pt x="32" y="62"/>
                  </a:lnTo>
                  <a:close/>
                  <a:moveTo>
                    <a:pt x="532" y="62"/>
                  </a:moveTo>
                  <a:lnTo>
                    <a:pt x="529" y="62"/>
                  </a:lnTo>
                  <a:lnTo>
                    <a:pt x="529" y="60"/>
                  </a:lnTo>
                  <a:lnTo>
                    <a:pt x="527" y="57"/>
                  </a:lnTo>
                  <a:lnTo>
                    <a:pt x="529" y="54"/>
                  </a:lnTo>
                  <a:lnTo>
                    <a:pt x="532" y="53"/>
                  </a:lnTo>
                  <a:lnTo>
                    <a:pt x="533" y="53"/>
                  </a:lnTo>
                  <a:lnTo>
                    <a:pt x="533" y="53"/>
                  </a:lnTo>
                  <a:lnTo>
                    <a:pt x="534" y="54"/>
                  </a:lnTo>
                  <a:lnTo>
                    <a:pt x="534" y="59"/>
                  </a:lnTo>
                  <a:lnTo>
                    <a:pt x="533" y="60"/>
                  </a:lnTo>
                  <a:lnTo>
                    <a:pt x="532" y="62"/>
                  </a:lnTo>
                  <a:close/>
                  <a:moveTo>
                    <a:pt x="483" y="52"/>
                  </a:moveTo>
                  <a:lnTo>
                    <a:pt x="483" y="52"/>
                  </a:lnTo>
                  <a:lnTo>
                    <a:pt x="482" y="50"/>
                  </a:lnTo>
                  <a:lnTo>
                    <a:pt x="482" y="49"/>
                  </a:lnTo>
                  <a:lnTo>
                    <a:pt x="483" y="50"/>
                  </a:lnTo>
                  <a:lnTo>
                    <a:pt x="483" y="50"/>
                  </a:lnTo>
                  <a:lnTo>
                    <a:pt x="483" y="50"/>
                  </a:lnTo>
                  <a:lnTo>
                    <a:pt x="483" y="52"/>
                  </a:lnTo>
                  <a:close/>
                  <a:moveTo>
                    <a:pt x="19" y="56"/>
                  </a:moveTo>
                  <a:lnTo>
                    <a:pt x="18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7" y="50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11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5" y="52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9" y="56"/>
                  </a:lnTo>
                  <a:lnTo>
                    <a:pt x="19" y="56"/>
                  </a:lnTo>
                  <a:close/>
                  <a:moveTo>
                    <a:pt x="218" y="47"/>
                  </a:moveTo>
                  <a:lnTo>
                    <a:pt x="218" y="49"/>
                  </a:lnTo>
                  <a:lnTo>
                    <a:pt x="216" y="47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18" y="47"/>
                  </a:lnTo>
                  <a:close/>
                  <a:moveTo>
                    <a:pt x="168" y="49"/>
                  </a:moveTo>
                  <a:lnTo>
                    <a:pt x="168" y="49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9" y="46"/>
                  </a:lnTo>
                  <a:lnTo>
                    <a:pt x="169" y="46"/>
                  </a:lnTo>
                  <a:lnTo>
                    <a:pt x="169" y="47"/>
                  </a:lnTo>
                  <a:lnTo>
                    <a:pt x="168" y="49"/>
                  </a:lnTo>
                  <a:close/>
                  <a:moveTo>
                    <a:pt x="176" y="43"/>
                  </a:moveTo>
                  <a:lnTo>
                    <a:pt x="176" y="44"/>
                  </a:lnTo>
                  <a:lnTo>
                    <a:pt x="175" y="44"/>
                  </a:lnTo>
                  <a:lnTo>
                    <a:pt x="175" y="43"/>
                  </a:lnTo>
                  <a:lnTo>
                    <a:pt x="175" y="43"/>
                  </a:lnTo>
                  <a:lnTo>
                    <a:pt x="176" y="43"/>
                  </a:lnTo>
                  <a:lnTo>
                    <a:pt x="176" y="43"/>
                  </a:lnTo>
                  <a:close/>
                  <a:moveTo>
                    <a:pt x="359" y="42"/>
                  </a:moveTo>
                  <a:lnTo>
                    <a:pt x="358" y="42"/>
                  </a:lnTo>
                  <a:lnTo>
                    <a:pt x="358" y="42"/>
                  </a:lnTo>
                  <a:lnTo>
                    <a:pt x="356" y="40"/>
                  </a:lnTo>
                  <a:lnTo>
                    <a:pt x="356" y="39"/>
                  </a:lnTo>
                  <a:lnTo>
                    <a:pt x="358" y="39"/>
                  </a:lnTo>
                  <a:lnTo>
                    <a:pt x="359" y="40"/>
                  </a:lnTo>
                  <a:lnTo>
                    <a:pt x="359" y="42"/>
                  </a:lnTo>
                  <a:close/>
                  <a:moveTo>
                    <a:pt x="486" y="39"/>
                  </a:moveTo>
                  <a:lnTo>
                    <a:pt x="486" y="40"/>
                  </a:lnTo>
                  <a:lnTo>
                    <a:pt x="484" y="39"/>
                  </a:lnTo>
                  <a:lnTo>
                    <a:pt x="484" y="37"/>
                  </a:lnTo>
                  <a:lnTo>
                    <a:pt x="484" y="37"/>
                  </a:lnTo>
                  <a:lnTo>
                    <a:pt x="483" y="36"/>
                  </a:lnTo>
                  <a:lnTo>
                    <a:pt x="483" y="36"/>
                  </a:lnTo>
                  <a:lnTo>
                    <a:pt x="483" y="34"/>
                  </a:lnTo>
                  <a:lnTo>
                    <a:pt x="484" y="36"/>
                  </a:lnTo>
                  <a:lnTo>
                    <a:pt x="486" y="37"/>
                  </a:lnTo>
                  <a:lnTo>
                    <a:pt x="486" y="39"/>
                  </a:lnTo>
                  <a:lnTo>
                    <a:pt x="486" y="39"/>
                  </a:lnTo>
                  <a:close/>
                  <a:moveTo>
                    <a:pt x="506" y="34"/>
                  </a:moveTo>
                  <a:lnTo>
                    <a:pt x="506" y="34"/>
                  </a:lnTo>
                  <a:lnTo>
                    <a:pt x="504" y="33"/>
                  </a:lnTo>
                  <a:lnTo>
                    <a:pt x="504" y="33"/>
                  </a:lnTo>
                  <a:lnTo>
                    <a:pt x="504" y="33"/>
                  </a:lnTo>
                  <a:lnTo>
                    <a:pt x="504" y="33"/>
                  </a:lnTo>
                  <a:lnTo>
                    <a:pt x="506" y="33"/>
                  </a:lnTo>
                  <a:lnTo>
                    <a:pt x="506" y="33"/>
                  </a:lnTo>
                  <a:lnTo>
                    <a:pt x="506" y="34"/>
                  </a:lnTo>
                  <a:close/>
                  <a:moveTo>
                    <a:pt x="503" y="32"/>
                  </a:moveTo>
                  <a:lnTo>
                    <a:pt x="503" y="33"/>
                  </a:lnTo>
                  <a:lnTo>
                    <a:pt x="503" y="32"/>
                  </a:lnTo>
                  <a:lnTo>
                    <a:pt x="502" y="30"/>
                  </a:lnTo>
                  <a:lnTo>
                    <a:pt x="503" y="30"/>
                  </a:lnTo>
                  <a:lnTo>
                    <a:pt x="504" y="32"/>
                  </a:lnTo>
                  <a:lnTo>
                    <a:pt x="503" y="32"/>
                  </a:lnTo>
                  <a:close/>
                  <a:moveTo>
                    <a:pt x="362" y="27"/>
                  </a:moveTo>
                  <a:lnTo>
                    <a:pt x="363" y="29"/>
                  </a:lnTo>
                  <a:lnTo>
                    <a:pt x="363" y="29"/>
                  </a:lnTo>
                  <a:lnTo>
                    <a:pt x="360" y="30"/>
                  </a:lnTo>
                  <a:lnTo>
                    <a:pt x="358" y="29"/>
                  </a:lnTo>
                  <a:lnTo>
                    <a:pt x="359" y="27"/>
                  </a:lnTo>
                  <a:lnTo>
                    <a:pt x="360" y="27"/>
                  </a:lnTo>
                  <a:lnTo>
                    <a:pt x="362" y="27"/>
                  </a:lnTo>
                  <a:close/>
                  <a:moveTo>
                    <a:pt x="209" y="36"/>
                  </a:moveTo>
                  <a:lnTo>
                    <a:pt x="206" y="36"/>
                  </a:lnTo>
                  <a:lnTo>
                    <a:pt x="205" y="34"/>
                  </a:lnTo>
                  <a:lnTo>
                    <a:pt x="206" y="34"/>
                  </a:lnTo>
                  <a:lnTo>
                    <a:pt x="208" y="34"/>
                  </a:lnTo>
                  <a:lnTo>
                    <a:pt x="208" y="33"/>
                  </a:lnTo>
                  <a:lnTo>
                    <a:pt x="208" y="33"/>
                  </a:lnTo>
                  <a:lnTo>
                    <a:pt x="205" y="33"/>
                  </a:lnTo>
                  <a:lnTo>
                    <a:pt x="205" y="32"/>
                  </a:lnTo>
                  <a:lnTo>
                    <a:pt x="203" y="30"/>
                  </a:lnTo>
                  <a:lnTo>
                    <a:pt x="203" y="30"/>
                  </a:lnTo>
                  <a:lnTo>
                    <a:pt x="206" y="27"/>
                  </a:lnTo>
                  <a:lnTo>
                    <a:pt x="208" y="27"/>
                  </a:lnTo>
                  <a:lnTo>
                    <a:pt x="208" y="27"/>
                  </a:lnTo>
                  <a:lnTo>
                    <a:pt x="211" y="30"/>
                  </a:lnTo>
                  <a:lnTo>
                    <a:pt x="211" y="32"/>
                  </a:lnTo>
                  <a:lnTo>
                    <a:pt x="211" y="33"/>
                  </a:lnTo>
                  <a:lnTo>
                    <a:pt x="209" y="36"/>
                  </a:lnTo>
                  <a:close/>
                  <a:moveTo>
                    <a:pt x="340" y="24"/>
                  </a:moveTo>
                  <a:lnTo>
                    <a:pt x="342" y="24"/>
                  </a:lnTo>
                  <a:lnTo>
                    <a:pt x="342" y="24"/>
                  </a:lnTo>
                  <a:lnTo>
                    <a:pt x="343" y="24"/>
                  </a:lnTo>
                  <a:lnTo>
                    <a:pt x="345" y="24"/>
                  </a:lnTo>
                  <a:lnTo>
                    <a:pt x="349" y="24"/>
                  </a:lnTo>
                  <a:lnTo>
                    <a:pt x="352" y="26"/>
                  </a:lnTo>
                  <a:lnTo>
                    <a:pt x="355" y="27"/>
                  </a:lnTo>
                  <a:lnTo>
                    <a:pt x="356" y="27"/>
                  </a:lnTo>
                  <a:lnTo>
                    <a:pt x="358" y="27"/>
                  </a:lnTo>
                  <a:lnTo>
                    <a:pt x="358" y="27"/>
                  </a:lnTo>
                  <a:lnTo>
                    <a:pt x="356" y="29"/>
                  </a:lnTo>
                  <a:lnTo>
                    <a:pt x="355" y="29"/>
                  </a:lnTo>
                  <a:lnTo>
                    <a:pt x="358" y="30"/>
                  </a:lnTo>
                  <a:lnTo>
                    <a:pt x="358" y="32"/>
                  </a:lnTo>
                  <a:lnTo>
                    <a:pt x="358" y="32"/>
                  </a:lnTo>
                  <a:lnTo>
                    <a:pt x="359" y="33"/>
                  </a:lnTo>
                  <a:lnTo>
                    <a:pt x="359" y="34"/>
                  </a:lnTo>
                  <a:lnTo>
                    <a:pt x="360" y="34"/>
                  </a:lnTo>
                  <a:lnTo>
                    <a:pt x="360" y="36"/>
                  </a:lnTo>
                  <a:lnTo>
                    <a:pt x="359" y="36"/>
                  </a:lnTo>
                  <a:lnTo>
                    <a:pt x="358" y="36"/>
                  </a:lnTo>
                  <a:lnTo>
                    <a:pt x="358" y="36"/>
                  </a:lnTo>
                  <a:lnTo>
                    <a:pt x="356" y="34"/>
                  </a:lnTo>
                  <a:lnTo>
                    <a:pt x="356" y="36"/>
                  </a:lnTo>
                  <a:lnTo>
                    <a:pt x="355" y="36"/>
                  </a:lnTo>
                  <a:lnTo>
                    <a:pt x="352" y="36"/>
                  </a:lnTo>
                  <a:lnTo>
                    <a:pt x="350" y="36"/>
                  </a:lnTo>
                  <a:lnTo>
                    <a:pt x="349" y="36"/>
                  </a:lnTo>
                  <a:lnTo>
                    <a:pt x="350" y="36"/>
                  </a:lnTo>
                  <a:lnTo>
                    <a:pt x="350" y="37"/>
                  </a:lnTo>
                  <a:lnTo>
                    <a:pt x="353" y="39"/>
                  </a:lnTo>
                  <a:lnTo>
                    <a:pt x="355" y="40"/>
                  </a:lnTo>
                  <a:lnTo>
                    <a:pt x="353" y="43"/>
                  </a:lnTo>
                  <a:lnTo>
                    <a:pt x="353" y="43"/>
                  </a:lnTo>
                  <a:lnTo>
                    <a:pt x="355" y="43"/>
                  </a:lnTo>
                  <a:lnTo>
                    <a:pt x="356" y="44"/>
                  </a:lnTo>
                  <a:lnTo>
                    <a:pt x="358" y="44"/>
                  </a:lnTo>
                  <a:lnTo>
                    <a:pt x="358" y="46"/>
                  </a:lnTo>
                  <a:lnTo>
                    <a:pt x="358" y="46"/>
                  </a:lnTo>
                  <a:lnTo>
                    <a:pt x="358" y="47"/>
                  </a:lnTo>
                  <a:lnTo>
                    <a:pt x="358" y="47"/>
                  </a:lnTo>
                  <a:lnTo>
                    <a:pt x="358" y="47"/>
                  </a:lnTo>
                  <a:lnTo>
                    <a:pt x="359" y="47"/>
                  </a:lnTo>
                  <a:lnTo>
                    <a:pt x="359" y="49"/>
                  </a:lnTo>
                  <a:lnTo>
                    <a:pt x="358" y="49"/>
                  </a:lnTo>
                  <a:lnTo>
                    <a:pt x="359" y="49"/>
                  </a:lnTo>
                  <a:lnTo>
                    <a:pt x="360" y="50"/>
                  </a:lnTo>
                  <a:lnTo>
                    <a:pt x="360" y="50"/>
                  </a:lnTo>
                  <a:lnTo>
                    <a:pt x="360" y="52"/>
                  </a:lnTo>
                  <a:lnTo>
                    <a:pt x="362" y="53"/>
                  </a:lnTo>
                  <a:lnTo>
                    <a:pt x="365" y="56"/>
                  </a:lnTo>
                  <a:lnTo>
                    <a:pt x="365" y="57"/>
                  </a:lnTo>
                  <a:lnTo>
                    <a:pt x="365" y="57"/>
                  </a:lnTo>
                  <a:lnTo>
                    <a:pt x="365" y="59"/>
                  </a:lnTo>
                  <a:lnTo>
                    <a:pt x="363" y="60"/>
                  </a:lnTo>
                  <a:lnTo>
                    <a:pt x="362" y="60"/>
                  </a:lnTo>
                  <a:lnTo>
                    <a:pt x="362" y="62"/>
                  </a:lnTo>
                  <a:lnTo>
                    <a:pt x="360" y="62"/>
                  </a:lnTo>
                  <a:lnTo>
                    <a:pt x="362" y="62"/>
                  </a:lnTo>
                  <a:lnTo>
                    <a:pt x="362" y="63"/>
                  </a:lnTo>
                  <a:lnTo>
                    <a:pt x="363" y="64"/>
                  </a:lnTo>
                  <a:lnTo>
                    <a:pt x="365" y="67"/>
                  </a:lnTo>
                  <a:lnTo>
                    <a:pt x="366" y="67"/>
                  </a:lnTo>
                  <a:lnTo>
                    <a:pt x="372" y="72"/>
                  </a:lnTo>
                  <a:lnTo>
                    <a:pt x="375" y="73"/>
                  </a:lnTo>
                  <a:lnTo>
                    <a:pt x="378" y="76"/>
                  </a:lnTo>
                  <a:lnTo>
                    <a:pt x="379" y="77"/>
                  </a:lnTo>
                  <a:lnTo>
                    <a:pt x="380" y="79"/>
                  </a:lnTo>
                  <a:lnTo>
                    <a:pt x="379" y="80"/>
                  </a:lnTo>
                  <a:lnTo>
                    <a:pt x="376" y="80"/>
                  </a:lnTo>
                  <a:lnTo>
                    <a:pt x="373" y="82"/>
                  </a:lnTo>
                  <a:lnTo>
                    <a:pt x="369" y="80"/>
                  </a:lnTo>
                  <a:lnTo>
                    <a:pt x="368" y="80"/>
                  </a:lnTo>
                  <a:lnTo>
                    <a:pt x="366" y="79"/>
                  </a:lnTo>
                  <a:lnTo>
                    <a:pt x="365" y="77"/>
                  </a:lnTo>
                  <a:lnTo>
                    <a:pt x="363" y="76"/>
                  </a:lnTo>
                  <a:lnTo>
                    <a:pt x="363" y="77"/>
                  </a:lnTo>
                  <a:lnTo>
                    <a:pt x="363" y="79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2" y="82"/>
                  </a:lnTo>
                  <a:lnTo>
                    <a:pt x="360" y="82"/>
                  </a:lnTo>
                  <a:lnTo>
                    <a:pt x="360" y="83"/>
                  </a:lnTo>
                  <a:lnTo>
                    <a:pt x="356" y="89"/>
                  </a:lnTo>
                  <a:lnTo>
                    <a:pt x="356" y="90"/>
                  </a:lnTo>
                  <a:lnTo>
                    <a:pt x="355" y="97"/>
                  </a:lnTo>
                  <a:lnTo>
                    <a:pt x="355" y="99"/>
                  </a:lnTo>
                  <a:lnTo>
                    <a:pt x="356" y="103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6" y="107"/>
                  </a:lnTo>
                  <a:lnTo>
                    <a:pt x="353" y="107"/>
                  </a:lnTo>
                  <a:lnTo>
                    <a:pt x="352" y="109"/>
                  </a:lnTo>
                  <a:lnTo>
                    <a:pt x="350" y="110"/>
                  </a:lnTo>
                  <a:lnTo>
                    <a:pt x="349" y="112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6" y="113"/>
                  </a:lnTo>
                  <a:lnTo>
                    <a:pt x="345" y="113"/>
                  </a:lnTo>
                  <a:lnTo>
                    <a:pt x="345" y="112"/>
                  </a:lnTo>
                  <a:lnTo>
                    <a:pt x="343" y="110"/>
                  </a:lnTo>
                  <a:lnTo>
                    <a:pt x="343" y="112"/>
                  </a:lnTo>
                  <a:lnTo>
                    <a:pt x="343" y="113"/>
                  </a:lnTo>
                  <a:lnTo>
                    <a:pt x="345" y="113"/>
                  </a:lnTo>
                  <a:lnTo>
                    <a:pt x="345" y="114"/>
                  </a:lnTo>
                  <a:lnTo>
                    <a:pt x="343" y="114"/>
                  </a:lnTo>
                  <a:lnTo>
                    <a:pt x="343" y="116"/>
                  </a:lnTo>
                  <a:lnTo>
                    <a:pt x="342" y="117"/>
                  </a:lnTo>
                  <a:lnTo>
                    <a:pt x="340" y="117"/>
                  </a:lnTo>
                  <a:lnTo>
                    <a:pt x="340" y="119"/>
                  </a:lnTo>
                  <a:lnTo>
                    <a:pt x="340" y="120"/>
                  </a:lnTo>
                  <a:lnTo>
                    <a:pt x="339" y="120"/>
                  </a:lnTo>
                  <a:lnTo>
                    <a:pt x="338" y="122"/>
                  </a:lnTo>
                  <a:lnTo>
                    <a:pt x="336" y="122"/>
                  </a:lnTo>
                  <a:lnTo>
                    <a:pt x="336" y="123"/>
                  </a:lnTo>
                  <a:lnTo>
                    <a:pt x="338" y="123"/>
                  </a:lnTo>
                  <a:lnTo>
                    <a:pt x="339" y="123"/>
                  </a:lnTo>
                  <a:lnTo>
                    <a:pt x="339" y="123"/>
                  </a:lnTo>
                  <a:lnTo>
                    <a:pt x="339" y="124"/>
                  </a:lnTo>
                  <a:lnTo>
                    <a:pt x="339" y="127"/>
                  </a:lnTo>
                  <a:lnTo>
                    <a:pt x="338" y="129"/>
                  </a:lnTo>
                  <a:lnTo>
                    <a:pt x="338" y="129"/>
                  </a:lnTo>
                  <a:lnTo>
                    <a:pt x="339" y="129"/>
                  </a:lnTo>
                  <a:lnTo>
                    <a:pt x="340" y="129"/>
                  </a:lnTo>
                  <a:lnTo>
                    <a:pt x="340" y="130"/>
                  </a:lnTo>
                  <a:lnTo>
                    <a:pt x="340" y="133"/>
                  </a:lnTo>
                  <a:lnTo>
                    <a:pt x="340" y="134"/>
                  </a:lnTo>
                  <a:lnTo>
                    <a:pt x="339" y="134"/>
                  </a:lnTo>
                  <a:lnTo>
                    <a:pt x="339" y="134"/>
                  </a:lnTo>
                  <a:lnTo>
                    <a:pt x="338" y="134"/>
                  </a:lnTo>
                  <a:lnTo>
                    <a:pt x="338" y="134"/>
                  </a:lnTo>
                  <a:lnTo>
                    <a:pt x="336" y="136"/>
                  </a:lnTo>
                  <a:lnTo>
                    <a:pt x="338" y="134"/>
                  </a:lnTo>
                  <a:lnTo>
                    <a:pt x="338" y="137"/>
                  </a:lnTo>
                  <a:lnTo>
                    <a:pt x="338" y="139"/>
                  </a:lnTo>
                  <a:lnTo>
                    <a:pt x="338" y="140"/>
                  </a:lnTo>
                  <a:lnTo>
                    <a:pt x="336" y="142"/>
                  </a:lnTo>
                  <a:lnTo>
                    <a:pt x="336" y="142"/>
                  </a:lnTo>
                  <a:lnTo>
                    <a:pt x="335" y="140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6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6"/>
                  </a:lnTo>
                  <a:lnTo>
                    <a:pt x="333" y="147"/>
                  </a:lnTo>
                  <a:lnTo>
                    <a:pt x="332" y="149"/>
                  </a:lnTo>
                  <a:lnTo>
                    <a:pt x="332" y="150"/>
                  </a:lnTo>
                  <a:lnTo>
                    <a:pt x="332" y="152"/>
                  </a:lnTo>
                  <a:lnTo>
                    <a:pt x="320" y="156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09" y="153"/>
                  </a:lnTo>
                  <a:lnTo>
                    <a:pt x="309" y="150"/>
                  </a:lnTo>
                  <a:lnTo>
                    <a:pt x="308" y="147"/>
                  </a:lnTo>
                  <a:lnTo>
                    <a:pt x="308" y="150"/>
                  </a:lnTo>
                  <a:lnTo>
                    <a:pt x="306" y="149"/>
                  </a:lnTo>
                  <a:lnTo>
                    <a:pt x="305" y="149"/>
                  </a:lnTo>
                  <a:lnTo>
                    <a:pt x="305" y="149"/>
                  </a:lnTo>
                  <a:lnTo>
                    <a:pt x="305" y="147"/>
                  </a:lnTo>
                  <a:lnTo>
                    <a:pt x="305" y="146"/>
                  </a:lnTo>
                  <a:lnTo>
                    <a:pt x="305" y="147"/>
                  </a:lnTo>
                  <a:lnTo>
                    <a:pt x="303" y="147"/>
                  </a:lnTo>
                  <a:lnTo>
                    <a:pt x="303" y="147"/>
                  </a:lnTo>
                  <a:lnTo>
                    <a:pt x="302" y="147"/>
                  </a:lnTo>
                  <a:lnTo>
                    <a:pt x="302" y="146"/>
                  </a:lnTo>
                  <a:lnTo>
                    <a:pt x="300" y="146"/>
                  </a:lnTo>
                  <a:lnTo>
                    <a:pt x="299" y="149"/>
                  </a:lnTo>
                  <a:lnTo>
                    <a:pt x="296" y="149"/>
                  </a:lnTo>
                  <a:lnTo>
                    <a:pt x="295" y="149"/>
                  </a:lnTo>
                  <a:lnTo>
                    <a:pt x="293" y="149"/>
                  </a:lnTo>
                  <a:lnTo>
                    <a:pt x="293" y="147"/>
                  </a:lnTo>
                  <a:lnTo>
                    <a:pt x="293" y="146"/>
                  </a:lnTo>
                  <a:lnTo>
                    <a:pt x="293" y="144"/>
                  </a:lnTo>
                  <a:lnTo>
                    <a:pt x="293" y="144"/>
                  </a:lnTo>
                  <a:lnTo>
                    <a:pt x="292" y="144"/>
                  </a:lnTo>
                  <a:lnTo>
                    <a:pt x="290" y="146"/>
                  </a:lnTo>
                  <a:lnTo>
                    <a:pt x="289" y="146"/>
                  </a:lnTo>
                  <a:lnTo>
                    <a:pt x="289" y="146"/>
                  </a:lnTo>
                  <a:lnTo>
                    <a:pt x="285" y="140"/>
                  </a:lnTo>
                  <a:lnTo>
                    <a:pt x="283" y="144"/>
                  </a:lnTo>
                  <a:lnTo>
                    <a:pt x="281" y="147"/>
                  </a:lnTo>
                  <a:lnTo>
                    <a:pt x="278" y="149"/>
                  </a:lnTo>
                  <a:lnTo>
                    <a:pt x="275" y="147"/>
                  </a:lnTo>
                  <a:lnTo>
                    <a:pt x="272" y="147"/>
                  </a:lnTo>
                  <a:lnTo>
                    <a:pt x="271" y="147"/>
                  </a:lnTo>
                  <a:lnTo>
                    <a:pt x="268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5" y="150"/>
                  </a:lnTo>
                  <a:lnTo>
                    <a:pt x="265" y="149"/>
                  </a:lnTo>
                  <a:lnTo>
                    <a:pt x="265" y="147"/>
                  </a:lnTo>
                  <a:lnTo>
                    <a:pt x="265" y="143"/>
                  </a:lnTo>
                  <a:lnTo>
                    <a:pt x="265" y="142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2" y="140"/>
                  </a:lnTo>
                  <a:lnTo>
                    <a:pt x="262" y="142"/>
                  </a:lnTo>
                  <a:lnTo>
                    <a:pt x="259" y="142"/>
                  </a:lnTo>
                  <a:lnTo>
                    <a:pt x="258" y="140"/>
                  </a:lnTo>
                  <a:lnTo>
                    <a:pt x="256" y="142"/>
                  </a:lnTo>
                  <a:lnTo>
                    <a:pt x="252" y="143"/>
                  </a:lnTo>
                  <a:lnTo>
                    <a:pt x="251" y="143"/>
                  </a:lnTo>
                  <a:lnTo>
                    <a:pt x="249" y="143"/>
                  </a:lnTo>
                  <a:lnTo>
                    <a:pt x="249" y="142"/>
                  </a:lnTo>
                  <a:lnTo>
                    <a:pt x="249" y="142"/>
                  </a:lnTo>
                  <a:lnTo>
                    <a:pt x="251" y="140"/>
                  </a:lnTo>
                  <a:lnTo>
                    <a:pt x="249" y="140"/>
                  </a:lnTo>
                  <a:lnTo>
                    <a:pt x="248" y="142"/>
                  </a:lnTo>
                  <a:lnTo>
                    <a:pt x="248" y="142"/>
                  </a:lnTo>
                  <a:lnTo>
                    <a:pt x="246" y="142"/>
                  </a:lnTo>
                  <a:lnTo>
                    <a:pt x="245" y="140"/>
                  </a:lnTo>
                  <a:lnTo>
                    <a:pt x="242" y="140"/>
                  </a:lnTo>
                  <a:lnTo>
                    <a:pt x="242" y="142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39" y="140"/>
                  </a:lnTo>
                  <a:lnTo>
                    <a:pt x="239" y="137"/>
                  </a:lnTo>
                  <a:lnTo>
                    <a:pt x="238" y="130"/>
                  </a:lnTo>
                  <a:lnTo>
                    <a:pt x="238" y="126"/>
                  </a:lnTo>
                  <a:lnTo>
                    <a:pt x="236" y="124"/>
                  </a:lnTo>
                  <a:lnTo>
                    <a:pt x="235" y="123"/>
                  </a:lnTo>
                  <a:lnTo>
                    <a:pt x="235" y="122"/>
                  </a:lnTo>
                  <a:lnTo>
                    <a:pt x="236" y="120"/>
                  </a:lnTo>
                  <a:lnTo>
                    <a:pt x="236" y="119"/>
                  </a:lnTo>
                  <a:lnTo>
                    <a:pt x="236" y="116"/>
                  </a:lnTo>
                  <a:lnTo>
                    <a:pt x="235" y="114"/>
                  </a:lnTo>
                  <a:lnTo>
                    <a:pt x="235" y="113"/>
                  </a:lnTo>
                  <a:lnTo>
                    <a:pt x="233" y="112"/>
                  </a:lnTo>
                  <a:lnTo>
                    <a:pt x="232" y="110"/>
                  </a:lnTo>
                  <a:lnTo>
                    <a:pt x="231" y="109"/>
                  </a:lnTo>
                  <a:lnTo>
                    <a:pt x="228" y="107"/>
                  </a:lnTo>
                  <a:lnTo>
                    <a:pt x="225" y="107"/>
                  </a:lnTo>
                  <a:lnTo>
                    <a:pt x="225" y="107"/>
                  </a:lnTo>
                  <a:lnTo>
                    <a:pt x="223" y="107"/>
                  </a:lnTo>
                  <a:lnTo>
                    <a:pt x="223" y="106"/>
                  </a:lnTo>
                  <a:lnTo>
                    <a:pt x="225" y="104"/>
                  </a:lnTo>
                  <a:lnTo>
                    <a:pt x="226" y="104"/>
                  </a:lnTo>
                  <a:lnTo>
                    <a:pt x="226" y="104"/>
                  </a:lnTo>
                  <a:lnTo>
                    <a:pt x="223" y="103"/>
                  </a:lnTo>
                  <a:lnTo>
                    <a:pt x="222" y="102"/>
                  </a:lnTo>
                  <a:lnTo>
                    <a:pt x="222" y="102"/>
                  </a:lnTo>
                  <a:lnTo>
                    <a:pt x="222" y="100"/>
                  </a:lnTo>
                  <a:lnTo>
                    <a:pt x="222" y="99"/>
                  </a:lnTo>
                  <a:lnTo>
                    <a:pt x="222" y="97"/>
                  </a:lnTo>
                  <a:lnTo>
                    <a:pt x="222" y="96"/>
                  </a:lnTo>
                  <a:lnTo>
                    <a:pt x="223" y="94"/>
                  </a:lnTo>
                  <a:lnTo>
                    <a:pt x="223" y="93"/>
                  </a:lnTo>
                  <a:lnTo>
                    <a:pt x="223" y="93"/>
                  </a:lnTo>
                  <a:lnTo>
                    <a:pt x="223" y="93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21" y="90"/>
                  </a:lnTo>
                  <a:lnTo>
                    <a:pt x="219" y="89"/>
                  </a:lnTo>
                  <a:lnTo>
                    <a:pt x="219" y="86"/>
                  </a:lnTo>
                  <a:lnTo>
                    <a:pt x="218" y="82"/>
                  </a:lnTo>
                  <a:lnTo>
                    <a:pt x="218" y="79"/>
                  </a:lnTo>
                  <a:lnTo>
                    <a:pt x="219" y="76"/>
                  </a:lnTo>
                  <a:lnTo>
                    <a:pt x="221" y="74"/>
                  </a:lnTo>
                  <a:lnTo>
                    <a:pt x="221" y="74"/>
                  </a:lnTo>
                  <a:lnTo>
                    <a:pt x="222" y="74"/>
                  </a:lnTo>
                  <a:lnTo>
                    <a:pt x="221" y="74"/>
                  </a:lnTo>
                  <a:lnTo>
                    <a:pt x="221" y="74"/>
                  </a:lnTo>
                  <a:lnTo>
                    <a:pt x="221" y="74"/>
                  </a:lnTo>
                  <a:lnTo>
                    <a:pt x="221" y="72"/>
                  </a:lnTo>
                  <a:lnTo>
                    <a:pt x="221" y="70"/>
                  </a:lnTo>
                  <a:lnTo>
                    <a:pt x="222" y="69"/>
                  </a:lnTo>
                  <a:lnTo>
                    <a:pt x="223" y="67"/>
                  </a:lnTo>
                  <a:lnTo>
                    <a:pt x="225" y="64"/>
                  </a:lnTo>
                  <a:lnTo>
                    <a:pt x="226" y="63"/>
                  </a:lnTo>
                  <a:lnTo>
                    <a:pt x="229" y="62"/>
                  </a:lnTo>
                  <a:lnTo>
                    <a:pt x="228" y="64"/>
                  </a:lnTo>
                  <a:lnTo>
                    <a:pt x="229" y="64"/>
                  </a:lnTo>
                  <a:lnTo>
                    <a:pt x="229" y="66"/>
                  </a:lnTo>
                  <a:lnTo>
                    <a:pt x="231" y="66"/>
                  </a:lnTo>
                  <a:lnTo>
                    <a:pt x="231" y="69"/>
                  </a:lnTo>
                  <a:lnTo>
                    <a:pt x="232" y="70"/>
                  </a:lnTo>
                  <a:lnTo>
                    <a:pt x="233" y="72"/>
                  </a:lnTo>
                  <a:lnTo>
                    <a:pt x="233" y="72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6" y="74"/>
                  </a:lnTo>
                  <a:lnTo>
                    <a:pt x="238" y="74"/>
                  </a:lnTo>
                  <a:lnTo>
                    <a:pt x="241" y="79"/>
                  </a:lnTo>
                  <a:lnTo>
                    <a:pt x="242" y="79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6" y="80"/>
                  </a:lnTo>
                  <a:lnTo>
                    <a:pt x="251" y="77"/>
                  </a:lnTo>
                  <a:lnTo>
                    <a:pt x="252" y="77"/>
                  </a:lnTo>
                  <a:lnTo>
                    <a:pt x="253" y="77"/>
                  </a:lnTo>
                  <a:lnTo>
                    <a:pt x="256" y="77"/>
                  </a:lnTo>
                  <a:lnTo>
                    <a:pt x="259" y="79"/>
                  </a:lnTo>
                  <a:lnTo>
                    <a:pt x="261" y="79"/>
                  </a:lnTo>
                  <a:lnTo>
                    <a:pt x="262" y="77"/>
                  </a:lnTo>
                  <a:lnTo>
                    <a:pt x="263" y="77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6" y="76"/>
                  </a:lnTo>
                  <a:lnTo>
                    <a:pt x="269" y="76"/>
                  </a:lnTo>
                  <a:lnTo>
                    <a:pt x="271" y="74"/>
                  </a:lnTo>
                  <a:lnTo>
                    <a:pt x="271" y="73"/>
                  </a:lnTo>
                  <a:lnTo>
                    <a:pt x="271" y="72"/>
                  </a:lnTo>
                  <a:lnTo>
                    <a:pt x="272" y="70"/>
                  </a:lnTo>
                  <a:lnTo>
                    <a:pt x="273" y="70"/>
                  </a:lnTo>
                  <a:lnTo>
                    <a:pt x="275" y="69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3" y="70"/>
                  </a:lnTo>
                  <a:lnTo>
                    <a:pt x="283" y="70"/>
                  </a:lnTo>
                  <a:lnTo>
                    <a:pt x="283" y="72"/>
                  </a:lnTo>
                  <a:lnTo>
                    <a:pt x="285" y="72"/>
                  </a:lnTo>
                  <a:lnTo>
                    <a:pt x="286" y="72"/>
                  </a:lnTo>
                  <a:lnTo>
                    <a:pt x="289" y="73"/>
                  </a:lnTo>
                  <a:lnTo>
                    <a:pt x="292" y="73"/>
                  </a:lnTo>
                  <a:lnTo>
                    <a:pt x="292" y="73"/>
                  </a:lnTo>
                  <a:lnTo>
                    <a:pt x="293" y="74"/>
                  </a:lnTo>
                  <a:lnTo>
                    <a:pt x="295" y="74"/>
                  </a:lnTo>
                  <a:lnTo>
                    <a:pt x="296" y="73"/>
                  </a:lnTo>
                  <a:lnTo>
                    <a:pt x="298" y="72"/>
                  </a:lnTo>
                  <a:lnTo>
                    <a:pt x="298" y="72"/>
                  </a:lnTo>
                  <a:lnTo>
                    <a:pt x="300" y="70"/>
                  </a:lnTo>
                  <a:lnTo>
                    <a:pt x="302" y="70"/>
                  </a:lnTo>
                  <a:lnTo>
                    <a:pt x="305" y="70"/>
                  </a:lnTo>
                  <a:lnTo>
                    <a:pt x="306" y="70"/>
                  </a:lnTo>
                  <a:lnTo>
                    <a:pt x="308" y="70"/>
                  </a:lnTo>
                  <a:lnTo>
                    <a:pt x="309" y="70"/>
                  </a:lnTo>
                  <a:lnTo>
                    <a:pt x="309" y="70"/>
                  </a:lnTo>
                  <a:lnTo>
                    <a:pt x="310" y="69"/>
                  </a:lnTo>
                  <a:lnTo>
                    <a:pt x="310" y="67"/>
                  </a:lnTo>
                  <a:lnTo>
                    <a:pt x="310" y="64"/>
                  </a:lnTo>
                  <a:lnTo>
                    <a:pt x="310" y="64"/>
                  </a:lnTo>
                  <a:lnTo>
                    <a:pt x="312" y="64"/>
                  </a:lnTo>
                  <a:lnTo>
                    <a:pt x="313" y="64"/>
                  </a:lnTo>
                  <a:lnTo>
                    <a:pt x="313" y="63"/>
                  </a:lnTo>
                  <a:lnTo>
                    <a:pt x="313" y="63"/>
                  </a:lnTo>
                  <a:lnTo>
                    <a:pt x="313" y="62"/>
                  </a:lnTo>
                  <a:lnTo>
                    <a:pt x="312" y="62"/>
                  </a:lnTo>
                  <a:lnTo>
                    <a:pt x="312" y="60"/>
                  </a:lnTo>
                  <a:lnTo>
                    <a:pt x="312" y="59"/>
                  </a:lnTo>
                  <a:lnTo>
                    <a:pt x="312" y="59"/>
                  </a:lnTo>
                  <a:lnTo>
                    <a:pt x="313" y="57"/>
                  </a:lnTo>
                  <a:lnTo>
                    <a:pt x="315" y="56"/>
                  </a:lnTo>
                  <a:lnTo>
                    <a:pt x="318" y="54"/>
                  </a:lnTo>
                  <a:lnTo>
                    <a:pt x="319" y="54"/>
                  </a:lnTo>
                  <a:lnTo>
                    <a:pt x="319" y="54"/>
                  </a:lnTo>
                  <a:lnTo>
                    <a:pt x="319" y="53"/>
                  </a:lnTo>
                  <a:lnTo>
                    <a:pt x="318" y="53"/>
                  </a:lnTo>
                  <a:lnTo>
                    <a:pt x="318" y="52"/>
                  </a:lnTo>
                  <a:lnTo>
                    <a:pt x="318" y="52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49"/>
                  </a:lnTo>
                  <a:lnTo>
                    <a:pt x="318" y="47"/>
                  </a:lnTo>
                  <a:lnTo>
                    <a:pt x="319" y="46"/>
                  </a:lnTo>
                  <a:lnTo>
                    <a:pt x="320" y="46"/>
                  </a:lnTo>
                  <a:lnTo>
                    <a:pt x="320" y="46"/>
                  </a:lnTo>
                  <a:lnTo>
                    <a:pt x="322" y="46"/>
                  </a:lnTo>
                  <a:lnTo>
                    <a:pt x="323" y="46"/>
                  </a:lnTo>
                  <a:lnTo>
                    <a:pt x="323" y="44"/>
                  </a:lnTo>
                  <a:lnTo>
                    <a:pt x="323" y="43"/>
                  </a:lnTo>
                  <a:lnTo>
                    <a:pt x="323" y="43"/>
                  </a:lnTo>
                  <a:lnTo>
                    <a:pt x="325" y="40"/>
                  </a:lnTo>
                  <a:lnTo>
                    <a:pt x="325" y="40"/>
                  </a:lnTo>
                  <a:lnTo>
                    <a:pt x="325" y="39"/>
                  </a:lnTo>
                  <a:lnTo>
                    <a:pt x="325" y="39"/>
                  </a:lnTo>
                  <a:lnTo>
                    <a:pt x="325" y="36"/>
                  </a:lnTo>
                  <a:lnTo>
                    <a:pt x="325" y="34"/>
                  </a:lnTo>
                  <a:lnTo>
                    <a:pt x="325" y="32"/>
                  </a:lnTo>
                  <a:lnTo>
                    <a:pt x="326" y="30"/>
                  </a:lnTo>
                  <a:lnTo>
                    <a:pt x="326" y="29"/>
                  </a:lnTo>
                  <a:lnTo>
                    <a:pt x="326" y="27"/>
                  </a:lnTo>
                  <a:lnTo>
                    <a:pt x="329" y="26"/>
                  </a:lnTo>
                  <a:lnTo>
                    <a:pt x="329" y="24"/>
                  </a:lnTo>
                  <a:lnTo>
                    <a:pt x="329" y="24"/>
                  </a:lnTo>
                  <a:lnTo>
                    <a:pt x="330" y="24"/>
                  </a:lnTo>
                  <a:lnTo>
                    <a:pt x="332" y="26"/>
                  </a:lnTo>
                  <a:lnTo>
                    <a:pt x="335" y="24"/>
                  </a:lnTo>
                  <a:lnTo>
                    <a:pt x="336" y="24"/>
                  </a:lnTo>
                  <a:lnTo>
                    <a:pt x="338" y="24"/>
                  </a:lnTo>
                  <a:lnTo>
                    <a:pt x="338" y="24"/>
                  </a:lnTo>
                  <a:lnTo>
                    <a:pt x="339" y="26"/>
                  </a:lnTo>
                  <a:lnTo>
                    <a:pt x="340" y="24"/>
                  </a:lnTo>
                  <a:lnTo>
                    <a:pt x="340" y="24"/>
                  </a:lnTo>
                  <a:close/>
                  <a:moveTo>
                    <a:pt x="504" y="30"/>
                  </a:moveTo>
                  <a:lnTo>
                    <a:pt x="504" y="30"/>
                  </a:lnTo>
                  <a:lnTo>
                    <a:pt x="503" y="30"/>
                  </a:lnTo>
                  <a:lnTo>
                    <a:pt x="503" y="29"/>
                  </a:lnTo>
                  <a:lnTo>
                    <a:pt x="504" y="27"/>
                  </a:lnTo>
                  <a:lnTo>
                    <a:pt x="504" y="26"/>
                  </a:lnTo>
                  <a:lnTo>
                    <a:pt x="504" y="26"/>
                  </a:lnTo>
                  <a:lnTo>
                    <a:pt x="503" y="24"/>
                  </a:lnTo>
                  <a:lnTo>
                    <a:pt x="503" y="23"/>
                  </a:lnTo>
                  <a:lnTo>
                    <a:pt x="504" y="22"/>
                  </a:lnTo>
                  <a:lnTo>
                    <a:pt x="504" y="22"/>
                  </a:lnTo>
                  <a:lnTo>
                    <a:pt x="506" y="23"/>
                  </a:lnTo>
                  <a:lnTo>
                    <a:pt x="506" y="24"/>
                  </a:lnTo>
                  <a:lnTo>
                    <a:pt x="507" y="26"/>
                  </a:lnTo>
                  <a:lnTo>
                    <a:pt x="506" y="27"/>
                  </a:lnTo>
                  <a:lnTo>
                    <a:pt x="504" y="30"/>
                  </a:lnTo>
                  <a:close/>
                  <a:moveTo>
                    <a:pt x="19" y="10"/>
                  </a:moveTo>
                  <a:lnTo>
                    <a:pt x="21" y="10"/>
                  </a:lnTo>
                  <a:lnTo>
                    <a:pt x="25" y="10"/>
                  </a:lnTo>
                  <a:lnTo>
                    <a:pt x="27" y="10"/>
                  </a:lnTo>
                  <a:lnTo>
                    <a:pt x="29" y="10"/>
                  </a:lnTo>
                  <a:lnTo>
                    <a:pt x="31" y="12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9" y="13"/>
                  </a:lnTo>
                  <a:lnTo>
                    <a:pt x="42" y="16"/>
                  </a:lnTo>
                  <a:lnTo>
                    <a:pt x="44" y="17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7"/>
                  </a:lnTo>
                  <a:lnTo>
                    <a:pt x="48" y="29"/>
                  </a:lnTo>
                  <a:lnTo>
                    <a:pt x="52" y="30"/>
                  </a:lnTo>
                  <a:lnTo>
                    <a:pt x="54" y="32"/>
                  </a:lnTo>
                  <a:lnTo>
                    <a:pt x="55" y="32"/>
                  </a:lnTo>
                  <a:lnTo>
                    <a:pt x="55" y="33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62" y="37"/>
                  </a:lnTo>
                  <a:lnTo>
                    <a:pt x="68" y="42"/>
                  </a:lnTo>
                  <a:lnTo>
                    <a:pt x="71" y="43"/>
                  </a:lnTo>
                  <a:lnTo>
                    <a:pt x="74" y="46"/>
                  </a:lnTo>
                  <a:lnTo>
                    <a:pt x="75" y="47"/>
                  </a:lnTo>
                  <a:lnTo>
                    <a:pt x="77" y="49"/>
                  </a:lnTo>
                  <a:lnTo>
                    <a:pt x="78" y="52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2" y="57"/>
                  </a:lnTo>
                  <a:lnTo>
                    <a:pt x="84" y="57"/>
                  </a:lnTo>
                  <a:lnTo>
                    <a:pt x="84" y="59"/>
                  </a:lnTo>
                  <a:lnTo>
                    <a:pt x="85" y="60"/>
                  </a:lnTo>
                  <a:lnTo>
                    <a:pt x="87" y="60"/>
                  </a:lnTo>
                  <a:lnTo>
                    <a:pt x="89" y="62"/>
                  </a:lnTo>
                  <a:lnTo>
                    <a:pt x="89" y="63"/>
                  </a:lnTo>
                  <a:lnTo>
                    <a:pt x="89" y="62"/>
                  </a:lnTo>
                  <a:lnTo>
                    <a:pt x="89" y="60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7"/>
                  </a:lnTo>
                  <a:lnTo>
                    <a:pt x="91" y="57"/>
                  </a:lnTo>
                  <a:lnTo>
                    <a:pt x="92" y="57"/>
                  </a:lnTo>
                  <a:lnTo>
                    <a:pt x="95" y="60"/>
                  </a:lnTo>
                  <a:lnTo>
                    <a:pt x="97" y="62"/>
                  </a:lnTo>
                  <a:lnTo>
                    <a:pt x="98" y="64"/>
                  </a:lnTo>
                  <a:lnTo>
                    <a:pt x="98" y="66"/>
                  </a:lnTo>
                  <a:lnTo>
                    <a:pt x="99" y="67"/>
                  </a:lnTo>
                  <a:lnTo>
                    <a:pt x="101" y="67"/>
                  </a:lnTo>
                  <a:lnTo>
                    <a:pt x="102" y="67"/>
                  </a:lnTo>
                  <a:lnTo>
                    <a:pt x="104" y="69"/>
                  </a:lnTo>
                  <a:lnTo>
                    <a:pt x="108" y="72"/>
                  </a:lnTo>
                  <a:lnTo>
                    <a:pt x="109" y="73"/>
                  </a:lnTo>
                  <a:lnTo>
                    <a:pt x="111" y="74"/>
                  </a:lnTo>
                  <a:lnTo>
                    <a:pt x="111" y="76"/>
                  </a:lnTo>
                  <a:lnTo>
                    <a:pt x="111" y="77"/>
                  </a:lnTo>
                  <a:lnTo>
                    <a:pt x="112" y="79"/>
                  </a:lnTo>
                  <a:lnTo>
                    <a:pt x="114" y="80"/>
                  </a:lnTo>
                  <a:lnTo>
                    <a:pt x="115" y="82"/>
                  </a:lnTo>
                  <a:lnTo>
                    <a:pt x="116" y="82"/>
                  </a:lnTo>
                  <a:lnTo>
                    <a:pt x="121" y="83"/>
                  </a:lnTo>
                  <a:lnTo>
                    <a:pt x="124" y="83"/>
                  </a:lnTo>
                  <a:lnTo>
                    <a:pt x="124" y="84"/>
                  </a:lnTo>
                  <a:lnTo>
                    <a:pt x="125" y="86"/>
                  </a:lnTo>
                  <a:lnTo>
                    <a:pt x="124" y="87"/>
                  </a:lnTo>
                  <a:lnTo>
                    <a:pt x="121" y="89"/>
                  </a:lnTo>
                  <a:lnTo>
                    <a:pt x="116" y="90"/>
                  </a:lnTo>
                  <a:lnTo>
                    <a:pt x="121" y="90"/>
                  </a:lnTo>
                  <a:lnTo>
                    <a:pt x="122" y="90"/>
                  </a:lnTo>
                  <a:lnTo>
                    <a:pt x="124" y="89"/>
                  </a:lnTo>
                  <a:lnTo>
                    <a:pt x="125" y="87"/>
                  </a:lnTo>
                  <a:lnTo>
                    <a:pt x="128" y="86"/>
                  </a:lnTo>
                  <a:lnTo>
                    <a:pt x="129" y="86"/>
                  </a:lnTo>
                  <a:lnTo>
                    <a:pt x="131" y="86"/>
                  </a:lnTo>
                  <a:lnTo>
                    <a:pt x="131" y="86"/>
                  </a:lnTo>
                  <a:lnTo>
                    <a:pt x="134" y="87"/>
                  </a:lnTo>
                  <a:lnTo>
                    <a:pt x="135" y="89"/>
                  </a:lnTo>
                  <a:lnTo>
                    <a:pt x="135" y="92"/>
                  </a:lnTo>
                  <a:lnTo>
                    <a:pt x="136" y="93"/>
                  </a:lnTo>
                  <a:lnTo>
                    <a:pt x="135" y="94"/>
                  </a:lnTo>
                  <a:lnTo>
                    <a:pt x="134" y="94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9"/>
                  </a:lnTo>
                  <a:lnTo>
                    <a:pt x="131" y="100"/>
                  </a:lnTo>
                  <a:lnTo>
                    <a:pt x="132" y="100"/>
                  </a:lnTo>
                  <a:lnTo>
                    <a:pt x="132" y="102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2" y="106"/>
                  </a:lnTo>
                  <a:lnTo>
                    <a:pt x="134" y="107"/>
                  </a:lnTo>
                  <a:lnTo>
                    <a:pt x="135" y="109"/>
                  </a:lnTo>
                  <a:lnTo>
                    <a:pt x="139" y="110"/>
                  </a:lnTo>
                  <a:lnTo>
                    <a:pt x="141" y="110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5" y="110"/>
                  </a:lnTo>
                  <a:lnTo>
                    <a:pt x="146" y="112"/>
                  </a:lnTo>
                  <a:lnTo>
                    <a:pt x="146" y="114"/>
                  </a:lnTo>
                  <a:lnTo>
                    <a:pt x="146" y="116"/>
                  </a:lnTo>
                  <a:lnTo>
                    <a:pt x="148" y="120"/>
                  </a:lnTo>
                  <a:lnTo>
                    <a:pt x="148" y="122"/>
                  </a:lnTo>
                  <a:lnTo>
                    <a:pt x="148" y="123"/>
                  </a:lnTo>
                  <a:lnTo>
                    <a:pt x="149" y="124"/>
                  </a:lnTo>
                  <a:lnTo>
                    <a:pt x="151" y="126"/>
                  </a:lnTo>
                  <a:lnTo>
                    <a:pt x="152" y="126"/>
                  </a:lnTo>
                  <a:lnTo>
                    <a:pt x="154" y="127"/>
                  </a:lnTo>
                  <a:lnTo>
                    <a:pt x="154" y="129"/>
                  </a:lnTo>
                  <a:lnTo>
                    <a:pt x="154" y="130"/>
                  </a:lnTo>
                  <a:lnTo>
                    <a:pt x="152" y="130"/>
                  </a:lnTo>
                  <a:lnTo>
                    <a:pt x="151" y="132"/>
                  </a:lnTo>
                  <a:lnTo>
                    <a:pt x="151" y="133"/>
                  </a:lnTo>
                  <a:lnTo>
                    <a:pt x="149" y="134"/>
                  </a:lnTo>
                  <a:lnTo>
                    <a:pt x="151" y="136"/>
                  </a:lnTo>
                  <a:lnTo>
                    <a:pt x="151" y="136"/>
                  </a:lnTo>
                  <a:lnTo>
                    <a:pt x="152" y="134"/>
                  </a:lnTo>
                  <a:lnTo>
                    <a:pt x="154" y="133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6" y="132"/>
                  </a:lnTo>
                  <a:lnTo>
                    <a:pt x="161" y="132"/>
                  </a:lnTo>
                  <a:lnTo>
                    <a:pt x="162" y="132"/>
                  </a:lnTo>
                  <a:lnTo>
                    <a:pt x="164" y="133"/>
                  </a:lnTo>
                  <a:lnTo>
                    <a:pt x="165" y="133"/>
                  </a:lnTo>
                  <a:lnTo>
                    <a:pt x="171" y="140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1" y="149"/>
                  </a:lnTo>
                  <a:lnTo>
                    <a:pt x="169" y="149"/>
                  </a:lnTo>
                  <a:lnTo>
                    <a:pt x="169" y="152"/>
                  </a:lnTo>
                  <a:lnTo>
                    <a:pt x="169" y="153"/>
                  </a:lnTo>
                  <a:lnTo>
                    <a:pt x="171" y="154"/>
                  </a:lnTo>
                  <a:lnTo>
                    <a:pt x="171" y="154"/>
                  </a:lnTo>
                  <a:lnTo>
                    <a:pt x="171" y="156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69" y="167"/>
                  </a:lnTo>
                  <a:lnTo>
                    <a:pt x="171" y="169"/>
                  </a:lnTo>
                  <a:lnTo>
                    <a:pt x="169" y="170"/>
                  </a:lnTo>
                  <a:lnTo>
                    <a:pt x="169" y="174"/>
                  </a:lnTo>
                  <a:lnTo>
                    <a:pt x="169" y="184"/>
                  </a:lnTo>
                  <a:lnTo>
                    <a:pt x="169" y="186"/>
                  </a:lnTo>
                  <a:lnTo>
                    <a:pt x="168" y="187"/>
                  </a:lnTo>
                  <a:lnTo>
                    <a:pt x="166" y="187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4"/>
                  </a:lnTo>
                  <a:lnTo>
                    <a:pt x="164" y="184"/>
                  </a:lnTo>
                  <a:lnTo>
                    <a:pt x="161" y="183"/>
                  </a:lnTo>
                  <a:lnTo>
                    <a:pt x="161" y="183"/>
                  </a:lnTo>
                  <a:lnTo>
                    <a:pt x="158" y="186"/>
                  </a:lnTo>
                  <a:lnTo>
                    <a:pt x="156" y="186"/>
                  </a:lnTo>
                  <a:lnTo>
                    <a:pt x="156" y="186"/>
                  </a:lnTo>
                  <a:lnTo>
                    <a:pt x="155" y="184"/>
                  </a:lnTo>
                  <a:lnTo>
                    <a:pt x="151" y="182"/>
                  </a:lnTo>
                  <a:lnTo>
                    <a:pt x="149" y="183"/>
                  </a:lnTo>
                  <a:lnTo>
                    <a:pt x="149" y="184"/>
                  </a:lnTo>
                  <a:lnTo>
                    <a:pt x="151" y="187"/>
                  </a:lnTo>
                  <a:lnTo>
                    <a:pt x="151" y="189"/>
                  </a:lnTo>
                  <a:lnTo>
                    <a:pt x="149" y="189"/>
                  </a:lnTo>
                  <a:lnTo>
                    <a:pt x="149" y="189"/>
                  </a:lnTo>
                  <a:lnTo>
                    <a:pt x="148" y="186"/>
                  </a:lnTo>
                  <a:lnTo>
                    <a:pt x="145" y="184"/>
                  </a:lnTo>
                  <a:lnTo>
                    <a:pt x="144" y="183"/>
                  </a:lnTo>
                  <a:lnTo>
                    <a:pt x="142" y="182"/>
                  </a:lnTo>
                  <a:lnTo>
                    <a:pt x="141" y="180"/>
                  </a:lnTo>
                  <a:lnTo>
                    <a:pt x="136" y="174"/>
                  </a:lnTo>
                  <a:lnTo>
                    <a:pt x="136" y="174"/>
                  </a:lnTo>
                  <a:lnTo>
                    <a:pt x="131" y="170"/>
                  </a:lnTo>
                  <a:lnTo>
                    <a:pt x="129" y="170"/>
                  </a:lnTo>
                  <a:lnTo>
                    <a:pt x="128" y="169"/>
                  </a:lnTo>
                  <a:lnTo>
                    <a:pt x="126" y="167"/>
                  </a:lnTo>
                  <a:lnTo>
                    <a:pt x="122" y="166"/>
                  </a:lnTo>
                  <a:lnTo>
                    <a:pt x="116" y="160"/>
                  </a:lnTo>
                  <a:lnTo>
                    <a:pt x="114" y="157"/>
                  </a:lnTo>
                  <a:lnTo>
                    <a:pt x="111" y="153"/>
                  </a:lnTo>
                  <a:lnTo>
                    <a:pt x="109" y="152"/>
                  </a:lnTo>
                  <a:lnTo>
                    <a:pt x="105" y="147"/>
                  </a:lnTo>
                  <a:lnTo>
                    <a:pt x="102" y="146"/>
                  </a:lnTo>
                  <a:lnTo>
                    <a:pt x="101" y="144"/>
                  </a:lnTo>
                  <a:lnTo>
                    <a:pt x="98" y="140"/>
                  </a:lnTo>
                  <a:lnTo>
                    <a:pt x="98" y="139"/>
                  </a:lnTo>
                  <a:lnTo>
                    <a:pt x="97" y="137"/>
                  </a:lnTo>
                  <a:lnTo>
                    <a:pt x="95" y="136"/>
                  </a:lnTo>
                  <a:lnTo>
                    <a:pt x="94" y="136"/>
                  </a:lnTo>
                  <a:lnTo>
                    <a:pt x="91" y="132"/>
                  </a:lnTo>
                  <a:lnTo>
                    <a:pt x="89" y="130"/>
                  </a:lnTo>
                  <a:lnTo>
                    <a:pt x="89" y="129"/>
                  </a:lnTo>
                  <a:lnTo>
                    <a:pt x="89" y="124"/>
                  </a:lnTo>
                  <a:lnTo>
                    <a:pt x="84" y="114"/>
                  </a:lnTo>
                  <a:lnTo>
                    <a:pt x="82" y="112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77" y="103"/>
                  </a:lnTo>
                  <a:lnTo>
                    <a:pt x="77" y="102"/>
                  </a:lnTo>
                  <a:lnTo>
                    <a:pt x="75" y="100"/>
                  </a:lnTo>
                  <a:lnTo>
                    <a:pt x="74" y="99"/>
                  </a:lnTo>
                  <a:lnTo>
                    <a:pt x="71" y="94"/>
                  </a:lnTo>
                  <a:lnTo>
                    <a:pt x="71" y="93"/>
                  </a:lnTo>
                  <a:lnTo>
                    <a:pt x="69" y="93"/>
                  </a:lnTo>
                  <a:lnTo>
                    <a:pt x="65" y="90"/>
                  </a:lnTo>
                  <a:lnTo>
                    <a:pt x="64" y="90"/>
                  </a:lnTo>
                  <a:lnTo>
                    <a:pt x="62" y="89"/>
                  </a:lnTo>
                  <a:lnTo>
                    <a:pt x="61" y="87"/>
                  </a:lnTo>
                  <a:lnTo>
                    <a:pt x="61" y="83"/>
                  </a:lnTo>
                  <a:lnTo>
                    <a:pt x="58" y="77"/>
                  </a:lnTo>
                  <a:lnTo>
                    <a:pt x="57" y="70"/>
                  </a:lnTo>
                  <a:lnTo>
                    <a:pt x="55" y="67"/>
                  </a:lnTo>
                  <a:lnTo>
                    <a:pt x="54" y="64"/>
                  </a:lnTo>
                  <a:lnTo>
                    <a:pt x="52" y="63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39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7" y="49"/>
                  </a:lnTo>
                  <a:lnTo>
                    <a:pt x="34" y="46"/>
                  </a:lnTo>
                  <a:lnTo>
                    <a:pt x="32" y="44"/>
                  </a:lnTo>
                  <a:lnTo>
                    <a:pt x="32" y="43"/>
                  </a:lnTo>
                  <a:lnTo>
                    <a:pt x="31" y="42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4" y="34"/>
                  </a:lnTo>
                  <a:lnTo>
                    <a:pt x="19" y="34"/>
                  </a:lnTo>
                  <a:lnTo>
                    <a:pt x="18" y="33"/>
                  </a:lnTo>
                  <a:lnTo>
                    <a:pt x="17" y="30"/>
                  </a:lnTo>
                  <a:lnTo>
                    <a:pt x="15" y="29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8" y="4"/>
                  </a:lnTo>
                  <a:lnTo>
                    <a:pt x="9" y="6"/>
                  </a:lnTo>
                  <a:lnTo>
                    <a:pt x="12" y="9"/>
                  </a:lnTo>
                  <a:lnTo>
                    <a:pt x="14" y="10"/>
                  </a:lnTo>
                  <a:lnTo>
                    <a:pt x="15" y="10"/>
                  </a:lnTo>
                  <a:lnTo>
                    <a:pt x="19" y="10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Google Shape;229;p3"/>
            <p:cNvSpPr/>
            <p:nvPr/>
          </p:nvSpPr>
          <p:spPr>
            <a:xfrm>
              <a:off x="3835015" y="3704344"/>
              <a:ext cx="49091" cy="65918"/>
            </a:xfrm>
            <a:custGeom>
              <a:rect b="b" l="l" r="r" t="t"/>
              <a:pathLst>
                <a:path extrusionOk="0" h="105" w="70">
                  <a:moveTo>
                    <a:pt x="51" y="8"/>
                  </a:moveTo>
                  <a:lnTo>
                    <a:pt x="48" y="9"/>
                  </a:lnTo>
                  <a:lnTo>
                    <a:pt x="48" y="10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5"/>
                  </a:lnTo>
                  <a:lnTo>
                    <a:pt x="45" y="16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1" y="20"/>
                  </a:lnTo>
                  <a:lnTo>
                    <a:pt x="43" y="20"/>
                  </a:lnTo>
                  <a:lnTo>
                    <a:pt x="43" y="22"/>
                  </a:lnTo>
                  <a:lnTo>
                    <a:pt x="41" y="22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5" y="25"/>
                  </a:lnTo>
                  <a:lnTo>
                    <a:pt x="37" y="26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1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5"/>
                  </a:lnTo>
                  <a:lnTo>
                    <a:pt x="48" y="33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0" y="33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0"/>
                  </a:lnTo>
                  <a:lnTo>
                    <a:pt x="51" y="29"/>
                  </a:lnTo>
                  <a:lnTo>
                    <a:pt x="53" y="28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5" y="28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5"/>
                  </a:lnTo>
                  <a:lnTo>
                    <a:pt x="60" y="36"/>
                  </a:lnTo>
                  <a:lnTo>
                    <a:pt x="61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5" y="35"/>
                  </a:lnTo>
                  <a:lnTo>
                    <a:pt x="67" y="35"/>
                  </a:lnTo>
                  <a:lnTo>
                    <a:pt x="67" y="36"/>
                  </a:lnTo>
                  <a:lnTo>
                    <a:pt x="68" y="38"/>
                  </a:lnTo>
                  <a:lnTo>
                    <a:pt x="67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9"/>
                  </a:lnTo>
                  <a:lnTo>
                    <a:pt x="65" y="40"/>
                  </a:lnTo>
                  <a:lnTo>
                    <a:pt x="65" y="42"/>
                  </a:lnTo>
                  <a:lnTo>
                    <a:pt x="67" y="45"/>
                  </a:lnTo>
                  <a:lnTo>
                    <a:pt x="67" y="48"/>
                  </a:lnTo>
                  <a:lnTo>
                    <a:pt x="68" y="49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6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7" y="73"/>
                  </a:lnTo>
                  <a:lnTo>
                    <a:pt x="67" y="76"/>
                  </a:lnTo>
                  <a:lnTo>
                    <a:pt x="65" y="80"/>
                  </a:lnTo>
                  <a:lnTo>
                    <a:pt x="64" y="82"/>
                  </a:lnTo>
                  <a:lnTo>
                    <a:pt x="63" y="82"/>
                  </a:lnTo>
                  <a:lnTo>
                    <a:pt x="65" y="85"/>
                  </a:lnTo>
                  <a:lnTo>
                    <a:pt x="64" y="86"/>
                  </a:lnTo>
                  <a:lnTo>
                    <a:pt x="61" y="86"/>
                  </a:lnTo>
                  <a:lnTo>
                    <a:pt x="60" y="85"/>
                  </a:lnTo>
                  <a:lnTo>
                    <a:pt x="58" y="85"/>
                  </a:lnTo>
                  <a:lnTo>
                    <a:pt x="57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5"/>
                  </a:lnTo>
                  <a:lnTo>
                    <a:pt x="54" y="86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47" y="88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5" y="90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1" y="92"/>
                  </a:lnTo>
                  <a:lnTo>
                    <a:pt x="40" y="93"/>
                  </a:lnTo>
                  <a:lnTo>
                    <a:pt x="40" y="95"/>
                  </a:lnTo>
                  <a:lnTo>
                    <a:pt x="37" y="95"/>
                  </a:lnTo>
                  <a:lnTo>
                    <a:pt x="35" y="96"/>
                  </a:lnTo>
                  <a:lnTo>
                    <a:pt x="35" y="95"/>
                  </a:lnTo>
                  <a:lnTo>
                    <a:pt x="34" y="95"/>
                  </a:lnTo>
                  <a:lnTo>
                    <a:pt x="34" y="93"/>
                  </a:lnTo>
                  <a:lnTo>
                    <a:pt x="31" y="93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7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28" y="100"/>
                  </a:lnTo>
                  <a:lnTo>
                    <a:pt x="27" y="100"/>
                  </a:lnTo>
                  <a:lnTo>
                    <a:pt x="25" y="102"/>
                  </a:lnTo>
                  <a:lnTo>
                    <a:pt x="17" y="103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4" y="103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1" y="102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8" y="100"/>
                  </a:lnTo>
                  <a:lnTo>
                    <a:pt x="5" y="100"/>
                  </a:lnTo>
                  <a:lnTo>
                    <a:pt x="4" y="102"/>
                  </a:lnTo>
                  <a:lnTo>
                    <a:pt x="5" y="100"/>
                  </a:lnTo>
                  <a:lnTo>
                    <a:pt x="7" y="97"/>
                  </a:lnTo>
                  <a:lnTo>
                    <a:pt x="8" y="97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3" y="95"/>
                  </a:lnTo>
                  <a:lnTo>
                    <a:pt x="5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3" y="92"/>
                  </a:lnTo>
                  <a:lnTo>
                    <a:pt x="4" y="90"/>
                  </a:lnTo>
                  <a:lnTo>
                    <a:pt x="5" y="90"/>
                  </a:lnTo>
                  <a:lnTo>
                    <a:pt x="7" y="89"/>
                  </a:lnTo>
                  <a:lnTo>
                    <a:pt x="8" y="88"/>
                  </a:lnTo>
                  <a:lnTo>
                    <a:pt x="7" y="88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1" y="86"/>
                  </a:lnTo>
                  <a:lnTo>
                    <a:pt x="3" y="83"/>
                  </a:lnTo>
                  <a:lnTo>
                    <a:pt x="4" y="83"/>
                  </a:lnTo>
                  <a:lnTo>
                    <a:pt x="5" y="83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10" y="85"/>
                  </a:lnTo>
                  <a:lnTo>
                    <a:pt x="8" y="83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9"/>
                  </a:lnTo>
                  <a:lnTo>
                    <a:pt x="10" y="79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7" y="76"/>
                  </a:lnTo>
                  <a:lnTo>
                    <a:pt x="21" y="75"/>
                  </a:lnTo>
                  <a:lnTo>
                    <a:pt x="25" y="73"/>
                  </a:lnTo>
                  <a:lnTo>
                    <a:pt x="24" y="72"/>
                  </a:lnTo>
                  <a:lnTo>
                    <a:pt x="23" y="70"/>
                  </a:lnTo>
                  <a:lnTo>
                    <a:pt x="21" y="73"/>
                  </a:lnTo>
                  <a:lnTo>
                    <a:pt x="20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3" y="73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0" y="76"/>
                  </a:lnTo>
                  <a:lnTo>
                    <a:pt x="7" y="76"/>
                  </a:lnTo>
                  <a:lnTo>
                    <a:pt x="10" y="73"/>
                  </a:lnTo>
                  <a:lnTo>
                    <a:pt x="14" y="70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7" y="62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3" y="60"/>
                  </a:lnTo>
                  <a:lnTo>
                    <a:pt x="24" y="59"/>
                  </a:lnTo>
                  <a:lnTo>
                    <a:pt x="21" y="59"/>
                  </a:lnTo>
                  <a:lnTo>
                    <a:pt x="20" y="58"/>
                  </a:lnTo>
                  <a:lnTo>
                    <a:pt x="15" y="59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5"/>
                  </a:lnTo>
                  <a:lnTo>
                    <a:pt x="8" y="53"/>
                  </a:lnTo>
                  <a:lnTo>
                    <a:pt x="7" y="55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5" y="49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11" y="49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5"/>
                  </a:lnTo>
                  <a:lnTo>
                    <a:pt x="10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0" y="40"/>
                  </a:lnTo>
                  <a:lnTo>
                    <a:pt x="8" y="42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10" y="30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7" y="29"/>
                  </a:lnTo>
                  <a:lnTo>
                    <a:pt x="20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7" y="30"/>
                  </a:lnTo>
                  <a:lnTo>
                    <a:pt x="28" y="32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28" y="28"/>
                  </a:lnTo>
                  <a:lnTo>
                    <a:pt x="30" y="26"/>
                  </a:lnTo>
                  <a:lnTo>
                    <a:pt x="31" y="26"/>
                  </a:lnTo>
                  <a:lnTo>
                    <a:pt x="31" y="25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5" y="22"/>
                  </a:lnTo>
                  <a:lnTo>
                    <a:pt x="37" y="20"/>
                  </a:lnTo>
                  <a:lnTo>
                    <a:pt x="31" y="20"/>
                  </a:lnTo>
                  <a:lnTo>
                    <a:pt x="25" y="19"/>
                  </a:lnTo>
                  <a:lnTo>
                    <a:pt x="27" y="18"/>
                  </a:lnTo>
                  <a:lnTo>
                    <a:pt x="28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1" y="15"/>
                  </a:lnTo>
                  <a:lnTo>
                    <a:pt x="33" y="13"/>
                  </a:lnTo>
                  <a:lnTo>
                    <a:pt x="31" y="10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1" y="5"/>
                  </a:lnTo>
                  <a:lnTo>
                    <a:pt x="43" y="5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7" y="6"/>
                  </a:lnTo>
                  <a:lnTo>
                    <a:pt x="45" y="5"/>
                  </a:lnTo>
                  <a:lnTo>
                    <a:pt x="45" y="3"/>
                  </a:lnTo>
                  <a:lnTo>
                    <a:pt x="47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2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4" y="5"/>
                  </a:lnTo>
                  <a:lnTo>
                    <a:pt x="51" y="6"/>
                  </a:lnTo>
                  <a:lnTo>
                    <a:pt x="51" y="8"/>
                  </a:lnTo>
                  <a:close/>
                  <a:moveTo>
                    <a:pt x="7" y="40"/>
                  </a:moveTo>
                  <a:lnTo>
                    <a:pt x="7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3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230;p3"/>
            <p:cNvSpPr/>
            <p:nvPr/>
          </p:nvSpPr>
          <p:spPr>
            <a:xfrm>
              <a:off x="4335742" y="4017609"/>
              <a:ext cx="18935" cy="46456"/>
            </a:xfrm>
            <a:custGeom>
              <a:rect b="b" l="l" r="r" t="t"/>
              <a:pathLst>
                <a:path extrusionOk="0" h="74" w="27">
                  <a:moveTo>
                    <a:pt x="26" y="14"/>
                  </a:moveTo>
                  <a:lnTo>
                    <a:pt x="25" y="14"/>
                  </a:lnTo>
                  <a:lnTo>
                    <a:pt x="23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6" y="17"/>
                  </a:lnTo>
                  <a:lnTo>
                    <a:pt x="13" y="18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8"/>
                  </a:lnTo>
                  <a:lnTo>
                    <a:pt x="13" y="30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5" y="40"/>
                  </a:lnTo>
                  <a:lnTo>
                    <a:pt x="18" y="38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4"/>
                  </a:lnTo>
                  <a:lnTo>
                    <a:pt x="19" y="47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6" y="55"/>
                  </a:lnTo>
                  <a:lnTo>
                    <a:pt x="15" y="57"/>
                  </a:lnTo>
                  <a:lnTo>
                    <a:pt x="15" y="58"/>
                  </a:lnTo>
                  <a:lnTo>
                    <a:pt x="15" y="61"/>
                  </a:lnTo>
                  <a:lnTo>
                    <a:pt x="15" y="62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3" y="68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0" y="72"/>
                  </a:lnTo>
                  <a:lnTo>
                    <a:pt x="9" y="68"/>
                  </a:lnTo>
                  <a:lnTo>
                    <a:pt x="9" y="65"/>
                  </a:lnTo>
                  <a:lnTo>
                    <a:pt x="8" y="61"/>
                  </a:lnTo>
                  <a:lnTo>
                    <a:pt x="5" y="57"/>
                  </a:lnTo>
                  <a:lnTo>
                    <a:pt x="5" y="55"/>
                  </a:lnTo>
                  <a:lnTo>
                    <a:pt x="5" y="54"/>
                  </a:lnTo>
                  <a:lnTo>
                    <a:pt x="3" y="50"/>
                  </a:lnTo>
                  <a:lnTo>
                    <a:pt x="2" y="47"/>
                  </a:lnTo>
                  <a:lnTo>
                    <a:pt x="0" y="42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8" y="30"/>
                  </a:lnTo>
                  <a:lnTo>
                    <a:pt x="10" y="24"/>
                  </a:lnTo>
                  <a:lnTo>
                    <a:pt x="12" y="15"/>
                  </a:lnTo>
                  <a:lnTo>
                    <a:pt x="13" y="13"/>
                  </a:lnTo>
                  <a:lnTo>
                    <a:pt x="15" y="10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5" y="3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231;p3"/>
            <p:cNvSpPr/>
            <p:nvPr/>
          </p:nvSpPr>
          <p:spPr>
            <a:xfrm>
              <a:off x="3898132" y="3720666"/>
              <a:ext cx="4909" cy="6278"/>
            </a:xfrm>
            <a:custGeom>
              <a:rect b="b" l="l" r="r" t="t"/>
              <a:pathLst>
                <a:path extrusionOk="0" h="10" w="7">
                  <a:moveTo>
                    <a:pt x="5" y="7"/>
                  </a:moveTo>
                  <a:lnTo>
                    <a:pt x="2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9"/>
                  </a:lnTo>
                  <a:lnTo>
                    <a:pt x="1" y="6"/>
                  </a:lnTo>
                  <a:lnTo>
                    <a:pt x="2" y="4"/>
                  </a:lnTo>
                  <a:lnTo>
                    <a:pt x="4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5" y="6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232;p3"/>
            <p:cNvSpPr/>
            <p:nvPr/>
          </p:nvSpPr>
          <p:spPr>
            <a:xfrm>
              <a:off x="4717248" y="3992497"/>
              <a:ext cx="328207" cy="312637"/>
            </a:xfrm>
            <a:custGeom>
              <a:rect b="b" l="l" r="r" t="t"/>
              <a:pathLst>
                <a:path extrusionOk="0" h="498" w="468">
                  <a:moveTo>
                    <a:pt x="412" y="496"/>
                  </a:moveTo>
                  <a:lnTo>
                    <a:pt x="411" y="498"/>
                  </a:lnTo>
                  <a:lnTo>
                    <a:pt x="409" y="494"/>
                  </a:lnTo>
                  <a:lnTo>
                    <a:pt x="408" y="494"/>
                  </a:lnTo>
                  <a:lnTo>
                    <a:pt x="408" y="492"/>
                  </a:lnTo>
                  <a:lnTo>
                    <a:pt x="408" y="491"/>
                  </a:lnTo>
                  <a:lnTo>
                    <a:pt x="411" y="491"/>
                  </a:lnTo>
                  <a:lnTo>
                    <a:pt x="411" y="491"/>
                  </a:lnTo>
                  <a:lnTo>
                    <a:pt x="412" y="495"/>
                  </a:lnTo>
                  <a:lnTo>
                    <a:pt x="412" y="496"/>
                  </a:lnTo>
                  <a:close/>
                  <a:moveTo>
                    <a:pt x="409" y="488"/>
                  </a:moveTo>
                  <a:lnTo>
                    <a:pt x="408" y="489"/>
                  </a:lnTo>
                  <a:lnTo>
                    <a:pt x="408" y="489"/>
                  </a:lnTo>
                  <a:lnTo>
                    <a:pt x="408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09" y="488"/>
                  </a:lnTo>
                  <a:close/>
                  <a:moveTo>
                    <a:pt x="405" y="481"/>
                  </a:moveTo>
                  <a:lnTo>
                    <a:pt x="404" y="481"/>
                  </a:lnTo>
                  <a:lnTo>
                    <a:pt x="404" y="479"/>
                  </a:lnTo>
                  <a:lnTo>
                    <a:pt x="402" y="479"/>
                  </a:lnTo>
                  <a:lnTo>
                    <a:pt x="404" y="478"/>
                  </a:lnTo>
                  <a:lnTo>
                    <a:pt x="404" y="478"/>
                  </a:lnTo>
                  <a:lnTo>
                    <a:pt x="405" y="479"/>
                  </a:lnTo>
                  <a:lnTo>
                    <a:pt x="405" y="479"/>
                  </a:lnTo>
                  <a:lnTo>
                    <a:pt x="405" y="481"/>
                  </a:lnTo>
                  <a:close/>
                  <a:moveTo>
                    <a:pt x="406" y="478"/>
                  </a:moveTo>
                  <a:lnTo>
                    <a:pt x="405" y="478"/>
                  </a:lnTo>
                  <a:lnTo>
                    <a:pt x="405" y="478"/>
                  </a:lnTo>
                  <a:lnTo>
                    <a:pt x="405" y="478"/>
                  </a:lnTo>
                  <a:lnTo>
                    <a:pt x="405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5" y="475"/>
                  </a:lnTo>
                  <a:lnTo>
                    <a:pt x="406" y="475"/>
                  </a:lnTo>
                  <a:lnTo>
                    <a:pt x="406" y="475"/>
                  </a:lnTo>
                  <a:lnTo>
                    <a:pt x="406" y="478"/>
                  </a:lnTo>
                  <a:close/>
                  <a:moveTo>
                    <a:pt x="78" y="474"/>
                  </a:move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4"/>
                  </a:lnTo>
                  <a:close/>
                  <a:moveTo>
                    <a:pt x="399" y="474"/>
                  </a:moveTo>
                  <a:lnTo>
                    <a:pt x="401" y="475"/>
                  </a:lnTo>
                  <a:lnTo>
                    <a:pt x="399" y="475"/>
                  </a:lnTo>
                  <a:lnTo>
                    <a:pt x="399" y="474"/>
                  </a:lnTo>
                  <a:lnTo>
                    <a:pt x="399" y="472"/>
                  </a:lnTo>
                  <a:lnTo>
                    <a:pt x="399" y="472"/>
                  </a:lnTo>
                  <a:lnTo>
                    <a:pt x="399" y="474"/>
                  </a:lnTo>
                  <a:close/>
                  <a:moveTo>
                    <a:pt x="394" y="459"/>
                  </a:moveTo>
                  <a:lnTo>
                    <a:pt x="394" y="459"/>
                  </a:lnTo>
                  <a:lnTo>
                    <a:pt x="394" y="459"/>
                  </a:lnTo>
                  <a:lnTo>
                    <a:pt x="394" y="459"/>
                  </a:lnTo>
                  <a:lnTo>
                    <a:pt x="394" y="458"/>
                  </a:lnTo>
                  <a:lnTo>
                    <a:pt x="394" y="458"/>
                  </a:lnTo>
                  <a:lnTo>
                    <a:pt x="394" y="458"/>
                  </a:lnTo>
                  <a:lnTo>
                    <a:pt x="395" y="459"/>
                  </a:lnTo>
                  <a:lnTo>
                    <a:pt x="394" y="459"/>
                  </a:lnTo>
                  <a:close/>
                  <a:moveTo>
                    <a:pt x="389" y="437"/>
                  </a:moveTo>
                  <a:lnTo>
                    <a:pt x="389" y="438"/>
                  </a:lnTo>
                  <a:lnTo>
                    <a:pt x="388" y="437"/>
                  </a:lnTo>
                  <a:lnTo>
                    <a:pt x="388" y="435"/>
                  </a:lnTo>
                  <a:lnTo>
                    <a:pt x="388" y="434"/>
                  </a:lnTo>
                  <a:lnTo>
                    <a:pt x="388" y="434"/>
                  </a:lnTo>
                  <a:lnTo>
                    <a:pt x="389" y="432"/>
                  </a:lnTo>
                  <a:lnTo>
                    <a:pt x="389" y="431"/>
                  </a:lnTo>
                  <a:lnTo>
                    <a:pt x="391" y="434"/>
                  </a:lnTo>
                  <a:lnTo>
                    <a:pt x="391" y="435"/>
                  </a:lnTo>
                  <a:lnTo>
                    <a:pt x="389" y="437"/>
                  </a:lnTo>
                  <a:close/>
                  <a:moveTo>
                    <a:pt x="74" y="427"/>
                  </a:moveTo>
                  <a:lnTo>
                    <a:pt x="74" y="427"/>
                  </a:lnTo>
                  <a:lnTo>
                    <a:pt x="74" y="427"/>
                  </a:lnTo>
                  <a:lnTo>
                    <a:pt x="74" y="425"/>
                  </a:lnTo>
                  <a:lnTo>
                    <a:pt x="74" y="425"/>
                  </a:lnTo>
                  <a:lnTo>
                    <a:pt x="74" y="425"/>
                  </a:lnTo>
                  <a:lnTo>
                    <a:pt x="74" y="427"/>
                  </a:lnTo>
                  <a:lnTo>
                    <a:pt x="74" y="427"/>
                  </a:lnTo>
                  <a:lnTo>
                    <a:pt x="74" y="427"/>
                  </a:lnTo>
                  <a:close/>
                  <a:moveTo>
                    <a:pt x="392" y="424"/>
                  </a:moveTo>
                  <a:lnTo>
                    <a:pt x="392" y="424"/>
                  </a:lnTo>
                  <a:lnTo>
                    <a:pt x="391" y="424"/>
                  </a:lnTo>
                  <a:lnTo>
                    <a:pt x="392" y="422"/>
                  </a:lnTo>
                  <a:lnTo>
                    <a:pt x="392" y="421"/>
                  </a:lnTo>
                  <a:lnTo>
                    <a:pt x="392" y="422"/>
                  </a:lnTo>
                  <a:lnTo>
                    <a:pt x="392" y="424"/>
                  </a:lnTo>
                  <a:lnTo>
                    <a:pt x="392" y="424"/>
                  </a:lnTo>
                  <a:close/>
                  <a:moveTo>
                    <a:pt x="398" y="412"/>
                  </a:moveTo>
                  <a:lnTo>
                    <a:pt x="399" y="415"/>
                  </a:lnTo>
                  <a:lnTo>
                    <a:pt x="398" y="414"/>
                  </a:lnTo>
                  <a:lnTo>
                    <a:pt x="396" y="414"/>
                  </a:lnTo>
                  <a:lnTo>
                    <a:pt x="398" y="414"/>
                  </a:lnTo>
                  <a:lnTo>
                    <a:pt x="398" y="412"/>
                  </a:lnTo>
                  <a:close/>
                  <a:moveTo>
                    <a:pt x="394" y="399"/>
                  </a:moveTo>
                  <a:lnTo>
                    <a:pt x="392" y="401"/>
                  </a:lnTo>
                  <a:lnTo>
                    <a:pt x="392" y="398"/>
                  </a:lnTo>
                  <a:lnTo>
                    <a:pt x="392" y="398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94" y="399"/>
                  </a:lnTo>
                  <a:close/>
                  <a:moveTo>
                    <a:pt x="394" y="421"/>
                  </a:moveTo>
                  <a:lnTo>
                    <a:pt x="392" y="421"/>
                  </a:lnTo>
                  <a:lnTo>
                    <a:pt x="392" y="421"/>
                  </a:lnTo>
                  <a:lnTo>
                    <a:pt x="391" y="418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1" y="415"/>
                  </a:lnTo>
                  <a:lnTo>
                    <a:pt x="391" y="414"/>
                  </a:lnTo>
                  <a:lnTo>
                    <a:pt x="392" y="414"/>
                  </a:lnTo>
                  <a:lnTo>
                    <a:pt x="392" y="412"/>
                  </a:lnTo>
                  <a:lnTo>
                    <a:pt x="392" y="411"/>
                  </a:lnTo>
                  <a:lnTo>
                    <a:pt x="392" y="409"/>
                  </a:lnTo>
                  <a:lnTo>
                    <a:pt x="394" y="409"/>
                  </a:lnTo>
                  <a:lnTo>
                    <a:pt x="394" y="409"/>
                  </a:lnTo>
                  <a:lnTo>
                    <a:pt x="394" y="408"/>
                  </a:lnTo>
                  <a:lnTo>
                    <a:pt x="394" y="408"/>
                  </a:lnTo>
                  <a:lnTo>
                    <a:pt x="394" y="408"/>
                  </a:lnTo>
                  <a:lnTo>
                    <a:pt x="394" y="405"/>
                  </a:lnTo>
                  <a:lnTo>
                    <a:pt x="394" y="404"/>
                  </a:lnTo>
                  <a:lnTo>
                    <a:pt x="394" y="402"/>
                  </a:lnTo>
                  <a:lnTo>
                    <a:pt x="394" y="401"/>
                  </a:lnTo>
                  <a:lnTo>
                    <a:pt x="394" y="399"/>
                  </a:lnTo>
                  <a:lnTo>
                    <a:pt x="395" y="399"/>
                  </a:lnTo>
                  <a:lnTo>
                    <a:pt x="395" y="397"/>
                  </a:lnTo>
                  <a:lnTo>
                    <a:pt x="395" y="397"/>
                  </a:lnTo>
                  <a:lnTo>
                    <a:pt x="395" y="394"/>
                  </a:lnTo>
                  <a:lnTo>
                    <a:pt x="395" y="391"/>
                  </a:lnTo>
                  <a:lnTo>
                    <a:pt x="396" y="389"/>
                  </a:lnTo>
                  <a:lnTo>
                    <a:pt x="398" y="388"/>
                  </a:lnTo>
                  <a:lnTo>
                    <a:pt x="398" y="388"/>
                  </a:lnTo>
                  <a:lnTo>
                    <a:pt x="399" y="389"/>
                  </a:lnTo>
                  <a:lnTo>
                    <a:pt x="399" y="391"/>
                  </a:lnTo>
                  <a:lnTo>
                    <a:pt x="398" y="392"/>
                  </a:lnTo>
                  <a:lnTo>
                    <a:pt x="399" y="394"/>
                  </a:lnTo>
                  <a:lnTo>
                    <a:pt x="399" y="394"/>
                  </a:lnTo>
                  <a:lnTo>
                    <a:pt x="398" y="395"/>
                  </a:lnTo>
                  <a:lnTo>
                    <a:pt x="398" y="395"/>
                  </a:lnTo>
                  <a:lnTo>
                    <a:pt x="396" y="397"/>
                  </a:lnTo>
                  <a:lnTo>
                    <a:pt x="396" y="398"/>
                  </a:lnTo>
                  <a:lnTo>
                    <a:pt x="396" y="398"/>
                  </a:lnTo>
                  <a:lnTo>
                    <a:pt x="396" y="399"/>
                  </a:lnTo>
                  <a:lnTo>
                    <a:pt x="398" y="405"/>
                  </a:lnTo>
                  <a:lnTo>
                    <a:pt x="396" y="407"/>
                  </a:lnTo>
                  <a:lnTo>
                    <a:pt x="395" y="407"/>
                  </a:lnTo>
                  <a:lnTo>
                    <a:pt x="395" y="409"/>
                  </a:lnTo>
                  <a:lnTo>
                    <a:pt x="395" y="411"/>
                  </a:lnTo>
                  <a:lnTo>
                    <a:pt x="395" y="412"/>
                  </a:lnTo>
                  <a:lnTo>
                    <a:pt x="394" y="412"/>
                  </a:lnTo>
                  <a:lnTo>
                    <a:pt x="394" y="414"/>
                  </a:lnTo>
                  <a:lnTo>
                    <a:pt x="394" y="415"/>
                  </a:lnTo>
                  <a:lnTo>
                    <a:pt x="395" y="415"/>
                  </a:lnTo>
                  <a:lnTo>
                    <a:pt x="395" y="415"/>
                  </a:lnTo>
                  <a:lnTo>
                    <a:pt x="394" y="418"/>
                  </a:lnTo>
                  <a:lnTo>
                    <a:pt x="394" y="419"/>
                  </a:lnTo>
                  <a:lnTo>
                    <a:pt x="394" y="421"/>
                  </a:lnTo>
                  <a:close/>
                  <a:moveTo>
                    <a:pt x="170" y="70"/>
                  </a:moveTo>
                  <a:lnTo>
                    <a:pt x="168" y="70"/>
                  </a:lnTo>
                  <a:lnTo>
                    <a:pt x="168" y="68"/>
                  </a:lnTo>
                  <a:lnTo>
                    <a:pt x="170" y="70"/>
                  </a:lnTo>
                  <a:lnTo>
                    <a:pt x="168" y="71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0" y="75"/>
                  </a:lnTo>
                  <a:lnTo>
                    <a:pt x="170" y="77"/>
                  </a:lnTo>
                  <a:lnTo>
                    <a:pt x="170" y="78"/>
                  </a:lnTo>
                  <a:lnTo>
                    <a:pt x="170" y="80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1" y="81"/>
                  </a:lnTo>
                  <a:lnTo>
                    <a:pt x="171" y="81"/>
                  </a:lnTo>
                  <a:lnTo>
                    <a:pt x="171" y="81"/>
                  </a:lnTo>
                  <a:lnTo>
                    <a:pt x="171" y="81"/>
                  </a:lnTo>
                  <a:lnTo>
                    <a:pt x="172" y="80"/>
                  </a:lnTo>
                  <a:lnTo>
                    <a:pt x="172" y="80"/>
                  </a:lnTo>
                  <a:lnTo>
                    <a:pt x="172" y="80"/>
                  </a:lnTo>
                  <a:lnTo>
                    <a:pt x="174" y="78"/>
                  </a:lnTo>
                  <a:lnTo>
                    <a:pt x="174" y="78"/>
                  </a:lnTo>
                  <a:lnTo>
                    <a:pt x="175" y="78"/>
                  </a:lnTo>
                  <a:lnTo>
                    <a:pt x="177" y="81"/>
                  </a:lnTo>
                  <a:lnTo>
                    <a:pt x="178" y="84"/>
                  </a:lnTo>
                  <a:lnTo>
                    <a:pt x="180" y="84"/>
                  </a:lnTo>
                  <a:lnTo>
                    <a:pt x="180" y="85"/>
                  </a:lnTo>
                  <a:lnTo>
                    <a:pt x="180" y="85"/>
                  </a:lnTo>
                  <a:lnTo>
                    <a:pt x="181" y="87"/>
                  </a:lnTo>
                  <a:lnTo>
                    <a:pt x="182" y="87"/>
                  </a:lnTo>
                  <a:lnTo>
                    <a:pt x="184" y="87"/>
                  </a:lnTo>
                  <a:lnTo>
                    <a:pt x="187" y="87"/>
                  </a:lnTo>
                  <a:lnTo>
                    <a:pt x="187" y="88"/>
                  </a:lnTo>
                  <a:lnTo>
                    <a:pt x="188" y="88"/>
                  </a:lnTo>
                  <a:lnTo>
                    <a:pt x="188" y="88"/>
                  </a:lnTo>
                  <a:lnTo>
                    <a:pt x="188" y="88"/>
                  </a:lnTo>
                  <a:lnTo>
                    <a:pt x="188" y="88"/>
                  </a:lnTo>
                  <a:lnTo>
                    <a:pt x="191" y="90"/>
                  </a:lnTo>
                  <a:lnTo>
                    <a:pt x="192" y="90"/>
                  </a:lnTo>
                  <a:lnTo>
                    <a:pt x="192" y="91"/>
                  </a:lnTo>
                  <a:lnTo>
                    <a:pt x="192" y="92"/>
                  </a:lnTo>
                  <a:lnTo>
                    <a:pt x="192" y="94"/>
                  </a:lnTo>
                  <a:lnTo>
                    <a:pt x="192" y="94"/>
                  </a:lnTo>
                  <a:lnTo>
                    <a:pt x="194" y="94"/>
                  </a:lnTo>
                  <a:lnTo>
                    <a:pt x="195" y="95"/>
                  </a:lnTo>
                  <a:lnTo>
                    <a:pt x="198" y="97"/>
                  </a:lnTo>
                  <a:lnTo>
                    <a:pt x="200" y="97"/>
                  </a:lnTo>
                  <a:lnTo>
                    <a:pt x="201" y="97"/>
                  </a:lnTo>
                  <a:lnTo>
                    <a:pt x="201" y="98"/>
                  </a:lnTo>
                  <a:lnTo>
                    <a:pt x="204" y="100"/>
                  </a:lnTo>
                  <a:lnTo>
                    <a:pt x="205" y="100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4" y="101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1" y="105"/>
                  </a:lnTo>
                  <a:lnTo>
                    <a:pt x="200" y="105"/>
                  </a:lnTo>
                  <a:lnTo>
                    <a:pt x="198" y="107"/>
                  </a:lnTo>
                  <a:lnTo>
                    <a:pt x="195" y="110"/>
                  </a:lnTo>
                  <a:lnTo>
                    <a:pt x="194" y="112"/>
                  </a:lnTo>
                  <a:lnTo>
                    <a:pt x="194" y="115"/>
                  </a:lnTo>
                  <a:lnTo>
                    <a:pt x="194" y="117"/>
                  </a:lnTo>
                  <a:lnTo>
                    <a:pt x="192" y="120"/>
                  </a:lnTo>
                  <a:lnTo>
                    <a:pt x="192" y="121"/>
                  </a:lnTo>
                  <a:lnTo>
                    <a:pt x="191" y="121"/>
                  </a:lnTo>
                  <a:lnTo>
                    <a:pt x="191" y="122"/>
                  </a:lnTo>
                  <a:lnTo>
                    <a:pt x="190" y="125"/>
                  </a:lnTo>
                  <a:lnTo>
                    <a:pt x="191" y="127"/>
                  </a:lnTo>
                  <a:lnTo>
                    <a:pt x="192" y="127"/>
                  </a:lnTo>
                  <a:lnTo>
                    <a:pt x="192" y="128"/>
                  </a:lnTo>
                  <a:lnTo>
                    <a:pt x="195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8" y="130"/>
                  </a:lnTo>
                  <a:lnTo>
                    <a:pt x="198" y="130"/>
                  </a:lnTo>
                  <a:lnTo>
                    <a:pt x="200" y="130"/>
                  </a:lnTo>
                  <a:lnTo>
                    <a:pt x="201" y="131"/>
                  </a:lnTo>
                  <a:lnTo>
                    <a:pt x="201" y="131"/>
                  </a:lnTo>
                  <a:lnTo>
                    <a:pt x="204" y="132"/>
                  </a:lnTo>
                  <a:lnTo>
                    <a:pt x="205" y="134"/>
                  </a:lnTo>
                  <a:lnTo>
                    <a:pt x="208" y="135"/>
                  </a:lnTo>
                  <a:lnTo>
                    <a:pt x="208" y="135"/>
                  </a:lnTo>
                  <a:lnTo>
                    <a:pt x="210" y="137"/>
                  </a:lnTo>
                  <a:lnTo>
                    <a:pt x="211" y="138"/>
                  </a:lnTo>
                  <a:lnTo>
                    <a:pt x="214" y="140"/>
                  </a:lnTo>
                  <a:lnTo>
                    <a:pt x="215" y="141"/>
                  </a:lnTo>
                  <a:lnTo>
                    <a:pt x="218" y="142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1" y="142"/>
                  </a:lnTo>
                  <a:lnTo>
                    <a:pt x="221" y="142"/>
                  </a:lnTo>
                  <a:lnTo>
                    <a:pt x="222" y="142"/>
                  </a:lnTo>
                  <a:lnTo>
                    <a:pt x="224" y="144"/>
                  </a:lnTo>
                  <a:lnTo>
                    <a:pt x="227" y="145"/>
                  </a:lnTo>
                  <a:lnTo>
                    <a:pt x="228" y="147"/>
                  </a:lnTo>
                  <a:lnTo>
                    <a:pt x="231" y="147"/>
                  </a:lnTo>
                  <a:lnTo>
                    <a:pt x="232" y="147"/>
                  </a:lnTo>
                  <a:lnTo>
                    <a:pt x="232" y="148"/>
                  </a:lnTo>
                  <a:lnTo>
                    <a:pt x="234" y="150"/>
                  </a:lnTo>
                  <a:lnTo>
                    <a:pt x="237" y="151"/>
                  </a:lnTo>
                  <a:lnTo>
                    <a:pt x="238" y="151"/>
                  </a:lnTo>
                  <a:lnTo>
                    <a:pt x="241" y="152"/>
                  </a:lnTo>
                  <a:lnTo>
                    <a:pt x="242" y="152"/>
                  </a:lnTo>
                  <a:lnTo>
                    <a:pt x="244" y="151"/>
                  </a:lnTo>
                  <a:lnTo>
                    <a:pt x="244" y="151"/>
                  </a:lnTo>
                  <a:lnTo>
                    <a:pt x="245" y="151"/>
                  </a:lnTo>
                  <a:lnTo>
                    <a:pt x="247" y="151"/>
                  </a:lnTo>
                  <a:lnTo>
                    <a:pt x="249" y="152"/>
                  </a:lnTo>
                  <a:lnTo>
                    <a:pt x="251" y="152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5" y="150"/>
                  </a:lnTo>
                  <a:lnTo>
                    <a:pt x="257" y="151"/>
                  </a:lnTo>
                  <a:lnTo>
                    <a:pt x="261" y="152"/>
                  </a:lnTo>
                  <a:lnTo>
                    <a:pt x="264" y="154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8"/>
                  </a:lnTo>
                  <a:lnTo>
                    <a:pt x="264" y="158"/>
                  </a:lnTo>
                  <a:lnTo>
                    <a:pt x="268" y="161"/>
                  </a:lnTo>
                  <a:lnTo>
                    <a:pt x="269" y="161"/>
                  </a:lnTo>
                  <a:lnTo>
                    <a:pt x="271" y="161"/>
                  </a:lnTo>
                  <a:lnTo>
                    <a:pt x="271" y="161"/>
                  </a:lnTo>
                  <a:lnTo>
                    <a:pt x="272" y="162"/>
                  </a:lnTo>
                  <a:lnTo>
                    <a:pt x="272" y="162"/>
                  </a:lnTo>
                  <a:lnTo>
                    <a:pt x="272" y="164"/>
                  </a:lnTo>
                  <a:lnTo>
                    <a:pt x="274" y="164"/>
                  </a:lnTo>
                  <a:lnTo>
                    <a:pt x="274" y="164"/>
                  </a:lnTo>
                  <a:lnTo>
                    <a:pt x="277" y="162"/>
                  </a:lnTo>
                  <a:lnTo>
                    <a:pt x="278" y="162"/>
                  </a:lnTo>
                  <a:lnTo>
                    <a:pt x="279" y="162"/>
                  </a:lnTo>
                  <a:lnTo>
                    <a:pt x="281" y="162"/>
                  </a:lnTo>
                  <a:lnTo>
                    <a:pt x="281" y="164"/>
                  </a:lnTo>
                  <a:lnTo>
                    <a:pt x="281" y="165"/>
                  </a:lnTo>
                  <a:lnTo>
                    <a:pt x="282" y="167"/>
                  </a:lnTo>
                  <a:lnTo>
                    <a:pt x="284" y="167"/>
                  </a:lnTo>
                  <a:lnTo>
                    <a:pt x="285" y="165"/>
                  </a:lnTo>
                  <a:lnTo>
                    <a:pt x="288" y="165"/>
                  </a:lnTo>
                  <a:lnTo>
                    <a:pt x="289" y="167"/>
                  </a:lnTo>
                  <a:lnTo>
                    <a:pt x="291" y="167"/>
                  </a:lnTo>
                  <a:lnTo>
                    <a:pt x="292" y="167"/>
                  </a:lnTo>
                  <a:lnTo>
                    <a:pt x="294" y="168"/>
                  </a:lnTo>
                  <a:lnTo>
                    <a:pt x="297" y="170"/>
                  </a:lnTo>
                  <a:lnTo>
                    <a:pt x="298" y="170"/>
                  </a:lnTo>
                  <a:lnTo>
                    <a:pt x="302" y="167"/>
                  </a:lnTo>
                  <a:lnTo>
                    <a:pt x="302" y="167"/>
                  </a:lnTo>
                  <a:lnTo>
                    <a:pt x="302" y="170"/>
                  </a:lnTo>
                  <a:lnTo>
                    <a:pt x="304" y="170"/>
                  </a:lnTo>
                  <a:lnTo>
                    <a:pt x="307" y="171"/>
                  </a:lnTo>
                  <a:lnTo>
                    <a:pt x="308" y="170"/>
                  </a:lnTo>
                  <a:lnTo>
                    <a:pt x="309" y="170"/>
                  </a:lnTo>
                  <a:lnTo>
                    <a:pt x="312" y="170"/>
                  </a:lnTo>
                  <a:lnTo>
                    <a:pt x="314" y="170"/>
                  </a:lnTo>
                  <a:lnTo>
                    <a:pt x="315" y="170"/>
                  </a:lnTo>
                  <a:lnTo>
                    <a:pt x="318" y="170"/>
                  </a:lnTo>
                  <a:lnTo>
                    <a:pt x="318" y="170"/>
                  </a:lnTo>
                  <a:lnTo>
                    <a:pt x="318" y="170"/>
                  </a:lnTo>
                  <a:lnTo>
                    <a:pt x="319" y="167"/>
                  </a:lnTo>
                  <a:lnTo>
                    <a:pt x="319" y="164"/>
                  </a:lnTo>
                  <a:lnTo>
                    <a:pt x="319" y="162"/>
                  </a:lnTo>
                  <a:lnTo>
                    <a:pt x="319" y="161"/>
                  </a:lnTo>
                  <a:lnTo>
                    <a:pt x="318" y="158"/>
                  </a:lnTo>
                  <a:lnTo>
                    <a:pt x="317" y="157"/>
                  </a:lnTo>
                  <a:lnTo>
                    <a:pt x="318" y="152"/>
                  </a:lnTo>
                  <a:lnTo>
                    <a:pt x="318" y="150"/>
                  </a:lnTo>
                  <a:lnTo>
                    <a:pt x="319" y="148"/>
                  </a:lnTo>
                  <a:lnTo>
                    <a:pt x="319" y="145"/>
                  </a:lnTo>
                  <a:lnTo>
                    <a:pt x="319" y="145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22" y="141"/>
                  </a:lnTo>
                  <a:lnTo>
                    <a:pt x="324" y="141"/>
                  </a:lnTo>
                  <a:lnTo>
                    <a:pt x="325" y="141"/>
                  </a:lnTo>
                  <a:lnTo>
                    <a:pt x="327" y="140"/>
                  </a:lnTo>
                  <a:lnTo>
                    <a:pt x="327" y="140"/>
                  </a:lnTo>
                  <a:lnTo>
                    <a:pt x="328" y="140"/>
                  </a:lnTo>
                  <a:lnTo>
                    <a:pt x="329" y="141"/>
                  </a:lnTo>
                  <a:lnTo>
                    <a:pt x="331" y="141"/>
                  </a:lnTo>
                  <a:lnTo>
                    <a:pt x="331" y="142"/>
                  </a:lnTo>
                  <a:lnTo>
                    <a:pt x="331" y="144"/>
                  </a:lnTo>
                  <a:lnTo>
                    <a:pt x="331" y="145"/>
                  </a:lnTo>
                  <a:lnTo>
                    <a:pt x="329" y="150"/>
                  </a:lnTo>
                  <a:lnTo>
                    <a:pt x="329" y="151"/>
                  </a:lnTo>
                  <a:lnTo>
                    <a:pt x="331" y="152"/>
                  </a:lnTo>
                  <a:lnTo>
                    <a:pt x="332" y="154"/>
                  </a:lnTo>
                  <a:lnTo>
                    <a:pt x="332" y="154"/>
                  </a:lnTo>
                  <a:lnTo>
                    <a:pt x="329" y="155"/>
                  </a:lnTo>
                  <a:lnTo>
                    <a:pt x="329" y="155"/>
                  </a:lnTo>
                  <a:lnTo>
                    <a:pt x="329" y="157"/>
                  </a:lnTo>
                  <a:lnTo>
                    <a:pt x="331" y="157"/>
                  </a:lnTo>
                  <a:lnTo>
                    <a:pt x="331" y="158"/>
                  </a:lnTo>
                  <a:lnTo>
                    <a:pt x="331" y="160"/>
                  </a:lnTo>
                  <a:lnTo>
                    <a:pt x="332" y="160"/>
                  </a:lnTo>
                  <a:lnTo>
                    <a:pt x="334" y="161"/>
                  </a:lnTo>
                  <a:lnTo>
                    <a:pt x="337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41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4" y="164"/>
                  </a:lnTo>
                  <a:lnTo>
                    <a:pt x="344" y="164"/>
                  </a:lnTo>
                  <a:lnTo>
                    <a:pt x="344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8" y="164"/>
                  </a:lnTo>
                  <a:lnTo>
                    <a:pt x="352" y="164"/>
                  </a:lnTo>
                  <a:lnTo>
                    <a:pt x="352" y="162"/>
                  </a:lnTo>
                  <a:lnTo>
                    <a:pt x="354" y="161"/>
                  </a:lnTo>
                  <a:lnTo>
                    <a:pt x="355" y="161"/>
                  </a:lnTo>
                  <a:lnTo>
                    <a:pt x="356" y="162"/>
                  </a:lnTo>
                  <a:lnTo>
                    <a:pt x="358" y="162"/>
                  </a:lnTo>
                  <a:lnTo>
                    <a:pt x="359" y="162"/>
                  </a:lnTo>
                  <a:lnTo>
                    <a:pt x="361" y="162"/>
                  </a:lnTo>
                  <a:lnTo>
                    <a:pt x="364" y="162"/>
                  </a:lnTo>
                  <a:lnTo>
                    <a:pt x="368" y="162"/>
                  </a:lnTo>
                  <a:lnTo>
                    <a:pt x="371" y="162"/>
                  </a:lnTo>
                  <a:lnTo>
                    <a:pt x="372" y="161"/>
                  </a:lnTo>
                  <a:lnTo>
                    <a:pt x="372" y="161"/>
                  </a:lnTo>
                  <a:lnTo>
                    <a:pt x="374" y="162"/>
                  </a:lnTo>
                  <a:lnTo>
                    <a:pt x="376" y="162"/>
                  </a:lnTo>
                  <a:lnTo>
                    <a:pt x="378" y="162"/>
                  </a:lnTo>
                  <a:lnTo>
                    <a:pt x="379" y="161"/>
                  </a:lnTo>
                  <a:lnTo>
                    <a:pt x="379" y="161"/>
                  </a:lnTo>
                  <a:lnTo>
                    <a:pt x="381" y="161"/>
                  </a:lnTo>
                  <a:lnTo>
                    <a:pt x="382" y="161"/>
                  </a:lnTo>
                  <a:lnTo>
                    <a:pt x="382" y="161"/>
                  </a:lnTo>
                  <a:lnTo>
                    <a:pt x="382" y="161"/>
                  </a:lnTo>
                  <a:lnTo>
                    <a:pt x="382" y="160"/>
                  </a:lnTo>
                  <a:lnTo>
                    <a:pt x="382" y="158"/>
                  </a:lnTo>
                  <a:lnTo>
                    <a:pt x="382" y="158"/>
                  </a:lnTo>
                  <a:lnTo>
                    <a:pt x="381" y="157"/>
                  </a:lnTo>
                  <a:lnTo>
                    <a:pt x="382" y="157"/>
                  </a:lnTo>
                  <a:lnTo>
                    <a:pt x="382" y="155"/>
                  </a:lnTo>
                  <a:lnTo>
                    <a:pt x="384" y="154"/>
                  </a:lnTo>
                  <a:lnTo>
                    <a:pt x="382" y="152"/>
                  </a:lnTo>
                  <a:lnTo>
                    <a:pt x="381" y="151"/>
                  </a:lnTo>
                  <a:lnTo>
                    <a:pt x="381" y="151"/>
                  </a:lnTo>
                  <a:lnTo>
                    <a:pt x="379" y="151"/>
                  </a:lnTo>
                  <a:lnTo>
                    <a:pt x="378" y="151"/>
                  </a:lnTo>
                  <a:lnTo>
                    <a:pt x="376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7"/>
                  </a:lnTo>
                  <a:lnTo>
                    <a:pt x="375" y="145"/>
                  </a:lnTo>
                  <a:lnTo>
                    <a:pt x="375" y="145"/>
                  </a:lnTo>
                  <a:lnTo>
                    <a:pt x="376" y="145"/>
                  </a:lnTo>
                  <a:lnTo>
                    <a:pt x="379" y="145"/>
                  </a:lnTo>
                  <a:lnTo>
                    <a:pt x="381" y="145"/>
                  </a:lnTo>
                  <a:lnTo>
                    <a:pt x="381" y="145"/>
                  </a:lnTo>
                  <a:lnTo>
                    <a:pt x="384" y="144"/>
                  </a:lnTo>
                  <a:lnTo>
                    <a:pt x="384" y="144"/>
                  </a:lnTo>
                  <a:lnTo>
                    <a:pt x="385" y="144"/>
                  </a:lnTo>
                  <a:lnTo>
                    <a:pt x="385" y="144"/>
                  </a:lnTo>
                  <a:lnTo>
                    <a:pt x="386" y="144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9" y="144"/>
                  </a:lnTo>
                  <a:lnTo>
                    <a:pt x="391" y="144"/>
                  </a:lnTo>
                  <a:lnTo>
                    <a:pt x="392" y="142"/>
                  </a:lnTo>
                  <a:lnTo>
                    <a:pt x="392" y="141"/>
                  </a:lnTo>
                  <a:lnTo>
                    <a:pt x="392" y="141"/>
                  </a:lnTo>
                  <a:lnTo>
                    <a:pt x="392" y="140"/>
                  </a:lnTo>
                  <a:lnTo>
                    <a:pt x="392" y="140"/>
                  </a:lnTo>
                  <a:lnTo>
                    <a:pt x="392" y="140"/>
                  </a:lnTo>
                  <a:lnTo>
                    <a:pt x="392" y="138"/>
                  </a:lnTo>
                  <a:lnTo>
                    <a:pt x="395" y="137"/>
                  </a:lnTo>
                  <a:lnTo>
                    <a:pt x="398" y="135"/>
                  </a:lnTo>
                  <a:lnTo>
                    <a:pt x="399" y="134"/>
                  </a:lnTo>
                  <a:lnTo>
                    <a:pt x="401" y="132"/>
                  </a:lnTo>
                  <a:lnTo>
                    <a:pt x="401" y="131"/>
                  </a:lnTo>
                  <a:lnTo>
                    <a:pt x="402" y="130"/>
                  </a:lnTo>
                  <a:lnTo>
                    <a:pt x="404" y="130"/>
                  </a:lnTo>
                  <a:lnTo>
                    <a:pt x="408" y="128"/>
                  </a:lnTo>
                  <a:lnTo>
                    <a:pt x="409" y="128"/>
                  </a:lnTo>
                  <a:lnTo>
                    <a:pt x="412" y="127"/>
                  </a:lnTo>
                  <a:lnTo>
                    <a:pt x="414" y="125"/>
                  </a:lnTo>
                  <a:lnTo>
                    <a:pt x="414" y="125"/>
                  </a:lnTo>
                  <a:lnTo>
                    <a:pt x="414" y="124"/>
                  </a:lnTo>
                  <a:lnTo>
                    <a:pt x="415" y="124"/>
                  </a:lnTo>
                  <a:lnTo>
                    <a:pt x="416" y="122"/>
                  </a:lnTo>
                  <a:lnTo>
                    <a:pt x="418" y="121"/>
                  </a:lnTo>
                  <a:lnTo>
                    <a:pt x="421" y="120"/>
                  </a:lnTo>
                  <a:lnTo>
                    <a:pt x="424" y="117"/>
                  </a:lnTo>
                  <a:lnTo>
                    <a:pt x="425" y="118"/>
                  </a:lnTo>
                  <a:lnTo>
                    <a:pt x="425" y="118"/>
                  </a:lnTo>
                  <a:lnTo>
                    <a:pt x="426" y="120"/>
                  </a:lnTo>
                  <a:lnTo>
                    <a:pt x="426" y="120"/>
                  </a:lnTo>
                  <a:lnTo>
                    <a:pt x="429" y="121"/>
                  </a:lnTo>
                  <a:lnTo>
                    <a:pt x="429" y="120"/>
                  </a:lnTo>
                  <a:lnTo>
                    <a:pt x="432" y="121"/>
                  </a:lnTo>
                  <a:lnTo>
                    <a:pt x="434" y="122"/>
                  </a:lnTo>
                  <a:lnTo>
                    <a:pt x="435" y="122"/>
                  </a:lnTo>
                  <a:lnTo>
                    <a:pt x="436" y="122"/>
                  </a:lnTo>
                  <a:lnTo>
                    <a:pt x="436" y="122"/>
                  </a:lnTo>
                  <a:lnTo>
                    <a:pt x="436" y="121"/>
                  </a:lnTo>
                  <a:lnTo>
                    <a:pt x="438" y="121"/>
                  </a:lnTo>
                  <a:lnTo>
                    <a:pt x="438" y="120"/>
                  </a:lnTo>
                  <a:lnTo>
                    <a:pt x="438" y="120"/>
                  </a:lnTo>
                  <a:lnTo>
                    <a:pt x="441" y="117"/>
                  </a:lnTo>
                  <a:lnTo>
                    <a:pt x="443" y="115"/>
                  </a:lnTo>
                  <a:lnTo>
                    <a:pt x="446" y="115"/>
                  </a:lnTo>
                  <a:lnTo>
                    <a:pt x="446" y="115"/>
                  </a:lnTo>
                  <a:lnTo>
                    <a:pt x="448" y="115"/>
                  </a:lnTo>
                  <a:lnTo>
                    <a:pt x="449" y="118"/>
                  </a:lnTo>
                  <a:lnTo>
                    <a:pt x="449" y="118"/>
                  </a:lnTo>
                  <a:lnTo>
                    <a:pt x="451" y="118"/>
                  </a:lnTo>
                  <a:lnTo>
                    <a:pt x="451" y="118"/>
                  </a:lnTo>
                  <a:lnTo>
                    <a:pt x="451" y="120"/>
                  </a:lnTo>
                  <a:lnTo>
                    <a:pt x="451" y="120"/>
                  </a:lnTo>
                  <a:lnTo>
                    <a:pt x="449" y="121"/>
                  </a:lnTo>
                  <a:lnTo>
                    <a:pt x="448" y="121"/>
                  </a:lnTo>
                  <a:lnTo>
                    <a:pt x="448" y="124"/>
                  </a:lnTo>
                  <a:lnTo>
                    <a:pt x="448" y="124"/>
                  </a:lnTo>
                  <a:lnTo>
                    <a:pt x="448" y="125"/>
                  </a:lnTo>
                  <a:lnTo>
                    <a:pt x="451" y="122"/>
                  </a:lnTo>
                  <a:lnTo>
                    <a:pt x="452" y="122"/>
                  </a:lnTo>
                  <a:lnTo>
                    <a:pt x="453" y="122"/>
                  </a:lnTo>
                  <a:lnTo>
                    <a:pt x="453" y="124"/>
                  </a:lnTo>
                  <a:lnTo>
                    <a:pt x="455" y="127"/>
                  </a:lnTo>
                  <a:lnTo>
                    <a:pt x="455" y="127"/>
                  </a:lnTo>
                  <a:lnTo>
                    <a:pt x="452" y="130"/>
                  </a:lnTo>
                  <a:lnTo>
                    <a:pt x="451" y="131"/>
                  </a:lnTo>
                  <a:lnTo>
                    <a:pt x="451" y="132"/>
                  </a:lnTo>
                  <a:lnTo>
                    <a:pt x="451" y="132"/>
                  </a:lnTo>
                  <a:lnTo>
                    <a:pt x="451" y="134"/>
                  </a:lnTo>
                  <a:lnTo>
                    <a:pt x="451" y="134"/>
                  </a:lnTo>
                  <a:lnTo>
                    <a:pt x="451" y="134"/>
                  </a:lnTo>
                  <a:lnTo>
                    <a:pt x="452" y="134"/>
                  </a:lnTo>
                  <a:lnTo>
                    <a:pt x="452" y="134"/>
                  </a:lnTo>
                  <a:lnTo>
                    <a:pt x="452" y="134"/>
                  </a:lnTo>
                  <a:lnTo>
                    <a:pt x="455" y="132"/>
                  </a:lnTo>
                  <a:lnTo>
                    <a:pt x="456" y="132"/>
                  </a:lnTo>
                  <a:lnTo>
                    <a:pt x="458" y="134"/>
                  </a:lnTo>
                  <a:lnTo>
                    <a:pt x="459" y="134"/>
                  </a:lnTo>
                  <a:lnTo>
                    <a:pt x="462" y="135"/>
                  </a:lnTo>
                  <a:lnTo>
                    <a:pt x="463" y="134"/>
                  </a:lnTo>
                  <a:lnTo>
                    <a:pt x="463" y="135"/>
                  </a:lnTo>
                  <a:lnTo>
                    <a:pt x="466" y="137"/>
                  </a:lnTo>
                  <a:lnTo>
                    <a:pt x="466" y="137"/>
                  </a:lnTo>
                  <a:lnTo>
                    <a:pt x="466" y="138"/>
                  </a:lnTo>
                  <a:lnTo>
                    <a:pt x="466" y="140"/>
                  </a:lnTo>
                  <a:lnTo>
                    <a:pt x="468" y="141"/>
                  </a:lnTo>
                  <a:lnTo>
                    <a:pt x="468" y="141"/>
                  </a:lnTo>
                  <a:lnTo>
                    <a:pt x="466" y="142"/>
                  </a:lnTo>
                  <a:lnTo>
                    <a:pt x="466" y="142"/>
                  </a:lnTo>
                  <a:lnTo>
                    <a:pt x="465" y="142"/>
                  </a:lnTo>
                  <a:lnTo>
                    <a:pt x="465" y="144"/>
                  </a:lnTo>
                  <a:lnTo>
                    <a:pt x="462" y="145"/>
                  </a:lnTo>
                  <a:lnTo>
                    <a:pt x="461" y="147"/>
                  </a:lnTo>
                  <a:lnTo>
                    <a:pt x="461" y="148"/>
                  </a:lnTo>
                  <a:lnTo>
                    <a:pt x="459" y="148"/>
                  </a:lnTo>
                  <a:lnTo>
                    <a:pt x="459" y="150"/>
                  </a:lnTo>
                  <a:lnTo>
                    <a:pt x="461" y="151"/>
                  </a:lnTo>
                  <a:lnTo>
                    <a:pt x="463" y="157"/>
                  </a:lnTo>
                  <a:lnTo>
                    <a:pt x="463" y="157"/>
                  </a:lnTo>
                  <a:lnTo>
                    <a:pt x="462" y="157"/>
                  </a:lnTo>
                  <a:lnTo>
                    <a:pt x="461" y="157"/>
                  </a:lnTo>
                  <a:lnTo>
                    <a:pt x="459" y="155"/>
                  </a:lnTo>
                  <a:lnTo>
                    <a:pt x="458" y="154"/>
                  </a:lnTo>
                  <a:lnTo>
                    <a:pt x="458" y="154"/>
                  </a:lnTo>
                  <a:lnTo>
                    <a:pt x="456" y="152"/>
                  </a:lnTo>
                  <a:lnTo>
                    <a:pt x="451" y="154"/>
                  </a:lnTo>
                  <a:lnTo>
                    <a:pt x="449" y="154"/>
                  </a:lnTo>
                  <a:lnTo>
                    <a:pt x="446" y="155"/>
                  </a:lnTo>
                  <a:lnTo>
                    <a:pt x="445" y="157"/>
                  </a:lnTo>
                  <a:lnTo>
                    <a:pt x="443" y="158"/>
                  </a:lnTo>
                  <a:lnTo>
                    <a:pt x="443" y="158"/>
                  </a:lnTo>
                  <a:lnTo>
                    <a:pt x="442" y="160"/>
                  </a:lnTo>
                  <a:lnTo>
                    <a:pt x="436" y="164"/>
                  </a:lnTo>
                  <a:lnTo>
                    <a:pt x="435" y="165"/>
                  </a:lnTo>
                  <a:lnTo>
                    <a:pt x="434" y="165"/>
                  </a:lnTo>
                  <a:lnTo>
                    <a:pt x="432" y="167"/>
                  </a:lnTo>
                  <a:lnTo>
                    <a:pt x="431" y="168"/>
                  </a:lnTo>
                  <a:lnTo>
                    <a:pt x="431" y="168"/>
                  </a:lnTo>
                  <a:lnTo>
                    <a:pt x="431" y="171"/>
                  </a:lnTo>
                  <a:lnTo>
                    <a:pt x="431" y="174"/>
                  </a:lnTo>
                  <a:lnTo>
                    <a:pt x="432" y="175"/>
                  </a:lnTo>
                  <a:lnTo>
                    <a:pt x="432" y="175"/>
                  </a:lnTo>
                  <a:lnTo>
                    <a:pt x="432" y="177"/>
                  </a:lnTo>
                  <a:lnTo>
                    <a:pt x="431" y="177"/>
                  </a:lnTo>
                  <a:lnTo>
                    <a:pt x="431" y="178"/>
                  </a:lnTo>
                  <a:lnTo>
                    <a:pt x="429" y="178"/>
                  </a:lnTo>
                  <a:lnTo>
                    <a:pt x="429" y="181"/>
                  </a:lnTo>
                  <a:lnTo>
                    <a:pt x="429" y="182"/>
                  </a:lnTo>
                  <a:lnTo>
                    <a:pt x="428" y="184"/>
                  </a:lnTo>
                  <a:lnTo>
                    <a:pt x="426" y="185"/>
                  </a:lnTo>
                  <a:lnTo>
                    <a:pt x="425" y="187"/>
                  </a:lnTo>
                  <a:lnTo>
                    <a:pt x="424" y="187"/>
                  </a:lnTo>
                  <a:lnTo>
                    <a:pt x="424" y="190"/>
                  </a:lnTo>
                  <a:lnTo>
                    <a:pt x="422" y="191"/>
                  </a:lnTo>
                  <a:lnTo>
                    <a:pt x="422" y="191"/>
                  </a:lnTo>
                  <a:lnTo>
                    <a:pt x="422" y="191"/>
                  </a:lnTo>
                  <a:lnTo>
                    <a:pt x="424" y="191"/>
                  </a:lnTo>
                  <a:lnTo>
                    <a:pt x="425" y="192"/>
                  </a:lnTo>
                  <a:lnTo>
                    <a:pt x="425" y="192"/>
                  </a:lnTo>
                  <a:lnTo>
                    <a:pt x="425" y="194"/>
                  </a:lnTo>
                  <a:lnTo>
                    <a:pt x="425" y="195"/>
                  </a:lnTo>
                  <a:lnTo>
                    <a:pt x="424" y="198"/>
                  </a:lnTo>
                  <a:lnTo>
                    <a:pt x="422" y="201"/>
                  </a:lnTo>
                  <a:lnTo>
                    <a:pt x="421" y="202"/>
                  </a:lnTo>
                  <a:lnTo>
                    <a:pt x="419" y="204"/>
                  </a:lnTo>
                  <a:lnTo>
                    <a:pt x="418" y="207"/>
                  </a:lnTo>
                  <a:lnTo>
                    <a:pt x="418" y="210"/>
                  </a:lnTo>
                  <a:lnTo>
                    <a:pt x="416" y="212"/>
                  </a:lnTo>
                  <a:lnTo>
                    <a:pt x="416" y="214"/>
                  </a:lnTo>
                  <a:lnTo>
                    <a:pt x="415" y="214"/>
                  </a:lnTo>
                  <a:lnTo>
                    <a:pt x="414" y="214"/>
                  </a:lnTo>
                  <a:lnTo>
                    <a:pt x="411" y="212"/>
                  </a:lnTo>
                  <a:lnTo>
                    <a:pt x="409" y="212"/>
                  </a:lnTo>
                  <a:lnTo>
                    <a:pt x="409" y="212"/>
                  </a:lnTo>
                  <a:lnTo>
                    <a:pt x="408" y="212"/>
                  </a:lnTo>
                  <a:lnTo>
                    <a:pt x="406" y="212"/>
                  </a:lnTo>
                  <a:lnTo>
                    <a:pt x="405" y="212"/>
                  </a:lnTo>
                  <a:lnTo>
                    <a:pt x="405" y="212"/>
                  </a:lnTo>
                  <a:lnTo>
                    <a:pt x="404" y="211"/>
                  </a:lnTo>
                  <a:lnTo>
                    <a:pt x="404" y="211"/>
                  </a:lnTo>
                  <a:lnTo>
                    <a:pt x="402" y="212"/>
                  </a:lnTo>
                  <a:lnTo>
                    <a:pt x="404" y="217"/>
                  </a:lnTo>
                  <a:lnTo>
                    <a:pt x="405" y="218"/>
                  </a:lnTo>
                  <a:lnTo>
                    <a:pt x="404" y="221"/>
                  </a:lnTo>
                  <a:lnTo>
                    <a:pt x="404" y="224"/>
                  </a:lnTo>
                  <a:lnTo>
                    <a:pt x="404" y="227"/>
                  </a:lnTo>
                  <a:lnTo>
                    <a:pt x="404" y="228"/>
                  </a:lnTo>
                  <a:lnTo>
                    <a:pt x="402" y="230"/>
                  </a:lnTo>
                  <a:lnTo>
                    <a:pt x="402" y="230"/>
                  </a:lnTo>
                  <a:lnTo>
                    <a:pt x="401" y="230"/>
                  </a:lnTo>
                  <a:lnTo>
                    <a:pt x="401" y="230"/>
                  </a:lnTo>
                  <a:lnTo>
                    <a:pt x="401" y="230"/>
                  </a:lnTo>
                  <a:lnTo>
                    <a:pt x="401" y="231"/>
                  </a:lnTo>
                  <a:lnTo>
                    <a:pt x="399" y="232"/>
                  </a:lnTo>
                  <a:lnTo>
                    <a:pt x="399" y="234"/>
                  </a:lnTo>
                  <a:lnTo>
                    <a:pt x="399" y="235"/>
                  </a:lnTo>
                  <a:lnTo>
                    <a:pt x="399" y="237"/>
                  </a:lnTo>
                  <a:lnTo>
                    <a:pt x="401" y="241"/>
                  </a:lnTo>
                  <a:lnTo>
                    <a:pt x="401" y="242"/>
                  </a:lnTo>
                  <a:lnTo>
                    <a:pt x="401" y="242"/>
                  </a:lnTo>
                  <a:lnTo>
                    <a:pt x="399" y="244"/>
                  </a:lnTo>
                  <a:lnTo>
                    <a:pt x="399" y="244"/>
                  </a:lnTo>
                  <a:lnTo>
                    <a:pt x="398" y="244"/>
                  </a:lnTo>
                  <a:lnTo>
                    <a:pt x="398" y="244"/>
                  </a:lnTo>
                  <a:lnTo>
                    <a:pt x="396" y="247"/>
                  </a:lnTo>
                  <a:lnTo>
                    <a:pt x="396" y="247"/>
                  </a:lnTo>
                  <a:lnTo>
                    <a:pt x="395" y="247"/>
                  </a:lnTo>
                  <a:lnTo>
                    <a:pt x="394" y="245"/>
                  </a:lnTo>
                  <a:lnTo>
                    <a:pt x="394" y="244"/>
                  </a:lnTo>
                  <a:lnTo>
                    <a:pt x="392" y="244"/>
                  </a:lnTo>
                  <a:lnTo>
                    <a:pt x="392" y="245"/>
                  </a:lnTo>
                  <a:lnTo>
                    <a:pt x="392" y="245"/>
                  </a:lnTo>
                  <a:lnTo>
                    <a:pt x="392" y="247"/>
                  </a:lnTo>
                  <a:lnTo>
                    <a:pt x="391" y="247"/>
                  </a:lnTo>
                  <a:lnTo>
                    <a:pt x="391" y="245"/>
                  </a:lnTo>
                  <a:lnTo>
                    <a:pt x="391" y="240"/>
                  </a:lnTo>
                  <a:lnTo>
                    <a:pt x="389" y="238"/>
                  </a:lnTo>
                  <a:lnTo>
                    <a:pt x="389" y="235"/>
                  </a:lnTo>
                  <a:lnTo>
                    <a:pt x="389" y="234"/>
                  </a:lnTo>
                  <a:lnTo>
                    <a:pt x="388" y="232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6" y="228"/>
                  </a:lnTo>
                  <a:lnTo>
                    <a:pt x="386" y="225"/>
                  </a:lnTo>
                  <a:lnTo>
                    <a:pt x="386" y="224"/>
                  </a:lnTo>
                  <a:lnTo>
                    <a:pt x="386" y="221"/>
                  </a:lnTo>
                  <a:lnTo>
                    <a:pt x="385" y="218"/>
                  </a:lnTo>
                  <a:lnTo>
                    <a:pt x="385" y="218"/>
                  </a:lnTo>
                  <a:lnTo>
                    <a:pt x="384" y="217"/>
                  </a:lnTo>
                  <a:lnTo>
                    <a:pt x="384" y="217"/>
                  </a:lnTo>
                  <a:lnTo>
                    <a:pt x="382" y="218"/>
                  </a:lnTo>
                  <a:lnTo>
                    <a:pt x="381" y="218"/>
                  </a:lnTo>
                  <a:lnTo>
                    <a:pt x="381" y="218"/>
                  </a:lnTo>
                  <a:lnTo>
                    <a:pt x="381" y="220"/>
                  </a:lnTo>
                  <a:lnTo>
                    <a:pt x="381" y="221"/>
                  </a:lnTo>
                  <a:lnTo>
                    <a:pt x="381" y="221"/>
                  </a:lnTo>
                  <a:lnTo>
                    <a:pt x="378" y="224"/>
                  </a:lnTo>
                  <a:lnTo>
                    <a:pt x="378" y="224"/>
                  </a:lnTo>
                  <a:lnTo>
                    <a:pt x="378" y="225"/>
                  </a:lnTo>
                  <a:lnTo>
                    <a:pt x="378" y="228"/>
                  </a:lnTo>
                  <a:lnTo>
                    <a:pt x="378" y="228"/>
                  </a:lnTo>
                  <a:lnTo>
                    <a:pt x="376" y="230"/>
                  </a:lnTo>
                  <a:lnTo>
                    <a:pt x="375" y="230"/>
                  </a:lnTo>
                  <a:lnTo>
                    <a:pt x="375" y="230"/>
                  </a:lnTo>
                  <a:lnTo>
                    <a:pt x="374" y="230"/>
                  </a:lnTo>
                  <a:lnTo>
                    <a:pt x="374" y="227"/>
                  </a:lnTo>
                  <a:lnTo>
                    <a:pt x="372" y="227"/>
                  </a:lnTo>
                  <a:lnTo>
                    <a:pt x="372" y="225"/>
                  </a:lnTo>
                  <a:lnTo>
                    <a:pt x="372" y="227"/>
                  </a:lnTo>
                  <a:lnTo>
                    <a:pt x="371" y="227"/>
                  </a:lnTo>
                  <a:lnTo>
                    <a:pt x="371" y="228"/>
                  </a:lnTo>
                  <a:lnTo>
                    <a:pt x="371" y="228"/>
                  </a:lnTo>
                  <a:lnTo>
                    <a:pt x="371" y="228"/>
                  </a:lnTo>
                  <a:lnTo>
                    <a:pt x="371" y="228"/>
                  </a:lnTo>
                  <a:lnTo>
                    <a:pt x="369" y="222"/>
                  </a:lnTo>
                  <a:lnTo>
                    <a:pt x="368" y="220"/>
                  </a:lnTo>
                  <a:lnTo>
                    <a:pt x="368" y="218"/>
                  </a:lnTo>
                  <a:lnTo>
                    <a:pt x="369" y="217"/>
                  </a:lnTo>
                  <a:lnTo>
                    <a:pt x="369" y="214"/>
                  </a:lnTo>
                  <a:lnTo>
                    <a:pt x="371" y="212"/>
                  </a:lnTo>
                  <a:lnTo>
                    <a:pt x="371" y="211"/>
                  </a:lnTo>
                  <a:lnTo>
                    <a:pt x="371" y="211"/>
                  </a:lnTo>
                  <a:lnTo>
                    <a:pt x="372" y="211"/>
                  </a:lnTo>
                  <a:lnTo>
                    <a:pt x="374" y="211"/>
                  </a:lnTo>
                  <a:lnTo>
                    <a:pt x="375" y="210"/>
                  </a:lnTo>
                  <a:lnTo>
                    <a:pt x="375" y="210"/>
                  </a:lnTo>
                  <a:lnTo>
                    <a:pt x="376" y="208"/>
                  </a:lnTo>
                  <a:lnTo>
                    <a:pt x="378" y="208"/>
                  </a:lnTo>
                  <a:lnTo>
                    <a:pt x="378" y="208"/>
                  </a:lnTo>
                  <a:lnTo>
                    <a:pt x="379" y="210"/>
                  </a:lnTo>
                  <a:lnTo>
                    <a:pt x="379" y="208"/>
                  </a:lnTo>
                  <a:lnTo>
                    <a:pt x="379" y="208"/>
                  </a:lnTo>
                  <a:lnTo>
                    <a:pt x="381" y="207"/>
                  </a:lnTo>
                  <a:lnTo>
                    <a:pt x="381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4" y="205"/>
                  </a:lnTo>
                  <a:lnTo>
                    <a:pt x="384" y="205"/>
                  </a:lnTo>
                  <a:lnTo>
                    <a:pt x="384" y="204"/>
                  </a:lnTo>
                  <a:lnTo>
                    <a:pt x="385" y="200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5" y="197"/>
                  </a:lnTo>
                  <a:lnTo>
                    <a:pt x="385" y="197"/>
                  </a:lnTo>
                  <a:lnTo>
                    <a:pt x="388" y="197"/>
                  </a:lnTo>
                  <a:lnTo>
                    <a:pt x="389" y="197"/>
                  </a:lnTo>
                  <a:lnTo>
                    <a:pt x="389" y="197"/>
                  </a:lnTo>
                  <a:lnTo>
                    <a:pt x="389" y="197"/>
                  </a:lnTo>
                  <a:lnTo>
                    <a:pt x="389" y="195"/>
                  </a:lnTo>
                  <a:lnTo>
                    <a:pt x="388" y="194"/>
                  </a:lnTo>
                  <a:lnTo>
                    <a:pt x="385" y="192"/>
                  </a:lnTo>
                  <a:lnTo>
                    <a:pt x="382" y="191"/>
                  </a:lnTo>
                  <a:lnTo>
                    <a:pt x="378" y="192"/>
                  </a:lnTo>
                  <a:lnTo>
                    <a:pt x="374" y="192"/>
                  </a:lnTo>
                  <a:lnTo>
                    <a:pt x="372" y="192"/>
                  </a:lnTo>
                  <a:lnTo>
                    <a:pt x="371" y="191"/>
                  </a:lnTo>
                  <a:lnTo>
                    <a:pt x="366" y="191"/>
                  </a:lnTo>
                  <a:lnTo>
                    <a:pt x="361" y="192"/>
                  </a:lnTo>
                  <a:lnTo>
                    <a:pt x="359" y="191"/>
                  </a:lnTo>
                  <a:lnTo>
                    <a:pt x="358" y="191"/>
                  </a:lnTo>
                  <a:lnTo>
                    <a:pt x="356" y="192"/>
                  </a:lnTo>
                  <a:lnTo>
                    <a:pt x="354" y="191"/>
                  </a:lnTo>
                  <a:lnTo>
                    <a:pt x="351" y="191"/>
                  </a:lnTo>
                  <a:lnTo>
                    <a:pt x="349" y="190"/>
                  </a:lnTo>
                  <a:lnTo>
                    <a:pt x="348" y="190"/>
                  </a:lnTo>
                  <a:lnTo>
                    <a:pt x="346" y="190"/>
                  </a:lnTo>
                  <a:lnTo>
                    <a:pt x="346" y="190"/>
                  </a:lnTo>
                  <a:lnTo>
                    <a:pt x="346" y="188"/>
                  </a:lnTo>
                  <a:lnTo>
                    <a:pt x="346" y="188"/>
                  </a:lnTo>
                  <a:lnTo>
                    <a:pt x="346" y="185"/>
                  </a:lnTo>
                  <a:lnTo>
                    <a:pt x="346" y="180"/>
                  </a:lnTo>
                  <a:lnTo>
                    <a:pt x="346" y="178"/>
                  </a:lnTo>
                  <a:lnTo>
                    <a:pt x="345" y="174"/>
                  </a:lnTo>
                  <a:lnTo>
                    <a:pt x="344" y="172"/>
                  </a:lnTo>
                  <a:lnTo>
                    <a:pt x="344" y="172"/>
                  </a:lnTo>
                  <a:lnTo>
                    <a:pt x="342" y="174"/>
                  </a:lnTo>
                  <a:lnTo>
                    <a:pt x="342" y="174"/>
                  </a:lnTo>
                  <a:lnTo>
                    <a:pt x="344" y="175"/>
                  </a:lnTo>
                  <a:lnTo>
                    <a:pt x="342" y="177"/>
                  </a:lnTo>
                  <a:lnTo>
                    <a:pt x="341" y="177"/>
                  </a:lnTo>
                  <a:lnTo>
                    <a:pt x="339" y="177"/>
                  </a:lnTo>
                  <a:lnTo>
                    <a:pt x="338" y="177"/>
                  </a:lnTo>
                  <a:lnTo>
                    <a:pt x="337" y="175"/>
                  </a:lnTo>
                  <a:lnTo>
                    <a:pt x="335" y="174"/>
                  </a:lnTo>
                  <a:lnTo>
                    <a:pt x="335" y="171"/>
                  </a:lnTo>
                  <a:lnTo>
                    <a:pt x="335" y="170"/>
                  </a:lnTo>
                  <a:lnTo>
                    <a:pt x="334" y="170"/>
                  </a:lnTo>
                  <a:lnTo>
                    <a:pt x="334" y="170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2" y="171"/>
                  </a:lnTo>
                  <a:lnTo>
                    <a:pt x="334" y="172"/>
                  </a:lnTo>
                  <a:lnTo>
                    <a:pt x="334" y="172"/>
                  </a:lnTo>
                  <a:lnTo>
                    <a:pt x="332" y="172"/>
                  </a:lnTo>
                  <a:lnTo>
                    <a:pt x="332" y="172"/>
                  </a:lnTo>
                  <a:lnTo>
                    <a:pt x="331" y="172"/>
                  </a:lnTo>
                  <a:lnTo>
                    <a:pt x="329" y="172"/>
                  </a:lnTo>
                  <a:lnTo>
                    <a:pt x="329" y="172"/>
                  </a:lnTo>
                  <a:lnTo>
                    <a:pt x="328" y="171"/>
                  </a:lnTo>
                  <a:lnTo>
                    <a:pt x="328" y="171"/>
                  </a:lnTo>
                  <a:lnTo>
                    <a:pt x="328" y="170"/>
                  </a:lnTo>
                  <a:lnTo>
                    <a:pt x="325" y="168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4" y="168"/>
                  </a:lnTo>
                  <a:lnTo>
                    <a:pt x="324" y="168"/>
                  </a:lnTo>
                  <a:lnTo>
                    <a:pt x="324" y="168"/>
                  </a:lnTo>
                  <a:lnTo>
                    <a:pt x="325" y="170"/>
                  </a:lnTo>
                  <a:lnTo>
                    <a:pt x="325" y="170"/>
                  </a:lnTo>
                  <a:lnTo>
                    <a:pt x="325" y="171"/>
                  </a:lnTo>
                  <a:lnTo>
                    <a:pt x="324" y="171"/>
                  </a:lnTo>
                  <a:lnTo>
                    <a:pt x="322" y="172"/>
                  </a:lnTo>
                  <a:lnTo>
                    <a:pt x="321" y="174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19" y="178"/>
                  </a:lnTo>
                  <a:lnTo>
                    <a:pt x="319" y="180"/>
                  </a:lnTo>
                  <a:lnTo>
                    <a:pt x="319" y="180"/>
                  </a:lnTo>
                  <a:lnTo>
                    <a:pt x="319" y="180"/>
                  </a:lnTo>
                  <a:lnTo>
                    <a:pt x="322" y="181"/>
                  </a:lnTo>
                  <a:lnTo>
                    <a:pt x="324" y="182"/>
                  </a:lnTo>
                  <a:lnTo>
                    <a:pt x="325" y="184"/>
                  </a:lnTo>
                  <a:lnTo>
                    <a:pt x="325" y="185"/>
                  </a:lnTo>
                  <a:lnTo>
                    <a:pt x="327" y="185"/>
                  </a:lnTo>
                  <a:lnTo>
                    <a:pt x="329" y="185"/>
                  </a:lnTo>
                  <a:lnTo>
                    <a:pt x="331" y="187"/>
                  </a:lnTo>
                  <a:lnTo>
                    <a:pt x="331" y="188"/>
                  </a:lnTo>
                  <a:lnTo>
                    <a:pt x="331" y="188"/>
                  </a:lnTo>
                  <a:lnTo>
                    <a:pt x="332" y="190"/>
                  </a:lnTo>
                  <a:lnTo>
                    <a:pt x="332" y="190"/>
                  </a:lnTo>
                  <a:lnTo>
                    <a:pt x="332" y="191"/>
                  </a:lnTo>
                  <a:lnTo>
                    <a:pt x="332" y="191"/>
                  </a:lnTo>
                  <a:lnTo>
                    <a:pt x="331" y="191"/>
                  </a:lnTo>
                  <a:lnTo>
                    <a:pt x="329" y="191"/>
                  </a:lnTo>
                  <a:lnTo>
                    <a:pt x="328" y="191"/>
                  </a:lnTo>
                  <a:lnTo>
                    <a:pt x="327" y="191"/>
                  </a:lnTo>
                  <a:lnTo>
                    <a:pt x="325" y="191"/>
                  </a:lnTo>
                  <a:lnTo>
                    <a:pt x="324" y="195"/>
                  </a:lnTo>
                  <a:lnTo>
                    <a:pt x="322" y="197"/>
                  </a:lnTo>
                  <a:lnTo>
                    <a:pt x="322" y="197"/>
                  </a:lnTo>
                  <a:lnTo>
                    <a:pt x="321" y="195"/>
                  </a:lnTo>
                  <a:lnTo>
                    <a:pt x="319" y="197"/>
                  </a:lnTo>
                  <a:lnTo>
                    <a:pt x="318" y="200"/>
                  </a:lnTo>
                  <a:lnTo>
                    <a:pt x="318" y="201"/>
                  </a:lnTo>
                  <a:lnTo>
                    <a:pt x="318" y="201"/>
                  </a:lnTo>
                  <a:lnTo>
                    <a:pt x="319" y="202"/>
                  </a:lnTo>
                  <a:lnTo>
                    <a:pt x="319" y="204"/>
                  </a:lnTo>
                  <a:lnTo>
                    <a:pt x="321" y="204"/>
                  </a:lnTo>
                  <a:lnTo>
                    <a:pt x="322" y="204"/>
                  </a:lnTo>
                  <a:lnTo>
                    <a:pt x="322" y="204"/>
                  </a:lnTo>
                  <a:lnTo>
                    <a:pt x="324" y="205"/>
                  </a:lnTo>
                  <a:lnTo>
                    <a:pt x="325" y="207"/>
                  </a:lnTo>
                  <a:lnTo>
                    <a:pt x="328" y="207"/>
                  </a:lnTo>
                  <a:lnTo>
                    <a:pt x="329" y="207"/>
                  </a:lnTo>
                  <a:lnTo>
                    <a:pt x="329" y="208"/>
                  </a:lnTo>
                  <a:lnTo>
                    <a:pt x="329" y="208"/>
                  </a:lnTo>
                  <a:lnTo>
                    <a:pt x="329" y="211"/>
                  </a:lnTo>
                  <a:lnTo>
                    <a:pt x="329" y="212"/>
                  </a:lnTo>
                  <a:lnTo>
                    <a:pt x="328" y="215"/>
                  </a:lnTo>
                  <a:lnTo>
                    <a:pt x="327" y="218"/>
                  </a:lnTo>
                  <a:lnTo>
                    <a:pt x="327" y="220"/>
                  </a:lnTo>
                  <a:lnTo>
                    <a:pt x="328" y="220"/>
                  </a:lnTo>
                  <a:lnTo>
                    <a:pt x="328" y="220"/>
                  </a:lnTo>
                  <a:lnTo>
                    <a:pt x="329" y="221"/>
                  </a:lnTo>
                  <a:lnTo>
                    <a:pt x="329" y="222"/>
                  </a:lnTo>
                  <a:lnTo>
                    <a:pt x="329" y="224"/>
                  </a:lnTo>
                  <a:lnTo>
                    <a:pt x="329" y="225"/>
                  </a:lnTo>
                  <a:lnTo>
                    <a:pt x="331" y="225"/>
                  </a:lnTo>
                  <a:lnTo>
                    <a:pt x="332" y="225"/>
                  </a:lnTo>
                  <a:lnTo>
                    <a:pt x="332" y="227"/>
                  </a:lnTo>
                  <a:lnTo>
                    <a:pt x="331" y="228"/>
                  </a:lnTo>
                  <a:lnTo>
                    <a:pt x="331" y="231"/>
                  </a:lnTo>
                  <a:lnTo>
                    <a:pt x="332" y="232"/>
                  </a:lnTo>
                  <a:lnTo>
                    <a:pt x="332" y="235"/>
                  </a:lnTo>
                  <a:lnTo>
                    <a:pt x="332" y="235"/>
                  </a:lnTo>
                  <a:lnTo>
                    <a:pt x="332" y="235"/>
                  </a:lnTo>
                  <a:lnTo>
                    <a:pt x="334" y="238"/>
                  </a:lnTo>
                  <a:lnTo>
                    <a:pt x="334" y="242"/>
                  </a:lnTo>
                  <a:lnTo>
                    <a:pt x="335" y="244"/>
                  </a:lnTo>
                  <a:lnTo>
                    <a:pt x="335" y="245"/>
                  </a:lnTo>
                  <a:lnTo>
                    <a:pt x="334" y="248"/>
                  </a:lnTo>
                  <a:lnTo>
                    <a:pt x="332" y="248"/>
                  </a:lnTo>
                  <a:lnTo>
                    <a:pt x="334" y="250"/>
                  </a:lnTo>
                  <a:lnTo>
                    <a:pt x="334" y="251"/>
                  </a:lnTo>
                  <a:lnTo>
                    <a:pt x="335" y="252"/>
                  </a:lnTo>
                  <a:lnTo>
                    <a:pt x="334" y="252"/>
                  </a:lnTo>
                  <a:lnTo>
                    <a:pt x="332" y="252"/>
                  </a:lnTo>
                  <a:lnTo>
                    <a:pt x="331" y="251"/>
                  </a:lnTo>
                  <a:lnTo>
                    <a:pt x="331" y="252"/>
                  </a:lnTo>
                  <a:lnTo>
                    <a:pt x="329" y="254"/>
                  </a:lnTo>
                  <a:lnTo>
                    <a:pt x="329" y="254"/>
                  </a:lnTo>
                  <a:lnTo>
                    <a:pt x="329" y="252"/>
                  </a:lnTo>
                  <a:lnTo>
                    <a:pt x="328" y="251"/>
                  </a:lnTo>
                  <a:lnTo>
                    <a:pt x="329" y="247"/>
                  </a:lnTo>
                  <a:lnTo>
                    <a:pt x="329" y="247"/>
                  </a:lnTo>
                  <a:lnTo>
                    <a:pt x="329" y="245"/>
                  </a:lnTo>
                  <a:lnTo>
                    <a:pt x="328" y="245"/>
                  </a:lnTo>
                  <a:lnTo>
                    <a:pt x="328" y="245"/>
                  </a:lnTo>
                  <a:lnTo>
                    <a:pt x="327" y="250"/>
                  </a:lnTo>
                  <a:lnTo>
                    <a:pt x="327" y="251"/>
                  </a:lnTo>
                  <a:lnTo>
                    <a:pt x="327" y="252"/>
                  </a:lnTo>
                  <a:lnTo>
                    <a:pt x="325" y="254"/>
                  </a:lnTo>
                  <a:lnTo>
                    <a:pt x="322" y="251"/>
                  </a:lnTo>
                  <a:lnTo>
                    <a:pt x="322" y="251"/>
                  </a:lnTo>
                  <a:lnTo>
                    <a:pt x="322" y="252"/>
                  </a:lnTo>
                  <a:lnTo>
                    <a:pt x="322" y="254"/>
                  </a:lnTo>
                  <a:lnTo>
                    <a:pt x="319" y="252"/>
                  </a:lnTo>
                  <a:lnTo>
                    <a:pt x="318" y="252"/>
                  </a:lnTo>
                  <a:lnTo>
                    <a:pt x="319" y="250"/>
                  </a:lnTo>
                  <a:lnTo>
                    <a:pt x="321" y="247"/>
                  </a:lnTo>
                  <a:lnTo>
                    <a:pt x="321" y="244"/>
                  </a:lnTo>
                  <a:lnTo>
                    <a:pt x="319" y="242"/>
                  </a:lnTo>
                  <a:lnTo>
                    <a:pt x="318" y="242"/>
                  </a:lnTo>
                  <a:lnTo>
                    <a:pt x="317" y="240"/>
                  </a:lnTo>
                  <a:lnTo>
                    <a:pt x="317" y="242"/>
                  </a:lnTo>
                  <a:lnTo>
                    <a:pt x="318" y="242"/>
                  </a:lnTo>
                  <a:lnTo>
                    <a:pt x="319" y="244"/>
                  </a:lnTo>
                  <a:lnTo>
                    <a:pt x="319" y="245"/>
                  </a:lnTo>
                  <a:lnTo>
                    <a:pt x="319" y="245"/>
                  </a:lnTo>
                  <a:lnTo>
                    <a:pt x="318" y="247"/>
                  </a:lnTo>
                  <a:lnTo>
                    <a:pt x="317" y="250"/>
                  </a:lnTo>
                  <a:lnTo>
                    <a:pt x="315" y="251"/>
                  </a:lnTo>
                  <a:lnTo>
                    <a:pt x="312" y="252"/>
                  </a:lnTo>
                  <a:lnTo>
                    <a:pt x="305" y="254"/>
                  </a:lnTo>
                  <a:lnTo>
                    <a:pt x="304" y="255"/>
                  </a:lnTo>
                  <a:lnTo>
                    <a:pt x="301" y="258"/>
                  </a:lnTo>
                  <a:lnTo>
                    <a:pt x="299" y="260"/>
                  </a:lnTo>
                  <a:lnTo>
                    <a:pt x="299" y="262"/>
                  </a:lnTo>
                  <a:lnTo>
                    <a:pt x="299" y="264"/>
                  </a:lnTo>
                  <a:lnTo>
                    <a:pt x="301" y="268"/>
                  </a:lnTo>
                  <a:lnTo>
                    <a:pt x="301" y="270"/>
                  </a:lnTo>
                  <a:lnTo>
                    <a:pt x="301" y="271"/>
                  </a:lnTo>
                  <a:lnTo>
                    <a:pt x="299" y="272"/>
                  </a:lnTo>
                  <a:lnTo>
                    <a:pt x="298" y="274"/>
                  </a:lnTo>
                  <a:lnTo>
                    <a:pt x="298" y="275"/>
                  </a:lnTo>
                  <a:lnTo>
                    <a:pt x="298" y="275"/>
                  </a:lnTo>
                  <a:lnTo>
                    <a:pt x="294" y="278"/>
                  </a:lnTo>
                  <a:lnTo>
                    <a:pt x="292" y="279"/>
                  </a:lnTo>
                  <a:lnTo>
                    <a:pt x="291" y="281"/>
                  </a:lnTo>
                  <a:lnTo>
                    <a:pt x="291" y="279"/>
                  </a:lnTo>
                  <a:lnTo>
                    <a:pt x="289" y="279"/>
                  </a:lnTo>
                  <a:lnTo>
                    <a:pt x="291" y="281"/>
                  </a:lnTo>
                  <a:lnTo>
                    <a:pt x="291" y="282"/>
                  </a:lnTo>
                  <a:lnTo>
                    <a:pt x="289" y="282"/>
                  </a:lnTo>
                  <a:lnTo>
                    <a:pt x="289" y="282"/>
                  </a:lnTo>
                  <a:lnTo>
                    <a:pt x="284" y="284"/>
                  </a:lnTo>
                  <a:lnTo>
                    <a:pt x="278" y="287"/>
                  </a:lnTo>
                  <a:lnTo>
                    <a:pt x="278" y="287"/>
                  </a:lnTo>
                  <a:lnTo>
                    <a:pt x="278" y="285"/>
                  </a:lnTo>
                  <a:lnTo>
                    <a:pt x="278" y="285"/>
                  </a:lnTo>
                  <a:lnTo>
                    <a:pt x="278" y="282"/>
                  </a:lnTo>
                  <a:lnTo>
                    <a:pt x="278" y="282"/>
                  </a:lnTo>
                  <a:lnTo>
                    <a:pt x="277" y="282"/>
                  </a:lnTo>
                  <a:lnTo>
                    <a:pt x="274" y="285"/>
                  </a:lnTo>
                  <a:lnTo>
                    <a:pt x="272" y="287"/>
                  </a:lnTo>
                  <a:lnTo>
                    <a:pt x="272" y="288"/>
                  </a:lnTo>
                  <a:lnTo>
                    <a:pt x="274" y="288"/>
                  </a:lnTo>
                  <a:lnTo>
                    <a:pt x="275" y="287"/>
                  </a:lnTo>
                  <a:lnTo>
                    <a:pt x="277" y="287"/>
                  </a:lnTo>
                  <a:lnTo>
                    <a:pt x="277" y="287"/>
                  </a:lnTo>
                  <a:lnTo>
                    <a:pt x="274" y="289"/>
                  </a:lnTo>
                  <a:lnTo>
                    <a:pt x="265" y="295"/>
                  </a:lnTo>
                  <a:lnTo>
                    <a:pt x="265" y="297"/>
                  </a:lnTo>
                  <a:lnTo>
                    <a:pt x="265" y="298"/>
                  </a:lnTo>
                  <a:lnTo>
                    <a:pt x="264" y="299"/>
                  </a:lnTo>
                  <a:lnTo>
                    <a:pt x="261" y="302"/>
                  </a:lnTo>
                  <a:lnTo>
                    <a:pt x="257" y="308"/>
                  </a:lnTo>
                  <a:lnTo>
                    <a:pt x="255" y="309"/>
                  </a:lnTo>
                  <a:lnTo>
                    <a:pt x="248" y="314"/>
                  </a:lnTo>
                  <a:lnTo>
                    <a:pt x="247" y="314"/>
                  </a:lnTo>
                  <a:lnTo>
                    <a:pt x="244" y="318"/>
                  </a:lnTo>
                  <a:lnTo>
                    <a:pt x="241" y="321"/>
                  </a:lnTo>
                  <a:lnTo>
                    <a:pt x="237" y="324"/>
                  </a:lnTo>
                  <a:lnTo>
                    <a:pt x="231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2"/>
                  </a:lnTo>
                  <a:lnTo>
                    <a:pt x="227" y="334"/>
                  </a:lnTo>
                  <a:lnTo>
                    <a:pt x="227" y="334"/>
                  </a:lnTo>
                  <a:lnTo>
                    <a:pt x="227" y="335"/>
                  </a:lnTo>
                  <a:lnTo>
                    <a:pt x="227" y="337"/>
                  </a:lnTo>
                  <a:lnTo>
                    <a:pt x="227" y="337"/>
                  </a:lnTo>
                  <a:lnTo>
                    <a:pt x="225" y="338"/>
                  </a:lnTo>
                  <a:lnTo>
                    <a:pt x="224" y="339"/>
                  </a:lnTo>
                  <a:lnTo>
                    <a:pt x="218" y="342"/>
                  </a:lnTo>
                  <a:lnTo>
                    <a:pt x="217" y="342"/>
                  </a:lnTo>
                  <a:lnTo>
                    <a:pt x="212" y="342"/>
                  </a:lnTo>
                  <a:lnTo>
                    <a:pt x="210" y="342"/>
                  </a:lnTo>
                  <a:lnTo>
                    <a:pt x="210" y="344"/>
                  </a:lnTo>
                  <a:lnTo>
                    <a:pt x="208" y="348"/>
                  </a:lnTo>
                  <a:lnTo>
                    <a:pt x="205" y="349"/>
                  </a:lnTo>
                  <a:lnTo>
                    <a:pt x="205" y="351"/>
                  </a:lnTo>
                  <a:lnTo>
                    <a:pt x="205" y="352"/>
                  </a:lnTo>
                  <a:lnTo>
                    <a:pt x="204" y="352"/>
                  </a:lnTo>
                  <a:lnTo>
                    <a:pt x="204" y="351"/>
                  </a:lnTo>
                  <a:lnTo>
                    <a:pt x="202" y="352"/>
                  </a:lnTo>
                  <a:lnTo>
                    <a:pt x="202" y="349"/>
                  </a:lnTo>
                  <a:lnTo>
                    <a:pt x="201" y="349"/>
                  </a:lnTo>
                  <a:lnTo>
                    <a:pt x="200" y="349"/>
                  </a:lnTo>
                  <a:lnTo>
                    <a:pt x="195" y="351"/>
                  </a:lnTo>
                  <a:lnTo>
                    <a:pt x="194" y="352"/>
                  </a:lnTo>
                  <a:lnTo>
                    <a:pt x="191" y="359"/>
                  </a:lnTo>
                  <a:lnTo>
                    <a:pt x="191" y="364"/>
                  </a:lnTo>
                  <a:lnTo>
                    <a:pt x="191" y="368"/>
                  </a:lnTo>
                  <a:lnTo>
                    <a:pt x="192" y="371"/>
                  </a:lnTo>
                  <a:lnTo>
                    <a:pt x="192" y="372"/>
                  </a:lnTo>
                  <a:lnTo>
                    <a:pt x="192" y="375"/>
                  </a:lnTo>
                  <a:lnTo>
                    <a:pt x="191" y="377"/>
                  </a:lnTo>
                  <a:lnTo>
                    <a:pt x="191" y="378"/>
                  </a:lnTo>
                  <a:lnTo>
                    <a:pt x="192" y="379"/>
                  </a:lnTo>
                  <a:lnTo>
                    <a:pt x="192" y="384"/>
                  </a:lnTo>
                  <a:lnTo>
                    <a:pt x="194" y="385"/>
                  </a:lnTo>
                  <a:lnTo>
                    <a:pt x="194" y="387"/>
                  </a:lnTo>
                  <a:lnTo>
                    <a:pt x="194" y="389"/>
                  </a:lnTo>
                  <a:lnTo>
                    <a:pt x="194" y="388"/>
                  </a:lnTo>
                  <a:lnTo>
                    <a:pt x="194" y="387"/>
                  </a:lnTo>
                  <a:lnTo>
                    <a:pt x="192" y="385"/>
                  </a:lnTo>
                  <a:lnTo>
                    <a:pt x="191" y="387"/>
                  </a:lnTo>
                  <a:lnTo>
                    <a:pt x="191" y="388"/>
                  </a:lnTo>
                  <a:lnTo>
                    <a:pt x="194" y="389"/>
                  </a:lnTo>
                  <a:lnTo>
                    <a:pt x="195" y="391"/>
                  </a:lnTo>
                  <a:lnTo>
                    <a:pt x="192" y="402"/>
                  </a:lnTo>
                  <a:lnTo>
                    <a:pt x="192" y="407"/>
                  </a:lnTo>
                  <a:lnTo>
                    <a:pt x="190" y="408"/>
                  </a:lnTo>
                  <a:lnTo>
                    <a:pt x="190" y="409"/>
                  </a:lnTo>
                  <a:lnTo>
                    <a:pt x="187" y="414"/>
                  </a:lnTo>
                  <a:lnTo>
                    <a:pt x="185" y="418"/>
                  </a:lnTo>
                  <a:lnTo>
                    <a:pt x="185" y="421"/>
                  </a:lnTo>
                  <a:lnTo>
                    <a:pt x="187" y="422"/>
                  </a:lnTo>
                  <a:lnTo>
                    <a:pt x="185" y="424"/>
                  </a:lnTo>
                  <a:lnTo>
                    <a:pt x="184" y="425"/>
                  </a:lnTo>
                  <a:lnTo>
                    <a:pt x="187" y="424"/>
                  </a:lnTo>
                  <a:lnTo>
                    <a:pt x="187" y="425"/>
                  </a:lnTo>
                  <a:lnTo>
                    <a:pt x="187" y="427"/>
                  </a:lnTo>
                  <a:lnTo>
                    <a:pt x="187" y="434"/>
                  </a:lnTo>
                  <a:lnTo>
                    <a:pt x="187" y="441"/>
                  </a:lnTo>
                  <a:lnTo>
                    <a:pt x="185" y="441"/>
                  </a:lnTo>
                  <a:lnTo>
                    <a:pt x="184" y="441"/>
                  </a:lnTo>
                  <a:lnTo>
                    <a:pt x="182" y="441"/>
                  </a:lnTo>
                  <a:lnTo>
                    <a:pt x="182" y="441"/>
                  </a:lnTo>
                  <a:lnTo>
                    <a:pt x="180" y="441"/>
                  </a:lnTo>
                  <a:lnTo>
                    <a:pt x="178" y="442"/>
                  </a:lnTo>
                  <a:lnTo>
                    <a:pt x="177" y="444"/>
                  </a:lnTo>
                  <a:lnTo>
                    <a:pt x="178" y="445"/>
                  </a:lnTo>
                  <a:lnTo>
                    <a:pt x="174" y="451"/>
                  </a:lnTo>
                  <a:lnTo>
                    <a:pt x="172" y="454"/>
                  </a:lnTo>
                  <a:lnTo>
                    <a:pt x="172" y="455"/>
                  </a:lnTo>
                  <a:lnTo>
                    <a:pt x="172" y="455"/>
                  </a:lnTo>
                  <a:lnTo>
                    <a:pt x="174" y="457"/>
                  </a:lnTo>
                  <a:lnTo>
                    <a:pt x="175" y="457"/>
                  </a:lnTo>
                  <a:lnTo>
                    <a:pt x="178" y="458"/>
                  </a:lnTo>
                  <a:lnTo>
                    <a:pt x="180" y="458"/>
                  </a:lnTo>
                  <a:lnTo>
                    <a:pt x="180" y="459"/>
                  </a:lnTo>
                  <a:lnTo>
                    <a:pt x="177" y="458"/>
                  </a:lnTo>
                  <a:lnTo>
                    <a:pt x="172" y="458"/>
                  </a:lnTo>
                  <a:lnTo>
                    <a:pt x="164" y="461"/>
                  </a:lnTo>
                  <a:lnTo>
                    <a:pt x="162" y="462"/>
                  </a:lnTo>
                  <a:lnTo>
                    <a:pt x="161" y="464"/>
                  </a:lnTo>
                  <a:lnTo>
                    <a:pt x="160" y="468"/>
                  </a:lnTo>
                  <a:lnTo>
                    <a:pt x="160" y="469"/>
                  </a:lnTo>
                  <a:lnTo>
                    <a:pt x="158" y="472"/>
                  </a:lnTo>
                  <a:lnTo>
                    <a:pt x="154" y="475"/>
                  </a:lnTo>
                  <a:lnTo>
                    <a:pt x="151" y="477"/>
                  </a:lnTo>
                  <a:lnTo>
                    <a:pt x="150" y="477"/>
                  </a:lnTo>
                  <a:lnTo>
                    <a:pt x="147" y="477"/>
                  </a:lnTo>
                  <a:lnTo>
                    <a:pt x="143" y="474"/>
                  </a:lnTo>
                  <a:lnTo>
                    <a:pt x="141" y="472"/>
                  </a:lnTo>
                  <a:lnTo>
                    <a:pt x="135" y="465"/>
                  </a:lnTo>
                  <a:lnTo>
                    <a:pt x="134" y="464"/>
                  </a:lnTo>
                  <a:lnTo>
                    <a:pt x="133" y="461"/>
                  </a:lnTo>
                  <a:lnTo>
                    <a:pt x="133" y="459"/>
                  </a:lnTo>
                  <a:lnTo>
                    <a:pt x="133" y="459"/>
                  </a:lnTo>
                  <a:lnTo>
                    <a:pt x="133" y="459"/>
                  </a:lnTo>
                  <a:lnTo>
                    <a:pt x="133" y="458"/>
                  </a:lnTo>
                  <a:lnTo>
                    <a:pt x="131" y="455"/>
                  </a:lnTo>
                  <a:lnTo>
                    <a:pt x="130" y="451"/>
                  </a:lnTo>
                  <a:lnTo>
                    <a:pt x="130" y="447"/>
                  </a:lnTo>
                  <a:lnTo>
                    <a:pt x="130" y="448"/>
                  </a:lnTo>
                  <a:lnTo>
                    <a:pt x="131" y="449"/>
                  </a:lnTo>
                  <a:lnTo>
                    <a:pt x="131" y="451"/>
                  </a:lnTo>
                  <a:lnTo>
                    <a:pt x="131" y="454"/>
                  </a:lnTo>
                  <a:lnTo>
                    <a:pt x="133" y="454"/>
                  </a:lnTo>
                  <a:lnTo>
                    <a:pt x="133" y="454"/>
                  </a:lnTo>
                  <a:lnTo>
                    <a:pt x="131" y="447"/>
                  </a:lnTo>
                  <a:lnTo>
                    <a:pt x="130" y="445"/>
                  </a:lnTo>
                  <a:lnTo>
                    <a:pt x="130" y="445"/>
                  </a:lnTo>
                  <a:lnTo>
                    <a:pt x="128" y="445"/>
                  </a:lnTo>
                  <a:lnTo>
                    <a:pt x="128" y="444"/>
                  </a:lnTo>
                  <a:lnTo>
                    <a:pt x="128" y="442"/>
                  </a:lnTo>
                  <a:lnTo>
                    <a:pt x="127" y="441"/>
                  </a:lnTo>
                  <a:lnTo>
                    <a:pt x="127" y="439"/>
                  </a:lnTo>
                  <a:lnTo>
                    <a:pt x="124" y="434"/>
                  </a:lnTo>
                  <a:lnTo>
                    <a:pt x="123" y="429"/>
                  </a:lnTo>
                  <a:lnTo>
                    <a:pt x="121" y="424"/>
                  </a:lnTo>
                  <a:lnTo>
                    <a:pt x="120" y="422"/>
                  </a:lnTo>
                  <a:lnTo>
                    <a:pt x="118" y="418"/>
                  </a:lnTo>
                  <a:lnTo>
                    <a:pt x="117" y="417"/>
                  </a:lnTo>
                  <a:lnTo>
                    <a:pt x="114" y="414"/>
                  </a:lnTo>
                  <a:lnTo>
                    <a:pt x="113" y="414"/>
                  </a:lnTo>
                  <a:lnTo>
                    <a:pt x="113" y="412"/>
                  </a:lnTo>
                  <a:lnTo>
                    <a:pt x="108" y="404"/>
                  </a:lnTo>
                  <a:lnTo>
                    <a:pt x="107" y="399"/>
                  </a:lnTo>
                  <a:lnTo>
                    <a:pt x="107" y="398"/>
                  </a:lnTo>
                  <a:lnTo>
                    <a:pt x="105" y="397"/>
                  </a:lnTo>
                  <a:lnTo>
                    <a:pt x="104" y="389"/>
                  </a:lnTo>
                  <a:lnTo>
                    <a:pt x="104" y="388"/>
                  </a:lnTo>
                  <a:lnTo>
                    <a:pt x="104" y="387"/>
                  </a:lnTo>
                  <a:lnTo>
                    <a:pt x="103" y="384"/>
                  </a:lnTo>
                  <a:lnTo>
                    <a:pt x="101" y="379"/>
                  </a:lnTo>
                  <a:lnTo>
                    <a:pt x="101" y="378"/>
                  </a:lnTo>
                  <a:lnTo>
                    <a:pt x="101" y="377"/>
                  </a:lnTo>
                  <a:lnTo>
                    <a:pt x="100" y="374"/>
                  </a:lnTo>
                  <a:lnTo>
                    <a:pt x="100" y="372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7" y="369"/>
                  </a:lnTo>
                  <a:lnTo>
                    <a:pt x="95" y="367"/>
                  </a:lnTo>
                  <a:lnTo>
                    <a:pt x="94" y="365"/>
                  </a:lnTo>
                  <a:lnTo>
                    <a:pt x="93" y="364"/>
                  </a:lnTo>
                  <a:lnTo>
                    <a:pt x="91" y="359"/>
                  </a:lnTo>
                  <a:lnTo>
                    <a:pt x="90" y="358"/>
                  </a:lnTo>
                  <a:lnTo>
                    <a:pt x="93" y="358"/>
                  </a:lnTo>
                  <a:lnTo>
                    <a:pt x="91" y="357"/>
                  </a:lnTo>
                  <a:lnTo>
                    <a:pt x="90" y="355"/>
                  </a:lnTo>
                  <a:lnTo>
                    <a:pt x="90" y="355"/>
                  </a:lnTo>
                  <a:lnTo>
                    <a:pt x="91" y="354"/>
                  </a:lnTo>
                  <a:lnTo>
                    <a:pt x="90" y="354"/>
                  </a:lnTo>
                  <a:lnTo>
                    <a:pt x="88" y="352"/>
                  </a:lnTo>
                  <a:lnTo>
                    <a:pt x="87" y="349"/>
                  </a:lnTo>
                  <a:lnTo>
                    <a:pt x="85" y="347"/>
                  </a:lnTo>
                  <a:lnTo>
                    <a:pt x="84" y="345"/>
                  </a:lnTo>
                  <a:lnTo>
                    <a:pt x="83" y="341"/>
                  </a:lnTo>
                  <a:lnTo>
                    <a:pt x="81" y="328"/>
                  </a:lnTo>
                  <a:lnTo>
                    <a:pt x="80" y="322"/>
                  </a:lnTo>
                  <a:lnTo>
                    <a:pt x="80" y="321"/>
                  </a:lnTo>
                  <a:lnTo>
                    <a:pt x="78" y="317"/>
                  </a:lnTo>
                  <a:lnTo>
                    <a:pt x="77" y="312"/>
                  </a:lnTo>
                  <a:lnTo>
                    <a:pt x="77" y="311"/>
                  </a:lnTo>
                  <a:lnTo>
                    <a:pt x="77" y="308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4"/>
                  </a:lnTo>
                  <a:lnTo>
                    <a:pt x="75" y="301"/>
                  </a:lnTo>
                  <a:lnTo>
                    <a:pt x="77" y="299"/>
                  </a:lnTo>
                  <a:lnTo>
                    <a:pt x="77" y="298"/>
                  </a:lnTo>
                  <a:lnTo>
                    <a:pt x="77" y="295"/>
                  </a:lnTo>
                  <a:lnTo>
                    <a:pt x="75" y="298"/>
                  </a:lnTo>
                  <a:lnTo>
                    <a:pt x="74" y="298"/>
                  </a:lnTo>
                  <a:lnTo>
                    <a:pt x="74" y="297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2"/>
                  </a:lnTo>
                  <a:lnTo>
                    <a:pt x="77" y="292"/>
                  </a:lnTo>
                  <a:lnTo>
                    <a:pt x="74" y="291"/>
                  </a:lnTo>
                  <a:lnTo>
                    <a:pt x="74" y="291"/>
                  </a:lnTo>
                  <a:lnTo>
                    <a:pt x="74" y="289"/>
                  </a:lnTo>
                  <a:lnTo>
                    <a:pt x="74" y="289"/>
                  </a:lnTo>
                  <a:lnTo>
                    <a:pt x="73" y="288"/>
                  </a:lnTo>
                  <a:lnTo>
                    <a:pt x="73" y="285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79"/>
                  </a:lnTo>
                  <a:lnTo>
                    <a:pt x="75" y="271"/>
                  </a:lnTo>
                  <a:lnTo>
                    <a:pt x="75" y="270"/>
                  </a:lnTo>
                  <a:lnTo>
                    <a:pt x="75" y="267"/>
                  </a:lnTo>
                  <a:lnTo>
                    <a:pt x="75" y="265"/>
                  </a:lnTo>
                  <a:lnTo>
                    <a:pt x="74" y="262"/>
                  </a:lnTo>
                  <a:lnTo>
                    <a:pt x="74" y="262"/>
                  </a:lnTo>
                  <a:lnTo>
                    <a:pt x="74" y="261"/>
                  </a:lnTo>
                  <a:lnTo>
                    <a:pt x="73" y="261"/>
                  </a:lnTo>
                  <a:lnTo>
                    <a:pt x="71" y="258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3" y="257"/>
                  </a:lnTo>
                  <a:lnTo>
                    <a:pt x="71" y="255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8" y="252"/>
                  </a:lnTo>
                  <a:lnTo>
                    <a:pt x="80" y="251"/>
                  </a:lnTo>
                  <a:lnTo>
                    <a:pt x="77" y="252"/>
                  </a:lnTo>
                  <a:lnTo>
                    <a:pt x="75" y="252"/>
                  </a:lnTo>
                  <a:lnTo>
                    <a:pt x="70" y="252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3" y="247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70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4" y="242"/>
                  </a:lnTo>
                  <a:lnTo>
                    <a:pt x="73" y="242"/>
                  </a:lnTo>
                  <a:lnTo>
                    <a:pt x="71" y="242"/>
                  </a:lnTo>
                  <a:lnTo>
                    <a:pt x="68" y="242"/>
                  </a:lnTo>
                  <a:lnTo>
                    <a:pt x="67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7" y="244"/>
                  </a:lnTo>
                  <a:lnTo>
                    <a:pt x="65" y="245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8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5" y="252"/>
                  </a:lnTo>
                  <a:lnTo>
                    <a:pt x="65" y="255"/>
                  </a:lnTo>
                  <a:lnTo>
                    <a:pt x="63" y="260"/>
                  </a:lnTo>
                  <a:lnTo>
                    <a:pt x="61" y="261"/>
                  </a:lnTo>
                  <a:lnTo>
                    <a:pt x="54" y="264"/>
                  </a:lnTo>
                  <a:lnTo>
                    <a:pt x="51" y="267"/>
                  </a:lnTo>
                  <a:lnTo>
                    <a:pt x="46" y="268"/>
                  </a:lnTo>
                  <a:lnTo>
                    <a:pt x="44" y="268"/>
                  </a:lnTo>
                  <a:lnTo>
                    <a:pt x="41" y="268"/>
                  </a:lnTo>
                  <a:lnTo>
                    <a:pt x="37" y="267"/>
                  </a:lnTo>
                  <a:lnTo>
                    <a:pt x="31" y="262"/>
                  </a:lnTo>
                  <a:lnTo>
                    <a:pt x="30" y="261"/>
                  </a:lnTo>
                  <a:lnTo>
                    <a:pt x="26" y="255"/>
                  </a:lnTo>
                  <a:lnTo>
                    <a:pt x="23" y="252"/>
                  </a:lnTo>
                  <a:lnTo>
                    <a:pt x="20" y="250"/>
                  </a:lnTo>
                  <a:lnTo>
                    <a:pt x="17" y="247"/>
                  </a:lnTo>
                  <a:lnTo>
                    <a:pt x="14" y="244"/>
                  </a:lnTo>
                  <a:lnTo>
                    <a:pt x="13" y="242"/>
                  </a:lnTo>
                  <a:lnTo>
                    <a:pt x="13" y="240"/>
                  </a:lnTo>
                  <a:lnTo>
                    <a:pt x="14" y="240"/>
                  </a:lnTo>
                  <a:lnTo>
                    <a:pt x="16" y="240"/>
                  </a:lnTo>
                  <a:lnTo>
                    <a:pt x="17" y="241"/>
                  </a:lnTo>
                  <a:lnTo>
                    <a:pt x="17" y="241"/>
                  </a:lnTo>
                  <a:lnTo>
                    <a:pt x="18" y="242"/>
                  </a:lnTo>
                  <a:lnTo>
                    <a:pt x="23" y="240"/>
                  </a:lnTo>
                  <a:lnTo>
                    <a:pt x="24" y="240"/>
                  </a:lnTo>
                  <a:lnTo>
                    <a:pt x="26" y="238"/>
                  </a:lnTo>
                  <a:lnTo>
                    <a:pt x="27" y="240"/>
                  </a:lnTo>
                  <a:lnTo>
                    <a:pt x="30" y="237"/>
                  </a:lnTo>
                  <a:lnTo>
                    <a:pt x="31" y="237"/>
                  </a:lnTo>
                  <a:lnTo>
                    <a:pt x="33" y="237"/>
                  </a:lnTo>
                  <a:lnTo>
                    <a:pt x="34" y="232"/>
                  </a:lnTo>
                  <a:lnTo>
                    <a:pt x="37" y="230"/>
                  </a:lnTo>
                  <a:lnTo>
                    <a:pt x="37" y="230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6" y="230"/>
                  </a:lnTo>
                  <a:lnTo>
                    <a:pt x="36" y="230"/>
                  </a:lnTo>
                  <a:lnTo>
                    <a:pt x="34" y="231"/>
                  </a:lnTo>
                  <a:lnTo>
                    <a:pt x="33" y="230"/>
                  </a:lnTo>
                  <a:lnTo>
                    <a:pt x="33" y="230"/>
                  </a:lnTo>
                  <a:lnTo>
                    <a:pt x="31" y="231"/>
                  </a:lnTo>
                  <a:lnTo>
                    <a:pt x="27" y="232"/>
                  </a:lnTo>
                  <a:lnTo>
                    <a:pt x="26" y="234"/>
                  </a:lnTo>
                  <a:lnTo>
                    <a:pt x="24" y="234"/>
                  </a:lnTo>
                  <a:lnTo>
                    <a:pt x="17" y="232"/>
                  </a:lnTo>
                  <a:lnTo>
                    <a:pt x="10" y="228"/>
                  </a:lnTo>
                  <a:lnTo>
                    <a:pt x="7" y="227"/>
                  </a:lnTo>
                  <a:lnTo>
                    <a:pt x="6" y="224"/>
                  </a:lnTo>
                  <a:lnTo>
                    <a:pt x="4" y="220"/>
                  </a:lnTo>
                  <a:lnTo>
                    <a:pt x="4" y="218"/>
                  </a:lnTo>
                  <a:lnTo>
                    <a:pt x="7" y="217"/>
                  </a:lnTo>
                  <a:lnTo>
                    <a:pt x="10" y="215"/>
                  </a:lnTo>
                  <a:lnTo>
                    <a:pt x="7" y="215"/>
                  </a:lnTo>
                  <a:lnTo>
                    <a:pt x="6" y="217"/>
                  </a:lnTo>
                  <a:lnTo>
                    <a:pt x="4" y="217"/>
                  </a:lnTo>
                  <a:lnTo>
                    <a:pt x="3" y="218"/>
                  </a:lnTo>
                  <a:lnTo>
                    <a:pt x="1" y="220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1" y="214"/>
                  </a:lnTo>
                  <a:lnTo>
                    <a:pt x="1" y="214"/>
                  </a:lnTo>
                  <a:lnTo>
                    <a:pt x="3" y="212"/>
                  </a:lnTo>
                  <a:lnTo>
                    <a:pt x="6" y="212"/>
                  </a:lnTo>
                  <a:lnTo>
                    <a:pt x="7" y="212"/>
                  </a:lnTo>
                  <a:lnTo>
                    <a:pt x="8" y="212"/>
                  </a:lnTo>
                  <a:lnTo>
                    <a:pt x="8" y="208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11" y="207"/>
                  </a:lnTo>
                  <a:lnTo>
                    <a:pt x="13" y="207"/>
                  </a:lnTo>
                  <a:lnTo>
                    <a:pt x="14" y="207"/>
                  </a:lnTo>
                  <a:lnTo>
                    <a:pt x="16" y="207"/>
                  </a:lnTo>
                  <a:lnTo>
                    <a:pt x="17" y="207"/>
                  </a:lnTo>
                  <a:lnTo>
                    <a:pt x="20" y="207"/>
                  </a:lnTo>
                  <a:lnTo>
                    <a:pt x="23" y="207"/>
                  </a:lnTo>
                  <a:lnTo>
                    <a:pt x="24" y="208"/>
                  </a:lnTo>
                  <a:lnTo>
                    <a:pt x="24" y="210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31" y="207"/>
                  </a:lnTo>
                  <a:lnTo>
                    <a:pt x="34" y="205"/>
                  </a:lnTo>
                  <a:lnTo>
                    <a:pt x="37" y="205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40" y="208"/>
                  </a:lnTo>
                  <a:lnTo>
                    <a:pt x="41" y="208"/>
                  </a:lnTo>
                  <a:lnTo>
                    <a:pt x="41" y="208"/>
                  </a:lnTo>
                  <a:lnTo>
                    <a:pt x="43" y="208"/>
                  </a:lnTo>
                  <a:lnTo>
                    <a:pt x="44" y="207"/>
                  </a:lnTo>
                  <a:lnTo>
                    <a:pt x="44" y="205"/>
                  </a:lnTo>
                  <a:lnTo>
                    <a:pt x="46" y="205"/>
                  </a:lnTo>
                  <a:lnTo>
                    <a:pt x="46" y="205"/>
                  </a:lnTo>
                  <a:lnTo>
                    <a:pt x="46" y="204"/>
                  </a:lnTo>
                  <a:lnTo>
                    <a:pt x="46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6" y="201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7"/>
                  </a:lnTo>
                  <a:lnTo>
                    <a:pt x="44" y="194"/>
                  </a:lnTo>
                  <a:lnTo>
                    <a:pt x="43" y="191"/>
                  </a:lnTo>
                  <a:lnTo>
                    <a:pt x="41" y="188"/>
                  </a:lnTo>
                  <a:lnTo>
                    <a:pt x="40" y="187"/>
                  </a:lnTo>
                  <a:lnTo>
                    <a:pt x="40" y="184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38" y="182"/>
                  </a:lnTo>
                  <a:lnTo>
                    <a:pt x="37" y="182"/>
                  </a:lnTo>
                  <a:lnTo>
                    <a:pt x="37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1" y="178"/>
                  </a:lnTo>
                  <a:lnTo>
                    <a:pt x="31" y="177"/>
                  </a:lnTo>
                  <a:lnTo>
                    <a:pt x="31" y="175"/>
                  </a:lnTo>
                  <a:lnTo>
                    <a:pt x="31" y="172"/>
                  </a:lnTo>
                  <a:lnTo>
                    <a:pt x="31" y="171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1" y="167"/>
                  </a:lnTo>
                  <a:lnTo>
                    <a:pt x="30" y="167"/>
                  </a:lnTo>
                  <a:lnTo>
                    <a:pt x="28" y="167"/>
                  </a:lnTo>
                  <a:lnTo>
                    <a:pt x="26" y="165"/>
                  </a:lnTo>
                  <a:lnTo>
                    <a:pt x="23" y="164"/>
                  </a:lnTo>
                  <a:lnTo>
                    <a:pt x="21" y="164"/>
                  </a:lnTo>
                  <a:lnTo>
                    <a:pt x="21" y="164"/>
                  </a:lnTo>
                  <a:lnTo>
                    <a:pt x="21" y="162"/>
                  </a:lnTo>
                  <a:lnTo>
                    <a:pt x="21" y="160"/>
                  </a:lnTo>
                  <a:lnTo>
                    <a:pt x="21" y="157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24" y="154"/>
                  </a:lnTo>
                  <a:lnTo>
                    <a:pt x="26" y="154"/>
                  </a:lnTo>
                  <a:lnTo>
                    <a:pt x="27" y="151"/>
                  </a:lnTo>
                  <a:lnTo>
                    <a:pt x="30" y="147"/>
                  </a:lnTo>
                  <a:lnTo>
                    <a:pt x="31" y="144"/>
                  </a:lnTo>
                  <a:lnTo>
                    <a:pt x="33" y="142"/>
                  </a:lnTo>
                  <a:lnTo>
                    <a:pt x="33" y="142"/>
                  </a:lnTo>
                  <a:lnTo>
                    <a:pt x="34" y="141"/>
                  </a:lnTo>
                  <a:lnTo>
                    <a:pt x="36" y="141"/>
                  </a:lnTo>
                  <a:lnTo>
                    <a:pt x="37" y="141"/>
                  </a:lnTo>
                  <a:lnTo>
                    <a:pt x="38" y="141"/>
                  </a:lnTo>
                  <a:lnTo>
                    <a:pt x="40" y="142"/>
                  </a:lnTo>
                  <a:lnTo>
                    <a:pt x="40" y="144"/>
                  </a:lnTo>
                  <a:lnTo>
                    <a:pt x="40" y="145"/>
                  </a:lnTo>
                  <a:lnTo>
                    <a:pt x="41" y="145"/>
                  </a:lnTo>
                  <a:lnTo>
                    <a:pt x="43" y="147"/>
                  </a:lnTo>
                  <a:lnTo>
                    <a:pt x="44" y="147"/>
                  </a:lnTo>
                  <a:lnTo>
                    <a:pt x="48" y="144"/>
                  </a:lnTo>
                  <a:lnTo>
                    <a:pt x="50" y="144"/>
                  </a:lnTo>
                  <a:lnTo>
                    <a:pt x="54" y="144"/>
                  </a:lnTo>
                  <a:lnTo>
                    <a:pt x="57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1" y="138"/>
                  </a:lnTo>
                  <a:lnTo>
                    <a:pt x="64" y="135"/>
                  </a:lnTo>
                  <a:lnTo>
                    <a:pt x="64" y="134"/>
                  </a:lnTo>
                  <a:lnTo>
                    <a:pt x="65" y="131"/>
                  </a:lnTo>
                  <a:lnTo>
                    <a:pt x="65" y="128"/>
                  </a:lnTo>
                  <a:lnTo>
                    <a:pt x="67" y="128"/>
                  </a:lnTo>
                  <a:lnTo>
                    <a:pt x="71" y="125"/>
                  </a:lnTo>
                  <a:lnTo>
                    <a:pt x="75" y="122"/>
                  </a:lnTo>
                  <a:lnTo>
                    <a:pt x="77" y="121"/>
                  </a:lnTo>
                  <a:lnTo>
                    <a:pt x="80" y="117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3" y="108"/>
                  </a:lnTo>
                  <a:lnTo>
                    <a:pt x="84" y="105"/>
                  </a:lnTo>
                  <a:lnTo>
                    <a:pt x="85" y="105"/>
                  </a:lnTo>
                  <a:lnTo>
                    <a:pt x="88" y="104"/>
                  </a:lnTo>
                  <a:lnTo>
                    <a:pt x="90" y="102"/>
                  </a:lnTo>
                  <a:lnTo>
                    <a:pt x="91" y="101"/>
                  </a:lnTo>
                  <a:lnTo>
                    <a:pt x="93" y="101"/>
                  </a:lnTo>
                  <a:lnTo>
                    <a:pt x="93" y="100"/>
                  </a:lnTo>
                  <a:lnTo>
                    <a:pt x="91" y="98"/>
                  </a:lnTo>
                  <a:lnTo>
                    <a:pt x="91" y="97"/>
                  </a:lnTo>
                  <a:lnTo>
                    <a:pt x="91" y="97"/>
                  </a:lnTo>
                  <a:lnTo>
                    <a:pt x="94" y="95"/>
                  </a:lnTo>
                  <a:lnTo>
                    <a:pt x="97" y="91"/>
                  </a:lnTo>
                  <a:lnTo>
                    <a:pt x="98" y="88"/>
                  </a:lnTo>
                  <a:lnTo>
                    <a:pt x="100" y="88"/>
                  </a:lnTo>
                  <a:lnTo>
                    <a:pt x="101" y="87"/>
                  </a:lnTo>
                  <a:lnTo>
                    <a:pt x="104" y="85"/>
                  </a:lnTo>
                  <a:lnTo>
                    <a:pt x="104" y="85"/>
                  </a:lnTo>
                  <a:lnTo>
                    <a:pt x="103" y="84"/>
                  </a:lnTo>
                  <a:lnTo>
                    <a:pt x="103" y="84"/>
                  </a:lnTo>
                  <a:lnTo>
                    <a:pt x="101" y="82"/>
                  </a:lnTo>
                  <a:lnTo>
                    <a:pt x="103" y="81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3" y="71"/>
                  </a:lnTo>
                  <a:lnTo>
                    <a:pt x="104" y="70"/>
                  </a:lnTo>
                  <a:lnTo>
                    <a:pt x="105" y="68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4" y="65"/>
                  </a:lnTo>
                  <a:lnTo>
                    <a:pt x="114" y="64"/>
                  </a:lnTo>
                  <a:lnTo>
                    <a:pt x="115" y="62"/>
                  </a:lnTo>
                  <a:lnTo>
                    <a:pt x="114" y="61"/>
                  </a:lnTo>
                  <a:lnTo>
                    <a:pt x="113" y="61"/>
                  </a:lnTo>
                  <a:lnTo>
                    <a:pt x="111" y="60"/>
                  </a:lnTo>
                  <a:lnTo>
                    <a:pt x="110" y="58"/>
                  </a:lnTo>
                  <a:lnTo>
                    <a:pt x="105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5"/>
                  </a:lnTo>
                  <a:lnTo>
                    <a:pt x="104" y="53"/>
                  </a:lnTo>
                  <a:lnTo>
                    <a:pt x="104" y="53"/>
                  </a:lnTo>
                  <a:lnTo>
                    <a:pt x="103" y="53"/>
                  </a:lnTo>
                  <a:lnTo>
                    <a:pt x="101" y="53"/>
                  </a:lnTo>
                  <a:lnTo>
                    <a:pt x="100" y="53"/>
                  </a:lnTo>
                  <a:lnTo>
                    <a:pt x="98" y="53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7" y="48"/>
                  </a:lnTo>
                  <a:lnTo>
                    <a:pt x="95" y="47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5" y="41"/>
                  </a:lnTo>
                  <a:lnTo>
                    <a:pt x="95" y="40"/>
                  </a:lnTo>
                  <a:lnTo>
                    <a:pt x="95" y="38"/>
                  </a:lnTo>
                  <a:lnTo>
                    <a:pt x="95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4" y="34"/>
                  </a:lnTo>
                  <a:lnTo>
                    <a:pt x="94" y="33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5" y="30"/>
                  </a:lnTo>
                  <a:lnTo>
                    <a:pt x="93" y="30"/>
                  </a:lnTo>
                  <a:lnTo>
                    <a:pt x="93" y="28"/>
                  </a:lnTo>
                  <a:lnTo>
                    <a:pt x="91" y="28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4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1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3" y="17"/>
                  </a:lnTo>
                  <a:lnTo>
                    <a:pt x="94" y="17"/>
                  </a:lnTo>
                  <a:lnTo>
                    <a:pt x="97" y="15"/>
                  </a:lnTo>
                  <a:lnTo>
                    <a:pt x="98" y="14"/>
                  </a:lnTo>
                  <a:lnTo>
                    <a:pt x="101" y="15"/>
                  </a:lnTo>
                  <a:lnTo>
                    <a:pt x="103" y="15"/>
                  </a:lnTo>
                  <a:lnTo>
                    <a:pt x="105" y="17"/>
                  </a:lnTo>
                  <a:lnTo>
                    <a:pt x="108" y="17"/>
                  </a:lnTo>
                  <a:lnTo>
                    <a:pt x="111" y="17"/>
                  </a:lnTo>
                  <a:lnTo>
                    <a:pt x="113" y="17"/>
                  </a:lnTo>
                  <a:lnTo>
                    <a:pt x="114" y="18"/>
                  </a:lnTo>
                  <a:lnTo>
                    <a:pt x="117" y="20"/>
                  </a:lnTo>
                  <a:lnTo>
                    <a:pt x="120" y="20"/>
                  </a:lnTo>
                  <a:lnTo>
                    <a:pt x="121" y="20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5" y="17"/>
                  </a:lnTo>
                  <a:lnTo>
                    <a:pt x="128" y="17"/>
                  </a:lnTo>
                  <a:lnTo>
                    <a:pt x="133" y="15"/>
                  </a:lnTo>
                  <a:lnTo>
                    <a:pt x="134" y="15"/>
                  </a:lnTo>
                  <a:lnTo>
                    <a:pt x="135" y="15"/>
                  </a:lnTo>
                  <a:lnTo>
                    <a:pt x="137" y="14"/>
                  </a:lnTo>
                  <a:lnTo>
                    <a:pt x="137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40" y="11"/>
                  </a:lnTo>
                  <a:lnTo>
                    <a:pt x="141" y="10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4" y="7"/>
                  </a:lnTo>
                  <a:lnTo>
                    <a:pt x="147" y="5"/>
                  </a:lnTo>
                  <a:lnTo>
                    <a:pt x="148" y="4"/>
                  </a:lnTo>
                  <a:lnTo>
                    <a:pt x="151" y="3"/>
                  </a:lnTo>
                  <a:lnTo>
                    <a:pt x="152" y="1"/>
                  </a:lnTo>
                  <a:lnTo>
                    <a:pt x="154" y="0"/>
                  </a:lnTo>
                  <a:lnTo>
                    <a:pt x="154" y="1"/>
                  </a:lnTo>
                  <a:lnTo>
                    <a:pt x="155" y="1"/>
                  </a:lnTo>
                  <a:lnTo>
                    <a:pt x="155" y="1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58" y="1"/>
                  </a:lnTo>
                  <a:lnTo>
                    <a:pt x="158" y="1"/>
                  </a:lnTo>
                  <a:lnTo>
                    <a:pt x="158" y="4"/>
                  </a:lnTo>
                  <a:lnTo>
                    <a:pt x="158" y="5"/>
                  </a:lnTo>
                  <a:lnTo>
                    <a:pt x="158" y="7"/>
                  </a:lnTo>
                  <a:lnTo>
                    <a:pt x="160" y="11"/>
                  </a:lnTo>
                  <a:lnTo>
                    <a:pt x="161" y="14"/>
                  </a:lnTo>
                  <a:lnTo>
                    <a:pt x="162" y="17"/>
                  </a:lnTo>
                  <a:lnTo>
                    <a:pt x="162" y="18"/>
                  </a:lnTo>
                  <a:lnTo>
                    <a:pt x="165" y="18"/>
                  </a:lnTo>
                  <a:lnTo>
                    <a:pt x="168" y="20"/>
                  </a:lnTo>
                  <a:lnTo>
                    <a:pt x="170" y="21"/>
                  </a:lnTo>
                  <a:lnTo>
                    <a:pt x="171" y="23"/>
                  </a:lnTo>
                  <a:lnTo>
                    <a:pt x="172" y="23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5"/>
                  </a:lnTo>
                  <a:lnTo>
                    <a:pt x="172" y="25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70" y="30"/>
                  </a:lnTo>
                  <a:lnTo>
                    <a:pt x="170" y="31"/>
                  </a:lnTo>
                  <a:lnTo>
                    <a:pt x="170" y="33"/>
                  </a:lnTo>
                  <a:lnTo>
                    <a:pt x="170" y="37"/>
                  </a:lnTo>
                  <a:lnTo>
                    <a:pt x="171" y="40"/>
                  </a:lnTo>
                  <a:lnTo>
                    <a:pt x="171" y="40"/>
                  </a:lnTo>
                  <a:lnTo>
                    <a:pt x="172" y="41"/>
                  </a:lnTo>
                  <a:lnTo>
                    <a:pt x="172" y="43"/>
                  </a:lnTo>
                  <a:lnTo>
                    <a:pt x="174" y="43"/>
                  </a:lnTo>
                  <a:lnTo>
                    <a:pt x="174" y="44"/>
                  </a:lnTo>
                  <a:lnTo>
                    <a:pt x="175" y="44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7" y="50"/>
                  </a:lnTo>
                  <a:lnTo>
                    <a:pt x="177" y="51"/>
                  </a:lnTo>
                  <a:lnTo>
                    <a:pt x="177" y="53"/>
                  </a:lnTo>
                  <a:lnTo>
                    <a:pt x="177" y="53"/>
                  </a:lnTo>
                  <a:lnTo>
                    <a:pt x="177" y="54"/>
                  </a:lnTo>
                  <a:lnTo>
                    <a:pt x="177" y="57"/>
                  </a:lnTo>
                  <a:lnTo>
                    <a:pt x="177" y="58"/>
                  </a:lnTo>
                  <a:lnTo>
                    <a:pt x="177" y="58"/>
                  </a:lnTo>
                  <a:lnTo>
                    <a:pt x="175" y="58"/>
                  </a:lnTo>
                  <a:lnTo>
                    <a:pt x="174" y="60"/>
                  </a:lnTo>
                  <a:lnTo>
                    <a:pt x="174" y="61"/>
                  </a:lnTo>
                  <a:lnTo>
                    <a:pt x="172" y="61"/>
                  </a:lnTo>
                  <a:lnTo>
                    <a:pt x="171" y="60"/>
                  </a:lnTo>
                  <a:lnTo>
                    <a:pt x="170" y="58"/>
                  </a:lnTo>
                  <a:lnTo>
                    <a:pt x="170" y="58"/>
                  </a:lnTo>
                  <a:lnTo>
                    <a:pt x="170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5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60"/>
                  </a:lnTo>
                  <a:lnTo>
                    <a:pt x="165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8" y="67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70" y="7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233;p3"/>
            <p:cNvSpPr/>
            <p:nvPr/>
          </p:nvSpPr>
          <p:spPr>
            <a:xfrm>
              <a:off x="4386937" y="3969269"/>
              <a:ext cx="110104" cy="99818"/>
            </a:xfrm>
            <a:custGeom>
              <a:rect b="b" l="l" r="r" t="t"/>
              <a:pathLst>
                <a:path extrusionOk="0" h="159" w="157">
                  <a:moveTo>
                    <a:pt x="96" y="5"/>
                  </a:moveTo>
                  <a:lnTo>
                    <a:pt x="96" y="5"/>
                  </a:lnTo>
                  <a:lnTo>
                    <a:pt x="97" y="7"/>
                  </a:lnTo>
                  <a:lnTo>
                    <a:pt x="99" y="11"/>
                  </a:lnTo>
                  <a:lnTo>
                    <a:pt x="99" y="12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5"/>
                  </a:lnTo>
                  <a:lnTo>
                    <a:pt x="100" y="17"/>
                  </a:lnTo>
                  <a:lnTo>
                    <a:pt x="101" y="18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4" y="21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9" y="28"/>
                  </a:lnTo>
                  <a:lnTo>
                    <a:pt x="110" y="30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6" y="31"/>
                  </a:lnTo>
                  <a:lnTo>
                    <a:pt x="119" y="31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7" y="34"/>
                  </a:lnTo>
                  <a:lnTo>
                    <a:pt x="116" y="35"/>
                  </a:lnTo>
                  <a:lnTo>
                    <a:pt x="116" y="37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7" y="41"/>
                  </a:lnTo>
                  <a:lnTo>
                    <a:pt x="119" y="41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19" y="45"/>
                  </a:lnTo>
                  <a:lnTo>
                    <a:pt x="117" y="45"/>
                  </a:lnTo>
                  <a:lnTo>
                    <a:pt x="114" y="47"/>
                  </a:lnTo>
                  <a:lnTo>
                    <a:pt x="111" y="51"/>
                  </a:lnTo>
                  <a:lnTo>
                    <a:pt x="110" y="52"/>
                  </a:lnTo>
                  <a:lnTo>
                    <a:pt x="110" y="55"/>
                  </a:lnTo>
                  <a:lnTo>
                    <a:pt x="110" y="55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57"/>
                  </a:lnTo>
                  <a:lnTo>
                    <a:pt x="107" y="57"/>
                  </a:lnTo>
                  <a:lnTo>
                    <a:pt x="107" y="58"/>
                  </a:lnTo>
                  <a:lnTo>
                    <a:pt x="109" y="61"/>
                  </a:lnTo>
                  <a:lnTo>
                    <a:pt x="109" y="62"/>
                  </a:lnTo>
                  <a:lnTo>
                    <a:pt x="109" y="64"/>
                  </a:lnTo>
                  <a:lnTo>
                    <a:pt x="107" y="65"/>
                  </a:lnTo>
                  <a:lnTo>
                    <a:pt x="106" y="67"/>
                  </a:lnTo>
                  <a:lnTo>
                    <a:pt x="107" y="67"/>
                  </a:lnTo>
                  <a:lnTo>
                    <a:pt x="107" y="68"/>
                  </a:lnTo>
                  <a:lnTo>
                    <a:pt x="111" y="72"/>
                  </a:lnTo>
                  <a:lnTo>
                    <a:pt x="111" y="74"/>
                  </a:lnTo>
                  <a:lnTo>
                    <a:pt x="113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5"/>
                  </a:lnTo>
                  <a:lnTo>
                    <a:pt x="114" y="77"/>
                  </a:lnTo>
                  <a:lnTo>
                    <a:pt x="116" y="77"/>
                  </a:lnTo>
                  <a:lnTo>
                    <a:pt x="116" y="78"/>
                  </a:lnTo>
                  <a:lnTo>
                    <a:pt x="119" y="81"/>
                  </a:lnTo>
                  <a:lnTo>
                    <a:pt x="119" y="82"/>
                  </a:lnTo>
                  <a:lnTo>
                    <a:pt x="117" y="84"/>
                  </a:lnTo>
                  <a:lnTo>
                    <a:pt x="117" y="85"/>
                  </a:lnTo>
                  <a:lnTo>
                    <a:pt x="117" y="87"/>
                  </a:lnTo>
                  <a:lnTo>
                    <a:pt x="117" y="87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26" y="88"/>
                  </a:lnTo>
                  <a:lnTo>
                    <a:pt x="129" y="91"/>
                  </a:lnTo>
                  <a:lnTo>
                    <a:pt x="131" y="94"/>
                  </a:lnTo>
                  <a:lnTo>
                    <a:pt x="134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9" y="97"/>
                  </a:lnTo>
                  <a:lnTo>
                    <a:pt x="139" y="98"/>
                  </a:lnTo>
                  <a:lnTo>
                    <a:pt x="140" y="101"/>
                  </a:lnTo>
                  <a:lnTo>
                    <a:pt x="141" y="102"/>
                  </a:lnTo>
                  <a:lnTo>
                    <a:pt x="143" y="105"/>
                  </a:lnTo>
                  <a:lnTo>
                    <a:pt x="146" y="108"/>
                  </a:lnTo>
                  <a:lnTo>
                    <a:pt x="144" y="112"/>
                  </a:lnTo>
                  <a:lnTo>
                    <a:pt x="143" y="115"/>
                  </a:lnTo>
                  <a:lnTo>
                    <a:pt x="143" y="121"/>
                  </a:lnTo>
                  <a:lnTo>
                    <a:pt x="143" y="124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48" y="127"/>
                  </a:lnTo>
                  <a:lnTo>
                    <a:pt x="148" y="129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50" y="134"/>
                  </a:lnTo>
                  <a:lnTo>
                    <a:pt x="151" y="135"/>
                  </a:lnTo>
                  <a:lnTo>
                    <a:pt x="151" y="135"/>
                  </a:lnTo>
                  <a:lnTo>
                    <a:pt x="153" y="135"/>
                  </a:lnTo>
                  <a:lnTo>
                    <a:pt x="153" y="137"/>
                  </a:lnTo>
                  <a:lnTo>
                    <a:pt x="154" y="138"/>
                  </a:lnTo>
                  <a:lnTo>
                    <a:pt x="154" y="138"/>
                  </a:lnTo>
                  <a:lnTo>
                    <a:pt x="154" y="138"/>
                  </a:lnTo>
                  <a:lnTo>
                    <a:pt x="154" y="139"/>
                  </a:lnTo>
                  <a:lnTo>
                    <a:pt x="156" y="141"/>
                  </a:lnTo>
                  <a:lnTo>
                    <a:pt x="156" y="141"/>
                  </a:lnTo>
                  <a:lnTo>
                    <a:pt x="157" y="142"/>
                  </a:lnTo>
                  <a:lnTo>
                    <a:pt x="156" y="142"/>
                  </a:lnTo>
                  <a:lnTo>
                    <a:pt x="154" y="142"/>
                  </a:lnTo>
                  <a:lnTo>
                    <a:pt x="150" y="141"/>
                  </a:lnTo>
                  <a:lnTo>
                    <a:pt x="148" y="141"/>
                  </a:lnTo>
                  <a:lnTo>
                    <a:pt x="147" y="141"/>
                  </a:lnTo>
                  <a:lnTo>
                    <a:pt x="147" y="142"/>
                  </a:lnTo>
                  <a:lnTo>
                    <a:pt x="144" y="141"/>
                  </a:lnTo>
                  <a:lnTo>
                    <a:pt x="143" y="139"/>
                  </a:lnTo>
                  <a:lnTo>
                    <a:pt x="143" y="139"/>
                  </a:lnTo>
                  <a:lnTo>
                    <a:pt x="140" y="139"/>
                  </a:lnTo>
                  <a:lnTo>
                    <a:pt x="137" y="139"/>
                  </a:lnTo>
                  <a:lnTo>
                    <a:pt x="136" y="141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3" y="145"/>
                  </a:lnTo>
                  <a:lnTo>
                    <a:pt x="131" y="148"/>
                  </a:lnTo>
                  <a:lnTo>
                    <a:pt x="130" y="149"/>
                  </a:lnTo>
                  <a:lnTo>
                    <a:pt x="129" y="154"/>
                  </a:lnTo>
                  <a:lnTo>
                    <a:pt x="127" y="155"/>
                  </a:lnTo>
                  <a:lnTo>
                    <a:pt x="124" y="158"/>
                  </a:lnTo>
                  <a:lnTo>
                    <a:pt x="121" y="159"/>
                  </a:lnTo>
                  <a:lnTo>
                    <a:pt x="116" y="158"/>
                  </a:lnTo>
                  <a:lnTo>
                    <a:pt x="109" y="158"/>
                  </a:lnTo>
                  <a:lnTo>
                    <a:pt x="101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0" y="152"/>
                  </a:lnTo>
                  <a:lnTo>
                    <a:pt x="86" y="148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70" y="135"/>
                  </a:lnTo>
                  <a:lnTo>
                    <a:pt x="66" y="132"/>
                  </a:lnTo>
                  <a:lnTo>
                    <a:pt x="61" y="128"/>
                  </a:lnTo>
                  <a:lnTo>
                    <a:pt x="57" y="125"/>
                  </a:lnTo>
                  <a:lnTo>
                    <a:pt x="53" y="122"/>
                  </a:lnTo>
                  <a:lnTo>
                    <a:pt x="49" y="119"/>
                  </a:lnTo>
                  <a:lnTo>
                    <a:pt x="46" y="117"/>
                  </a:lnTo>
                  <a:lnTo>
                    <a:pt x="40" y="114"/>
                  </a:lnTo>
                  <a:lnTo>
                    <a:pt x="36" y="111"/>
                  </a:lnTo>
                  <a:lnTo>
                    <a:pt x="33" y="109"/>
                  </a:lnTo>
                  <a:lnTo>
                    <a:pt x="27" y="107"/>
                  </a:lnTo>
                  <a:lnTo>
                    <a:pt x="26" y="105"/>
                  </a:lnTo>
                  <a:lnTo>
                    <a:pt x="20" y="105"/>
                  </a:lnTo>
                  <a:lnTo>
                    <a:pt x="16" y="104"/>
                  </a:lnTo>
                  <a:lnTo>
                    <a:pt x="10" y="102"/>
                  </a:lnTo>
                  <a:lnTo>
                    <a:pt x="6" y="102"/>
                  </a:lnTo>
                  <a:lnTo>
                    <a:pt x="9" y="99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3" y="95"/>
                  </a:lnTo>
                  <a:lnTo>
                    <a:pt x="4" y="95"/>
                  </a:lnTo>
                  <a:lnTo>
                    <a:pt x="3" y="91"/>
                  </a:lnTo>
                  <a:lnTo>
                    <a:pt x="3" y="87"/>
                  </a:lnTo>
                  <a:lnTo>
                    <a:pt x="2" y="82"/>
                  </a:lnTo>
                  <a:lnTo>
                    <a:pt x="0" y="78"/>
                  </a:lnTo>
                  <a:lnTo>
                    <a:pt x="4" y="75"/>
                  </a:lnTo>
                  <a:lnTo>
                    <a:pt x="9" y="74"/>
                  </a:lnTo>
                  <a:lnTo>
                    <a:pt x="13" y="71"/>
                  </a:lnTo>
                  <a:lnTo>
                    <a:pt x="17" y="68"/>
                  </a:lnTo>
                  <a:lnTo>
                    <a:pt x="22" y="65"/>
                  </a:lnTo>
                  <a:lnTo>
                    <a:pt x="27" y="62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6" y="58"/>
                  </a:lnTo>
                  <a:lnTo>
                    <a:pt x="37" y="55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47"/>
                  </a:lnTo>
                  <a:lnTo>
                    <a:pt x="40" y="41"/>
                  </a:lnTo>
                  <a:lnTo>
                    <a:pt x="40" y="38"/>
                  </a:lnTo>
                  <a:lnTo>
                    <a:pt x="40" y="37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0" y="28"/>
                  </a:lnTo>
                  <a:lnTo>
                    <a:pt x="40" y="25"/>
                  </a:lnTo>
                  <a:lnTo>
                    <a:pt x="40" y="24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3" y="17"/>
                  </a:lnTo>
                  <a:lnTo>
                    <a:pt x="46" y="17"/>
                  </a:lnTo>
                  <a:lnTo>
                    <a:pt x="49" y="15"/>
                  </a:lnTo>
                  <a:lnTo>
                    <a:pt x="51" y="12"/>
                  </a:lnTo>
                  <a:lnTo>
                    <a:pt x="53" y="11"/>
                  </a:lnTo>
                  <a:lnTo>
                    <a:pt x="56" y="8"/>
                  </a:lnTo>
                  <a:lnTo>
                    <a:pt x="57" y="7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2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70" y="0"/>
                  </a:lnTo>
                  <a:lnTo>
                    <a:pt x="71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6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4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91" y="5"/>
                  </a:lnTo>
                  <a:lnTo>
                    <a:pt x="93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6" y="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234;p3"/>
            <p:cNvSpPr/>
            <p:nvPr/>
          </p:nvSpPr>
          <p:spPr>
            <a:xfrm>
              <a:off x="4445846" y="3938508"/>
              <a:ext cx="216000" cy="174524"/>
            </a:xfrm>
            <a:custGeom>
              <a:rect b="b" l="l" r="r" t="t"/>
              <a:pathLst>
                <a:path extrusionOk="0" h="278" w="308">
                  <a:moveTo>
                    <a:pt x="13" y="3"/>
                  </a:moveTo>
                  <a:lnTo>
                    <a:pt x="13" y="3"/>
                  </a:lnTo>
                  <a:lnTo>
                    <a:pt x="16" y="7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3" y="16"/>
                  </a:lnTo>
                  <a:lnTo>
                    <a:pt x="25" y="17"/>
                  </a:lnTo>
                  <a:lnTo>
                    <a:pt x="30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5" y="14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9" y="11"/>
                  </a:lnTo>
                  <a:lnTo>
                    <a:pt x="52" y="9"/>
                  </a:lnTo>
                  <a:lnTo>
                    <a:pt x="53" y="7"/>
                  </a:lnTo>
                  <a:lnTo>
                    <a:pt x="56" y="6"/>
                  </a:lnTo>
                  <a:lnTo>
                    <a:pt x="57" y="4"/>
                  </a:lnTo>
                  <a:lnTo>
                    <a:pt x="60" y="3"/>
                  </a:lnTo>
                  <a:lnTo>
                    <a:pt x="62" y="1"/>
                  </a:lnTo>
                  <a:lnTo>
                    <a:pt x="64" y="1"/>
                  </a:lnTo>
                  <a:lnTo>
                    <a:pt x="66" y="4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9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17"/>
                  </a:lnTo>
                  <a:lnTo>
                    <a:pt x="66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79" y="36"/>
                  </a:lnTo>
                  <a:lnTo>
                    <a:pt x="79" y="39"/>
                  </a:lnTo>
                  <a:lnTo>
                    <a:pt x="80" y="41"/>
                  </a:lnTo>
                  <a:lnTo>
                    <a:pt x="82" y="43"/>
                  </a:lnTo>
                  <a:lnTo>
                    <a:pt x="83" y="44"/>
                  </a:lnTo>
                  <a:lnTo>
                    <a:pt x="86" y="46"/>
                  </a:lnTo>
                  <a:lnTo>
                    <a:pt x="87" y="47"/>
                  </a:lnTo>
                  <a:lnTo>
                    <a:pt x="92" y="47"/>
                  </a:lnTo>
                  <a:lnTo>
                    <a:pt x="96" y="47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100" y="50"/>
                  </a:lnTo>
                  <a:lnTo>
                    <a:pt x="102" y="54"/>
                  </a:lnTo>
                  <a:lnTo>
                    <a:pt x="104" y="56"/>
                  </a:lnTo>
                  <a:lnTo>
                    <a:pt x="112" y="60"/>
                  </a:lnTo>
                  <a:lnTo>
                    <a:pt x="114" y="61"/>
                  </a:lnTo>
                  <a:lnTo>
                    <a:pt x="124" y="64"/>
                  </a:lnTo>
                  <a:lnTo>
                    <a:pt x="132" y="64"/>
                  </a:lnTo>
                  <a:lnTo>
                    <a:pt x="150" y="59"/>
                  </a:lnTo>
                  <a:lnTo>
                    <a:pt x="156" y="59"/>
                  </a:lnTo>
                  <a:lnTo>
                    <a:pt x="159" y="59"/>
                  </a:lnTo>
                  <a:lnTo>
                    <a:pt x="157" y="59"/>
                  </a:lnTo>
                  <a:lnTo>
                    <a:pt x="154" y="60"/>
                  </a:lnTo>
                  <a:lnTo>
                    <a:pt x="156" y="60"/>
                  </a:lnTo>
                  <a:lnTo>
                    <a:pt x="159" y="60"/>
                  </a:lnTo>
                  <a:lnTo>
                    <a:pt x="160" y="60"/>
                  </a:lnTo>
                  <a:lnTo>
                    <a:pt x="160" y="60"/>
                  </a:lnTo>
                  <a:lnTo>
                    <a:pt x="160" y="59"/>
                  </a:lnTo>
                  <a:lnTo>
                    <a:pt x="160" y="57"/>
                  </a:lnTo>
                  <a:lnTo>
                    <a:pt x="159" y="53"/>
                  </a:lnTo>
                  <a:lnTo>
                    <a:pt x="159" y="50"/>
                  </a:lnTo>
                  <a:lnTo>
                    <a:pt x="163" y="50"/>
                  </a:lnTo>
                  <a:lnTo>
                    <a:pt x="164" y="50"/>
                  </a:lnTo>
                  <a:lnTo>
                    <a:pt x="167" y="49"/>
                  </a:lnTo>
                  <a:lnTo>
                    <a:pt x="170" y="47"/>
                  </a:lnTo>
                  <a:lnTo>
                    <a:pt x="170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4" y="41"/>
                  </a:lnTo>
                  <a:lnTo>
                    <a:pt x="174" y="41"/>
                  </a:lnTo>
                  <a:lnTo>
                    <a:pt x="177" y="39"/>
                  </a:lnTo>
                  <a:lnTo>
                    <a:pt x="180" y="37"/>
                  </a:lnTo>
                  <a:lnTo>
                    <a:pt x="183" y="36"/>
                  </a:lnTo>
                  <a:lnTo>
                    <a:pt x="186" y="34"/>
                  </a:lnTo>
                  <a:lnTo>
                    <a:pt x="190" y="34"/>
                  </a:lnTo>
                  <a:lnTo>
                    <a:pt x="193" y="34"/>
                  </a:lnTo>
                  <a:lnTo>
                    <a:pt x="194" y="34"/>
                  </a:lnTo>
                  <a:lnTo>
                    <a:pt x="196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3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1" y="31"/>
                  </a:lnTo>
                  <a:lnTo>
                    <a:pt x="203" y="31"/>
                  </a:lnTo>
                  <a:lnTo>
                    <a:pt x="204" y="31"/>
                  </a:lnTo>
                  <a:lnTo>
                    <a:pt x="207" y="33"/>
                  </a:lnTo>
                  <a:lnTo>
                    <a:pt x="210" y="33"/>
                  </a:lnTo>
                  <a:lnTo>
                    <a:pt x="211" y="31"/>
                  </a:lnTo>
                  <a:lnTo>
                    <a:pt x="213" y="33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6"/>
                  </a:lnTo>
                  <a:lnTo>
                    <a:pt x="213" y="37"/>
                  </a:lnTo>
                  <a:lnTo>
                    <a:pt x="214" y="37"/>
                  </a:lnTo>
                  <a:lnTo>
                    <a:pt x="214" y="37"/>
                  </a:lnTo>
                  <a:lnTo>
                    <a:pt x="217" y="39"/>
                  </a:lnTo>
                  <a:lnTo>
                    <a:pt x="220" y="39"/>
                  </a:lnTo>
                  <a:lnTo>
                    <a:pt x="223" y="40"/>
                  </a:lnTo>
                  <a:lnTo>
                    <a:pt x="224" y="40"/>
                  </a:lnTo>
                  <a:lnTo>
                    <a:pt x="226" y="41"/>
                  </a:lnTo>
                  <a:lnTo>
                    <a:pt x="229" y="43"/>
                  </a:lnTo>
                  <a:lnTo>
                    <a:pt x="229" y="44"/>
                  </a:lnTo>
                  <a:lnTo>
                    <a:pt x="230" y="44"/>
                  </a:lnTo>
                  <a:lnTo>
                    <a:pt x="231" y="44"/>
                  </a:lnTo>
                  <a:lnTo>
                    <a:pt x="233" y="43"/>
                  </a:lnTo>
                  <a:lnTo>
                    <a:pt x="234" y="43"/>
                  </a:lnTo>
                  <a:lnTo>
                    <a:pt x="236" y="43"/>
                  </a:lnTo>
                  <a:lnTo>
                    <a:pt x="237" y="43"/>
                  </a:lnTo>
                  <a:lnTo>
                    <a:pt x="239" y="43"/>
                  </a:lnTo>
                  <a:lnTo>
                    <a:pt x="244" y="46"/>
                  </a:lnTo>
                  <a:lnTo>
                    <a:pt x="244" y="46"/>
                  </a:lnTo>
                  <a:lnTo>
                    <a:pt x="246" y="46"/>
                  </a:lnTo>
                  <a:lnTo>
                    <a:pt x="246" y="47"/>
                  </a:lnTo>
                  <a:lnTo>
                    <a:pt x="246" y="47"/>
                  </a:lnTo>
                  <a:lnTo>
                    <a:pt x="246" y="50"/>
                  </a:lnTo>
                  <a:lnTo>
                    <a:pt x="247" y="51"/>
                  </a:lnTo>
                  <a:lnTo>
                    <a:pt x="249" y="53"/>
                  </a:lnTo>
                  <a:lnTo>
                    <a:pt x="251" y="54"/>
                  </a:lnTo>
                  <a:lnTo>
                    <a:pt x="256" y="56"/>
                  </a:lnTo>
                  <a:lnTo>
                    <a:pt x="257" y="57"/>
                  </a:lnTo>
                  <a:lnTo>
                    <a:pt x="258" y="60"/>
                  </a:lnTo>
                  <a:lnTo>
                    <a:pt x="261" y="63"/>
                  </a:lnTo>
                  <a:lnTo>
                    <a:pt x="261" y="64"/>
                  </a:lnTo>
                  <a:lnTo>
                    <a:pt x="267" y="64"/>
                  </a:lnTo>
                  <a:lnTo>
                    <a:pt x="274" y="64"/>
                  </a:lnTo>
                  <a:lnTo>
                    <a:pt x="274" y="66"/>
                  </a:lnTo>
                  <a:lnTo>
                    <a:pt x="274" y="69"/>
                  </a:lnTo>
                  <a:lnTo>
                    <a:pt x="276" y="71"/>
                  </a:lnTo>
                  <a:lnTo>
                    <a:pt x="276" y="73"/>
                  </a:lnTo>
                  <a:lnTo>
                    <a:pt x="276" y="74"/>
                  </a:lnTo>
                  <a:lnTo>
                    <a:pt x="276" y="76"/>
                  </a:lnTo>
                  <a:lnTo>
                    <a:pt x="274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81"/>
                  </a:lnTo>
                  <a:lnTo>
                    <a:pt x="276" y="83"/>
                  </a:lnTo>
                  <a:lnTo>
                    <a:pt x="276" y="83"/>
                  </a:lnTo>
                  <a:lnTo>
                    <a:pt x="277" y="84"/>
                  </a:lnTo>
                  <a:lnTo>
                    <a:pt x="277" y="86"/>
                  </a:lnTo>
                  <a:lnTo>
                    <a:pt x="277" y="86"/>
                  </a:lnTo>
                  <a:lnTo>
                    <a:pt x="276" y="87"/>
                  </a:lnTo>
                  <a:lnTo>
                    <a:pt x="276" y="87"/>
                  </a:lnTo>
                  <a:lnTo>
                    <a:pt x="276" y="89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4" y="91"/>
                  </a:lnTo>
                  <a:lnTo>
                    <a:pt x="274" y="91"/>
                  </a:lnTo>
                  <a:lnTo>
                    <a:pt x="274" y="93"/>
                  </a:lnTo>
                  <a:lnTo>
                    <a:pt x="274" y="94"/>
                  </a:lnTo>
                  <a:lnTo>
                    <a:pt x="274" y="96"/>
                  </a:lnTo>
                  <a:lnTo>
                    <a:pt x="274" y="96"/>
                  </a:lnTo>
                  <a:lnTo>
                    <a:pt x="273" y="97"/>
                  </a:lnTo>
                  <a:lnTo>
                    <a:pt x="273" y="99"/>
                  </a:lnTo>
                  <a:lnTo>
                    <a:pt x="273" y="100"/>
                  </a:lnTo>
                  <a:lnTo>
                    <a:pt x="271" y="101"/>
                  </a:lnTo>
                  <a:lnTo>
                    <a:pt x="271" y="101"/>
                  </a:lnTo>
                  <a:lnTo>
                    <a:pt x="271" y="103"/>
                  </a:lnTo>
                  <a:lnTo>
                    <a:pt x="271" y="103"/>
                  </a:lnTo>
                  <a:lnTo>
                    <a:pt x="270" y="104"/>
                  </a:lnTo>
                  <a:lnTo>
                    <a:pt x="268" y="104"/>
                  </a:lnTo>
                  <a:lnTo>
                    <a:pt x="268" y="104"/>
                  </a:lnTo>
                  <a:lnTo>
                    <a:pt x="268" y="106"/>
                  </a:lnTo>
                  <a:lnTo>
                    <a:pt x="268" y="106"/>
                  </a:lnTo>
                  <a:lnTo>
                    <a:pt x="268" y="106"/>
                  </a:lnTo>
                  <a:lnTo>
                    <a:pt x="268" y="107"/>
                  </a:lnTo>
                  <a:lnTo>
                    <a:pt x="270" y="109"/>
                  </a:lnTo>
                  <a:lnTo>
                    <a:pt x="267" y="110"/>
                  </a:lnTo>
                  <a:lnTo>
                    <a:pt x="266" y="111"/>
                  </a:lnTo>
                  <a:lnTo>
                    <a:pt x="264" y="114"/>
                  </a:lnTo>
                  <a:lnTo>
                    <a:pt x="264" y="119"/>
                  </a:lnTo>
                  <a:lnTo>
                    <a:pt x="264" y="121"/>
                  </a:lnTo>
                  <a:lnTo>
                    <a:pt x="264" y="123"/>
                  </a:lnTo>
                  <a:lnTo>
                    <a:pt x="266" y="123"/>
                  </a:lnTo>
                  <a:lnTo>
                    <a:pt x="267" y="124"/>
                  </a:lnTo>
                  <a:lnTo>
                    <a:pt x="268" y="124"/>
                  </a:lnTo>
                  <a:lnTo>
                    <a:pt x="271" y="124"/>
                  </a:lnTo>
                  <a:lnTo>
                    <a:pt x="271" y="124"/>
                  </a:lnTo>
                  <a:lnTo>
                    <a:pt x="270" y="126"/>
                  </a:lnTo>
                  <a:lnTo>
                    <a:pt x="268" y="127"/>
                  </a:lnTo>
                  <a:lnTo>
                    <a:pt x="267" y="129"/>
                  </a:lnTo>
                  <a:lnTo>
                    <a:pt x="266" y="131"/>
                  </a:lnTo>
                  <a:lnTo>
                    <a:pt x="266" y="133"/>
                  </a:lnTo>
                  <a:lnTo>
                    <a:pt x="266" y="134"/>
                  </a:lnTo>
                  <a:lnTo>
                    <a:pt x="267" y="139"/>
                  </a:lnTo>
                  <a:lnTo>
                    <a:pt x="267" y="143"/>
                  </a:lnTo>
                  <a:lnTo>
                    <a:pt x="270" y="148"/>
                  </a:lnTo>
                  <a:lnTo>
                    <a:pt x="270" y="150"/>
                  </a:lnTo>
                  <a:lnTo>
                    <a:pt x="268" y="154"/>
                  </a:lnTo>
                  <a:lnTo>
                    <a:pt x="268" y="156"/>
                  </a:lnTo>
                  <a:lnTo>
                    <a:pt x="268" y="158"/>
                  </a:lnTo>
                  <a:lnTo>
                    <a:pt x="268" y="160"/>
                  </a:lnTo>
                  <a:lnTo>
                    <a:pt x="270" y="163"/>
                  </a:lnTo>
                  <a:lnTo>
                    <a:pt x="270" y="163"/>
                  </a:lnTo>
                  <a:lnTo>
                    <a:pt x="274" y="164"/>
                  </a:lnTo>
                  <a:lnTo>
                    <a:pt x="277" y="164"/>
                  </a:lnTo>
                  <a:lnTo>
                    <a:pt x="283" y="166"/>
                  </a:lnTo>
                  <a:lnTo>
                    <a:pt x="284" y="167"/>
                  </a:lnTo>
                  <a:lnTo>
                    <a:pt x="286" y="171"/>
                  </a:lnTo>
                  <a:lnTo>
                    <a:pt x="286" y="174"/>
                  </a:lnTo>
                  <a:lnTo>
                    <a:pt x="284" y="176"/>
                  </a:lnTo>
                  <a:lnTo>
                    <a:pt x="281" y="180"/>
                  </a:lnTo>
                  <a:lnTo>
                    <a:pt x="277" y="184"/>
                  </a:lnTo>
                  <a:lnTo>
                    <a:pt x="274" y="188"/>
                  </a:lnTo>
                  <a:lnTo>
                    <a:pt x="270" y="193"/>
                  </a:lnTo>
                  <a:lnTo>
                    <a:pt x="270" y="193"/>
                  </a:lnTo>
                  <a:lnTo>
                    <a:pt x="273" y="197"/>
                  </a:lnTo>
                  <a:lnTo>
                    <a:pt x="274" y="198"/>
                  </a:lnTo>
                  <a:lnTo>
                    <a:pt x="277" y="203"/>
                  </a:lnTo>
                  <a:lnTo>
                    <a:pt x="277" y="203"/>
                  </a:lnTo>
                  <a:lnTo>
                    <a:pt x="277" y="204"/>
                  </a:lnTo>
                  <a:lnTo>
                    <a:pt x="280" y="208"/>
                  </a:lnTo>
                  <a:lnTo>
                    <a:pt x="281" y="211"/>
                  </a:lnTo>
                  <a:lnTo>
                    <a:pt x="283" y="213"/>
                  </a:lnTo>
                  <a:lnTo>
                    <a:pt x="284" y="216"/>
                  </a:lnTo>
                  <a:lnTo>
                    <a:pt x="287" y="217"/>
                  </a:lnTo>
                  <a:lnTo>
                    <a:pt x="288" y="218"/>
                  </a:lnTo>
                  <a:lnTo>
                    <a:pt x="290" y="218"/>
                  </a:lnTo>
                  <a:lnTo>
                    <a:pt x="294" y="220"/>
                  </a:lnTo>
                  <a:lnTo>
                    <a:pt x="296" y="220"/>
                  </a:lnTo>
                  <a:lnTo>
                    <a:pt x="297" y="223"/>
                  </a:lnTo>
                  <a:lnTo>
                    <a:pt x="300" y="223"/>
                  </a:lnTo>
                  <a:lnTo>
                    <a:pt x="300" y="223"/>
                  </a:lnTo>
                  <a:lnTo>
                    <a:pt x="300" y="223"/>
                  </a:lnTo>
                  <a:lnTo>
                    <a:pt x="300" y="224"/>
                  </a:lnTo>
                  <a:lnTo>
                    <a:pt x="300" y="227"/>
                  </a:lnTo>
                  <a:lnTo>
                    <a:pt x="301" y="231"/>
                  </a:lnTo>
                  <a:lnTo>
                    <a:pt x="301" y="236"/>
                  </a:lnTo>
                  <a:lnTo>
                    <a:pt x="301" y="237"/>
                  </a:lnTo>
                  <a:lnTo>
                    <a:pt x="300" y="238"/>
                  </a:lnTo>
                  <a:lnTo>
                    <a:pt x="300" y="240"/>
                  </a:lnTo>
                  <a:lnTo>
                    <a:pt x="300" y="240"/>
                  </a:lnTo>
                  <a:lnTo>
                    <a:pt x="300" y="241"/>
                  </a:lnTo>
                  <a:lnTo>
                    <a:pt x="301" y="241"/>
                  </a:lnTo>
                  <a:lnTo>
                    <a:pt x="303" y="241"/>
                  </a:lnTo>
                  <a:lnTo>
                    <a:pt x="307" y="240"/>
                  </a:lnTo>
                  <a:lnTo>
                    <a:pt x="307" y="241"/>
                  </a:lnTo>
                  <a:lnTo>
                    <a:pt x="308" y="241"/>
                  </a:lnTo>
                  <a:lnTo>
                    <a:pt x="308" y="243"/>
                  </a:lnTo>
                  <a:lnTo>
                    <a:pt x="308" y="243"/>
                  </a:lnTo>
                  <a:lnTo>
                    <a:pt x="308" y="244"/>
                  </a:lnTo>
                  <a:lnTo>
                    <a:pt x="308" y="246"/>
                  </a:lnTo>
                  <a:lnTo>
                    <a:pt x="308" y="247"/>
                  </a:lnTo>
                  <a:lnTo>
                    <a:pt x="308" y="247"/>
                  </a:lnTo>
                  <a:lnTo>
                    <a:pt x="307" y="248"/>
                  </a:lnTo>
                  <a:lnTo>
                    <a:pt x="307" y="251"/>
                  </a:lnTo>
                  <a:lnTo>
                    <a:pt x="307" y="251"/>
                  </a:lnTo>
                  <a:lnTo>
                    <a:pt x="306" y="251"/>
                  </a:lnTo>
                  <a:lnTo>
                    <a:pt x="301" y="251"/>
                  </a:lnTo>
                  <a:lnTo>
                    <a:pt x="300" y="251"/>
                  </a:lnTo>
                  <a:lnTo>
                    <a:pt x="298" y="253"/>
                  </a:lnTo>
                  <a:lnTo>
                    <a:pt x="296" y="253"/>
                  </a:lnTo>
                  <a:lnTo>
                    <a:pt x="294" y="253"/>
                  </a:lnTo>
                  <a:lnTo>
                    <a:pt x="293" y="254"/>
                  </a:lnTo>
                  <a:lnTo>
                    <a:pt x="293" y="256"/>
                  </a:lnTo>
                  <a:lnTo>
                    <a:pt x="293" y="257"/>
                  </a:lnTo>
                  <a:lnTo>
                    <a:pt x="293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86" y="258"/>
                  </a:lnTo>
                  <a:lnTo>
                    <a:pt x="286" y="258"/>
                  </a:lnTo>
                  <a:lnTo>
                    <a:pt x="286" y="260"/>
                  </a:lnTo>
                  <a:lnTo>
                    <a:pt x="284" y="263"/>
                  </a:lnTo>
                  <a:lnTo>
                    <a:pt x="284" y="266"/>
                  </a:lnTo>
                  <a:lnTo>
                    <a:pt x="284" y="266"/>
                  </a:lnTo>
                  <a:lnTo>
                    <a:pt x="283" y="267"/>
                  </a:lnTo>
                  <a:lnTo>
                    <a:pt x="283" y="267"/>
                  </a:lnTo>
                  <a:lnTo>
                    <a:pt x="283" y="268"/>
                  </a:lnTo>
                  <a:lnTo>
                    <a:pt x="283" y="270"/>
                  </a:lnTo>
                  <a:lnTo>
                    <a:pt x="283" y="276"/>
                  </a:lnTo>
                  <a:lnTo>
                    <a:pt x="281" y="277"/>
                  </a:lnTo>
                  <a:lnTo>
                    <a:pt x="281" y="277"/>
                  </a:lnTo>
                  <a:lnTo>
                    <a:pt x="280" y="278"/>
                  </a:lnTo>
                  <a:lnTo>
                    <a:pt x="278" y="278"/>
                  </a:lnTo>
                  <a:lnTo>
                    <a:pt x="276" y="278"/>
                  </a:lnTo>
                  <a:lnTo>
                    <a:pt x="274" y="277"/>
                  </a:lnTo>
                  <a:lnTo>
                    <a:pt x="267" y="276"/>
                  </a:lnTo>
                  <a:lnTo>
                    <a:pt x="266" y="274"/>
                  </a:lnTo>
                  <a:lnTo>
                    <a:pt x="266" y="273"/>
                  </a:lnTo>
                  <a:lnTo>
                    <a:pt x="264" y="273"/>
                  </a:lnTo>
                  <a:lnTo>
                    <a:pt x="263" y="276"/>
                  </a:lnTo>
                  <a:lnTo>
                    <a:pt x="257" y="274"/>
                  </a:lnTo>
                  <a:lnTo>
                    <a:pt x="254" y="274"/>
                  </a:lnTo>
                  <a:lnTo>
                    <a:pt x="253" y="274"/>
                  </a:lnTo>
                  <a:lnTo>
                    <a:pt x="250" y="274"/>
                  </a:lnTo>
                  <a:lnTo>
                    <a:pt x="247" y="273"/>
                  </a:lnTo>
                  <a:lnTo>
                    <a:pt x="244" y="273"/>
                  </a:lnTo>
                  <a:lnTo>
                    <a:pt x="241" y="273"/>
                  </a:lnTo>
                  <a:lnTo>
                    <a:pt x="237" y="271"/>
                  </a:lnTo>
                  <a:lnTo>
                    <a:pt x="233" y="270"/>
                  </a:lnTo>
                  <a:lnTo>
                    <a:pt x="229" y="270"/>
                  </a:lnTo>
                  <a:lnTo>
                    <a:pt x="227" y="270"/>
                  </a:lnTo>
                  <a:lnTo>
                    <a:pt x="224" y="270"/>
                  </a:lnTo>
                  <a:lnTo>
                    <a:pt x="223" y="268"/>
                  </a:lnTo>
                  <a:lnTo>
                    <a:pt x="221" y="268"/>
                  </a:lnTo>
                  <a:lnTo>
                    <a:pt x="220" y="268"/>
                  </a:lnTo>
                  <a:lnTo>
                    <a:pt x="213" y="267"/>
                  </a:lnTo>
                  <a:lnTo>
                    <a:pt x="213" y="264"/>
                  </a:lnTo>
                  <a:lnTo>
                    <a:pt x="211" y="263"/>
                  </a:lnTo>
                  <a:lnTo>
                    <a:pt x="211" y="260"/>
                  </a:lnTo>
                  <a:lnTo>
                    <a:pt x="210" y="257"/>
                  </a:lnTo>
                  <a:lnTo>
                    <a:pt x="210" y="251"/>
                  </a:lnTo>
                  <a:lnTo>
                    <a:pt x="209" y="248"/>
                  </a:lnTo>
                  <a:lnTo>
                    <a:pt x="207" y="247"/>
                  </a:lnTo>
                  <a:lnTo>
                    <a:pt x="207" y="246"/>
                  </a:lnTo>
                  <a:lnTo>
                    <a:pt x="206" y="244"/>
                  </a:lnTo>
                  <a:lnTo>
                    <a:pt x="204" y="243"/>
                  </a:lnTo>
                  <a:lnTo>
                    <a:pt x="197" y="241"/>
                  </a:lnTo>
                  <a:lnTo>
                    <a:pt x="197" y="241"/>
                  </a:lnTo>
                  <a:lnTo>
                    <a:pt x="194" y="243"/>
                  </a:lnTo>
                  <a:lnTo>
                    <a:pt x="191" y="244"/>
                  </a:lnTo>
                  <a:lnTo>
                    <a:pt x="187" y="246"/>
                  </a:lnTo>
                  <a:lnTo>
                    <a:pt x="186" y="246"/>
                  </a:lnTo>
                  <a:lnTo>
                    <a:pt x="184" y="248"/>
                  </a:lnTo>
                  <a:lnTo>
                    <a:pt x="183" y="250"/>
                  </a:lnTo>
                  <a:lnTo>
                    <a:pt x="181" y="248"/>
                  </a:lnTo>
                  <a:lnTo>
                    <a:pt x="179" y="250"/>
                  </a:lnTo>
                  <a:lnTo>
                    <a:pt x="174" y="253"/>
                  </a:lnTo>
                  <a:lnTo>
                    <a:pt x="173" y="254"/>
                  </a:lnTo>
                  <a:lnTo>
                    <a:pt x="170" y="254"/>
                  </a:lnTo>
                  <a:lnTo>
                    <a:pt x="169" y="253"/>
                  </a:lnTo>
                  <a:lnTo>
                    <a:pt x="164" y="250"/>
                  </a:lnTo>
                  <a:lnTo>
                    <a:pt x="161" y="250"/>
                  </a:lnTo>
                  <a:lnTo>
                    <a:pt x="157" y="250"/>
                  </a:lnTo>
                  <a:lnTo>
                    <a:pt x="156" y="250"/>
                  </a:lnTo>
                  <a:lnTo>
                    <a:pt x="152" y="247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44" y="243"/>
                  </a:lnTo>
                  <a:lnTo>
                    <a:pt x="139" y="240"/>
                  </a:lnTo>
                  <a:lnTo>
                    <a:pt x="139" y="238"/>
                  </a:lnTo>
                  <a:lnTo>
                    <a:pt x="137" y="236"/>
                  </a:lnTo>
                  <a:lnTo>
                    <a:pt x="136" y="234"/>
                  </a:lnTo>
                  <a:lnTo>
                    <a:pt x="132" y="233"/>
                  </a:lnTo>
                  <a:lnTo>
                    <a:pt x="129" y="230"/>
                  </a:lnTo>
                  <a:lnTo>
                    <a:pt x="126" y="230"/>
                  </a:lnTo>
                  <a:lnTo>
                    <a:pt x="123" y="230"/>
                  </a:lnTo>
                  <a:lnTo>
                    <a:pt x="122" y="230"/>
                  </a:lnTo>
                  <a:lnTo>
                    <a:pt x="120" y="228"/>
                  </a:lnTo>
                  <a:lnTo>
                    <a:pt x="116" y="224"/>
                  </a:lnTo>
                  <a:lnTo>
                    <a:pt x="116" y="223"/>
                  </a:lnTo>
                  <a:lnTo>
                    <a:pt x="114" y="220"/>
                  </a:lnTo>
                  <a:lnTo>
                    <a:pt x="113" y="218"/>
                  </a:lnTo>
                  <a:lnTo>
                    <a:pt x="113" y="214"/>
                  </a:lnTo>
                  <a:lnTo>
                    <a:pt x="113" y="213"/>
                  </a:lnTo>
                  <a:lnTo>
                    <a:pt x="110" y="211"/>
                  </a:lnTo>
                  <a:lnTo>
                    <a:pt x="110" y="210"/>
                  </a:lnTo>
                  <a:lnTo>
                    <a:pt x="110" y="208"/>
                  </a:lnTo>
                  <a:lnTo>
                    <a:pt x="110" y="208"/>
                  </a:lnTo>
                  <a:lnTo>
                    <a:pt x="109" y="207"/>
                  </a:lnTo>
                  <a:lnTo>
                    <a:pt x="107" y="206"/>
                  </a:lnTo>
                  <a:lnTo>
                    <a:pt x="106" y="206"/>
                  </a:lnTo>
                  <a:lnTo>
                    <a:pt x="107" y="203"/>
                  </a:lnTo>
                  <a:lnTo>
                    <a:pt x="106" y="201"/>
                  </a:lnTo>
                  <a:lnTo>
                    <a:pt x="104" y="198"/>
                  </a:lnTo>
                  <a:lnTo>
                    <a:pt x="102" y="197"/>
                  </a:lnTo>
                  <a:lnTo>
                    <a:pt x="100" y="193"/>
                  </a:lnTo>
                  <a:lnTo>
                    <a:pt x="99" y="191"/>
                  </a:lnTo>
                  <a:lnTo>
                    <a:pt x="99" y="190"/>
                  </a:lnTo>
                  <a:lnTo>
                    <a:pt x="97" y="187"/>
                  </a:lnTo>
                  <a:lnTo>
                    <a:pt x="96" y="187"/>
                  </a:lnTo>
                  <a:lnTo>
                    <a:pt x="89" y="190"/>
                  </a:lnTo>
                  <a:lnTo>
                    <a:pt x="87" y="188"/>
                  </a:lnTo>
                  <a:lnTo>
                    <a:pt x="82" y="186"/>
                  </a:lnTo>
                  <a:lnTo>
                    <a:pt x="80" y="184"/>
                  </a:lnTo>
                  <a:lnTo>
                    <a:pt x="80" y="184"/>
                  </a:lnTo>
                  <a:lnTo>
                    <a:pt x="80" y="183"/>
                  </a:lnTo>
                  <a:lnTo>
                    <a:pt x="82" y="183"/>
                  </a:lnTo>
                  <a:lnTo>
                    <a:pt x="83" y="184"/>
                  </a:lnTo>
                  <a:lnTo>
                    <a:pt x="84" y="183"/>
                  </a:lnTo>
                  <a:lnTo>
                    <a:pt x="83" y="181"/>
                  </a:lnTo>
                  <a:lnTo>
                    <a:pt x="82" y="181"/>
                  </a:lnTo>
                  <a:lnTo>
                    <a:pt x="80" y="181"/>
                  </a:lnTo>
                  <a:lnTo>
                    <a:pt x="80" y="183"/>
                  </a:lnTo>
                  <a:lnTo>
                    <a:pt x="79" y="183"/>
                  </a:lnTo>
                  <a:lnTo>
                    <a:pt x="79" y="184"/>
                  </a:lnTo>
                  <a:lnTo>
                    <a:pt x="79" y="186"/>
                  </a:lnTo>
                  <a:lnTo>
                    <a:pt x="79" y="188"/>
                  </a:lnTo>
                  <a:lnTo>
                    <a:pt x="77" y="190"/>
                  </a:lnTo>
                  <a:lnTo>
                    <a:pt x="77" y="190"/>
                  </a:lnTo>
                  <a:lnTo>
                    <a:pt x="74" y="190"/>
                  </a:lnTo>
                  <a:lnTo>
                    <a:pt x="73" y="191"/>
                  </a:lnTo>
                  <a:lnTo>
                    <a:pt x="73" y="191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0" y="188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69" y="186"/>
                  </a:lnTo>
                  <a:lnTo>
                    <a:pt x="69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6" y="183"/>
                  </a:lnTo>
                  <a:lnTo>
                    <a:pt x="64" y="183"/>
                  </a:lnTo>
                  <a:lnTo>
                    <a:pt x="64" y="181"/>
                  </a:lnTo>
                  <a:lnTo>
                    <a:pt x="64" y="178"/>
                  </a:lnTo>
                  <a:lnTo>
                    <a:pt x="64" y="176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59" y="171"/>
                  </a:lnTo>
                  <a:lnTo>
                    <a:pt x="59" y="170"/>
                  </a:lnTo>
                  <a:lnTo>
                    <a:pt x="59" y="164"/>
                  </a:lnTo>
                  <a:lnTo>
                    <a:pt x="60" y="161"/>
                  </a:lnTo>
                  <a:lnTo>
                    <a:pt x="62" y="157"/>
                  </a:lnTo>
                  <a:lnTo>
                    <a:pt x="59" y="154"/>
                  </a:lnTo>
                  <a:lnTo>
                    <a:pt x="57" y="151"/>
                  </a:lnTo>
                  <a:lnTo>
                    <a:pt x="56" y="150"/>
                  </a:lnTo>
                  <a:lnTo>
                    <a:pt x="55" y="147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0" y="144"/>
                  </a:lnTo>
                  <a:lnTo>
                    <a:pt x="47" y="143"/>
                  </a:lnTo>
                  <a:lnTo>
                    <a:pt x="45" y="140"/>
                  </a:lnTo>
                  <a:lnTo>
                    <a:pt x="42" y="137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5" y="131"/>
                  </a:lnTo>
                  <a:lnTo>
                    <a:pt x="35" y="130"/>
                  </a:lnTo>
                  <a:lnTo>
                    <a:pt x="32" y="127"/>
                  </a:lnTo>
                  <a:lnTo>
                    <a:pt x="32" y="126"/>
                  </a:lnTo>
                  <a:lnTo>
                    <a:pt x="30" y="126"/>
                  </a:lnTo>
                  <a:lnTo>
                    <a:pt x="30" y="124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29" y="123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3" y="117"/>
                  </a:lnTo>
                  <a:lnTo>
                    <a:pt x="23" y="116"/>
                  </a:lnTo>
                  <a:lnTo>
                    <a:pt x="22" y="116"/>
                  </a:lnTo>
                  <a:lnTo>
                    <a:pt x="23" y="114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10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5" y="104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1"/>
                  </a:lnTo>
                  <a:lnTo>
                    <a:pt x="27" y="100"/>
                  </a:lnTo>
                  <a:lnTo>
                    <a:pt x="30" y="96"/>
                  </a:lnTo>
                  <a:lnTo>
                    <a:pt x="33" y="94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0"/>
                  </a:lnTo>
                  <a:lnTo>
                    <a:pt x="35" y="90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6"/>
                  </a:lnTo>
                  <a:lnTo>
                    <a:pt x="32" y="84"/>
                  </a:lnTo>
                  <a:lnTo>
                    <a:pt x="33" y="83"/>
                  </a:lnTo>
                  <a:lnTo>
                    <a:pt x="35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5" y="80"/>
                  </a:lnTo>
                  <a:lnTo>
                    <a:pt x="32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6" y="77"/>
                  </a:lnTo>
                  <a:lnTo>
                    <a:pt x="25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0" y="70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5" y="61"/>
                  </a:lnTo>
                  <a:lnTo>
                    <a:pt x="15" y="60"/>
                  </a:lnTo>
                  <a:lnTo>
                    <a:pt x="13" y="56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2" y="50"/>
                  </a:lnTo>
                  <a:lnTo>
                    <a:pt x="10" y="49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7"/>
                  </a:lnTo>
                  <a:lnTo>
                    <a:pt x="5" y="36"/>
                  </a:lnTo>
                  <a:lnTo>
                    <a:pt x="5" y="34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3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3" y="19"/>
                  </a:lnTo>
                  <a:lnTo>
                    <a:pt x="3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7"/>
                  </a:lnTo>
                  <a:lnTo>
                    <a:pt x="3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3"/>
                  </a:lnTo>
                  <a:lnTo>
                    <a:pt x="9" y="1"/>
                  </a:lnTo>
                  <a:lnTo>
                    <a:pt x="9" y="0"/>
                  </a:lnTo>
                  <a:lnTo>
                    <a:pt x="12" y="1"/>
                  </a:lnTo>
                  <a:lnTo>
                    <a:pt x="13" y="3"/>
                  </a:lnTo>
                  <a:lnTo>
                    <a:pt x="13" y="3"/>
                  </a:lnTo>
                  <a:close/>
                  <a:moveTo>
                    <a:pt x="196" y="247"/>
                  </a:moveTo>
                  <a:lnTo>
                    <a:pt x="194" y="248"/>
                  </a:lnTo>
                  <a:lnTo>
                    <a:pt x="191" y="250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9" y="250"/>
                  </a:lnTo>
                  <a:lnTo>
                    <a:pt x="187" y="251"/>
                  </a:lnTo>
                  <a:lnTo>
                    <a:pt x="184" y="251"/>
                  </a:lnTo>
                  <a:lnTo>
                    <a:pt x="183" y="253"/>
                  </a:lnTo>
                  <a:lnTo>
                    <a:pt x="181" y="253"/>
                  </a:lnTo>
                  <a:lnTo>
                    <a:pt x="181" y="253"/>
                  </a:lnTo>
                  <a:lnTo>
                    <a:pt x="181" y="251"/>
                  </a:lnTo>
                  <a:lnTo>
                    <a:pt x="181" y="251"/>
                  </a:lnTo>
                  <a:lnTo>
                    <a:pt x="181" y="251"/>
                  </a:lnTo>
                  <a:lnTo>
                    <a:pt x="184" y="250"/>
                  </a:lnTo>
                  <a:lnTo>
                    <a:pt x="189" y="248"/>
                  </a:lnTo>
                  <a:lnTo>
                    <a:pt x="189" y="247"/>
                  </a:lnTo>
                  <a:lnTo>
                    <a:pt x="189" y="247"/>
                  </a:lnTo>
                  <a:lnTo>
                    <a:pt x="189" y="246"/>
                  </a:lnTo>
                  <a:lnTo>
                    <a:pt x="190" y="247"/>
                  </a:lnTo>
                  <a:lnTo>
                    <a:pt x="193" y="246"/>
                  </a:lnTo>
                  <a:lnTo>
                    <a:pt x="196" y="246"/>
                  </a:lnTo>
                  <a:lnTo>
                    <a:pt x="197" y="246"/>
                  </a:lnTo>
                  <a:lnTo>
                    <a:pt x="196" y="24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235;p3"/>
            <p:cNvSpPr/>
            <p:nvPr/>
          </p:nvSpPr>
          <p:spPr>
            <a:xfrm>
              <a:off x="3676522" y="3470808"/>
              <a:ext cx="123428" cy="74079"/>
            </a:xfrm>
            <a:custGeom>
              <a:rect b="b" l="l" r="r" t="t"/>
              <a:pathLst>
                <a:path extrusionOk="0" h="118" w="176">
                  <a:moveTo>
                    <a:pt x="143" y="11"/>
                  </a:moveTo>
                  <a:lnTo>
                    <a:pt x="146" y="11"/>
                  </a:lnTo>
                  <a:lnTo>
                    <a:pt x="149" y="10"/>
                  </a:lnTo>
                  <a:lnTo>
                    <a:pt x="150" y="10"/>
                  </a:lnTo>
                  <a:lnTo>
                    <a:pt x="153" y="7"/>
                  </a:lnTo>
                  <a:lnTo>
                    <a:pt x="154" y="6"/>
                  </a:lnTo>
                  <a:lnTo>
                    <a:pt x="157" y="6"/>
                  </a:lnTo>
                  <a:lnTo>
                    <a:pt x="159" y="6"/>
                  </a:lnTo>
                  <a:lnTo>
                    <a:pt x="159" y="6"/>
                  </a:lnTo>
                  <a:lnTo>
                    <a:pt x="157" y="7"/>
                  </a:lnTo>
                  <a:lnTo>
                    <a:pt x="156" y="7"/>
                  </a:lnTo>
                  <a:lnTo>
                    <a:pt x="153" y="10"/>
                  </a:lnTo>
                  <a:lnTo>
                    <a:pt x="152" y="14"/>
                  </a:lnTo>
                  <a:lnTo>
                    <a:pt x="150" y="16"/>
                  </a:lnTo>
                  <a:lnTo>
                    <a:pt x="150" y="17"/>
                  </a:lnTo>
                  <a:lnTo>
                    <a:pt x="152" y="18"/>
                  </a:lnTo>
                  <a:lnTo>
                    <a:pt x="154" y="20"/>
                  </a:lnTo>
                  <a:lnTo>
                    <a:pt x="156" y="18"/>
                  </a:lnTo>
                  <a:lnTo>
                    <a:pt x="156" y="18"/>
                  </a:lnTo>
                  <a:lnTo>
                    <a:pt x="157" y="20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4"/>
                  </a:lnTo>
                  <a:lnTo>
                    <a:pt x="156" y="27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6" y="30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2" y="30"/>
                  </a:lnTo>
                  <a:lnTo>
                    <a:pt x="162" y="31"/>
                  </a:lnTo>
                  <a:lnTo>
                    <a:pt x="163" y="33"/>
                  </a:lnTo>
                  <a:lnTo>
                    <a:pt x="163" y="33"/>
                  </a:lnTo>
                  <a:lnTo>
                    <a:pt x="163" y="34"/>
                  </a:lnTo>
                  <a:lnTo>
                    <a:pt x="160" y="37"/>
                  </a:lnTo>
                  <a:lnTo>
                    <a:pt x="163" y="36"/>
                  </a:lnTo>
                  <a:lnTo>
                    <a:pt x="166" y="34"/>
                  </a:lnTo>
                  <a:lnTo>
                    <a:pt x="169" y="36"/>
                  </a:lnTo>
                  <a:lnTo>
                    <a:pt x="170" y="37"/>
                  </a:lnTo>
                  <a:lnTo>
                    <a:pt x="172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4" y="43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2" y="45"/>
                  </a:lnTo>
                  <a:lnTo>
                    <a:pt x="172" y="45"/>
                  </a:lnTo>
                  <a:lnTo>
                    <a:pt x="172" y="47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50"/>
                  </a:lnTo>
                  <a:lnTo>
                    <a:pt x="174" y="50"/>
                  </a:lnTo>
                  <a:lnTo>
                    <a:pt x="173" y="51"/>
                  </a:lnTo>
                  <a:lnTo>
                    <a:pt x="173" y="51"/>
                  </a:lnTo>
                  <a:lnTo>
                    <a:pt x="172" y="53"/>
                  </a:lnTo>
                  <a:lnTo>
                    <a:pt x="174" y="54"/>
                  </a:lnTo>
                  <a:lnTo>
                    <a:pt x="176" y="54"/>
                  </a:lnTo>
                  <a:lnTo>
                    <a:pt x="176" y="55"/>
                  </a:lnTo>
                  <a:lnTo>
                    <a:pt x="174" y="57"/>
                  </a:lnTo>
                  <a:lnTo>
                    <a:pt x="174" y="58"/>
                  </a:lnTo>
                  <a:lnTo>
                    <a:pt x="174" y="58"/>
                  </a:lnTo>
                  <a:lnTo>
                    <a:pt x="172" y="58"/>
                  </a:lnTo>
                  <a:lnTo>
                    <a:pt x="170" y="60"/>
                  </a:lnTo>
                  <a:lnTo>
                    <a:pt x="172" y="61"/>
                  </a:lnTo>
                  <a:lnTo>
                    <a:pt x="172" y="63"/>
                  </a:lnTo>
                  <a:lnTo>
                    <a:pt x="170" y="64"/>
                  </a:lnTo>
                  <a:lnTo>
                    <a:pt x="169" y="67"/>
                  </a:lnTo>
                  <a:lnTo>
                    <a:pt x="167" y="68"/>
                  </a:lnTo>
                  <a:lnTo>
                    <a:pt x="166" y="70"/>
                  </a:lnTo>
                  <a:lnTo>
                    <a:pt x="163" y="70"/>
                  </a:lnTo>
                  <a:lnTo>
                    <a:pt x="162" y="68"/>
                  </a:lnTo>
                  <a:lnTo>
                    <a:pt x="162" y="71"/>
                  </a:lnTo>
                  <a:lnTo>
                    <a:pt x="160" y="73"/>
                  </a:lnTo>
                  <a:lnTo>
                    <a:pt x="162" y="74"/>
                  </a:lnTo>
                  <a:lnTo>
                    <a:pt x="162" y="75"/>
                  </a:lnTo>
                  <a:lnTo>
                    <a:pt x="162" y="77"/>
                  </a:lnTo>
                  <a:lnTo>
                    <a:pt x="160" y="78"/>
                  </a:lnTo>
                  <a:lnTo>
                    <a:pt x="160" y="80"/>
                  </a:lnTo>
                  <a:lnTo>
                    <a:pt x="159" y="81"/>
                  </a:lnTo>
                  <a:lnTo>
                    <a:pt x="156" y="83"/>
                  </a:lnTo>
                  <a:lnTo>
                    <a:pt x="153" y="84"/>
                  </a:lnTo>
                  <a:lnTo>
                    <a:pt x="152" y="85"/>
                  </a:lnTo>
                  <a:lnTo>
                    <a:pt x="149" y="85"/>
                  </a:lnTo>
                  <a:lnTo>
                    <a:pt x="144" y="87"/>
                  </a:lnTo>
                  <a:lnTo>
                    <a:pt x="139" y="90"/>
                  </a:lnTo>
                  <a:lnTo>
                    <a:pt x="136" y="93"/>
                  </a:lnTo>
                  <a:lnTo>
                    <a:pt x="133" y="95"/>
                  </a:lnTo>
                  <a:lnTo>
                    <a:pt x="129" y="100"/>
                  </a:lnTo>
                  <a:lnTo>
                    <a:pt x="126" y="101"/>
                  </a:lnTo>
                  <a:lnTo>
                    <a:pt x="124" y="101"/>
                  </a:lnTo>
                  <a:lnTo>
                    <a:pt x="122" y="103"/>
                  </a:lnTo>
                  <a:lnTo>
                    <a:pt x="119" y="104"/>
                  </a:lnTo>
                  <a:lnTo>
                    <a:pt x="110" y="105"/>
                  </a:lnTo>
                  <a:lnTo>
                    <a:pt x="107" y="107"/>
                  </a:lnTo>
                  <a:lnTo>
                    <a:pt x="107" y="108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5" y="113"/>
                  </a:lnTo>
                  <a:lnTo>
                    <a:pt x="103" y="114"/>
                  </a:lnTo>
                  <a:lnTo>
                    <a:pt x="102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5"/>
                  </a:lnTo>
                  <a:lnTo>
                    <a:pt x="99" y="117"/>
                  </a:lnTo>
                  <a:lnTo>
                    <a:pt x="93" y="118"/>
                  </a:lnTo>
                  <a:lnTo>
                    <a:pt x="85" y="117"/>
                  </a:lnTo>
                  <a:lnTo>
                    <a:pt x="80" y="115"/>
                  </a:lnTo>
                  <a:lnTo>
                    <a:pt x="76" y="113"/>
                  </a:lnTo>
                  <a:lnTo>
                    <a:pt x="73" y="113"/>
                  </a:lnTo>
                  <a:lnTo>
                    <a:pt x="69" y="113"/>
                  </a:lnTo>
                  <a:lnTo>
                    <a:pt x="66" y="110"/>
                  </a:lnTo>
                  <a:lnTo>
                    <a:pt x="65" y="108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5"/>
                  </a:lnTo>
                  <a:lnTo>
                    <a:pt x="65" y="105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4"/>
                  </a:lnTo>
                  <a:lnTo>
                    <a:pt x="65" y="104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57" y="104"/>
                  </a:lnTo>
                  <a:lnTo>
                    <a:pt x="56" y="103"/>
                  </a:lnTo>
                  <a:lnTo>
                    <a:pt x="55" y="101"/>
                  </a:lnTo>
                  <a:lnTo>
                    <a:pt x="53" y="100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0" y="101"/>
                  </a:lnTo>
                  <a:lnTo>
                    <a:pt x="49" y="101"/>
                  </a:lnTo>
                  <a:lnTo>
                    <a:pt x="35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29" y="101"/>
                  </a:lnTo>
                  <a:lnTo>
                    <a:pt x="29" y="98"/>
                  </a:lnTo>
                  <a:lnTo>
                    <a:pt x="27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2" y="95"/>
                  </a:lnTo>
                  <a:lnTo>
                    <a:pt x="32" y="97"/>
                  </a:lnTo>
                  <a:lnTo>
                    <a:pt x="37" y="95"/>
                  </a:lnTo>
                  <a:lnTo>
                    <a:pt x="39" y="94"/>
                  </a:lnTo>
                  <a:lnTo>
                    <a:pt x="40" y="93"/>
                  </a:lnTo>
                  <a:lnTo>
                    <a:pt x="42" y="91"/>
                  </a:lnTo>
                  <a:lnTo>
                    <a:pt x="42" y="90"/>
                  </a:lnTo>
                  <a:lnTo>
                    <a:pt x="43" y="88"/>
                  </a:lnTo>
                  <a:lnTo>
                    <a:pt x="43" y="85"/>
                  </a:lnTo>
                  <a:lnTo>
                    <a:pt x="45" y="84"/>
                  </a:lnTo>
                  <a:lnTo>
                    <a:pt x="46" y="84"/>
                  </a:lnTo>
                  <a:lnTo>
                    <a:pt x="46" y="83"/>
                  </a:lnTo>
                  <a:lnTo>
                    <a:pt x="49" y="83"/>
                  </a:lnTo>
                  <a:lnTo>
                    <a:pt x="47" y="81"/>
                  </a:lnTo>
                  <a:lnTo>
                    <a:pt x="46" y="81"/>
                  </a:lnTo>
                  <a:lnTo>
                    <a:pt x="40" y="85"/>
                  </a:lnTo>
                  <a:lnTo>
                    <a:pt x="39" y="85"/>
                  </a:lnTo>
                  <a:lnTo>
                    <a:pt x="39" y="84"/>
                  </a:lnTo>
                  <a:lnTo>
                    <a:pt x="40" y="84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80"/>
                  </a:lnTo>
                  <a:lnTo>
                    <a:pt x="40" y="77"/>
                  </a:lnTo>
                  <a:lnTo>
                    <a:pt x="45" y="74"/>
                  </a:lnTo>
                  <a:lnTo>
                    <a:pt x="46" y="74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2" y="75"/>
                  </a:lnTo>
                  <a:lnTo>
                    <a:pt x="39" y="77"/>
                  </a:lnTo>
                  <a:lnTo>
                    <a:pt x="37" y="77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5" y="74"/>
                  </a:lnTo>
                  <a:lnTo>
                    <a:pt x="35" y="73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5" y="70"/>
                  </a:lnTo>
                  <a:lnTo>
                    <a:pt x="33" y="67"/>
                  </a:lnTo>
                  <a:lnTo>
                    <a:pt x="29" y="67"/>
                  </a:lnTo>
                  <a:lnTo>
                    <a:pt x="19" y="65"/>
                  </a:lnTo>
                  <a:lnTo>
                    <a:pt x="16" y="67"/>
                  </a:lnTo>
                  <a:lnTo>
                    <a:pt x="13" y="68"/>
                  </a:lnTo>
                  <a:lnTo>
                    <a:pt x="10" y="70"/>
                  </a:lnTo>
                  <a:lnTo>
                    <a:pt x="10" y="68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8" y="64"/>
                  </a:lnTo>
                  <a:lnTo>
                    <a:pt x="8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3" y="63"/>
                  </a:lnTo>
                  <a:lnTo>
                    <a:pt x="16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22" y="61"/>
                  </a:lnTo>
                  <a:lnTo>
                    <a:pt x="26" y="60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7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32" y="58"/>
                  </a:lnTo>
                  <a:lnTo>
                    <a:pt x="35" y="57"/>
                  </a:lnTo>
                  <a:lnTo>
                    <a:pt x="42" y="57"/>
                  </a:lnTo>
                  <a:lnTo>
                    <a:pt x="43" y="57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3" y="53"/>
                  </a:lnTo>
                  <a:lnTo>
                    <a:pt x="32" y="51"/>
                  </a:lnTo>
                  <a:lnTo>
                    <a:pt x="33" y="51"/>
                  </a:lnTo>
                  <a:lnTo>
                    <a:pt x="35" y="48"/>
                  </a:lnTo>
                  <a:lnTo>
                    <a:pt x="37" y="45"/>
                  </a:lnTo>
                  <a:lnTo>
                    <a:pt x="42" y="44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0" y="40"/>
                  </a:lnTo>
                  <a:lnTo>
                    <a:pt x="35" y="41"/>
                  </a:lnTo>
                  <a:lnTo>
                    <a:pt x="33" y="38"/>
                  </a:lnTo>
                  <a:lnTo>
                    <a:pt x="30" y="37"/>
                  </a:lnTo>
                  <a:lnTo>
                    <a:pt x="27" y="38"/>
                  </a:lnTo>
                  <a:lnTo>
                    <a:pt x="26" y="37"/>
                  </a:lnTo>
                  <a:lnTo>
                    <a:pt x="22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9" y="44"/>
                  </a:lnTo>
                  <a:lnTo>
                    <a:pt x="8" y="43"/>
                  </a:lnTo>
                  <a:lnTo>
                    <a:pt x="5" y="41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3" y="37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7" y="31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5" y="30"/>
                  </a:lnTo>
                  <a:lnTo>
                    <a:pt x="13" y="30"/>
                  </a:lnTo>
                  <a:lnTo>
                    <a:pt x="12" y="28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3" y="23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6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20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1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3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6"/>
                  </a:lnTo>
                  <a:lnTo>
                    <a:pt x="25" y="4"/>
                  </a:lnTo>
                  <a:lnTo>
                    <a:pt x="26" y="3"/>
                  </a:lnTo>
                  <a:lnTo>
                    <a:pt x="29" y="4"/>
                  </a:lnTo>
                  <a:lnTo>
                    <a:pt x="32" y="3"/>
                  </a:lnTo>
                  <a:lnTo>
                    <a:pt x="33" y="4"/>
                  </a:lnTo>
                  <a:lnTo>
                    <a:pt x="35" y="6"/>
                  </a:lnTo>
                  <a:lnTo>
                    <a:pt x="37" y="8"/>
                  </a:lnTo>
                  <a:lnTo>
                    <a:pt x="40" y="10"/>
                  </a:lnTo>
                  <a:lnTo>
                    <a:pt x="40" y="11"/>
                  </a:lnTo>
                  <a:lnTo>
                    <a:pt x="43" y="13"/>
                  </a:lnTo>
                  <a:lnTo>
                    <a:pt x="46" y="17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49" y="21"/>
                  </a:lnTo>
                  <a:lnTo>
                    <a:pt x="47" y="21"/>
                  </a:lnTo>
                  <a:lnTo>
                    <a:pt x="47" y="23"/>
                  </a:lnTo>
                  <a:lnTo>
                    <a:pt x="50" y="23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0" y="31"/>
                  </a:lnTo>
                  <a:lnTo>
                    <a:pt x="49" y="31"/>
                  </a:lnTo>
                  <a:lnTo>
                    <a:pt x="49" y="33"/>
                  </a:lnTo>
                  <a:lnTo>
                    <a:pt x="46" y="31"/>
                  </a:lnTo>
                  <a:lnTo>
                    <a:pt x="46" y="33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2" y="41"/>
                  </a:lnTo>
                  <a:lnTo>
                    <a:pt x="52" y="43"/>
                  </a:lnTo>
                  <a:lnTo>
                    <a:pt x="53" y="48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5" y="44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7" y="37"/>
                  </a:lnTo>
                  <a:lnTo>
                    <a:pt x="59" y="36"/>
                  </a:lnTo>
                  <a:lnTo>
                    <a:pt x="60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3" y="37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6" y="36"/>
                  </a:lnTo>
                  <a:lnTo>
                    <a:pt x="66" y="31"/>
                  </a:lnTo>
                  <a:lnTo>
                    <a:pt x="66" y="27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70" y="17"/>
                  </a:lnTo>
                  <a:lnTo>
                    <a:pt x="72" y="18"/>
                  </a:lnTo>
                  <a:lnTo>
                    <a:pt x="75" y="24"/>
                  </a:lnTo>
                  <a:lnTo>
                    <a:pt x="76" y="26"/>
                  </a:lnTo>
                  <a:lnTo>
                    <a:pt x="77" y="28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0" y="21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5" y="17"/>
                  </a:lnTo>
                  <a:lnTo>
                    <a:pt x="86" y="16"/>
                  </a:lnTo>
                  <a:lnTo>
                    <a:pt x="89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2" y="14"/>
                  </a:lnTo>
                  <a:lnTo>
                    <a:pt x="93" y="16"/>
                  </a:lnTo>
                  <a:lnTo>
                    <a:pt x="95" y="18"/>
                  </a:lnTo>
                  <a:lnTo>
                    <a:pt x="97" y="23"/>
                  </a:lnTo>
                  <a:lnTo>
                    <a:pt x="100" y="26"/>
                  </a:lnTo>
                  <a:lnTo>
                    <a:pt x="102" y="30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102" y="30"/>
                  </a:lnTo>
                  <a:lnTo>
                    <a:pt x="103" y="30"/>
                  </a:lnTo>
                  <a:lnTo>
                    <a:pt x="103" y="27"/>
                  </a:lnTo>
                  <a:lnTo>
                    <a:pt x="102" y="24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102" y="14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2" y="23"/>
                  </a:lnTo>
                  <a:lnTo>
                    <a:pt x="112" y="21"/>
                  </a:lnTo>
                  <a:lnTo>
                    <a:pt x="113" y="21"/>
                  </a:lnTo>
                  <a:lnTo>
                    <a:pt x="113" y="20"/>
                  </a:lnTo>
                  <a:lnTo>
                    <a:pt x="114" y="17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20" y="14"/>
                  </a:lnTo>
                  <a:lnTo>
                    <a:pt x="122" y="16"/>
                  </a:lnTo>
                  <a:lnTo>
                    <a:pt x="123" y="16"/>
                  </a:lnTo>
                  <a:lnTo>
                    <a:pt x="124" y="16"/>
                  </a:lnTo>
                  <a:lnTo>
                    <a:pt x="126" y="14"/>
                  </a:lnTo>
                  <a:lnTo>
                    <a:pt x="129" y="13"/>
                  </a:lnTo>
                  <a:lnTo>
                    <a:pt x="129" y="11"/>
                  </a:lnTo>
                  <a:lnTo>
                    <a:pt x="129" y="10"/>
                  </a:lnTo>
                  <a:lnTo>
                    <a:pt x="127" y="3"/>
                  </a:lnTo>
                  <a:lnTo>
                    <a:pt x="129" y="1"/>
                  </a:lnTo>
                  <a:lnTo>
                    <a:pt x="132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9" y="4"/>
                  </a:lnTo>
                  <a:lnTo>
                    <a:pt x="140" y="6"/>
                  </a:lnTo>
                  <a:lnTo>
                    <a:pt x="140" y="7"/>
                  </a:lnTo>
                  <a:lnTo>
                    <a:pt x="142" y="10"/>
                  </a:lnTo>
                  <a:lnTo>
                    <a:pt x="142" y="10"/>
                  </a:lnTo>
                  <a:lnTo>
                    <a:pt x="143" y="1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Google Shape;236;p3"/>
            <p:cNvSpPr/>
            <p:nvPr/>
          </p:nvSpPr>
          <p:spPr>
            <a:xfrm>
              <a:off x="4025768" y="3837434"/>
              <a:ext cx="133247" cy="140624"/>
            </a:xfrm>
            <a:custGeom>
              <a:rect b="b" l="l" r="r" t="t"/>
              <a:pathLst>
                <a:path extrusionOk="0" h="224" w="190">
                  <a:moveTo>
                    <a:pt x="114" y="13"/>
                  </a:moveTo>
                  <a:lnTo>
                    <a:pt x="113" y="14"/>
                  </a:lnTo>
                  <a:lnTo>
                    <a:pt x="113" y="15"/>
                  </a:lnTo>
                  <a:lnTo>
                    <a:pt x="111" y="15"/>
                  </a:lnTo>
                  <a:lnTo>
                    <a:pt x="110" y="17"/>
                  </a:lnTo>
                  <a:lnTo>
                    <a:pt x="109" y="18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1" y="21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3" y="23"/>
                  </a:lnTo>
                  <a:lnTo>
                    <a:pt x="111" y="23"/>
                  </a:lnTo>
                  <a:lnTo>
                    <a:pt x="110" y="24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3" y="30"/>
                  </a:lnTo>
                  <a:lnTo>
                    <a:pt x="114" y="31"/>
                  </a:lnTo>
                  <a:lnTo>
                    <a:pt x="116" y="33"/>
                  </a:lnTo>
                  <a:lnTo>
                    <a:pt x="117" y="34"/>
                  </a:lnTo>
                  <a:lnTo>
                    <a:pt x="116" y="34"/>
                  </a:lnTo>
                  <a:lnTo>
                    <a:pt x="114" y="35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13" y="31"/>
                  </a:lnTo>
                  <a:lnTo>
                    <a:pt x="111" y="31"/>
                  </a:lnTo>
                  <a:lnTo>
                    <a:pt x="110" y="33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4" y="33"/>
                  </a:lnTo>
                  <a:lnTo>
                    <a:pt x="103" y="34"/>
                  </a:lnTo>
                  <a:lnTo>
                    <a:pt x="101" y="34"/>
                  </a:lnTo>
                  <a:lnTo>
                    <a:pt x="99" y="35"/>
                  </a:lnTo>
                  <a:lnTo>
                    <a:pt x="96" y="37"/>
                  </a:lnTo>
                  <a:lnTo>
                    <a:pt x="94" y="38"/>
                  </a:lnTo>
                  <a:lnTo>
                    <a:pt x="93" y="37"/>
                  </a:lnTo>
                  <a:lnTo>
                    <a:pt x="96" y="35"/>
                  </a:lnTo>
                  <a:lnTo>
                    <a:pt x="94" y="35"/>
                  </a:lnTo>
                  <a:lnTo>
                    <a:pt x="91" y="37"/>
                  </a:lnTo>
                  <a:lnTo>
                    <a:pt x="91" y="38"/>
                  </a:lnTo>
                  <a:lnTo>
                    <a:pt x="90" y="40"/>
                  </a:lnTo>
                  <a:lnTo>
                    <a:pt x="90" y="43"/>
                  </a:lnTo>
                  <a:lnTo>
                    <a:pt x="91" y="44"/>
                  </a:lnTo>
                  <a:lnTo>
                    <a:pt x="93" y="47"/>
                  </a:lnTo>
                  <a:lnTo>
                    <a:pt x="94" y="48"/>
                  </a:lnTo>
                  <a:lnTo>
                    <a:pt x="94" y="50"/>
                  </a:lnTo>
                  <a:lnTo>
                    <a:pt x="94" y="51"/>
                  </a:lnTo>
                  <a:lnTo>
                    <a:pt x="93" y="53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90" y="54"/>
                  </a:lnTo>
                  <a:lnTo>
                    <a:pt x="91" y="61"/>
                  </a:lnTo>
                  <a:lnTo>
                    <a:pt x="93" y="65"/>
                  </a:lnTo>
                  <a:lnTo>
                    <a:pt x="94" y="67"/>
                  </a:lnTo>
                  <a:lnTo>
                    <a:pt x="97" y="71"/>
                  </a:lnTo>
                  <a:lnTo>
                    <a:pt x="101" y="73"/>
                  </a:lnTo>
                  <a:lnTo>
                    <a:pt x="107" y="77"/>
                  </a:lnTo>
                  <a:lnTo>
                    <a:pt x="110" y="80"/>
                  </a:lnTo>
                  <a:lnTo>
                    <a:pt x="111" y="80"/>
                  </a:lnTo>
                  <a:lnTo>
                    <a:pt x="114" y="84"/>
                  </a:lnTo>
                  <a:lnTo>
                    <a:pt x="116" y="88"/>
                  </a:lnTo>
                  <a:lnTo>
                    <a:pt x="117" y="95"/>
                  </a:lnTo>
                  <a:lnTo>
                    <a:pt x="119" y="100"/>
                  </a:lnTo>
                  <a:lnTo>
                    <a:pt x="121" y="102"/>
                  </a:lnTo>
                  <a:lnTo>
                    <a:pt x="127" y="108"/>
                  </a:lnTo>
                  <a:lnTo>
                    <a:pt x="133" y="112"/>
                  </a:lnTo>
                  <a:lnTo>
                    <a:pt x="137" y="115"/>
                  </a:lnTo>
                  <a:lnTo>
                    <a:pt x="141" y="115"/>
                  </a:lnTo>
                  <a:lnTo>
                    <a:pt x="150" y="115"/>
                  </a:lnTo>
                  <a:lnTo>
                    <a:pt x="151" y="115"/>
                  </a:lnTo>
                  <a:lnTo>
                    <a:pt x="153" y="117"/>
                  </a:lnTo>
                  <a:lnTo>
                    <a:pt x="154" y="118"/>
                  </a:lnTo>
                  <a:lnTo>
                    <a:pt x="153" y="120"/>
                  </a:lnTo>
                  <a:lnTo>
                    <a:pt x="151" y="121"/>
                  </a:lnTo>
                  <a:lnTo>
                    <a:pt x="149" y="122"/>
                  </a:lnTo>
                  <a:lnTo>
                    <a:pt x="149" y="124"/>
                  </a:lnTo>
                  <a:lnTo>
                    <a:pt x="151" y="127"/>
                  </a:lnTo>
                  <a:lnTo>
                    <a:pt x="160" y="131"/>
                  </a:lnTo>
                  <a:lnTo>
                    <a:pt x="169" y="134"/>
                  </a:lnTo>
                  <a:lnTo>
                    <a:pt x="171" y="135"/>
                  </a:lnTo>
                  <a:lnTo>
                    <a:pt x="174" y="138"/>
                  </a:lnTo>
                  <a:lnTo>
                    <a:pt x="181" y="142"/>
                  </a:lnTo>
                  <a:lnTo>
                    <a:pt x="183" y="144"/>
                  </a:lnTo>
                  <a:lnTo>
                    <a:pt x="188" y="148"/>
                  </a:lnTo>
                  <a:lnTo>
                    <a:pt x="190" y="152"/>
                  </a:lnTo>
                  <a:lnTo>
                    <a:pt x="190" y="154"/>
                  </a:lnTo>
                  <a:lnTo>
                    <a:pt x="190" y="157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4" y="158"/>
                  </a:lnTo>
                  <a:lnTo>
                    <a:pt x="180" y="151"/>
                  </a:lnTo>
                  <a:lnTo>
                    <a:pt x="174" y="150"/>
                  </a:lnTo>
                  <a:lnTo>
                    <a:pt x="173" y="150"/>
                  </a:lnTo>
                  <a:lnTo>
                    <a:pt x="171" y="148"/>
                  </a:lnTo>
                  <a:lnTo>
                    <a:pt x="170" y="147"/>
                  </a:lnTo>
                  <a:lnTo>
                    <a:pt x="170" y="147"/>
                  </a:lnTo>
                  <a:lnTo>
                    <a:pt x="170" y="145"/>
                  </a:lnTo>
                  <a:lnTo>
                    <a:pt x="167" y="145"/>
                  </a:lnTo>
                  <a:lnTo>
                    <a:pt x="166" y="147"/>
                  </a:lnTo>
                  <a:lnTo>
                    <a:pt x="163" y="150"/>
                  </a:lnTo>
                  <a:lnTo>
                    <a:pt x="161" y="154"/>
                  </a:lnTo>
                  <a:lnTo>
                    <a:pt x="159" y="160"/>
                  </a:lnTo>
                  <a:lnTo>
                    <a:pt x="159" y="161"/>
                  </a:lnTo>
                  <a:lnTo>
                    <a:pt x="160" y="164"/>
                  </a:lnTo>
                  <a:lnTo>
                    <a:pt x="164" y="165"/>
                  </a:lnTo>
                  <a:lnTo>
                    <a:pt x="167" y="167"/>
                  </a:lnTo>
                  <a:lnTo>
                    <a:pt x="169" y="170"/>
                  </a:lnTo>
                  <a:lnTo>
                    <a:pt x="169" y="174"/>
                  </a:lnTo>
                  <a:lnTo>
                    <a:pt x="170" y="177"/>
                  </a:lnTo>
                  <a:lnTo>
                    <a:pt x="169" y="178"/>
                  </a:lnTo>
                  <a:lnTo>
                    <a:pt x="166" y="178"/>
                  </a:lnTo>
                  <a:lnTo>
                    <a:pt x="163" y="180"/>
                  </a:lnTo>
                  <a:lnTo>
                    <a:pt x="160" y="181"/>
                  </a:lnTo>
                  <a:lnTo>
                    <a:pt x="160" y="182"/>
                  </a:lnTo>
                  <a:lnTo>
                    <a:pt x="160" y="188"/>
                  </a:lnTo>
                  <a:lnTo>
                    <a:pt x="160" y="190"/>
                  </a:lnTo>
                  <a:lnTo>
                    <a:pt x="156" y="192"/>
                  </a:lnTo>
                  <a:lnTo>
                    <a:pt x="153" y="195"/>
                  </a:lnTo>
                  <a:lnTo>
                    <a:pt x="153" y="197"/>
                  </a:lnTo>
                  <a:lnTo>
                    <a:pt x="151" y="198"/>
                  </a:lnTo>
                  <a:lnTo>
                    <a:pt x="146" y="198"/>
                  </a:lnTo>
                  <a:lnTo>
                    <a:pt x="144" y="197"/>
                  </a:lnTo>
                  <a:lnTo>
                    <a:pt x="144" y="194"/>
                  </a:lnTo>
                  <a:lnTo>
                    <a:pt x="146" y="192"/>
                  </a:lnTo>
                  <a:lnTo>
                    <a:pt x="147" y="191"/>
                  </a:lnTo>
                  <a:lnTo>
                    <a:pt x="149" y="188"/>
                  </a:lnTo>
                  <a:lnTo>
                    <a:pt x="149" y="185"/>
                  </a:lnTo>
                  <a:lnTo>
                    <a:pt x="150" y="184"/>
                  </a:lnTo>
                  <a:lnTo>
                    <a:pt x="150" y="182"/>
                  </a:lnTo>
                  <a:lnTo>
                    <a:pt x="151" y="182"/>
                  </a:lnTo>
                  <a:lnTo>
                    <a:pt x="154" y="182"/>
                  </a:lnTo>
                  <a:lnTo>
                    <a:pt x="154" y="178"/>
                  </a:lnTo>
                  <a:lnTo>
                    <a:pt x="153" y="177"/>
                  </a:lnTo>
                  <a:lnTo>
                    <a:pt x="151" y="174"/>
                  </a:lnTo>
                  <a:lnTo>
                    <a:pt x="151" y="170"/>
                  </a:lnTo>
                  <a:lnTo>
                    <a:pt x="149" y="164"/>
                  </a:lnTo>
                  <a:lnTo>
                    <a:pt x="147" y="160"/>
                  </a:lnTo>
                  <a:lnTo>
                    <a:pt x="146" y="157"/>
                  </a:lnTo>
                  <a:lnTo>
                    <a:pt x="144" y="155"/>
                  </a:lnTo>
                  <a:lnTo>
                    <a:pt x="141" y="155"/>
                  </a:lnTo>
                  <a:lnTo>
                    <a:pt x="139" y="155"/>
                  </a:lnTo>
                  <a:lnTo>
                    <a:pt x="134" y="151"/>
                  </a:lnTo>
                  <a:lnTo>
                    <a:pt x="133" y="151"/>
                  </a:lnTo>
                  <a:lnTo>
                    <a:pt x="133" y="150"/>
                  </a:lnTo>
                  <a:lnTo>
                    <a:pt x="134" y="148"/>
                  </a:lnTo>
                  <a:lnTo>
                    <a:pt x="134" y="147"/>
                  </a:lnTo>
                  <a:lnTo>
                    <a:pt x="133" y="145"/>
                  </a:lnTo>
                  <a:lnTo>
                    <a:pt x="131" y="144"/>
                  </a:lnTo>
                  <a:lnTo>
                    <a:pt x="131" y="142"/>
                  </a:lnTo>
                  <a:lnTo>
                    <a:pt x="129" y="142"/>
                  </a:lnTo>
                  <a:lnTo>
                    <a:pt x="127" y="144"/>
                  </a:lnTo>
                  <a:lnTo>
                    <a:pt x="126" y="142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6" y="141"/>
                  </a:lnTo>
                  <a:lnTo>
                    <a:pt x="126" y="141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0" y="140"/>
                  </a:lnTo>
                  <a:lnTo>
                    <a:pt x="120" y="140"/>
                  </a:lnTo>
                  <a:lnTo>
                    <a:pt x="119" y="140"/>
                  </a:lnTo>
                  <a:lnTo>
                    <a:pt x="119" y="138"/>
                  </a:lnTo>
                  <a:lnTo>
                    <a:pt x="116" y="132"/>
                  </a:lnTo>
                  <a:lnTo>
                    <a:pt x="114" y="131"/>
                  </a:lnTo>
                  <a:lnTo>
                    <a:pt x="113" y="130"/>
                  </a:lnTo>
                  <a:lnTo>
                    <a:pt x="111" y="131"/>
                  </a:lnTo>
                  <a:lnTo>
                    <a:pt x="109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4" y="130"/>
                  </a:lnTo>
                  <a:lnTo>
                    <a:pt x="103" y="130"/>
                  </a:lnTo>
                  <a:lnTo>
                    <a:pt x="103" y="130"/>
                  </a:lnTo>
                  <a:lnTo>
                    <a:pt x="100" y="127"/>
                  </a:lnTo>
                  <a:lnTo>
                    <a:pt x="97" y="125"/>
                  </a:lnTo>
                  <a:lnTo>
                    <a:pt x="90" y="118"/>
                  </a:lnTo>
                  <a:lnTo>
                    <a:pt x="87" y="115"/>
                  </a:lnTo>
                  <a:lnTo>
                    <a:pt x="83" y="112"/>
                  </a:lnTo>
                  <a:lnTo>
                    <a:pt x="80" y="108"/>
                  </a:lnTo>
                  <a:lnTo>
                    <a:pt x="79" y="107"/>
                  </a:lnTo>
                  <a:lnTo>
                    <a:pt x="76" y="105"/>
                  </a:lnTo>
                  <a:lnTo>
                    <a:pt x="74" y="105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2" y="105"/>
                  </a:lnTo>
                  <a:lnTo>
                    <a:pt x="73" y="104"/>
                  </a:lnTo>
                  <a:lnTo>
                    <a:pt x="73" y="104"/>
                  </a:lnTo>
                  <a:lnTo>
                    <a:pt x="73" y="102"/>
                  </a:lnTo>
                  <a:lnTo>
                    <a:pt x="70" y="98"/>
                  </a:lnTo>
                  <a:lnTo>
                    <a:pt x="67" y="97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6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3" y="93"/>
                  </a:lnTo>
                  <a:lnTo>
                    <a:pt x="63" y="91"/>
                  </a:lnTo>
                  <a:lnTo>
                    <a:pt x="63" y="90"/>
                  </a:lnTo>
                  <a:lnTo>
                    <a:pt x="63" y="88"/>
                  </a:lnTo>
                  <a:lnTo>
                    <a:pt x="62" y="84"/>
                  </a:lnTo>
                  <a:lnTo>
                    <a:pt x="60" y="81"/>
                  </a:lnTo>
                  <a:lnTo>
                    <a:pt x="59" y="74"/>
                  </a:lnTo>
                  <a:lnTo>
                    <a:pt x="57" y="71"/>
                  </a:lnTo>
                  <a:lnTo>
                    <a:pt x="56" y="70"/>
                  </a:lnTo>
                  <a:lnTo>
                    <a:pt x="50" y="68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37" y="61"/>
                  </a:lnTo>
                  <a:lnTo>
                    <a:pt x="34" y="61"/>
                  </a:lnTo>
                  <a:lnTo>
                    <a:pt x="32" y="63"/>
                  </a:lnTo>
                  <a:lnTo>
                    <a:pt x="27" y="67"/>
                  </a:lnTo>
                  <a:lnTo>
                    <a:pt x="24" y="73"/>
                  </a:lnTo>
                  <a:lnTo>
                    <a:pt x="23" y="73"/>
                  </a:lnTo>
                  <a:lnTo>
                    <a:pt x="19" y="75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7" y="70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6" y="67"/>
                  </a:lnTo>
                  <a:lnTo>
                    <a:pt x="13" y="68"/>
                  </a:lnTo>
                  <a:lnTo>
                    <a:pt x="12" y="67"/>
                  </a:lnTo>
                  <a:lnTo>
                    <a:pt x="9" y="65"/>
                  </a:lnTo>
                  <a:lnTo>
                    <a:pt x="6" y="64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4"/>
                  </a:lnTo>
                  <a:lnTo>
                    <a:pt x="6" y="53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4" y="51"/>
                  </a:lnTo>
                  <a:lnTo>
                    <a:pt x="3" y="51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7" y="37"/>
                  </a:lnTo>
                  <a:lnTo>
                    <a:pt x="6" y="35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6" y="28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4" y="25"/>
                  </a:lnTo>
                  <a:lnTo>
                    <a:pt x="16" y="25"/>
                  </a:lnTo>
                  <a:lnTo>
                    <a:pt x="19" y="27"/>
                  </a:lnTo>
                  <a:lnTo>
                    <a:pt x="20" y="27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8"/>
                  </a:lnTo>
                  <a:lnTo>
                    <a:pt x="30" y="20"/>
                  </a:lnTo>
                  <a:lnTo>
                    <a:pt x="32" y="21"/>
                  </a:lnTo>
                  <a:lnTo>
                    <a:pt x="33" y="23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4" y="25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7" y="30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40" y="23"/>
                  </a:lnTo>
                  <a:lnTo>
                    <a:pt x="42" y="20"/>
                  </a:lnTo>
                  <a:lnTo>
                    <a:pt x="43" y="18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6" y="14"/>
                  </a:lnTo>
                  <a:lnTo>
                    <a:pt x="46" y="15"/>
                  </a:lnTo>
                  <a:lnTo>
                    <a:pt x="46" y="17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9" y="18"/>
                  </a:lnTo>
                  <a:lnTo>
                    <a:pt x="52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4" y="1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7" y="18"/>
                  </a:lnTo>
                  <a:lnTo>
                    <a:pt x="56" y="17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4" y="14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9" y="13"/>
                  </a:lnTo>
                  <a:lnTo>
                    <a:pt x="60" y="13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2" y="8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9" y="7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72" y="5"/>
                  </a:lnTo>
                  <a:lnTo>
                    <a:pt x="73" y="4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6" y="1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91" y="5"/>
                  </a:lnTo>
                  <a:lnTo>
                    <a:pt x="91" y="8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6" y="10"/>
                  </a:lnTo>
                  <a:lnTo>
                    <a:pt x="97" y="10"/>
                  </a:lnTo>
                  <a:lnTo>
                    <a:pt x="100" y="11"/>
                  </a:lnTo>
                  <a:lnTo>
                    <a:pt x="106" y="13"/>
                  </a:lnTo>
                  <a:lnTo>
                    <a:pt x="109" y="13"/>
                  </a:lnTo>
                  <a:lnTo>
                    <a:pt x="110" y="13"/>
                  </a:lnTo>
                  <a:lnTo>
                    <a:pt x="114" y="13"/>
                  </a:lnTo>
                  <a:close/>
                  <a:moveTo>
                    <a:pt x="94" y="73"/>
                  </a:moveTo>
                  <a:lnTo>
                    <a:pt x="94" y="71"/>
                  </a:lnTo>
                  <a:lnTo>
                    <a:pt x="94" y="71"/>
                  </a:lnTo>
                  <a:lnTo>
                    <a:pt x="93" y="71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close/>
                  <a:moveTo>
                    <a:pt x="93" y="117"/>
                  </a:moveTo>
                  <a:lnTo>
                    <a:pt x="93" y="117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93" y="117"/>
                  </a:lnTo>
                  <a:close/>
                  <a:moveTo>
                    <a:pt x="60" y="95"/>
                  </a:move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7" y="98"/>
                  </a:lnTo>
                  <a:lnTo>
                    <a:pt x="57" y="98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60" y="97"/>
                  </a:lnTo>
                  <a:lnTo>
                    <a:pt x="60" y="95"/>
                  </a:lnTo>
                  <a:close/>
                  <a:moveTo>
                    <a:pt x="49" y="138"/>
                  </a:moveTo>
                  <a:lnTo>
                    <a:pt x="49" y="140"/>
                  </a:lnTo>
                  <a:lnTo>
                    <a:pt x="52" y="145"/>
                  </a:lnTo>
                  <a:lnTo>
                    <a:pt x="52" y="145"/>
                  </a:lnTo>
                  <a:lnTo>
                    <a:pt x="52" y="147"/>
                  </a:lnTo>
                  <a:lnTo>
                    <a:pt x="50" y="148"/>
                  </a:lnTo>
                  <a:lnTo>
                    <a:pt x="49" y="151"/>
                  </a:lnTo>
                  <a:lnTo>
                    <a:pt x="49" y="152"/>
                  </a:lnTo>
                  <a:lnTo>
                    <a:pt x="50" y="154"/>
                  </a:lnTo>
                  <a:lnTo>
                    <a:pt x="50" y="155"/>
                  </a:lnTo>
                  <a:lnTo>
                    <a:pt x="50" y="158"/>
                  </a:lnTo>
                  <a:lnTo>
                    <a:pt x="49" y="170"/>
                  </a:lnTo>
                  <a:lnTo>
                    <a:pt x="47" y="172"/>
                  </a:lnTo>
                  <a:lnTo>
                    <a:pt x="47" y="174"/>
                  </a:lnTo>
                  <a:lnTo>
                    <a:pt x="46" y="174"/>
                  </a:lnTo>
                  <a:lnTo>
                    <a:pt x="44" y="174"/>
                  </a:lnTo>
                  <a:lnTo>
                    <a:pt x="43" y="172"/>
                  </a:lnTo>
                  <a:lnTo>
                    <a:pt x="42" y="172"/>
                  </a:lnTo>
                  <a:lnTo>
                    <a:pt x="40" y="172"/>
                  </a:lnTo>
                  <a:lnTo>
                    <a:pt x="40" y="172"/>
                  </a:lnTo>
                  <a:lnTo>
                    <a:pt x="39" y="172"/>
                  </a:lnTo>
                  <a:lnTo>
                    <a:pt x="39" y="177"/>
                  </a:lnTo>
                  <a:lnTo>
                    <a:pt x="37" y="178"/>
                  </a:lnTo>
                  <a:lnTo>
                    <a:pt x="36" y="178"/>
                  </a:lnTo>
                  <a:lnTo>
                    <a:pt x="36" y="180"/>
                  </a:lnTo>
                  <a:lnTo>
                    <a:pt x="34" y="178"/>
                  </a:lnTo>
                  <a:lnTo>
                    <a:pt x="33" y="178"/>
                  </a:lnTo>
                  <a:lnTo>
                    <a:pt x="32" y="178"/>
                  </a:lnTo>
                  <a:lnTo>
                    <a:pt x="32" y="177"/>
                  </a:lnTo>
                  <a:lnTo>
                    <a:pt x="30" y="175"/>
                  </a:lnTo>
                  <a:lnTo>
                    <a:pt x="29" y="172"/>
                  </a:lnTo>
                  <a:lnTo>
                    <a:pt x="29" y="171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30" y="165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30" y="161"/>
                  </a:lnTo>
                  <a:lnTo>
                    <a:pt x="30" y="162"/>
                  </a:lnTo>
                  <a:lnTo>
                    <a:pt x="32" y="162"/>
                  </a:lnTo>
                  <a:lnTo>
                    <a:pt x="32" y="161"/>
                  </a:lnTo>
                  <a:lnTo>
                    <a:pt x="32" y="160"/>
                  </a:lnTo>
                  <a:lnTo>
                    <a:pt x="30" y="158"/>
                  </a:lnTo>
                  <a:lnTo>
                    <a:pt x="29" y="158"/>
                  </a:lnTo>
                  <a:lnTo>
                    <a:pt x="29" y="157"/>
                  </a:lnTo>
                  <a:lnTo>
                    <a:pt x="29" y="155"/>
                  </a:lnTo>
                  <a:lnTo>
                    <a:pt x="30" y="155"/>
                  </a:lnTo>
                  <a:lnTo>
                    <a:pt x="30" y="154"/>
                  </a:lnTo>
                  <a:lnTo>
                    <a:pt x="30" y="150"/>
                  </a:lnTo>
                  <a:lnTo>
                    <a:pt x="29" y="150"/>
                  </a:lnTo>
                  <a:lnTo>
                    <a:pt x="29" y="147"/>
                  </a:lnTo>
                  <a:lnTo>
                    <a:pt x="29" y="145"/>
                  </a:lnTo>
                  <a:lnTo>
                    <a:pt x="27" y="145"/>
                  </a:lnTo>
                  <a:lnTo>
                    <a:pt x="26" y="144"/>
                  </a:lnTo>
                  <a:lnTo>
                    <a:pt x="26" y="142"/>
                  </a:lnTo>
                  <a:lnTo>
                    <a:pt x="26" y="140"/>
                  </a:lnTo>
                  <a:lnTo>
                    <a:pt x="26" y="138"/>
                  </a:lnTo>
                  <a:lnTo>
                    <a:pt x="26" y="137"/>
                  </a:lnTo>
                  <a:lnTo>
                    <a:pt x="26" y="137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8"/>
                  </a:lnTo>
                  <a:lnTo>
                    <a:pt x="32" y="138"/>
                  </a:lnTo>
                  <a:lnTo>
                    <a:pt x="33" y="138"/>
                  </a:lnTo>
                  <a:lnTo>
                    <a:pt x="36" y="137"/>
                  </a:lnTo>
                  <a:lnTo>
                    <a:pt x="39" y="132"/>
                  </a:lnTo>
                  <a:lnTo>
                    <a:pt x="40" y="132"/>
                  </a:lnTo>
                  <a:lnTo>
                    <a:pt x="42" y="131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3" y="131"/>
                  </a:lnTo>
                  <a:lnTo>
                    <a:pt x="44" y="131"/>
                  </a:lnTo>
                  <a:lnTo>
                    <a:pt x="46" y="132"/>
                  </a:lnTo>
                  <a:lnTo>
                    <a:pt x="46" y="132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9" y="135"/>
                  </a:lnTo>
                  <a:lnTo>
                    <a:pt x="49" y="135"/>
                  </a:lnTo>
                  <a:lnTo>
                    <a:pt x="47" y="135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9" y="138"/>
                  </a:lnTo>
                  <a:close/>
                  <a:moveTo>
                    <a:pt x="27" y="134"/>
                  </a:move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7" y="134"/>
                  </a:lnTo>
                  <a:lnTo>
                    <a:pt x="27" y="132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7" y="134"/>
                  </a:lnTo>
                  <a:close/>
                  <a:moveTo>
                    <a:pt x="117" y="141"/>
                  </a:moveTo>
                  <a:lnTo>
                    <a:pt x="117" y="142"/>
                  </a:lnTo>
                  <a:lnTo>
                    <a:pt x="116" y="141"/>
                  </a:lnTo>
                  <a:lnTo>
                    <a:pt x="116" y="141"/>
                  </a:lnTo>
                  <a:lnTo>
                    <a:pt x="117" y="141"/>
                  </a:lnTo>
                  <a:lnTo>
                    <a:pt x="119" y="141"/>
                  </a:lnTo>
                  <a:lnTo>
                    <a:pt x="119" y="141"/>
                  </a:lnTo>
                  <a:lnTo>
                    <a:pt x="117" y="141"/>
                  </a:lnTo>
                  <a:close/>
                  <a:moveTo>
                    <a:pt x="30" y="175"/>
                  </a:moveTo>
                  <a:lnTo>
                    <a:pt x="29" y="178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9" y="175"/>
                  </a:lnTo>
                  <a:lnTo>
                    <a:pt x="30" y="175"/>
                  </a:lnTo>
                  <a:lnTo>
                    <a:pt x="30" y="175"/>
                  </a:lnTo>
                  <a:close/>
                  <a:moveTo>
                    <a:pt x="144" y="192"/>
                  </a:moveTo>
                  <a:lnTo>
                    <a:pt x="143" y="195"/>
                  </a:lnTo>
                  <a:lnTo>
                    <a:pt x="143" y="197"/>
                  </a:lnTo>
                  <a:lnTo>
                    <a:pt x="139" y="202"/>
                  </a:lnTo>
                  <a:lnTo>
                    <a:pt x="139" y="202"/>
                  </a:lnTo>
                  <a:lnTo>
                    <a:pt x="137" y="204"/>
                  </a:lnTo>
                  <a:lnTo>
                    <a:pt x="137" y="205"/>
                  </a:lnTo>
                  <a:lnTo>
                    <a:pt x="137" y="207"/>
                  </a:lnTo>
                  <a:lnTo>
                    <a:pt x="136" y="208"/>
                  </a:lnTo>
                  <a:lnTo>
                    <a:pt x="136" y="210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2"/>
                  </a:lnTo>
                  <a:lnTo>
                    <a:pt x="139" y="212"/>
                  </a:lnTo>
                  <a:lnTo>
                    <a:pt x="137" y="214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0" y="217"/>
                  </a:lnTo>
                  <a:lnTo>
                    <a:pt x="140" y="217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36" y="221"/>
                  </a:lnTo>
                  <a:lnTo>
                    <a:pt x="136" y="222"/>
                  </a:lnTo>
                  <a:lnTo>
                    <a:pt x="137" y="222"/>
                  </a:lnTo>
                  <a:lnTo>
                    <a:pt x="136" y="224"/>
                  </a:lnTo>
                  <a:lnTo>
                    <a:pt x="134" y="224"/>
                  </a:lnTo>
                  <a:lnTo>
                    <a:pt x="133" y="222"/>
                  </a:lnTo>
                  <a:lnTo>
                    <a:pt x="131" y="224"/>
                  </a:lnTo>
                  <a:lnTo>
                    <a:pt x="129" y="222"/>
                  </a:lnTo>
                  <a:lnTo>
                    <a:pt x="127" y="222"/>
                  </a:lnTo>
                  <a:lnTo>
                    <a:pt x="127" y="221"/>
                  </a:lnTo>
                  <a:lnTo>
                    <a:pt x="124" y="218"/>
                  </a:lnTo>
                  <a:lnTo>
                    <a:pt x="123" y="217"/>
                  </a:lnTo>
                  <a:lnTo>
                    <a:pt x="121" y="215"/>
                  </a:lnTo>
                  <a:lnTo>
                    <a:pt x="119" y="215"/>
                  </a:lnTo>
                  <a:lnTo>
                    <a:pt x="117" y="215"/>
                  </a:lnTo>
                  <a:lnTo>
                    <a:pt x="116" y="215"/>
                  </a:lnTo>
                  <a:lnTo>
                    <a:pt x="111" y="212"/>
                  </a:lnTo>
                  <a:lnTo>
                    <a:pt x="109" y="211"/>
                  </a:lnTo>
                  <a:lnTo>
                    <a:pt x="107" y="210"/>
                  </a:lnTo>
                  <a:lnTo>
                    <a:pt x="106" y="208"/>
                  </a:lnTo>
                  <a:lnTo>
                    <a:pt x="106" y="208"/>
                  </a:lnTo>
                  <a:lnTo>
                    <a:pt x="103" y="207"/>
                  </a:lnTo>
                  <a:lnTo>
                    <a:pt x="101" y="207"/>
                  </a:lnTo>
                  <a:lnTo>
                    <a:pt x="100" y="207"/>
                  </a:lnTo>
                  <a:lnTo>
                    <a:pt x="99" y="207"/>
                  </a:lnTo>
                  <a:lnTo>
                    <a:pt x="97" y="207"/>
                  </a:lnTo>
                  <a:lnTo>
                    <a:pt x="97" y="205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3" y="201"/>
                  </a:lnTo>
                  <a:lnTo>
                    <a:pt x="94" y="198"/>
                  </a:lnTo>
                  <a:lnTo>
                    <a:pt x="96" y="197"/>
                  </a:lnTo>
                  <a:lnTo>
                    <a:pt x="96" y="195"/>
                  </a:lnTo>
                  <a:lnTo>
                    <a:pt x="97" y="195"/>
                  </a:lnTo>
                  <a:lnTo>
                    <a:pt x="97" y="194"/>
                  </a:lnTo>
                  <a:lnTo>
                    <a:pt x="99" y="194"/>
                  </a:lnTo>
                  <a:lnTo>
                    <a:pt x="100" y="197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6" y="194"/>
                  </a:lnTo>
                  <a:lnTo>
                    <a:pt x="107" y="194"/>
                  </a:lnTo>
                  <a:lnTo>
                    <a:pt x="109" y="194"/>
                  </a:lnTo>
                  <a:lnTo>
                    <a:pt x="109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3" y="197"/>
                  </a:lnTo>
                  <a:lnTo>
                    <a:pt x="114" y="198"/>
                  </a:lnTo>
                  <a:lnTo>
                    <a:pt x="116" y="198"/>
                  </a:lnTo>
                  <a:lnTo>
                    <a:pt x="117" y="197"/>
                  </a:lnTo>
                  <a:lnTo>
                    <a:pt x="120" y="197"/>
                  </a:lnTo>
                  <a:lnTo>
                    <a:pt x="123" y="197"/>
                  </a:lnTo>
                  <a:lnTo>
                    <a:pt x="126" y="197"/>
                  </a:lnTo>
                  <a:lnTo>
                    <a:pt x="127" y="197"/>
                  </a:lnTo>
                  <a:lnTo>
                    <a:pt x="129" y="195"/>
                  </a:lnTo>
                  <a:lnTo>
                    <a:pt x="130" y="194"/>
                  </a:lnTo>
                  <a:lnTo>
                    <a:pt x="131" y="194"/>
                  </a:lnTo>
                  <a:lnTo>
                    <a:pt x="131" y="194"/>
                  </a:lnTo>
                  <a:lnTo>
                    <a:pt x="134" y="194"/>
                  </a:lnTo>
                  <a:lnTo>
                    <a:pt x="137" y="194"/>
                  </a:lnTo>
                  <a:lnTo>
                    <a:pt x="137" y="194"/>
                  </a:lnTo>
                  <a:lnTo>
                    <a:pt x="139" y="194"/>
                  </a:lnTo>
                  <a:lnTo>
                    <a:pt x="139" y="192"/>
                  </a:lnTo>
                  <a:lnTo>
                    <a:pt x="140" y="192"/>
                  </a:lnTo>
                  <a:lnTo>
                    <a:pt x="143" y="191"/>
                  </a:lnTo>
                  <a:lnTo>
                    <a:pt x="144" y="191"/>
                  </a:lnTo>
                  <a:lnTo>
                    <a:pt x="144" y="192"/>
                  </a:lnTo>
                  <a:lnTo>
                    <a:pt x="144" y="192"/>
                  </a:lnTo>
                  <a:close/>
                  <a:moveTo>
                    <a:pt x="87" y="222"/>
                  </a:moveTo>
                  <a:lnTo>
                    <a:pt x="87" y="222"/>
                  </a:lnTo>
                  <a:lnTo>
                    <a:pt x="86" y="222"/>
                  </a:lnTo>
                  <a:lnTo>
                    <a:pt x="86" y="221"/>
                  </a:lnTo>
                  <a:lnTo>
                    <a:pt x="86" y="221"/>
                  </a:lnTo>
                  <a:lnTo>
                    <a:pt x="87" y="221"/>
                  </a:lnTo>
                  <a:lnTo>
                    <a:pt x="87" y="222"/>
                  </a:lnTo>
                  <a:lnTo>
                    <a:pt x="87" y="22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Google Shape;237;p3"/>
            <p:cNvSpPr/>
            <p:nvPr/>
          </p:nvSpPr>
          <p:spPr>
            <a:xfrm>
              <a:off x="3926885" y="3804790"/>
              <a:ext cx="2104" cy="1256"/>
            </a:xfrm>
            <a:custGeom>
              <a:rect b="b" l="l" r="r" t="t"/>
              <a:pathLst>
                <a:path extrusionOk="0" h="2" w="3">
                  <a:moveTo>
                    <a:pt x="3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Google Shape;238;p3"/>
            <p:cNvSpPr/>
            <p:nvPr/>
          </p:nvSpPr>
          <p:spPr>
            <a:xfrm>
              <a:off x="3071302" y="4183971"/>
              <a:ext cx="24546" cy="8789"/>
            </a:xfrm>
            <a:custGeom>
              <a:rect b="b" l="l" r="r" t="t"/>
              <a:pathLst>
                <a:path extrusionOk="0" h="14" w="35">
                  <a:moveTo>
                    <a:pt x="18" y="2"/>
                  </a:moveTo>
                  <a:lnTo>
                    <a:pt x="20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6" y="4"/>
                  </a:lnTo>
                  <a:lnTo>
                    <a:pt x="27" y="6"/>
                  </a:lnTo>
                  <a:lnTo>
                    <a:pt x="33" y="7"/>
                  </a:lnTo>
                  <a:lnTo>
                    <a:pt x="35" y="10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7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9" y="14"/>
                  </a:lnTo>
                  <a:lnTo>
                    <a:pt x="18" y="13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9" y="10"/>
                  </a:lnTo>
                  <a:lnTo>
                    <a:pt x="9" y="9"/>
                  </a:lnTo>
                  <a:lnTo>
                    <a:pt x="8" y="9"/>
                  </a:lnTo>
                  <a:lnTo>
                    <a:pt x="6" y="7"/>
                  </a:lnTo>
                  <a:lnTo>
                    <a:pt x="5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9" y="0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8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239;p3"/>
            <p:cNvSpPr/>
            <p:nvPr/>
          </p:nvSpPr>
          <p:spPr>
            <a:xfrm>
              <a:off x="4344158" y="4018236"/>
              <a:ext cx="49091" cy="49595"/>
            </a:xfrm>
            <a:custGeom>
              <a:rect b="b" l="l" r="r" t="t"/>
              <a:pathLst>
                <a:path extrusionOk="0" h="79" w="70">
                  <a:moveTo>
                    <a:pt x="67" y="24"/>
                  </a:moveTo>
                  <a:lnTo>
                    <a:pt x="65" y="26"/>
                  </a:lnTo>
                  <a:lnTo>
                    <a:pt x="64" y="27"/>
                  </a:lnTo>
                  <a:lnTo>
                    <a:pt x="61" y="27"/>
                  </a:lnTo>
                  <a:lnTo>
                    <a:pt x="55" y="29"/>
                  </a:lnTo>
                  <a:lnTo>
                    <a:pt x="51" y="30"/>
                  </a:lnTo>
                  <a:lnTo>
                    <a:pt x="45" y="31"/>
                  </a:lnTo>
                  <a:lnTo>
                    <a:pt x="41" y="33"/>
                  </a:lnTo>
                  <a:lnTo>
                    <a:pt x="37" y="34"/>
                  </a:lnTo>
                  <a:lnTo>
                    <a:pt x="33" y="36"/>
                  </a:lnTo>
                  <a:lnTo>
                    <a:pt x="34" y="39"/>
                  </a:lnTo>
                  <a:lnTo>
                    <a:pt x="38" y="43"/>
                  </a:lnTo>
                  <a:lnTo>
                    <a:pt x="41" y="44"/>
                  </a:lnTo>
                  <a:lnTo>
                    <a:pt x="44" y="49"/>
                  </a:lnTo>
                  <a:lnTo>
                    <a:pt x="45" y="51"/>
                  </a:lnTo>
                  <a:lnTo>
                    <a:pt x="48" y="54"/>
                  </a:lnTo>
                  <a:lnTo>
                    <a:pt x="47" y="56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1" y="61"/>
                  </a:lnTo>
                  <a:lnTo>
                    <a:pt x="41" y="63"/>
                  </a:lnTo>
                  <a:lnTo>
                    <a:pt x="40" y="64"/>
                  </a:lnTo>
                  <a:lnTo>
                    <a:pt x="35" y="64"/>
                  </a:lnTo>
                  <a:lnTo>
                    <a:pt x="31" y="66"/>
                  </a:lnTo>
                  <a:lnTo>
                    <a:pt x="28" y="66"/>
                  </a:lnTo>
                  <a:lnTo>
                    <a:pt x="28" y="67"/>
                  </a:lnTo>
                  <a:lnTo>
                    <a:pt x="27" y="70"/>
                  </a:lnTo>
                  <a:lnTo>
                    <a:pt x="24" y="73"/>
                  </a:lnTo>
                  <a:lnTo>
                    <a:pt x="21" y="76"/>
                  </a:lnTo>
                  <a:lnTo>
                    <a:pt x="18" y="79"/>
                  </a:lnTo>
                  <a:lnTo>
                    <a:pt x="17" y="79"/>
                  </a:lnTo>
                  <a:lnTo>
                    <a:pt x="14" y="79"/>
                  </a:lnTo>
                  <a:lnTo>
                    <a:pt x="10" y="77"/>
                  </a:lnTo>
                  <a:lnTo>
                    <a:pt x="7" y="77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1" y="73"/>
                  </a:lnTo>
                  <a:lnTo>
                    <a:pt x="0" y="71"/>
                  </a:lnTo>
                  <a:lnTo>
                    <a:pt x="1" y="67"/>
                  </a:lnTo>
                  <a:lnTo>
                    <a:pt x="1" y="66"/>
                  </a:lnTo>
                  <a:lnTo>
                    <a:pt x="1" y="64"/>
                  </a:lnTo>
                  <a:lnTo>
                    <a:pt x="3" y="61"/>
                  </a:lnTo>
                  <a:lnTo>
                    <a:pt x="3" y="60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4" y="54"/>
                  </a:lnTo>
                  <a:lnTo>
                    <a:pt x="4" y="51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7" y="46"/>
                  </a:lnTo>
                  <a:lnTo>
                    <a:pt x="8" y="43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10" y="31"/>
                  </a:lnTo>
                  <a:lnTo>
                    <a:pt x="10" y="27"/>
                  </a:lnTo>
                  <a:lnTo>
                    <a:pt x="10" y="24"/>
                  </a:lnTo>
                  <a:lnTo>
                    <a:pt x="10" y="21"/>
                  </a:lnTo>
                  <a:lnTo>
                    <a:pt x="10" y="19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8" y="16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9"/>
                  </a:lnTo>
                  <a:lnTo>
                    <a:pt x="24" y="20"/>
                  </a:lnTo>
                  <a:lnTo>
                    <a:pt x="30" y="20"/>
                  </a:lnTo>
                  <a:lnTo>
                    <a:pt x="34" y="17"/>
                  </a:lnTo>
                  <a:lnTo>
                    <a:pt x="38" y="16"/>
                  </a:lnTo>
                  <a:lnTo>
                    <a:pt x="43" y="13"/>
                  </a:lnTo>
                  <a:lnTo>
                    <a:pt x="45" y="10"/>
                  </a:lnTo>
                  <a:lnTo>
                    <a:pt x="50" y="7"/>
                  </a:lnTo>
                  <a:lnTo>
                    <a:pt x="53" y="6"/>
                  </a:lnTo>
                  <a:lnTo>
                    <a:pt x="57" y="3"/>
                  </a:lnTo>
                  <a:lnTo>
                    <a:pt x="61" y="0"/>
                  </a:lnTo>
                  <a:lnTo>
                    <a:pt x="63" y="4"/>
                  </a:lnTo>
                  <a:lnTo>
                    <a:pt x="64" y="9"/>
                  </a:lnTo>
                  <a:lnTo>
                    <a:pt x="64" y="13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5" y="20"/>
                  </a:lnTo>
                  <a:lnTo>
                    <a:pt x="67" y="20"/>
                  </a:lnTo>
                  <a:lnTo>
                    <a:pt x="68" y="20"/>
                  </a:lnTo>
                  <a:lnTo>
                    <a:pt x="70" y="21"/>
                  </a:lnTo>
                  <a:lnTo>
                    <a:pt x="67" y="2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240;p3"/>
            <p:cNvSpPr/>
            <p:nvPr/>
          </p:nvSpPr>
          <p:spPr>
            <a:xfrm>
              <a:off x="5340702" y="3860663"/>
              <a:ext cx="248961" cy="262414"/>
            </a:xfrm>
            <a:custGeom>
              <a:rect b="b" l="l" r="r" t="t"/>
              <a:pathLst>
                <a:path extrusionOk="0" h="418" w="355">
                  <a:moveTo>
                    <a:pt x="322" y="31"/>
                  </a:moveTo>
                  <a:lnTo>
                    <a:pt x="325" y="31"/>
                  </a:lnTo>
                  <a:lnTo>
                    <a:pt x="325" y="31"/>
                  </a:lnTo>
                  <a:lnTo>
                    <a:pt x="326" y="31"/>
                  </a:lnTo>
                  <a:lnTo>
                    <a:pt x="333" y="34"/>
                  </a:lnTo>
                  <a:lnTo>
                    <a:pt x="335" y="36"/>
                  </a:lnTo>
                  <a:lnTo>
                    <a:pt x="336" y="36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43" y="30"/>
                  </a:lnTo>
                  <a:lnTo>
                    <a:pt x="346" y="26"/>
                  </a:lnTo>
                  <a:lnTo>
                    <a:pt x="348" y="26"/>
                  </a:lnTo>
                  <a:lnTo>
                    <a:pt x="348" y="27"/>
                  </a:lnTo>
                  <a:lnTo>
                    <a:pt x="348" y="28"/>
                  </a:lnTo>
                  <a:lnTo>
                    <a:pt x="345" y="31"/>
                  </a:lnTo>
                  <a:lnTo>
                    <a:pt x="343" y="37"/>
                  </a:lnTo>
                  <a:lnTo>
                    <a:pt x="343" y="38"/>
                  </a:lnTo>
                  <a:lnTo>
                    <a:pt x="343" y="41"/>
                  </a:lnTo>
                  <a:lnTo>
                    <a:pt x="345" y="43"/>
                  </a:lnTo>
                  <a:lnTo>
                    <a:pt x="346" y="46"/>
                  </a:lnTo>
                  <a:lnTo>
                    <a:pt x="346" y="48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50" y="48"/>
                  </a:lnTo>
                  <a:lnTo>
                    <a:pt x="352" y="47"/>
                  </a:lnTo>
                  <a:lnTo>
                    <a:pt x="353" y="47"/>
                  </a:lnTo>
                  <a:lnTo>
                    <a:pt x="355" y="47"/>
                  </a:lnTo>
                  <a:lnTo>
                    <a:pt x="353" y="48"/>
                  </a:lnTo>
                  <a:lnTo>
                    <a:pt x="352" y="48"/>
                  </a:lnTo>
                  <a:lnTo>
                    <a:pt x="350" y="51"/>
                  </a:lnTo>
                  <a:lnTo>
                    <a:pt x="349" y="51"/>
                  </a:lnTo>
                  <a:lnTo>
                    <a:pt x="348" y="51"/>
                  </a:lnTo>
                  <a:lnTo>
                    <a:pt x="346" y="51"/>
                  </a:lnTo>
                  <a:lnTo>
                    <a:pt x="345" y="53"/>
                  </a:lnTo>
                  <a:lnTo>
                    <a:pt x="343" y="54"/>
                  </a:lnTo>
                  <a:lnTo>
                    <a:pt x="342" y="54"/>
                  </a:lnTo>
                  <a:lnTo>
                    <a:pt x="340" y="56"/>
                  </a:lnTo>
                  <a:lnTo>
                    <a:pt x="338" y="56"/>
                  </a:lnTo>
                  <a:lnTo>
                    <a:pt x="335" y="57"/>
                  </a:lnTo>
                  <a:lnTo>
                    <a:pt x="333" y="57"/>
                  </a:lnTo>
                  <a:lnTo>
                    <a:pt x="330" y="56"/>
                  </a:lnTo>
                  <a:lnTo>
                    <a:pt x="329" y="56"/>
                  </a:lnTo>
                  <a:lnTo>
                    <a:pt x="325" y="58"/>
                  </a:lnTo>
                  <a:lnTo>
                    <a:pt x="322" y="61"/>
                  </a:lnTo>
                  <a:lnTo>
                    <a:pt x="319" y="64"/>
                  </a:lnTo>
                  <a:lnTo>
                    <a:pt x="316" y="68"/>
                  </a:lnTo>
                  <a:lnTo>
                    <a:pt x="315" y="70"/>
                  </a:lnTo>
                  <a:lnTo>
                    <a:pt x="315" y="73"/>
                  </a:lnTo>
                  <a:lnTo>
                    <a:pt x="315" y="74"/>
                  </a:lnTo>
                  <a:lnTo>
                    <a:pt x="315" y="75"/>
                  </a:lnTo>
                  <a:lnTo>
                    <a:pt x="313" y="77"/>
                  </a:lnTo>
                  <a:lnTo>
                    <a:pt x="313" y="77"/>
                  </a:lnTo>
                  <a:lnTo>
                    <a:pt x="310" y="77"/>
                  </a:lnTo>
                  <a:lnTo>
                    <a:pt x="308" y="74"/>
                  </a:lnTo>
                  <a:lnTo>
                    <a:pt x="302" y="71"/>
                  </a:lnTo>
                  <a:lnTo>
                    <a:pt x="295" y="67"/>
                  </a:lnTo>
                  <a:lnTo>
                    <a:pt x="291" y="64"/>
                  </a:lnTo>
                  <a:lnTo>
                    <a:pt x="283" y="65"/>
                  </a:lnTo>
                  <a:lnTo>
                    <a:pt x="276" y="70"/>
                  </a:lnTo>
                  <a:lnTo>
                    <a:pt x="276" y="70"/>
                  </a:lnTo>
                  <a:lnTo>
                    <a:pt x="273" y="67"/>
                  </a:lnTo>
                  <a:lnTo>
                    <a:pt x="272" y="65"/>
                  </a:lnTo>
                  <a:lnTo>
                    <a:pt x="271" y="64"/>
                  </a:lnTo>
                  <a:lnTo>
                    <a:pt x="271" y="65"/>
                  </a:lnTo>
                  <a:lnTo>
                    <a:pt x="269" y="65"/>
                  </a:lnTo>
                  <a:lnTo>
                    <a:pt x="268" y="67"/>
                  </a:lnTo>
                  <a:lnTo>
                    <a:pt x="266" y="68"/>
                  </a:lnTo>
                  <a:lnTo>
                    <a:pt x="266" y="68"/>
                  </a:lnTo>
                  <a:lnTo>
                    <a:pt x="266" y="70"/>
                  </a:lnTo>
                  <a:lnTo>
                    <a:pt x="266" y="71"/>
                  </a:lnTo>
                  <a:lnTo>
                    <a:pt x="268" y="73"/>
                  </a:lnTo>
                  <a:lnTo>
                    <a:pt x="269" y="74"/>
                  </a:lnTo>
                  <a:lnTo>
                    <a:pt x="271" y="74"/>
                  </a:lnTo>
                  <a:lnTo>
                    <a:pt x="272" y="74"/>
                  </a:lnTo>
                  <a:lnTo>
                    <a:pt x="273" y="74"/>
                  </a:lnTo>
                  <a:lnTo>
                    <a:pt x="276" y="77"/>
                  </a:lnTo>
                  <a:lnTo>
                    <a:pt x="279" y="80"/>
                  </a:lnTo>
                  <a:lnTo>
                    <a:pt x="279" y="81"/>
                  </a:lnTo>
                  <a:lnTo>
                    <a:pt x="279" y="83"/>
                  </a:lnTo>
                  <a:lnTo>
                    <a:pt x="278" y="83"/>
                  </a:lnTo>
                  <a:lnTo>
                    <a:pt x="276" y="83"/>
                  </a:lnTo>
                  <a:lnTo>
                    <a:pt x="275" y="83"/>
                  </a:lnTo>
                  <a:lnTo>
                    <a:pt x="272" y="81"/>
                  </a:lnTo>
                  <a:lnTo>
                    <a:pt x="271" y="83"/>
                  </a:lnTo>
                  <a:lnTo>
                    <a:pt x="269" y="84"/>
                  </a:lnTo>
                  <a:lnTo>
                    <a:pt x="268" y="87"/>
                  </a:lnTo>
                  <a:lnTo>
                    <a:pt x="268" y="87"/>
                  </a:lnTo>
                  <a:lnTo>
                    <a:pt x="265" y="88"/>
                  </a:lnTo>
                  <a:lnTo>
                    <a:pt x="263" y="90"/>
                  </a:lnTo>
                  <a:lnTo>
                    <a:pt x="262" y="90"/>
                  </a:lnTo>
                  <a:lnTo>
                    <a:pt x="262" y="88"/>
                  </a:lnTo>
                  <a:lnTo>
                    <a:pt x="262" y="87"/>
                  </a:lnTo>
                  <a:lnTo>
                    <a:pt x="261" y="85"/>
                  </a:lnTo>
                  <a:lnTo>
                    <a:pt x="262" y="84"/>
                  </a:lnTo>
                  <a:lnTo>
                    <a:pt x="262" y="81"/>
                  </a:lnTo>
                  <a:lnTo>
                    <a:pt x="263" y="78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59" y="73"/>
                  </a:lnTo>
                  <a:lnTo>
                    <a:pt x="259" y="71"/>
                  </a:lnTo>
                  <a:lnTo>
                    <a:pt x="258" y="68"/>
                  </a:lnTo>
                  <a:lnTo>
                    <a:pt x="259" y="67"/>
                  </a:lnTo>
                  <a:lnTo>
                    <a:pt x="259" y="64"/>
                  </a:lnTo>
                  <a:lnTo>
                    <a:pt x="259" y="63"/>
                  </a:lnTo>
                  <a:lnTo>
                    <a:pt x="261" y="63"/>
                  </a:lnTo>
                  <a:lnTo>
                    <a:pt x="262" y="63"/>
                  </a:lnTo>
                  <a:lnTo>
                    <a:pt x="263" y="61"/>
                  </a:lnTo>
                  <a:lnTo>
                    <a:pt x="265" y="60"/>
                  </a:lnTo>
                  <a:lnTo>
                    <a:pt x="266" y="58"/>
                  </a:lnTo>
                  <a:lnTo>
                    <a:pt x="268" y="57"/>
                  </a:lnTo>
                  <a:lnTo>
                    <a:pt x="269" y="54"/>
                  </a:lnTo>
                  <a:lnTo>
                    <a:pt x="268" y="51"/>
                  </a:lnTo>
                  <a:lnTo>
                    <a:pt x="268" y="50"/>
                  </a:lnTo>
                  <a:lnTo>
                    <a:pt x="268" y="48"/>
                  </a:lnTo>
                  <a:lnTo>
                    <a:pt x="269" y="48"/>
                  </a:lnTo>
                  <a:lnTo>
                    <a:pt x="271" y="48"/>
                  </a:lnTo>
                  <a:lnTo>
                    <a:pt x="273" y="51"/>
                  </a:lnTo>
                  <a:lnTo>
                    <a:pt x="275" y="51"/>
                  </a:lnTo>
                  <a:lnTo>
                    <a:pt x="276" y="51"/>
                  </a:lnTo>
                  <a:lnTo>
                    <a:pt x="279" y="51"/>
                  </a:lnTo>
                  <a:lnTo>
                    <a:pt x="281" y="51"/>
                  </a:lnTo>
                  <a:lnTo>
                    <a:pt x="282" y="51"/>
                  </a:lnTo>
                  <a:lnTo>
                    <a:pt x="283" y="50"/>
                  </a:lnTo>
                  <a:lnTo>
                    <a:pt x="283" y="47"/>
                  </a:lnTo>
                  <a:lnTo>
                    <a:pt x="283" y="44"/>
                  </a:lnTo>
                  <a:lnTo>
                    <a:pt x="283" y="41"/>
                  </a:lnTo>
                  <a:lnTo>
                    <a:pt x="285" y="38"/>
                  </a:lnTo>
                  <a:lnTo>
                    <a:pt x="286" y="36"/>
                  </a:lnTo>
                  <a:lnTo>
                    <a:pt x="288" y="33"/>
                  </a:lnTo>
                  <a:lnTo>
                    <a:pt x="288" y="27"/>
                  </a:lnTo>
                  <a:lnTo>
                    <a:pt x="289" y="26"/>
                  </a:lnTo>
                  <a:lnTo>
                    <a:pt x="289" y="23"/>
                  </a:lnTo>
                  <a:lnTo>
                    <a:pt x="289" y="17"/>
                  </a:lnTo>
                  <a:lnTo>
                    <a:pt x="289" y="13"/>
                  </a:lnTo>
                  <a:lnTo>
                    <a:pt x="288" y="10"/>
                  </a:lnTo>
                  <a:lnTo>
                    <a:pt x="286" y="7"/>
                  </a:lnTo>
                  <a:lnTo>
                    <a:pt x="286" y="6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1"/>
                  </a:lnTo>
                  <a:lnTo>
                    <a:pt x="289" y="1"/>
                  </a:lnTo>
                  <a:lnTo>
                    <a:pt x="291" y="1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93" y="0"/>
                  </a:lnTo>
                  <a:lnTo>
                    <a:pt x="293" y="1"/>
                  </a:lnTo>
                  <a:lnTo>
                    <a:pt x="296" y="4"/>
                  </a:lnTo>
                  <a:lnTo>
                    <a:pt x="301" y="8"/>
                  </a:lnTo>
                  <a:lnTo>
                    <a:pt x="305" y="16"/>
                  </a:lnTo>
                  <a:lnTo>
                    <a:pt x="308" y="18"/>
                  </a:lnTo>
                  <a:lnTo>
                    <a:pt x="310" y="21"/>
                  </a:lnTo>
                  <a:lnTo>
                    <a:pt x="313" y="24"/>
                  </a:lnTo>
                  <a:lnTo>
                    <a:pt x="318" y="27"/>
                  </a:lnTo>
                  <a:lnTo>
                    <a:pt x="319" y="28"/>
                  </a:lnTo>
                  <a:lnTo>
                    <a:pt x="322" y="30"/>
                  </a:lnTo>
                  <a:lnTo>
                    <a:pt x="322" y="31"/>
                  </a:lnTo>
                  <a:close/>
                  <a:moveTo>
                    <a:pt x="278" y="4"/>
                  </a:moveTo>
                  <a:lnTo>
                    <a:pt x="278" y="6"/>
                  </a:lnTo>
                  <a:lnTo>
                    <a:pt x="276" y="3"/>
                  </a:lnTo>
                  <a:lnTo>
                    <a:pt x="276" y="0"/>
                  </a:lnTo>
                  <a:lnTo>
                    <a:pt x="278" y="0"/>
                  </a:lnTo>
                  <a:lnTo>
                    <a:pt x="278" y="1"/>
                  </a:lnTo>
                  <a:lnTo>
                    <a:pt x="278" y="1"/>
                  </a:lnTo>
                  <a:lnTo>
                    <a:pt x="278" y="4"/>
                  </a:lnTo>
                  <a:close/>
                  <a:moveTo>
                    <a:pt x="282" y="8"/>
                  </a:moveTo>
                  <a:lnTo>
                    <a:pt x="281" y="8"/>
                  </a:lnTo>
                  <a:lnTo>
                    <a:pt x="279" y="7"/>
                  </a:lnTo>
                  <a:lnTo>
                    <a:pt x="279" y="7"/>
                  </a:lnTo>
                  <a:lnTo>
                    <a:pt x="281" y="6"/>
                  </a:lnTo>
                  <a:lnTo>
                    <a:pt x="281" y="6"/>
                  </a:lnTo>
                  <a:lnTo>
                    <a:pt x="282" y="7"/>
                  </a:lnTo>
                  <a:lnTo>
                    <a:pt x="282" y="7"/>
                  </a:lnTo>
                  <a:lnTo>
                    <a:pt x="282" y="8"/>
                  </a:lnTo>
                  <a:close/>
                  <a:moveTo>
                    <a:pt x="253" y="75"/>
                  </a:moveTo>
                  <a:lnTo>
                    <a:pt x="252" y="75"/>
                  </a:lnTo>
                  <a:lnTo>
                    <a:pt x="252" y="75"/>
                  </a:lnTo>
                  <a:lnTo>
                    <a:pt x="252" y="74"/>
                  </a:lnTo>
                  <a:lnTo>
                    <a:pt x="252" y="73"/>
                  </a:lnTo>
                  <a:lnTo>
                    <a:pt x="253" y="73"/>
                  </a:lnTo>
                  <a:lnTo>
                    <a:pt x="253" y="73"/>
                  </a:lnTo>
                  <a:lnTo>
                    <a:pt x="253" y="75"/>
                  </a:lnTo>
                  <a:lnTo>
                    <a:pt x="253" y="75"/>
                  </a:lnTo>
                  <a:close/>
                  <a:moveTo>
                    <a:pt x="281" y="91"/>
                  </a:moveTo>
                  <a:lnTo>
                    <a:pt x="282" y="91"/>
                  </a:lnTo>
                  <a:lnTo>
                    <a:pt x="285" y="90"/>
                  </a:lnTo>
                  <a:lnTo>
                    <a:pt x="283" y="93"/>
                  </a:lnTo>
                  <a:lnTo>
                    <a:pt x="283" y="97"/>
                  </a:lnTo>
                  <a:lnTo>
                    <a:pt x="283" y="101"/>
                  </a:lnTo>
                  <a:lnTo>
                    <a:pt x="283" y="104"/>
                  </a:lnTo>
                  <a:lnTo>
                    <a:pt x="285" y="107"/>
                  </a:lnTo>
                  <a:lnTo>
                    <a:pt x="286" y="108"/>
                  </a:lnTo>
                  <a:lnTo>
                    <a:pt x="288" y="110"/>
                  </a:lnTo>
                  <a:lnTo>
                    <a:pt x="291" y="113"/>
                  </a:lnTo>
                  <a:lnTo>
                    <a:pt x="292" y="118"/>
                  </a:lnTo>
                  <a:lnTo>
                    <a:pt x="292" y="120"/>
                  </a:lnTo>
                  <a:lnTo>
                    <a:pt x="293" y="123"/>
                  </a:lnTo>
                  <a:lnTo>
                    <a:pt x="293" y="124"/>
                  </a:lnTo>
                  <a:lnTo>
                    <a:pt x="293" y="125"/>
                  </a:lnTo>
                  <a:lnTo>
                    <a:pt x="293" y="127"/>
                  </a:lnTo>
                  <a:lnTo>
                    <a:pt x="293" y="127"/>
                  </a:lnTo>
                  <a:lnTo>
                    <a:pt x="293" y="131"/>
                  </a:lnTo>
                  <a:lnTo>
                    <a:pt x="292" y="135"/>
                  </a:lnTo>
                  <a:lnTo>
                    <a:pt x="292" y="138"/>
                  </a:lnTo>
                  <a:lnTo>
                    <a:pt x="291" y="138"/>
                  </a:lnTo>
                  <a:lnTo>
                    <a:pt x="291" y="140"/>
                  </a:lnTo>
                  <a:lnTo>
                    <a:pt x="289" y="140"/>
                  </a:lnTo>
                  <a:lnTo>
                    <a:pt x="289" y="140"/>
                  </a:lnTo>
                  <a:lnTo>
                    <a:pt x="288" y="140"/>
                  </a:lnTo>
                  <a:lnTo>
                    <a:pt x="288" y="141"/>
                  </a:lnTo>
                  <a:lnTo>
                    <a:pt x="288" y="141"/>
                  </a:lnTo>
                  <a:lnTo>
                    <a:pt x="288" y="143"/>
                  </a:lnTo>
                  <a:lnTo>
                    <a:pt x="286" y="144"/>
                  </a:lnTo>
                  <a:lnTo>
                    <a:pt x="286" y="145"/>
                  </a:lnTo>
                  <a:lnTo>
                    <a:pt x="285" y="148"/>
                  </a:lnTo>
                  <a:lnTo>
                    <a:pt x="285" y="150"/>
                  </a:lnTo>
                  <a:lnTo>
                    <a:pt x="285" y="153"/>
                  </a:lnTo>
                  <a:lnTo>
                    <a:pt x="283" y="153"/>
                  </a:lnTo>
                  <a:lnTo>
                    <a:pt x="282" y="153"/>
                  </a:lnTo>
                  <a:lnTo>
                    <a:pt x="279" y="154"/>
                  </a:lnTo>
                  <a:lnTo>
                    <a:pt x="279" y="154"/>
                  </a:lnTo>
                  <a:lnTo>
                    <a:pt x="276" y="157"/>
                  </a:lnTo>
                  <a:lnTo>
                    <a:pt x="276" y="160"/>
                  </a:lnTo>
                  <a:lnTo>
                    <a:pt x="276" y="161"/>
                  </a:lnTo>
                  <a:lnTo>
                    <a:pt x="276" y="164"/>
                  </a:lnTo>
                  <a:lnTo>
                    <a:pt x="278" y="167"/>
                  </a:lnTo>
                  <a:lnTo>
                    <a:pt x="278" y="171"/>
                  </a:lnTo>
                  <a:lnTo>
                    <a:pt x="278" y="178"/>
                  </a:lnTo>
                  <a:lnTo>
                    <a:pt x="276" y="181"/>
                  </a:lnTo>
                  <a:lnTo>
                    <a:pt x="275" y="183"/>
                  </a:lnTo>
                  <a:lnTo>
                    <a:pt x="275" y="183"/>
                  </a:lnTo>
                  <a:lnTo>
                    <a:pt x="273" y="184"/>
                  </a:lnTo>
                  <a:lnTo>
                    <a:pt x="273" y="185"/>
                  </a:lnTo>
                  <a:lnTo>
                    <a:pt x="271" y="191"/>
                  </a:lnTo>
                  <a:lnTo>
                    <a:pt x="271" y="191"/>
                  </a:lnTo>
                  <a:lnTo>
                    <a:pt x="271" y="193"/>
                  </a:lnTo>
                  <a:lnTo>
                    <a:pt x="271" y="194"/>
                  </a:lnTo>
                  <a:lnTo>
                    <a:pt x="271" y="195"/>
                  </a:lnTo>
                  <a:lnTo>
                    <a:pt x="271" y="198"/>
                  </a:lnTo>
                  <a:lnTo>
                    <a:pt x="271" y="200"/>
                  </a:lnTo>
                  <a:lnTo>
                    <a:pt x="273" y="204"/>
                  </a:lnTo>
                  <a:lnTo>
                    <a:pt x="275" y="205"/>
                  </a:lnTo>
                  <a:lnTo>
                    <a:pt x="275" y="205"/>
                  </a:lnTo>
                  <a:lnTo>
                    <a:pt x="272" y="207"/>
                  </a:lnTo>
                  <a:lnTo>
                    <a:pt x="271" y="208"/>
                  </a:lnTo>
                  <a:lnTo>
                    <a:pt x="269" y="210"/>
                  </a:lnTo>
                  <a:lnTo>
                    <a:pt x="268" y="213"/>
                  </a:lnTo>
                  <a:lnTo>
                    <a:pt x="268" y="215"/>
                  </a:lnTo>
                  <a:lnTo>
                    <a:pt x="268" y="215"/>
                  </a:lnTo>
                  <a:lnTo>
                    <a:pt x="266" y="217"/>
                  </a:lnTo>
                  <a:lnTo>
                    <a:pt x="266" y="217"/>
                  </a:lnTo>
                  <a:lnTo>
                    <a:pt x="263" y="218"/>
                  </a:lnTo>
                  <a:lnTo>
                    <a:pt x="262" y="220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59" y="221"/>
                  </a:lnTo>
                  <a:lnTo>
                    <a:pt x="258" y="221"/>
                  </a:lnTo>
                  <a:lnTo>
                    <a:pt x="259" y="220"/>
                  </a:lnTo>
                  <a:lnTo>
                    <a:pt x="259" y="218"/>
                  </a:lnTo>
                  <a:lnTo>
                    <a:pt x="259" y="215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61" y="211"/>
                  </a:lnTo>
                  <a:lnTo>
                    <a:pt x="262" y="211"/>
                  </a:lnTo>
                  <a:lnTo>
                    <a:pt x="262" y="210"/>
                  </a:lnTo>
                  <a:lnTo>
                    <a:pt x="263" y="208"/>
                  </a:lnTo>
                  <a:lnTo>
                    <a:pt x="262" y="208"/>
                  </a:lnTo>
                  <a:lnTo>
                    <a:pt x="261" y="207"/>
                  </a:lnTo>
                  <a:lnTo>
                    <a:pt x="259" y="207"/>
                  </a:lnTo>
                  <a:lnTo>
                    <a:pt x="259" y="207"/>
                  </a:lnTo>
                  <a:lnTo>
                    <a:pt x="258" y="208"/>
                  </a:lnTo>
                  <a:lnTo>
                    <a:pt x="258" y="210"/>
                  </a:lnTo>
                  <a:lnTo>
                    <a:pt x="258" y="210"/>
                  </a:lnTo>
                  <a:lnTo>
                    <a:pt x="258" y="210"/>
                  </a:lnTo>
                  <a:lnTo>
                    <a:pt x="256" y="213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8" y="215"/>
                  </a:lnTo>
                  <a:lnTo>
                    <a:pt x="256" y="215"/>
                  </a:lnTo>
                  <a:lnTo>
                    <a:pt x="256" y="217"/>
                  </a:lnTo>
                  <a:lnTo>
                    <a:pt x="255" y="217"/>
                  </a:lnTo>
                  <a:lnTo>
                    <a:pt x="255" y="215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49" y="214"/>
                  </a:lnTo>
                  <a:lnTo>
                    <a:pt x="248" y="215"/>
                  </a:lnTo>
                  <a:lnTo>
                    <a:pt x="248" y="217"/>
                  </a:lnTo>
                  <a:lnTo>
                    <a:pt x="248" y="218"/>
                  </a:lnTo>
                  <a:lnTo>
                    <a:pt x="248" y="221"/>
                  </a:lnTo>
                  <a:lnTo>
                    <a:pt x="246" y="223"/>
                  </a:lnTo>
                  <a:lnTo>
                    <a:pt x="245" y="225"/>
                  </a:lnTo>
                  <a:lnTo>
                    <a:pt x="245" y="225"/>
                  </a:lnTo>
                  <a:lnTo>
                    <a:pt x="243" y="227"/>
                  </a:lnTo>
                  <a:lnTo>
                    <a:pt x="242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3"/>
                  </a:lnTo>
                  <a:lnTo>
                    <a:pt x="242" y="221"/>
                  </a:lnTo>
                  <a:lnTo>
                    <a:pt x="243" y="220"/>
                  </a:lnTo>
                  <a:lnTo>
                    <a:pt x="242" y="218"/>
                  </a:lnTo>
                  <a:lnTo>
                    <a:pt x="241" y="218"/>
                  </a:lnTo>
                  <a:lnTo>
                    <a:pt x="238" y="218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6" y="221"/>
                  </a:lnTo>
                  <a:lnTo>
                    <a:pt x="235" y="223"/>
                  </a:lnTo>
                  <a:lnTo>
                    <a:pt x="233" y="225"/>
                  </a:lnTo>
                  <a:lnTo>
                    <a:pt x="232" y="228"/>
                  </a:lnTo>
                  <a:lnTo>
                    <a:pt x="229" y="227"/>
                  </a:lnTo>
                  <a:lnTo>
                    <a:pt x="226" y="227"/>
                  </a:lnTo>
                  <a:lnTo>
                    <a:pt x="225" y="227"/>
                  </a:lnTo>
                  <a:lnTo>
                    <a:pt x="222" y="227"/>
                  </a:lnTo>
                  <a:lnTo>
                    <a:pt x="218" y="227"/>
                  </a:lnTo>
                  <a:lnTo>
                    <a:pt x="213" y="228"/>
                  </a:lnTo>
                  <a:lnTo>
                    <a:pt x="215" y="227"/>
                  </a:lnTo>
                  <a:lnTo>
                    <a:pt x="218" y="225"/>
                  </a:lnTo>
                  <a:lnTo>
                    <a:pt x="218" y="225"/>
                  </a:lnTo>
                  <a:lnTo>
                    <a:pt x="218" y="224"/>
                  </a:lnTo>
                  <a:lnTo>
                    <a:pt x="216" y="224"/>
                  </a:lnTo>
                  <a:lnTo>
                    <a:pt x="215" y="225"/>
                  </a:lnTo>
                  <a:lnTo>
                    <a:pt x="213" y="224"/>
                  </a:lnTo>
                  <a:lnTo>
                    <a:pt x="213" y="224"/>
                  </a:lnTo>
                  <a:lnTo>
                    <a:pt x="212" y="223"/>
                  </a:lnTo>
                  <a:lnTo>
                    <a:pt x="212" y="224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211" y="225"/>
                  </a:lnTo>
                  <a:lnTo>
                    <a:pt x="211" y="224"/>
                  </a:lnTo>
                  <a:lnTo>
                    <a:pt x="211" y="221"/>
                  </a:lnTo>
                  <a:lnTo>
                    <a:pt x="211" y="221"/>
                  </a:lnTo>
                  <a:lnTo>
                    <a:pt x="212" y="220"/>
                  </a:lnTo>
                  <a:lnTo>
                    <a:pt x="211" y="218"/>
                  </a:lnTo>
                  <a:lnTo>
                    <a:pt x="211" y="220"/>
                  </a:lnTo>
                  <a:lnTo>
                    <a:pt x="209" y="220"/>
                  </a:lnTo>
                  <a:lnTo>
                    <a:pt x="208" y="220"/>
                  </a:lnTo>
                  <a:lnTo>
                    <a:pt x="206" y="224"/>
                  </a:lnTo>
                  <a:lnTo>
                    <a:pt x="206" y="227"/>
                  </a:lnTo>
                  <a:lnTo>
                    <a:pt x="206" y="228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1" y="233"/>
                  </a:lnTo>
                  <a:lnTo>
                    <a:pt x="211" y="233"/>
                  </a:lnTo>
                  <a:lnTo>
                    <a:pt x="209" y="234"/>
                  </a:lnTo>
                  <a:lnTo>
                    <a:pt x="206" y="234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198" y="244"/>
                  </a:lnTo>
                  <a:lnTo>
                    <a:pt x="196" y="248"/>
                  </a:lnTo>
                  <a:lnTo>
                    <a:pt x="192" y="250"/>
                  </a:lnTo>
                  <a:lnTo>
                    <a:pt x="188" y="248"/>
                  </a:lnTo>
                  <a:lnTo>
                    <a:pt x="188" y="247"/>
                  </a:lnTo>
                  <a:lnTo>
                    <a:pt x="186" y="245"/>
                  </a:lnTo>
                  <a:lnTo>
                    <a:pt x="185" y="243"/>
                  </a:lnTo>
                  <a:lnTo>
                    <a:pt x="184" y="241"/>
                  </a:lnTo>
                  <a:lnTo>
                    <a:pt x="184" y="240"/>
                  </a:lnTo>
                  <a:lnTo>
                    <a:pt x="184" y="235"/>
                  </a:lnTo>
                  <a:lnTo>
                    <a:pt x="182" y="234"/>
                  </a:lnTo>
                  <a:lnTo>
                    <a:pt x="184" y="234"/>
                  </a:lnTo>
                  <a:lnTo>
                    <a:pt x="185" y="233"/>
                  </a:lnTo>
                  <a:lnTo>
                    <a:pt x="186" y="231"/>
                  </a:lnTo>
                  <a:lnTo>
                    <a:pt x="188" y="230"/>
                  </a:lnTo>
                  <a:lnTo>
                    <a:pt x="188" y="228"/>
                  </a:lnTo>
                  <a:lnTo>
                    <a:pt x="188" y="227"/>
                  </a:lnTo>
                  <a:lnTo>
                    <a:pt x="186" y="227"/>
                  </a:lnTo>
                  <a:lnTo>
                    <a:pt x="185" y="227"/>
                  </a:lnTo>
                  <a:lnTo>
                    <a:pt x="182" y="227"/>
                  </a:lnTo>
                  <a:lnTo>
                    <a:pt x="181" y="227"/>
                  </a:lnTo>
                  <a:lnTo>
                    <a:pt x="178" y="225"/>
                  </a:lnTo>
                  <a:lnTo>
                    <a:pt x="176" y="224"/>
                  </a:lnTo>
                  <a:lnTo>
                    <a:pt x="175" y="224"/>
                  </a:lnTo>
                  <a:lnTo>
                    <a:pt x="172" y="225"/>
                  </a:lnTo>
                  <a:lnTo>
                    <a:pt x="171" y="225"/>
                  </a:lnTo>
                  <a:lnTo>
                    <a:pt x="169" y="225"/>
                  </a:lnTo>
                  <a:lnTo>
                    <a:pt x="168" y="225"/>
                  </a:lnTo>
                  <a:lnTo>
                    <a:pt x="166" y="228"/>
                  </a:lnTo>
                  <a:lnTo>
                    <a:pt x="165" y="230"/>
                  </a:lnTo>
                  <a:lnTo>
                    <a:pt x="164" y="230"/>
                  </a:lnTo>
                  <a:lnTo>
                    <a:pt x="159" y="230"/>
                  </a:lnTo>
                  <a:lnTo>
                    <a:pt x="158" y="230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5" y="233"/>
                  </a:lnTo>
                  <a:lnTo>
                    <a:pt x="152" y="233"/>
                  </a:lnTo>
                  <a:lnTo>
                    <a:pt x="151" y="234"/>
                  </a:lnTo>
                  <a:lnTo>
                    <a:pt x="149" y="233"/>
                  </a:lnTo>
                  <a:lnTo>
                    <a:pt x="145" y="234"/>
                  </a:lnTo>
                  <a:lnTo>
                    <a:pt x="144" y="234"/>
                  </a:lnTo>
                  <a:lnTo>
                    <a:pt x="142" y="234"/>
                  </a:lnTo>
                  <a:lnTo>
                    <a:pt x="139" y="233"/>
                  </a:lnTo>
                  <a:lnTo>
                    <a:pt x="138" y="233"/>
                  </a:lnTo>
                  <a:lnTo>
                    <a:pt x="136" y="235"/>
                  </a:lnTo>
                  <a:lnTo>
                    <a:pt x="136" y="238"/>
                  </a:lnTo>
                  <a:lnTo>
                    <a:pt x="135" y="241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29" y="238"/>
                  </a:lnTo>
                  <a:lnTo>
                    <a:pt x="129" y="238"/>
                  </a:lnTo>
                  <a:lnTo>
                    <a:pt x="125" y="238"/>
                  </a:lnTo>
                  <a:lnTo>
                    <a:pt x="124" y="240"/>
                  </a:lnTo>
                  <a:lnTo>
                    <a:pt x="122" y="240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8" y="238"/>
                  </a:lnTo>
                  <a:lnTo>
                    <a:pt x="117" y="240"/>
                  </a:lnTo>
                  <a:lnTo>
                    <a:pt x="117" y="240"/>
                  </a:lnTo>
                  <a:lnTo>
                    <a:pt x="115" y="234"/>
                  </a:lnTo>
                  <a:lnTo>
                    <a:pt x="115" y="234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2" y="231"/>
                  </a:lnTo>
                  <a:lnTo>
                    <a:pt x="124" y="230"/>
                  </a:lnTo>
                  <a:lnTo>
                    <a:pt x="125" y="228"/>
                  </a:lnTo>
                  <a:lnTo>
                    <a:pt x="126" y="227"/>
                  </a:lnTo>
                  <a:lnTo>
                    <a:pt x="129" y="227"/>
                  </a:lnTo>
                  <a:lnTo>
                    <a:pt x="131" y="225"/>
                  </a:lnTo>
                  <a:lnTo>
                    <a:pt x="132" y="224"/>
                  </a:lnTo>
                  <a:lnTo>
                    <a:pt x="134" y="223"/>
                  </a:lnTo>
                  <a:lnTo>
                    <a:pt x="135" y="221"/>
                  </a:lnTo>
                  <a:lnTo>
                    <a:pt x="138" y="220"/>
                  </a:lnTo>
                  <a:lnTo>
                    <a:pt x="139" y="217"/>
                  </a:lnTo>
                  <a:lnTo>
                    <a:pt x="144" y="214"/>
                  </a:lnTo>
                  <a:lnTo>
                    <a:pt x="144" y="211"/>
                  </a:lnTo>
                  <a:lnTo>
                    <a:pt x="145" y="211"/>
                  </a:lnTo>
                  <a:lnTo>
                    <a:pt x="148" y="210"/>
                  </a:lnTo>
                  <a:lnTo>
                    <a:pt x="152" y="210"/>
                  </a:lnTo>
                  <a:lnTo>
                    <a:pt x="154" y="210"/>
                  </a:lnTo>
                  <a:lnTo>
                    <a:pt x="155" y="211"/>
                  </a:lnTo>
                  <a:lnTo>
                    <a:pt x="156" y="211"/>
                  </a:lnTo>
                  <a:lnTo>
                    <a:pt x="156" y="210"/>
                  </a:lnTo>
                  <a:lnTo>
                    <a:pt x="159" y="210"/>
                  </a:lnTo>
                  <a:lnTo>
                    <a:pt x="161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9" y="210"/>
                  </a:lnTo>
                  <a:lnTo>
                    <a:pt x="171" y="208"/>
                  </a:lnTo>
                  <a:lnTo>
                    <a:pt x="172" y="208"/>
                  </a:lnTo>
                  <a:lnTo>
                    <a:pt x="179" y="207"/>
                  </a:lnTo>
                  <a:lnTo>
                    <a:pt x="184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7"/>
                  </a:lnTo>
                  <a:lnTo>
                    <a:pt x="185" y="208"/>
                  </a:lnTo>
                  <a:lnTo>
                    <a:pt x="185" y="210"/>
                  </a:lnTo>
                  <a:lnTo>
                    <a:pt x="186" y="210"/>
                  </a:lnTo>
                  <a:lnTo>
                    <a:pt x="191" y="210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5" y="208"/>
                  </a:lnTo>
                  <a:lnTo>
                    <a:pt x="198" y="207"/>
                  </a:lnTo>
                  <a:lnTo>
                    <a:pt x="199" y="205"/>
                  </a:lnTo>
                  <a:lnTo>
                    <a:pt x="198" y="203"/>
                  </a:lnTo>
                  <a:lnTo>
                    <a:pt x="198" y="201"/>
                  </a:lnTo>
                  <a:lnTo>
                    <a:pt x="198" y="198"/>
                  </a:lnTo>
                  <a:lnTo>
                    <a:pt x="199" y="195"/>
                  </a:lnTo>
                  <a:lnTo>
                    <a:pt x="202" y="194"/>
                  </a:lnTo>
                  <a:lnTo>
                    <a:pt x="204" y="193"/>
                  </a:lnTo>
                  <a:lnTo>
                    <a:pt x="206" y="190"/>
                  </a:lnTo>
                  <a:lnTo>
                    <a:pt x="208" y="185"/>
                  </a:lnTo>
                  <a:lnTo>
                    <a:pt x="209" y="181"/>
                  </a:lnTo>
                  <a:lnTo>
                    <a:pt x="209" y="177"/>
                  </a:lnTo>
                  <a:lnTo>
                    <a:pt x="211" y="173"/>
                  </a:lnTo>
                  <a:lnTo>
                    <a:pt x="212" y="173"/>
                  </a:lnTo>
                  <a:lnTo>
                    <a:pt x="216" y="171"/>
                  </a:lnTo>
                  <a:lnTo>
                    <a:pt x="218" y="170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6" y="175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2" y="177"/>
                  </a:lnTo>
                  <a:lnTo>
                    <a:pt x="212" y="178"/>
                  </a:lnTo>
                  <a:lnTo>
                    <a:pt x="213" y="180"/>
                  </a:lnTo>
                  <a:lnTo>
                    <a:pt x="213" y="181"/>
                  </a:lnTo>
                  <a:lnTo>
                    <a:pt x="213" y="183"/>
                  </a:lnTo>
                  <a:lnTo>
                    <a:pt x="213" y="184"/>
                  </a:lnTo>
                  <a:lnTo>
                    <a:pt x="215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21" y="183"/>
                  </a:lnTo>
                  <a:lnTo>
                    <a:pt x="222" y="181"/>
                  </a:lnTo>
                  <a:lnTo>
                    <a:pt x="228" y="180"/>
                  </a:lnTo>
                  <a:lnTo>
                    <a:pt x="231" y="177"/>
                  </a:lnTo>
                  <a:lnTo>
                    <a:pt x="232" y="177"/>
                  </a:lnTo>
                  <a:lnTo>
                    <a:pt x="235" y="177"/>
                  </a:lnTo>
                  <a:lnTo>
                    <a:pt x="238" y="173"/>
                  </a:lnTo>
                  <a:lnTo>
                    <a:pt x="239" y="171"/>
                  </a:lnTo>
                  <a:lnTo>
                    <a:pt x="241" y="170"/>
                  </a:lnTo>
                  <a:lnTo>
                    <a:pt x="242" y="167"/>
                  </a:lnTo>
                  <a:lnTo>
                    <a:pt x="242" y="165"/>
                  </a:lnTo>
                  <a:lnTo>
                    <a:pt x="243" y="164"/>
                  </a:lnTo>
                  <a:lnTo>
                    <a:pt x="249" y="160"/>
                  </a:lnTo>
                  <a:lnTo>
                    <a:pt x="251" y="158"/>
                  </a:lnTo>
                  <a:lnTo>
                    <a:pt x="252" y="157"/>
                  </a:lnTo>
                  <a:lnTo>
                    <a:pt x="252" y="155"/>
                  </a:lnTo>
                  <a:lnTo>
                    <a:pt x="253" y="153"/>
                  </a:lnTo>
                  <a:lnTo>
                    <a:pt x="253" y="150"/>
                  </a:lnTo>
                  <a:lnTo>
                    <a:pt x="255" y="148"/>
                  </a:lnTo>
                  <a:lnTo>
                    <a:pt x="256" y="147"/>
                  </a:lnTo>
                  <a:lnTo>
                    <a:pt x="258" y="144"/>
                  </a:lnTo>
                  <a:lnTo>
                    <a:pt x="258" y="143"/>
                  </a:lnTo>
                  <a:lnTo>
                    <a:pt x="259" y="138"/>
                  </a:lnTo>
                  <a:lnTo>
                    <a:pt x="261" y="135"/>
                  </a:lnTo>
                  <a:lnTo>
                    <a:pt x="261" y="134"/>
                  </a:lnTo>
                  <a:lnTo>
                    <a:pt x="261" y="134"/>
                  </a:lnTo>
                  <a:lnTo>
                    <a:pt x="262" y="133"/>
                  </a:lnTo>
                  <a:lnTo>
                    <a:pt x="262" y="131"/>
                  </a:lnTo>
                  <a:lnTo>
                    <a:pt x="262" y="131"/>
                  </a:lnTo>
                  <a:lnTo>
                    <a:pt x="262" y="127"/>
                  </a:lnTo>
                  <a:lnTo>
                    <a:pt x="262" y="124"/>
                  </a:lnTo>
                  <a:lnTo>
                    <a:pt x="261" y="123"/>
                  </a:lnTo>
                  <a:lnTo>
                    <a:pt x="261" y="121"/>
                  </a:lnTo>
                  <a:lnTo>
                    <a:pt x="259" y="121"/>
                  </a:lnTo>
                  <a:lnTo>
                    <a:pt x="258" y="121"/>
                  </a:lnTo>
                  <a:lnTo>
                    <a:pt x="258" y="121"/>
                  </a:lnTo>
                  <a:lnTo>
                    <a:pt x="258" y="120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9" y="118"/>
                  </a:lnTo>
                  <a:lnTo>
                    <a:pt x="261" y="117"/>
                  </a:lnTo>
                  <a:lnTo>
                    <a:pt x="262" y="114"/>
                  </a:lnTo>
                  <a:lnTo>
                    <a:pt x="262" y="113"/>
                  </a:lnTo>
                  <a:lnTo>
                    <a:pt x="261" y="111"/>
                  </a:lnTo>
                  <a:lnTo>
                    <a:pt x="261" y="108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2" y="104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3"/>
                  </a:lnTo>
                  <a:lnTo>
                    <a:pt x="265" y="103"/>
                  </a:lnTo>
                  <a:lnTo>
                    <a:pt x="266" y="101"/>
                  </a:lnTo>
                  <a:lnTo>
                    <a:pt x="266" y="100"/>
                  </a:lnTo>
                  <a:lnTo>
                    <a:pt x="266" y="98"/>
                  </a:lnTo>
                  <a:lnTo>
                    <a:pt x="266" y="95"/>
                  </a:lnTo>
                  <a:lnTo>
                    <a:pt x="266" y="94"/>
                  </a:lnTo>
                  <a:lnTo>
                    <a:pt x="268" y="94"/>
                  </a:lnTo>
                  <a:lnTo>
                    <a:pt x="268" y="94"/>
                  </a:lnTo>
                  <a:lnTo>
                    <a:pt x="269" y="94"/>
                  </a:lnTo>
                  <a:lnTo>
                    <a:pt x="271" y="94"/>
                  </a:lnTo>
                  <a:lnTo>
                    <a:pt x="272" y="94"/>
                  </a:lnTo>
                  <a:lnTo>
                    <a:pt x="272" y="95"/>
                  </a:lnTo>
                  <a:lnTo>
                    <a:pt x="272" y="101"/>
                  </a:lnTo>
                  <a:lnTo>
                    <a:pt x="272" y="101"/>
                  </a:lnTo>
                  <a:lnTo>
                    <a:pt x="273" y="103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5" y="100"/>
                  </a:lnTo>
                  <a:lnTo>
                    <a:pt x="276" y="100"/>
                  </a:lnTo>
                  <a:lnTo>
                    <a:pt x="279" y="101"/>
                  </a:lnTo>
                  <a:lnTo>
                    <a:pt x="281" y="100"/>
                  </a:lnTo>
                  <a:lnTo>
                    <a:pt x="281" y="98"/>
                  </a:lnTo>
                  <a:lnTo>
                    <a:pt x="282" y="95"/>
                  </a:lnTo>
                  <a:lnTo>
                    <a:pt x="281" y="94"/>
                  </a:lnTo>
                  <a:lnTo>
                    <a:pt x="281" y="93"/>
                  </a:lnTo>
                  <a:lnTo>
                    <a:pt x="279" y="93"/>
                  </a:lnTo>
                  <a:lnTo>
                    <a:pt x="279" y="94"/>
                  </a:lnTo>
                  <a:lnTo>
                    <a:pt x="279" y="94"/>
                  </a:lnTo>
                  <a:lnTo>
                    <a:pt x="273" y="95"/>
                  </a:lnTo>
                  <a:lnTo>
                    <a:pt x="275" y="93"/>
                  </a:lnTo>
                  <a:lnTo>
                    <a:pt x="275" y="90"/>
                  </a:lnTo>
                  <a:lnTo>
                    <a:pt x="276" y="88"/>
                  </a:lnTo>
                  <a:lnTo>
                    <a:pt x="276" y="87"/>
                  </a:lnTo>
                  <a:lnTo>
                    <a:pt x="278" y="88"/>
                  </a:lnTo>
                  <a:lnTo>
                    <a:pt x="279" y="88"/>
                  </a:lnTo>
                  <a:lnTo>
                    <a:pt x="281" y="91"/>
                  </a:lnTo>
                  <a:close/>
                  <a:moveTo>
                    <a:pt x="235" y="164"/>
                  </a:moveTo>
                  <a:lnTo>
                    <a:pt x="233" y="164"/>
                  </a:lnTo>
                  <a:lnTo>
                    <a:pt x="233" y="164"/>
                  </a:lnTo>
                  <a:lnTo>
                    <a:pt x="233" y="164"/>
                  </a:lnTo>
                  <a:lnTo>
                    <a:pt x="233" y="163"/>
                  </a:lnTo>
                  <a:lnTo>
                    <a:pt x="235" y="161"/>
                  </a:lnTo>
                  <a:lnTo>
                    <a:pt x="235" y="161"/>
                  </a:lnTo>
                  <a:lnTo>
                    <a:pt x="233" y="161"/>
                  </a:lnTo>
                  <a:lnTo>
                    <a:pt x="233" y="158"/>
                  </a:lnTo>
                  <a:lnTo>
                    <a:pt x="233" y="157"/>
                  </a:lnTo>
                  <a:lnTo>
                    <a:pt x="236" y="154"/>
                  </a:lnTo>
                  <a:lnTo>
                    <a:pt x="238" y="154"/>
                  </a:lnTo>
                  <a:lnTo>
                    <a:pt x="238" y="155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8" y="160"/>
                  </a:lnTo>
                  <a:lnTo>
                    <a:pt x="238" y="163"/>
                  </a:lnTo>
                  <a:lnTo>
                    <a:pt x="235" y="164"/>
                  </a:lnTo>
                  <a:close/>
                  <a:moveTo>
                    <a:pt x="155" y="197"/>
                  </a:moveTo>
                  <a:lnTo>
                    <a:pt x="154" y="197"/>
                  </a:lnTo>
                  <a:lnTo>
                    <a:pt x="154" y="197"/>
                  </a:lnTo>
                  <a:lnTo>
                    <a:pt x="152" y="195"/>
                  </a:lnTo>
                  <a:lnTo>
                    <a:pt x="152" y="194"/>
                  </a:lnTo>
                  <a:lnTo>
                    <a:pt x="154" y="194"/>
                  </a:lnTo>
                  <a:lnTo>
                    <a:pt x="155" y="195"/>
                  </a:lnTo>
                  <a:lnTo>
                    <a:pt x="155" y="197"/>
                  </a:lnTo>
                  <a:close/>
                  <a:moveTo>
                    <a:pt x="252" y="225"/>
                  </a:moveTo>
                  <a:lnTo>
                    <a:pt x="252" y="227"/>
                  </a:lnTo>
                  <a:lnTo>
                    <a:pt x="252" y="225"/>
                  </a:lnTo>
                  <a:lnTo>
                    <a:pt x="251" y="225"/>
                  </a:lnTo>
                  <a:lnTo>
                    <a:pt x="251" y="224"/>
                  </a:lnTo>
                  <a:lnTo>
                    <a:pt x="252" y="224"/>
                  </a:lnTo>
                  <a:lnTo>
                    <a:pt x="252" y="225"/>
                  </a:lnTo>
                  <a:close/>
                  <a:moveTo>
                    <a:pt x="91" y="233"/>
                  </a:moveTo>
                  <a:lnTo>
                    <a:pt x="91" y="234"/>
                  </a:lnTo>
                  <a:lnTo>
                    <a:pt x="89" y="233"/>
                  </a:lnTo>
                  <a:lnTo>
                    <a:pt x="89" y="233"/>
                  </a:lnTo>
                  <a:lnTo>
                    <a:pt x="91" y="230"/>
                  </a:lnTo>
                  <a:lnTo>
                    <a:pt x="91" y="228"/>
                  </a:lnTo>
                  <a:lnTo>
                    <a:pt x="91" y="228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8"/>
                  </a:lnTo>
                  <a:lnTo>
                    <a:pt x="91" y="231"/>
                  </a:lnTo>
                  <a:lnTo>
                    <a:pt x="91" y="233"/>
                  </a:lnTo>
                  <a:close/>
                  <a:moveTo>
                    <a:pt x="181" y="234"/>
                  </a:moveTo>
                  <a:lnTo>
                    <a:pt x="178" y="235"/>
                  </a:lnTo>
                  <a:lnTo>
                    <a:pt x="176" y="235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8" y="233"/>
                  </a:lnTo>
                  <a:lnTo>
                    <a:pt x="178" y="230"/>
                  </a:lnTo>
                  <a:lnTo>
                    <a:pt x="179" y="230"/>
                  </a:lnTo>
                  <a:lnTo>
                    <a:pt x="181" y="228"/>
                  </a:lnTo>
                  <a:lnTo>
                    <a:pt x="181" y="228"/>
                  </a:lnTo>
                  <a:lnTo>
                    <a:pt x="179" y="231"/>
                  </a:lnTo>
                  <a:lnTo>
                    <a:pt x="181" y="234"/>
                  </a:lnTo>
                  <a:close/>
                  <a:moveTo>
                    <a:pt x="171" y="230"/>
                  </a:moveTo>
                  <a:lnTo>
                    <a:pt x="171" y="231"/>
                  </a:lnTo>
                  <a:lnTo>
                    <a:pt x="171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8" y="230"/>
                  </a:lnTo>
                  <a:lnTo>
                    <a:pt x="168" y="230"/>
                  </a:lnTo>
                  <a:lnTo>
                    <a:pt x="171" y="230"/>
                  </a:lnTo>
                  <a:lnTo>
                    <a:pt x="171" y="230"/>
                  </a:lnTo>
                  <a:lnTo>
                    <a:pt x="171" y="230"/>
                  </a:lnTo>
                  <a:close/>
                  <a:moveTo>
                    <a:pt x="171" y="234"/>
                  </a:moveTo>
                  <a:lnTo>
                    <a:pt x="174" y="235"/>
                  </a:lnTo>
                  <a:lnTo>
                    <a:pt x="175" y="235"/>
                  </a:lnTo>
                  <a:lnTo>
                    <a:pt x="175" y="238"/>
                  </a:lnTo>
                  <a:lnTo>
                    <a:pt x="175" y="240"/>
                  </a:lnTo>
                  <a:lnTo>
                    <a:pt x="176" y="241"/>
                  </a:lnTo>
                  <a:lnTo>
                    <a:pt x="176" y="243"/>
                  </a:lnTo>
                  <a:lnTo>
                    <a:pt x="176" y="243"/>
                  </a:lnTo>
                  <a:lnTo>
                    <a:pt x="174" y="244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69" y="250"/>
                  </a:lnTo>
                  <a:lnTo>
                    <a:pt x="168" y="253"/>
                  </a:lnTo>
                  <a:lnTo>
                    <a:pt x="168" y="254"/>
                  </a:lnTo>
                  <a:lnTo>
                    <a:pt x="166" y="253"/>
                  </a:lnTo>
                  <a:lnTo>
                    <a:pt x="165" y="250"/>
                  </a:lnTo>
                  <a:lnTo>
                    <a:pt x="162" y="250"/>
                  </a:lnTo>
                  <a:lnTo>
                    <a:pt x="161" y="248"/>
                  </a:lnTo>
                  <a:lnTo>
                    <a:pt x="159" y="248"/>
                  </a:lnTo>
                  <a:lnTo>
                    <a:pt x="154" y="251"/>
                  </a:lnTo>
                  <a:lnTo>
                    <a:pt x="154" y="254"/>
                  </a:lnTo>
                  <a:lnTo>
                    <a:pt x="151" y="257"/>
                  </a:lnTo>
                  <a:lnTo>
                    <a:pt x="151" y="258"/>
                  </a:lnTo>
                  <a:lnTo>
                    <a:pt x="149" y="258"/>
                  </a:lnTo>
                  <a:lnTo>
                    <a:pt x="149" y="258"/>
                  </a:lnTo>
                  <a:lnTo>
                    <a:pt x="149" y="261"/>
                  </a:lnTo>
                  <a:lnTo>
                    <a:pt x="146" y="263"/>
                  </a:lnTo>
                  <a:lnTo>
                    <a:pt x="146" y="264"/>
                  </a:lnTo>
                  <a:lnTo>
                    <a:pt x="144" y="263"/>
                  </a:lnTo>
                  <a:lnTo>
                    <a:pt x="144" y="263"/>
                  </a:lnTo>
                  <a:lnTo>
                    <a:pt x="145" y="261"/>
                  </a:lnTo>
                  <a:lnTo>
                    <a:pt x="142" y="260"/>
                  </a:lnTo>
                  <a:lnTo>
                    <a:pt x="141" y="260"/>
                  </a:lnTo>
                  <a:lnTo>
                    <a:pt x="141" y="258"/>
                  </a:lnTo>
                  <a:lnTo>
                    <a:pt x="139" y="257"/>
                  </a:lnTo>
                  <a:lnTo>
                    <a:pt x="141" y="257"/>
                  </a:lnTo>
                  <a:lnTo>
                    <a:pt x="141" y="255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41" y="253"/>
                  </a:lnTo>
                  <a:lnTo>
                    <a:pt x="141" y="253"/>
                  </a:lnTo>
                  <a:lnTo>
                    <a:pt x="139" y="253"/>
                  </a:lnTo>
                  <a:lnTo>
                    <a:pt x="139" y="250"/>
                  </a:lnTo>
                  <a:lnTo>
                    <a:pt x="139" y="250"/>
                  </a:lnTo>
                  <a:lnTo>
                    <a:pt x="138" y="251"/>
                  </a:lnTo>
                  <a:lnTo>
                    <a:pt x="135" y="253"/>
                  </a:lnTo>
                  <a:lnTo>
                    <a:pt x="134" y="253"/>
                  </a:lnTo>
                  <a:lnTo>
                    <a:pt x="135" y="251"/>
                  </a:lnTo>
                  <a:lnTo>
                    <a:pt x="138" y="250"/>
                  </a:lnTo>
                  <a:lnTo>
                    <a:pt x="139" y="248"/>
                  </a:lnTo>
                  <a:lnTo>
                    <a:pt x="142" y="247"/>
                  </a:lnTo>
                  <a:lnTo>
                    <a:pt x="144" y="245"/>
                  </a:lnTo>
                  <a:lnTo>
                    <a:pt x="144" y="244"/>
                  </a:lnTo>
                  <a:lnTo>
                    <a:pt x="145" y="243"/>
                  </a:lnTo>
                  <a:lnTo>
                    <a:pt x="145" y="241"/>
                  </a:lnTo>
                  <a:lnTo>
                    <a:pt x="145" y="240"/>
                  </a:lnTo>
                  <a:lnTo>
                    <a:pt x="146" y="240"/>
                  </a:lnTo>
                  <a:lnTo>
                    <a:pt x="148" y="238"/>
                  </a:lnTo>
                  <a:lnTo>
                    <a:pt x="149" y="238"/>
                  </a:lnTo>
                  <a:lnTo>
                    <a:pt x="149" y="240"/>
                  </a:lnTo>
                  <a:lnTo>
                    <a:pt x="151" y="241"/>
                  </a:lnTo>
                  <a:lnTo>
                    <a:pt x="152" y="241"/>
                  </a:lnTo>
                  <a:lnTo>
                    <a:pt x="154" y="240"/>
                  </a:lnTo>
                  <a:lnTo>
                    <a:pt x="155" y="240"/>
                  </a:lnTo>
                  <a:lnTo>
                    <a:pt x="156" y="240"/>
                  </a:lnTo>
                  <a:lnTo>
                    <a:pt x="158" y="240"/>
                  </a:lnTo>
                  <a:lnTo>
                    <a:pt x="159" y="238"/>
                  </a:lnTo>
                  <a:lnTo>
                    <a:pt x="159" y="237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61" y="235"/>
                  </a:lnTo>
                  <a:lnTo>
                    <a:pt x="162" y="234"/>
                  </a:lnTo>
                  <a:lnTo>
                    <a:pt x="165" y="233"/>
                  </a:lnTo>
                  <a:lnTo>
                    <a:pt x="166" y="233"/>
                  </a:lnTo>
                  <a:lnTo>
                    <a:pt x="169" y="234"/>
                  </a:lnTo>
                  <a:lnTo>
                    <a:pt x="171" y="234"/>
                  </a:lnTo>
                  <a:close/>
                  <a:moveTo>
                    <a:pt x="89" y="237"/>
                  </a:moveTo>
                  <a:lnTo>
                    <a:pt x="88" y="238"/>
                  </a:lnTo>
                  <a:lnTo>
                    <a:pt x="88" y="237"/>
                  </a:lnTo>
                  <a:lnTo>
                    <a:pt x="88" y="233"/>
                  </a:lnTo>
                  <a:lnTo>
                    <a:pt x="91" y="234"/>
                  </a:lnTo>
                  <a:lnTo>
                    <a:pt x="91" y="235"/>
                  </a:lnTo>
                  <a:lnTo>
                    <a:pt x="89" y="237"/>
                  </a:lnTo>
                  <a:close/>
                  <a:moveTo>
                    <a:pt x="142" y="237"/>
                  </a:moveTo>
                  <a:lnTo>
                    <a:pt x="142" y="238"/>
                  </a:lnTo>
                  <a:lnTo>
                    <a:pt x="141" y="238"/>
                  </a:lnTo>
                  <a:lnTo>
                    <a:pt x="141" y="237"/>
                  </a:lnTo>
                  <a:lnTo>
                    <a:pt x="142" y="237"/>
                  </a:lnTo>
                  <a:lnTo>
                    <a:pt x="142" y="235"/>
                  </a:lnTo>
                  <a:lnTo>
                    <a:pt x="142" y="237"/>
                  </a:lnTo>
                  <a:lnTo>
                    <a:pt x="142" y="237"/>
                  </a:lnTo>
                  <a:close/>
                  <a:moveTo>
                    <a:pt x="138" y="241"/>
                  </a:moveTo>
                  <a:lnTo>
                    <a:pt x="138" y="241"/>
                  </a:lnTo>
                  <a:lnTo>
                    <a:pt x="139" y="241"/>
                  </a:lnTo>
                  <a:lnTo>
                    <a:pt x="141" y="241"/>
                  </a:lnTo>
                  <a:lnTo>
                    <a:pt x="139" y="241"/>
                  </a:lnTo>
                  <a:lnTo>
                    <a:pt x="139" y="243"/>
                  </a:lnTo>
                  <a:lnTo>
                    <a:pt x="138" y="243"/>
                  </a:lnTo>
                  <a:lnTo>
                    <a:pt x="136" y="243"/>
                  </a:lnTo>
                  <a:lnTo>
                    <a:pt x="136" y="241"/>
                  </a:lnTo>
                  <a:lnTo>
                    <a:pt x="136" y="241"/>
                  </a:lnTo>
                  <a:lnTo>
                    <a:pt x="138" y="241"/>
                  </a:lnTo>
                  <a:close/>
                  <a:moveTo>
                    <a:pt x="119" y="247"/>
                  </a:moveTo>
                  <a:lnTo>
                    <a:pt x="122" y="248"/>
                  </a:lnTo>
                  <a:lnTo>
                    <a:pt x="124" y="248"/>
                  </a:lnTo>
                  <a:lnTo>
                    <a:pt x="124" y="247"/>
                  </a:lnTo>
                  <a:lnTo>
                    <a:pt x="125" y="247"/>
                  </a:lnTo>
                  <a:lnTo>
                    <a:pt x="126" y="245"/>
                  </a:lnTo>
                  <a:lnTo>
                    <a:pt x="128" y="247"/>
                  </a:lnTo>
                  <a:lnTo>
                    <a:pt x="128" y="247"/>
                  </a:lnTo>
                  <a:lnTo>
                    <a:pt x="129" y="248"/>
                  </a:lnTo>
                  <a:lnTo>
                    <a:pt x="128" y="248"/>
                  </a:lnTo>
                  <a:lnTo>
                    <a:pt x="126" y="251"/>
                  </a:lnTo>
                  <a:lnTo>
                    <a:pt x="125" y="254"/>
                  </a:lnTo>
                  <a:lnTo>
                    <a:pt x="128" y="254"/>
                  </a:lnTo>
                  <a:lnTo>
                    <a:pt x="131" y="254"/>
                  </a:lnTo>
                  <a:lnTo>
                    <a:pt x="131" y="255"/>
                  </a:lnTo>
                  <a:lnTo>
                    <a:pt x="131" y="257"/>
                  </a:lnTo>
                  <a:lnTo>
                    <a:pt x="132" y="257"/>
                  </a:lnTo>
                  <a:lnTo>
                    <a:pt x="132" y="258"/>
                  </a:lnTo>
                  <a:lnTo>
                    <a:pt x="132" y="258"/>
                  </a:lnTo>
                  <a:lnTo>
                    <a:pt x="132" y="260"/>
                  </a:lnTo>
                  <a:lnTo>
                    <a:pt x="134" y="260"/>
                  </a:lnTo>
                  <a:lnTo>
                    <a:pt x="134" y="261"/>
                  </a:lnTo>
                  <a:lnTo>
                    <a:pt x="132" y="261"/>
                  </a:lnTo>
                  <a:lnTo>
                    <a:pt x="129" y="267"/>
                  </a:lnTo>
                  <a:lnTo>
                    <a:pt x="128" y="268"/>
                  </a:lnTo>
                  <a:lnTo>
                    <a:pt x="126" y="271"/>
                  </a:lnTo>
                  <a:lnTo>
                    <a:pt x="126" y="274"/>
                  </a:lnTo>
                  <a:lnTo>
                    <a:pt x="125" y="275"/>
                  </a:lnTo>
                  <a:lnTo>
                    <a:pt x="125" y="277"/>
                  </a:lnTo>
                  <a:lnTo>
                    <a:pt x="125" y="280"/>
                  </a:lnTo>
                  <a:lnTo>
                    <a:pt x="125" y="281"/>
                  </a:lnTo>
                  <a:lnTo>
                    <a:pt x="125" y="284"/>
                  </a:lnTo>
                  <a:lnTo>
                    <a:pt x="122" y="288"/>
                  </a:lnTo>
                  <a:lnTo>
                    <a:pt x="121" y="288"/>
                  </a:lnTo>
                  <a:lnTo>
                    <a:pt x="119" y="288"/>
                  </a:lnTo>
                  <a:lnTo>
                    <a:pt x="118" y="288"/>
                  </a:lnTo>
                  <a:lnTo>
                    <a:pt x="118" y="290"/>
                  </a:lnTo>
                  <a:lnTo>
                    <a:pt x="118" y="291"/>
                  </a:lnTo>
                  <a:lnTo>
                    <a:pt x="115" y="294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4"/>
                  </a:lnTo>
                  <a:lnTo>
                    <a:pt x="112" y="294"/>
                  </a:lnTo>
                  <a:lnTo>
                    <a:pt x="114" y="294"/>
                  </a:lnTo>
                  <a:lnTo>
                    <a:pt x="114" y="291"/>
                  </a:lnTo>
                  <a:lnTo>
                    <a:pt x="114" y="290"/>
                  </a:lnTo>
                  <a:lnTo>
                    <a:pt x="112" y="287"/>
                  </a:lnTo>
                  <a:lnTo>
                    <a:pt x="112" y="285"/>
                  </a:lnTo>
                  <a:lnTo>
                    <a:pt x="114" y="285"/>
                  </a:lnTo>
                  <a:lnTo>
                    <a:pt x="114" y="285"/>
                  </a:lnTo>
                  <a:lnTo>
                    <a:pt x="114" y="284"/>
                  </a:lnTo>
                  <a:lnTo>
                    <a:pt x="114" y="284"/>
                  </a:lnTo>
                  <a:lnTo>
                    <a:pt x="114" y="282"/>
                  </a:lnTo>
                  <a:lnTo>
                    <a:pt x="112" y="282"/>
                  </a:lnTo>
                  <a:lnTo>
                    <a:pt x="112" y="282"/>
                  </a:lnTo>
                  <a:lnTo>
                    <a:pt x="111" y="284"/>
                  </a:lnTo>
                  <a:lnTo>
                    <a:pt x="109" y="285"/>
                  </a:lnTo>
                  <a:lnTo>
                    <a:pt x="109" y="288"/>
                  </a:lnTo>
                  <a:lnTo>
                    <a:pt x="109" y="288"/>
                  </a:lnTo>
                  <a:lnTo>
                    <a:pt x="111" y="290"/>
                  </a:lnTo>
                  <a:lnTo>
                    <a:pt x="111" y="291"/>
                  </a:lnTo>
                  <a:lnTo>
                    <a:pt x="111" y="292"/>
                  </a:lnTo>
                  <a:lnTo>
                    <a:pt x="111" y="292"/>
                  </a:lnTo>
                  <a:lnTo>
                    <a:pt x="107" y="291"/>
                  </a:lnTo>
                  <a:lnTo>
                    <a:pt x="105" y="291"/>
                  </a:lnTo>
                  <a:lnTo>
                    <a:pt x="104" y="291"/>
                  </a:lnTo>
                  <a:lnTo>
                    <a:pt x="104" y="288"/>
                  </a:lnTo>
                  <a:lnTo>
                    <a:pt x="105" y="288"/>
                  </a:lnTo>
                  <a:lnTo>
                    <a:pt x="105" y="288"/>
                  </a:lnTo>
                  <a:lnTo>
                    <a:pt x="107" y="287"/>
                  </a:lnTo>
                  <a:lnTo>
                    <a:pt x="107" y="285"/>
                  </a:lnTo>
                  <a:lnTo>
                    <a:pt x="105" y="282"/>
                  </a:lnTo>
                  <a:lnTo>
                    <a:pt x="105" y="282"/>
                  </a:lnTo>
                  <a:lnTo>
                    <a:pt x="104" y="281"/>
                  </a:lnTo>
                  <a:lnTo>
                    <a:pt x="105" y="280"/>
                  </a:lnTo>
                  <a:lnTo>
                    <a:pt x="104" y="278"/>
                  </a:lnTo>
                  <a:lnTo>
                    <a:pt x="104" y="275"/>
                  </a:lnTo>
                  <a:lnTo>
                    <a:pt x="105" y="275"/>
                  </a:lnTo>
                  <a:lnTo>
                    <a:pt x="107" y="275"/>
                  </a:lnTo>
                  <a:lnTo>
                    <a:pt x="108" y="274"/>
                  </a:lnTo>
                  <a:lnTo>
                    <a:pt x="108" y="271"/>
                  </a:lnTo>
                  <a:lnTo>
                    <a:pt x="109" y="268"/>
                  </a:lnTo>
                  <a:lnTo>
                    <a:pt x="111" y="265"/>
                  </a:lnTo>
                  <a:lnTo>
                    <a:pt x="109" y="265"/>
                  </a:lnTo>
                  <a:lnTo>
                    <a:pt x="109" y="265"/>
                  </a:lnTo>
                  <a:lnTo>
                    <a:pt x="111" y="264"/>
                  </a:lnTo>
                  <a:lnTo>
                    <a:pt x="109" y="261"/>
                  </a:lnTo>
                  <a:lnTo>
                    <a:pt x="108" y="260"/>
                  </a:lnTo>
                  <a:lnTo>
                    <a:pt x="107" y="257"/>
                  </a:lnTo>
                  <a:lnTo>
                    <a:pt x="105" y="255"/>
                  </a:lnTo>
                  <a:lnTo>
                    <a:pt x="105" y="255"/>
                  </a:lnTo>
                  <a:lnTo>
                    <a:pt x="104" y="255"/>
                  </a:lnTo>
                  <a:lnTo>
                    <a:pt x="104" y="257"/>
                  </a:lnTo>
                  <a:lnTo>
                    <a:pt x="104" y="258"/>
                  </a:lnTo>
                  <a:lnTo>
                    <a:pt x="104" y="260"/>
                  </a:lnTo>
                  <a:lnTo>
                    <a:pt x="104" y="261"/>
                  </a:lnTo>
                  <a:lnTo>
                    <a:pt x="105" y="261"/>
                  </a:lnTo>
                  <a:lnTo>
                    <a:pt x="105" y="261"/>
                  </a:lnTo>
                  <a:lnTo>
                    <a:pt x="107" y="261"/>
                  </a:lnTo>
                  <a:lnTo>
                    <a:pt x="107" y="263"/>
                  </a:lnTo>
                  <a:lnTo>
                    <a:pt x="107" y="263"/>
                  </a:lnTo>
                  <a:lnTo>
                    <a:pt x="107" y="264"/>
                  </a:lnTo>
                  <a:lnTo>
                    <a:pt x="105" y="265"/>
                  </a:lnTo>
                  <a:lnTo>
                    <a:pt x="105" y="265"/>
                  </a:lnTo>
                  <a:lnTo>
                    <a:pt x="104" y="264"/>
                  </a:lnTo>
                  <a:lnTo>
                    <a:pt x="104" y="264"/>
                  </a:lnTo>
                  <a:lnTo>
                    <a:pt x="102" y="263"/>
                  </a:lnTo>
                  <a:lnTo>
                    <a:pt x="101" y="264"/>
                  </a:lnTo>
                  <a:lnTo>
                    <a:pt x="99" y="265"/>
                  </a:lnTo>
                  <a:lnTo>
                    <a:pt x="98" y="267"/>
                  </a:lnTo>
                  <a:lnTo>
                    <a:pt x="98" y="265"/>
                  </a:lnTo>
                  <a:lnTo>
                    <a:pt x="98" y="264"/>
                  </a:lnTo>
                  <a:lnTo>
                    <a:pt x="98" y="263"/>
                  </a:lnTo>
                  <a:lnTo>
                    <a:pt x="97" y="261"/>
                  </a:lnTo>
                  <a:lnTo>
                    <a:pt x="95" y="260"/>
                  </a:lnTo>
                  <a:lnTo>
                    <a:pt x="95" y="258"/>
                  </a:lnTo>
                  <a:lnTo>
                    <a:pt x="97" y="257"/>
                  </a:lnTo>
                  <a:lnTo>
                    <a:pt x="98" y="258"/>
                  </a:lnTo>
                  <a:lnTo>
                    <a:pt x="98" y="261"/>
                  </a:lnTo>
                  <a:lnTo>
                    <a:pt x="99" y="261"/>
                  </a:lnTo>
                  <a:lnTo>
                    <a:pt x="101" y="261"/>
                  </a:lnTo>
                  <a:lnTo>
                    <a:pt x="99" y="258"/>
                  </a:lnTo>
                  <a:lnTo>
                    <a:pt x="99" y="258"/>
                  </a:lnTo>
                  <a:lnTo>
                    <a:pt x="98" y="257"/>
                  </a:lnTo>
                  <a:lnTo>
                    <a:pt x="95" y="255"/>
                  </a:lnTo>
                  <a:lnTo>
                    <a:pt x="94" y="254"/>
                  </a:lnTo>
                  <a:lnTo>
                    <a:pt x="95" y="253"/>
                  </a:lnTo>
                  <a:lnTo>
                    <a:pt x="95" y="251"/>
                  </a:lnTo>
                  <a:lnTo>
                    <a:pt x="97" y="251"/>
                  </a:lnTo>
                  <a:lnTo>
                    <a:pt x="98" y="253"/>
                  </a:lnTo>
                  <a:lnTo>
                    <a:pt x="99" y="251"/>
                  </a:lnTo>
                  <a:lnTo>
                    <a:pt x="98" y="251"/>
                  </a:lnTo>
                  <a:lnTo>
                    <a:pt x="98" y="250"/>
                  </a:lnTo>
                  <a:lnTo>
                    <a:pt x="99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4" y="247"/>
                  </a:lnTo>
                  <a:lnTo>
                    <a:pt x="104" y="247"/>
                  </a:lnTo>
                  <a:lnTo>
                    <a:pt x="105" y="247"/>
                  </a:lnTo>
                  <a:lnTo>
                    <a:pt x="107" y="247"/>
                  </a:lnTo>
                  <a:lnTo>
                    <a:pt x="108" y="244"/>
                  </a:lnTo>
                  <a:lnTo>
                    <a:pt x="108" y="244"/>
                  </a:lnTo>
                  <a:lnTo>
                    <a:pt x="109" y="243"/>
                  </a:lnTo>
                  <a:lnTo>
                    <a:pt x="112" y="241"/>
                  </a:lnTo>
                  <a:lnTo>
                    <a:pt x="112" y="241"/>
                  </a:lnTo>
                  <a:lnTo>
                    <a:pt x="115" y="241"/>
                  </a:lnTo>
                  <a:lnTo>
                    <a:pt x="117" y="243"/>
                  </a:lnTo>
                  <a:lnTo>
                    <a:pt x="117" y="244"/>
                  </a:lnTo>
                  <a:lnTo>
                    <a:pt x="118" y="245"/>
                  </a:lnTo>
                  <a:lnTo>
                    <a:pt x="119" y="247"/>
                  </a:lnTo>
                  <a:close/>
                  <a:moveTo>
                    <a:pt x="98" y="244"/>
                  </a:moveTo>
                  <a:lnTo>
                    <a:pt x="97" y="245"/>
                  </a:lnTo>
                  <a:lnTo>
                    <a:pt x="97" y="244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8" y="243"/>
                  </a:lnTo>
                  <a:lnTo>
                    <a:pt x="98" y="244"/>
                  </a:lnTo>
                  <a:close/>
                  <a:moveTo>
                    <a:pt x="92" y="254"/>
                  </a:moveTo>
                  <a:lnTo>
                    <a:pt x="92" y="255"/>
                  </a:lnTo>
                  <a:lnTo>
                    <a:pt x="91" y="255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3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4" y="253"/>
                  </a:lnTo>
                  <a:lnTo>
                    <a:pt x="92" y="254"/>
                  </a:lnTo>
                  <a:close/>
                  <a:moveTo>
                    <a:pt x="87" y="261"/>
                  </a:moveTo>
                  <a:lnTo>
                    <a:pt x="87" y="261"/>
                  </a:lnTo>
                  <a:lnTo>
                    <a:pt x="85" y="260"/>
                  </a:lnTo>
                  <a:lnTo>
                    <a:pt x="85" y="260"/>
                  </a:lnTo>
                  <a:lnTo>
                    <a:pt x="85" y="260"/>
                  </a:lnTo>
                  <a:lnTo>
                    <a:pt x="87" y="255"/>
                  </a:lnTo>
                  <a:lnTo>
                    <a:pt x="87" y="257"/>
                  </a:lnTo>
                  <a:lnTo>
                    <a:pt x="88" y="258"/>
                  </a:lnTo>
                  <a:lnTo>
                    <a:pt x="88" y="258"/>
                  </a:lnTo>
                  <a:lnTo>
                    <a:pt x="88" y="260"/>
                  </a:lnTo>
                  <a:lnTo>
                    <a:pt x="87" y="260"/>
                  </a:lnTo>
                  <a:lnTo>
                    <a:pt x="87" y="261"/>
                  </a:lnTo>
                  <a:close/>
                  <a:moveTo>
                    <a:pt x="259" y="257"/>
                  </a:moveTo>
                  <a:lnTo>
                    <a:pt x="258" y="258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8" y="257"/>
                  </a:lnTo>
                  <a:lnTo>
                    <a:pt x="258" y="255"/>
                  </a:lnTo>
                  <a:lnTo>
                    <a:pt x="259" y="257"/>
                  </a:lnTo>
                  <a:lnTo>
                    <a:pt x="259" y="257"/>
                  </a:lnTo>
                  <a:close/>
                  <a:moveTo>
                    <a:pt x="79" y="263"/>
                  </a:moveTo>
                  <a:lnTo>
                    <a:pt x="81" y="263"/>
                  </a:lnTo>
                  <a:lnTo>
                    <a:pt x="81" y="263"/>
                  </a:lnTo>
                  <a:lnTo>
                    <a:pt x="82" y="263"/>
                  </a:lnTo>
                  <a:lnTo>
                    <a:pt x="82" y="263"/>
                  </a:lnTo>
                  <a:lnTo>
                    <a:pt x="84" y="264"/>
                  </a:lnTo>
                  <a:lnTo>
                    <a:pt x="84" y="265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81" y="267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9" y="265"/>
                  </a:lnTo>
                  <a:lnTo>
                    <a:pt x="79" y="263"/>
                  </a:lnTo>
                  <a:close/>
                  <a:moveTo>
                    <a:pt x="102" y="272"/>
                  </a:moveTo>
                  <a:lnTo>
                    <a:pt x="101" y="274"/>
                  </a:lnTo>
                  <a:lnTo>
                    <a:pt x="101" y="272"/>
                  </a:lnTo>
                  <a:lnTo>
                    <a:pt x="101" y="272"/>
                  </a:lnTo>
                  <a:lnTo>
                    <a:pt x="101" y="272"/>
                  </a:lnTo>
                  <a:lnTo>
                    <a:pt x="101" y="271"/>
                  </a:lnTo>
                  <a:lnTo>
                    <a:pt x="101" y="271"/>
                  </a:lnTo>
                  <a:lnTo>
                    <a:pt x="101" y="268"/>
                  </a:lnTo>
                  <a:lnTo>
                    <a:pt x="101" y="268"/>
                  </a:lnTo>
                  <a:lnTo>
                    <a:pt x="104" y="267"/>
                  </a:lnTo>
                  <a:lnTo>
                    <a:pt x="104" y="268"/>
                  </a:lnTo>
                  <a:lnTo>
                    <a:pt x="104" y="271"/>
                  </a:lnTo>
                  <a:lnTo>
                    <a:pt x="102" y="272"/>
                  </a:lnTo>
                  <a:close/>
                  <a:moveTo>
                    <a:pt x="107" y="270"/>
                  </a:moveTo>
                  <a:lnTo>
                    <a:pt x="105" y="270"/>
                  </a:lnTo>
                  <a:lnTo>
                    <a:pt x="105" y="270"/>
                  </a:lnTo>
                  <a:lnTo>
                    <a:pt x="105" y="268"/>
                  </a:lnTo>
                  <a:lnTo>
                    <a:pt x="107" y="267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7" y="270"/>
                  </a:lnTo>
                  <a:close/>
                  <a:moveTo>
                    <a:pt x="97" y="284"/>
                  </a:moveTo>
                  <a:lnTo>
                    <a:pt x="97" y="284"/>
                  </a:lnTo>
                  <a:lnTo>
                    <a:pt x="97" y="282"/>
                  </a:lnTo>
                  <a:lnTo>
                    <a:pt x="98" y="281"/>
                  </a:lnTo>
                  <a:lnTo>
                    <a:pt x="98" y="282"/>
                  </a:lnTo>
                  <a:lnTo>
                    <a:pt x="97" y="284"/>
                  </a:lnTo>
                  <a:close/>
                  <a:moveTo>
                    <a:pt x="117" y="307"/>
                  </a:moveTo>
                  <a:lnTo>
                    <a:pt x="115" y="308"/>
                  </a:lnTo>
                  <a:lnTo>
                    <a:pt x="115" y="307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8" y="300"/>
                  </a:lnTo>
                  <a:lnTo>
                    <a:pt x="118" y="300"/>
                  </a:lnTo>
                  <a:lnTo>
                    <a:pt x="118" y="300"/>
                  </a:lnTo>
                  <a:lnTo>
                    <a:pt x="118" y="300"/>
                  </a:lnTo>
                  <a:lnTo>
                    <a:pt x="118" y="302"/>
                  </a:lnTo>
                  <a:lnTo>
                    <a:pt x="117" y="305"/>
                  </a:lnTo>
                  <a:lnTo>
                    <a:pt x="117" y="307"/>
                  </a:lnTo>
                  <a:close/>
                  <a:moveTo>
                    <a:pt x="111" y="310"/>
                  </a:moveTo>
                  <a:lnTo>
                    <a:pt x="109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7"/>
                  </a:lnTo>
                  <a:lnTo>
                    <a:pt x="111" y="307"/>
                  </a:lnTo>
                  <a:lnTo>
                    <a:pt x="112" y="308"/>
                  </a:lnTo>
                  <a:lnTo>
                    <a:pt x="111" y="310"/>
                  </a:lnTo>
                  <a:close/>
                  <a:moveTo>
                    <a:pt x="92" y="347"/>
                  </a:moveTo>
                  <a:lnTo>
                    <a:pt x="91" y="348"/>
                  </a:lnTo>
                  <a:lnTo>
                    <a:pt x="89" y="348"/>
                  </a:lnTo>
                  <a:lnTo>
                    <a:pt x="88" y="347"/>
                  </a:lnTo>
                  <a:lnTo>
                    <a:pt x="88" y="347"/>
                  </a:lnTo>
                  <a:lnTo>
                    <a:pt x="89" y="345"/>
                  </a:lnTo>
                  <a:lnTo>
                    <a:pt x="89" y="345"/>
                  </a:lnTo>
                  <a:lnTo>
                    <a:pt x="91" y="345"/>
                  </a:lnTo>
                  <a:lnTo>
                    <a:pt x="92" y="344"/>
                  </a:lnTo>
                  <a:lnTo>
                    <a:pt x="94" y="344"/>
                  </a:lnTo>
                  <a:lnTo>
                    <a:pt x="94" y="344"/>
                  </a:lnTo>
                  <a:lnTo>
                    <a:pt x="94" y="342"/>
                  </a:lnTo>
                  <a:lnTo>
                    <a:pt x="95" y="342"/>
                  </a:lnTo>
                  <a:lnTo>
                    <a:pt x="97" y="342"/>
                  </a:lnTo>
                  <a:lnTo>
                    <a:pt x="97" y="342"/>
                  </a:lnTo>
                  <a:lnTo>
                    <a:pt x="97" y="344"/>
                  </a:lnTo>
                  <a:lnTo>
                    <a:pt x="95" y="344"/>
                  </a:lnTo>
                  <a:lnTo>
                    <a:pt x="94" y="344"/>
                  </a:lnTo>
                  <a:lnTo>
                    <a:pt x="94" y="345"/>
                  </a:lnTo>
                  <a:lnTo>
                    <a:pt x="92" y="347"/>
                  </a:lnTo>
                  <a:lnTo>
                    <a:pt x="92" y="347"/>
                  </a:lnTo>
                  <a:lnTo>
                    <a:pt x="92" y="347"/>
                  </a:lnTo>
                  <a:close/>
                  <a:moveTo>
                    <a:pt x="91" y="350"/>
                  </a:moveTo>
                  <a:lnTo>
                    <a:pt x="91" y="350"/>
                  </a:lnTo>
                  <a:lnTo>
                    <a:pt x="89" y="350"/>
                  </a:lnTo>
                  <a:lnTo>
                    <a:pt x="88" y="348"/>
                  </a:lnTo>
                  <a:lnTo>
                    <a:pt x="89" y="348"/>
                  </a:lnTo>
                  <a:lnTo>
                    <a:pt x="89" y="348"/>
                  </a:lnTo>
                  <a:lnTo>
                    <a:pt x="91" y="350"/>
                  </a:lnTo>
                  <a:close/>
                  <a:moveTo>
                    <a:pt x="85" y="357"/>
                  </a:moveTo>
                  <a:lnTo>
                    <a:pt x="84" y="357"/>
                  </a:lnTo>
                  <a:lnTo>
                    <a:pt x="84" y="355"/>
                  </a:lnTo>
                  <a:lnTo>
                    <a:pt x="84" y="354"/>
                  </a:lnTo>
                  <a:lnTo>
                    <a:pt x="84" y="352"/>
                  </a:lnTo>
                  <a:lnTo>
                    <a:pt x="84" y="352"/>
                  </a:lnTo>
                  <a:lnTo>
                    <a:pt x="85" y="354"/>
                  </a:lnTo>
                  <a:lnTo>
                    <a:pt x="85" y="355"/>
                  </a:lnTo>
                  <a:lnTo>
                    <a:pt x="85" y="357"/>
                  </a:lnTo>
                  <a:close/>
                  <a:moveTo>
                    <a:pt x="74" y="375"/>
                  </a:moveTo>
                  <a:lnTo>
                    <a:pt x="72" y="377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8" y="378"/>
                  </a:lnTo>
                  <a:lnTo>
                    <a:pt x="67" y="380"/>
                  </a:lnTo>
                  <a:lnTo>
                    <a:pt x="67" y="380"/>
                  </a:lnTo>
                  <a:lnTo>
                    <a:pt x="68" y="381"/>
                  </a:lnTo>
                  <a:lnTo>
                    <a:pt x="67" y="381"/>
                  </a:lnTo>
                  <a:lnTo>
                    <a:pt x="65" y="382"/>
                  </a:lnTo>
                  <a:lnTo>
                    <a:pt x="65" y="384"/>
                  </a:lnTo>
                  <a:lnTo>
                    <a:pt x="67" y="384"/>
                  </a:lnTo>
                  <a:lnTo>
                    <a:pt x="67" y="384"/>
                  </a:lnTo>
                  <a:lnTo>
                    <a:pt x="65" y="385"/>
                  </a:lnTo>
                  <a:lnTo>
                    <a:pt x="64" y="385"/>
                  </a:lnTo>
                  <a:lnTo>
                    <a:pt x="64" y="384"/>
                  </a:lnTo>
                  <a:lnTo>
                    <a:pt x="64" y="384"/>
                  </a:lnTo>
                  <a:lnTo>
                    <a:pt x="65" y="381"/>
                  </a:lnTo>
                  <a:lnTo>
                    <a:pt x="65" y="380"/>
                  </a:lnTo>
                  <a:lnTo>
                    <a:pt x="65" y="380"/>
                  </a:lnTo>
                  <a:lnTo>
                    <a:pt x="67" y="378"/>
                  </a:lnTo>
                  <a:lnTo>
                    <a:pt x="68" y="377"/>
                  </a:lnTo>
                  <a:lnTo>
                    <a:pt x="68" y="377"/>
                  </a:lnTo>
                  <a:lnTo>
                    <a:pt x="67" y="375"/>
                  </a:lnTo>
                  <a:lnTo>
                    <a:pt x="68" y="375"/>
                  </a:lnTo>
                  <a:lnTo>
                    <a:pt x="68" y="374"/>
                  </a:lnTo>
                  <a:lnTo>
                    <a:pt x="69" y="375"/>
                  </a:lnTo>
                  <a:lnTo>
                    <a:pt x="69" y="375"/>
                  </a:lnTo>
                  <a:lnTo>
                    <a:pt x="69" y="375"/>
                  </a:lnTo>
                  <a:lnTo>
                    <a:pt x="71" y="375"/>
                  </a:lnTo>
                  <a:lnTo>
                    <a:pt x="71" y="374"/>
                  </a:lnTo>
                  <a:lnTo>
                    <a:pt x="72" y="372"/>
                  </a:lnTo>
                  <a:lnTo>
                    <a:pt x="74" y="371"/>
                  </a:lnTo>
                  <a:lnTo>
                    <a:pt x="74" y="372"/>
                  </a:lnTo>
                  <a:lnTo>
                    <a:pt x="74" y="374"/>
                  </a:lnTo>
                  <a:lnTo>
                    <a:pt x="74" y="375"/>
                  </a:lnTo>
                  <a:close/>
                  <a:moveTo>
                    <a:pt x="296" y="375"/>
                  </a:moveTo>
                  <a:lnTo>
                    <a:pt x="296" y="375"/>
                  </a:lnTo>
                  <a:lnTo>
                    <a:pt x="295" y="374"/>
                  </a:lnTo>
                  <a:lnTo>
                    <a:pt x="295" y="374"/>
                  </a:lnTo>
                  <a:lnTo>
                    <a:pt x="296" y="374"/>
                  </a:lnTo>
                  <a:lnTo>
                    <a:pt x="296" y="375"/>
                  </a:lnTo>
                  <a:lnTo>
                    <a:pt x="296" y="375"/>
                  </a:lnTo>
                  <a:close/>
                  <a:moveTo>
                    <a:pt x="28" y="410"/>
                  </a:moveTo>
                  <a:lnTo>
                    <a:pt x="27" y="410"/>
                  </a:lnTo>
                  <a:lnTo>
                    <a:pt x="25" y="410"/>
                  </a:lnTo>
                  <a:lnTo>
                    <a:pt x="25" y="407"/>
                  </a:lnTo>
                  <a:lnTo>
                    <a:pt x="27" y="407"/>
                  </a:lnTo>
                  <a:lnTo>
                    <a:pt x="27" y="408"/>
                  </a:lnTo>
                  <a:lnTo>
                    <a:pt x="28" y="408"/>
                  </a:lnTo>
                  <a:lnTo>
                    <a:pt x="28" y="410"/>
                  </a:lnTo>
                  <a:close/>
                  <a:moveTo>
                    <a:pt x="10" y="412"/>
                  </a:moveTo>
                  <a:lnTo>
                    <a:pt x="8" y="415"/>
                  </a:lnTo>
                  <a:lnTo>
                    <a:pt x="8" y="417"/>
                  </a:lnTo>
                  <a:lnTo>
                    <a:pt x="7" y="417"/>
                  </a:lnTo>
                  <a:lnTo>
                    <a:pt x="7" y="414"/>
                  </a:lnTo>
                  <a:lnTo>
                    <a:pt x="7" y="414"/>
                  </a:lnTo>
                  <a:lnTo>
                    <a:pt x="8" y="414"/>
                  </a:lnTo>
                  <a:lnTo>
                    <a:pt x="8" y="414"/>
                  </a:lnTo>
                  <a:lnTo>
                    <a:pt x="10" y="412"/>
                  </a:lnTo>
                  <a:lnTo>
                    <a:pt x="10" y="412"/>
                  </a:lnTo>
                  <a:lnTo>
                    <a:pt x="10" y="412"/>
                  </a:lnTo>
                  <a:close/>
                  <a:moveTo>
                    <a:pt x="4" y="417"/>
                  </a:moveTo>
                  <a:lnTo>
                    <a:pt x="2" y="418"/>
                  </a:lnTo>
                  <a:lnTo>
                    <a:pt x="1" y="417"/>
                  </a:lnTo>
                  <a:lnTo>
                    <a:pt x="0" y="417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1" y="415"/>
                  </a:lnTo>
                  <a:lnTo>
                    <a:pt x="1" y="415"/>
                  </a:lnTo>
                  <a:lnTo>
                    <a:pt x="4" y="415"/>
                  </a:lnTo>
                  <a:lnTo>
                    <a:pt x="4" y="417"/>
                  </a:lnTo>
                  <a:lnTo>
                    <a:pt x="4" y="41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Google Shape;241;p3"/>
            <p:cNvSpPr/>
            <p:nvPr/>
          </p:nvSpPr>
          <p:spPr>
            <a:xfrm>
              <a:off x="4332235" y="4317690"/>
              <a:ext cx="89766" cy="102329"/>
            </a:xfrm>
            <a:custGeom>
              <a:rect b="b" l="l" r="r" t="t"/>
              <a:pathLst>
                <a:path extrusionOk="0" h="163" w="128">
                  <a:moveTo>
                    <a:pt x="128" y="24"/>
                  </a:moveTo>
                  <a:lnTo>
                    <a:pt x="127" y="27"/>
                  </a:lnTo>
                  <a:lnTo>
                    <a:pt x="124" y="31"/>
                  </a:lnTo>
                  <a:lnTo>
                    <a:pt x="120" y="37"/>
                  </a:lnTo>
                  <a:lnTo>
                    <a:pt x="117" y="40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6"/>
                  </a:lnTo>
                  <a:lnTo>
                    <a:pt x="114" y="53"/>
                  </a:lnTo>
                  <a:lnTo>
                    <a:pt x="114" y="66"/>
                  </a:lnTo>
                  <a:lnTo>
                    <a:pt x="114" y="80"/>
                  </a:lnTo>
                  <a:lnTo>
                    <a:pt x="114" y="93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5" y="104"/>
                  </a:lnTo>
                  <a:lnTo>
                    <a:pt x="118" y="107"/>
                  </a:lnTo>
                  <a:lnTo>
                    <a:pt x="121" y="111"/>
                  </a:lnTo>
                  <a:lnTo>
                    <a:pt x="122" y="113"/>
                  </a:lnTo>
                  <a:lnTo>
                    <a:pt x="122" y="114"/>
                  </a:lnTo>
                  <a:lnTo>
                    <a:pt x="122" y="116"/>
                  </a:lnTo>
                  <a:lnTo>
                    <a:pt x="120" y="118"/>
                  </a:lnTo>
                  <a:lnTo>
                    <a:pt x="118" y="118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4" y="118"/>
                  </a:lnTo>
                  <a:lnTo>
                    <a:pt x="114" y="120"/>
                  </a:lnTo>
                  <a:lnTo>
                    <a:pt x="114" y="121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3"/>
                  </a:lnTo>
                  <a:lnTo>
                    <a:pt x="112" y="123"/>
                  </a:lnTo>
                  <a:lnTo>
                    <a:pt x="112" y="124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2" y="130"/>
                  </a:lnTo>
                  <a:lnTo>
                    <a:pt x="101" y="131"/>
                  </a:lnTo>
                  <a:lnTo>
                    <a:pt x="101" y="133"/>
                  </a:lnTo>
                  <a:lnTo>
                    <a:pt x="101" y="136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98" y="141"/>
                  </a:lnTo>
                  <a:lnTo>
                    <a:pt x="97" y="143"/>
                  </a:lnTo>
                  <a:lnTo>
                    <a:pt x="97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4" y="150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2" y="153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0" y="160"/>
                  </a:lnTo>
                  <a:lnTo>
                    <a:pt x="88" y="161"/>
                  </a:lnTo>
                  <a:lnTo>
                    <a:pt x="87" y="161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4" y="161"/>
                  </a:lnTo>
                  <a:lnTo>
                    <a:pt x="81" y="160"/>
                  </a:lnTo>
                  <a:lnTo>
                    <a:pt x="78" y="158"/>
                  </a:lnTo>
                  <a:lnTo>
                    <a:pt x="77" y="157"/>
                  </a:lnTo>
                  <a:lnTo>
                    <a:pt x="74" y="154"/>
                  </a:lnTo>
                  <a:lnTo>
                    <a:pt x="71" y="153"/>
                  </a:lnTo>
                  <a:lnTo>
                    <a:pt x="70" y="151"/>
                  </a:lnTo>
                  <a:lnTo>
                    <a:pt x="67" y="150"/>
                  </a:lnTo>
                  <a:lnTo>
                    <a:pt x="64" y="147"/>
                  </a:lnTo>
                  <a:lnTo>
                    <a:pt x="62" y="147"/>
                  </a:lnTo>
                  <a:lnTo>
                    <a:pt x="62" y="146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0" y="144"/>
                  </a:lnTo>
                  <a:lnTo>
                    <a:pt x="60" y="144"/>
                  </a:lnTo>
                  <a:lnTo>
                    <a:pt x="60" y="143"/>
                  </a:lnTo>
                  <a:lnTo>
                    <a:pt x="60" y="143"/>
                  </a:lnTo>
                  <a:lnTo>
                    <a:pt x="61" y="141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1" y="137"/>
                  </a:lnTo>
                  <a:lnTo>
                    <a:pt x="60" y="137"/>
                  </a:lnTo>
                  <a:lnTo>
                    <a:pt x="58" y="136"/>
                  </a:lnTo>
                  <a:lnTo>
                    <a:pt x="55" y="134"/>
                  </a:lnTo>
                  <a:lnTo>
                    <a:pt x="51" y="131"/>
                  </a:lnTo>
                  <a:lnTo>
                    <a:pt x="48" y="130"/>
                  </a:lnTo>
                  <a:lnTo>
                    <a:pt x="45" y="128"/>
                  </a:lnTo>
                  <a:lnTo>
                    <a:pt x="41" y="126"/>
                  </a:lnTo>
                  <a:lnTo>
                    <a:pt x="38" y="124"/>
                  </a:lnTo>
                  <a:lnTo>
                    <a:pt x="34" y="123"/>
                  </a:lnTo>
                  <a:lnTo>
                    <a:pt x="31" y="120"/>
                  </a:lnTo>
                  <a:lnTo>
                    <a:pt x="28" y="118"/>
                  </a:lnTo>
                  <a:lnTo>
                    <a:pt x="24" y="117"/>
                  </a:lnTo>
                  <a:lnTo>
                    <a:pt x="21" y="114"/>
                  </a:lnTo>
                  <a:lnTo>
                    <a:pt x="17" y="113"/>
                  </a:lnTo>
                  <a:lnTo>
                    <a:pt x="14" y="111"/>
                  </a:lnTo>
                  <a:lnTo>
                    <a:pt x="11" y="108"/>
                  </a:lnTo>
                  <a:lnTo>
                    <a:pt x="7" y="107"/>
                  </a:lnTo>
                  <a:lnTo>
                    <a:pt x="4" y="106"/>
                  </a:lnTo>
                  <a:lnTo>
                    <a:pt x="3" y="104"/>
                  </a:lnTo>
                  <a:lnTo>
                    <a:pt x="1" y="104"/>
                  </a:lnTo>
                  <a:lnTo>
                    <a:pt x="0" y="104"/>
                  </a:lnTo>
                  <a:lnTo>
                    <a:pt x="0" y="101"/>
                  </a:lnTo>
                  <a:lnTo>
                    <a:pt x="1" y="94"/>
                  </a:lnTo>
                  <a:lnTo>
                    <a:pt x="1" y="88"/>
                  </a:lnTo>
                  <a:lnTo>
                    <a:pt x="1" y="86"/>
                  </a:lnTo>
                  <a:lnTo>
                    <a:pt x="3" y="83"/>
                  </a:lnTo>
                  <a:lnTo>
                    <a:pt x="3" y="81"/>
                  </a:lnTo>
                  <a:lnTo>
                    <a:pt x="4" y="80"/>
                  </a:lnTo>
                  <a:lnTo>
                    <a:pt x="4" y="78"/>
                  </a:lnTo>
                  <a:lnTo>
                    <a:pt x="5" y="77"/>
                  </a:lnTo>
                  <a:lnTo>
                    <a:pt x="7" y="76"/>
                  </a:lnTo>
                  <a:lnTo>
                    <a:pt x="8" y="74"/>
                  </a:lnTo>
                  <a:lnTo>
                    <a:pt x="10" y="71"/>
                  </a:lnTo>
                  <a:lnTo>
                    <a:pt x="10" y="70"/>
                  </a:lnTo>
                  <a:lnTo>
                    <a:pt x="11" y="70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7"/>
                  </a:lnTo>
                  <a:lnTo>
                    <a:pt x="14" y="66"/>
                  </a:lnTo>
                  <a:lnTo>
                    <a:pt x="15" y="66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7" y="63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3"/>
                  </a:lnTo>
                  <a:lnTo>
                    <a:pt x="15" y="50"/>
                  </a:lnTo>
                  <a:lnTo>
                    <a:pt x="17" y="48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1" y="41"/>
                  </a:lnTo>
                  <a:lnTo>
                    <a:pt x="10" y="38"/>
                  </a:lnTo>
                  <a:lnTo>
                    <a:pt x="8" y="3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8"/>
                  </a:lnTo>
                  <a:lnTo>
                    <a:pt x="5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1" y="21"/>
                  </a:lnTo>
                  <a:lnTo>
                    <a:pt x="4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5" y="7"/>
                  </a:lnTo>
                  <a:lnTo>
                    <a:pt x="20" y="3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6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11"/>
                  </a:lnTo>
                  <a:lnTo>
                    <a:pt x="31" y="13"/>
                  </a:lnTo>
                  <a:lnTo>
                    <a:pt x="32" y="14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8" y="17"/>
                  </a:lnTo>
                  <a:lnTo>
                    <a:pt x="42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52" y="20"/>
                  </a:lnTo>
                  <a:lnTo>
                    <a:pt x="55" y="23"/>
                  </a:lnTo>
                  <a:lnTo>
                    <a:pt x="60" y="24"/>
                  </a:lnTo>
                  <a:lnTo>
                    <a:pt x="62" y="27"/>
                  </a:lnTo>
                  <a:lnTo>
                    <a:pt x="65" y="28"/>
                  </a:lnTo>
                  <a:lnTo>
                    <a:pt x="67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8" y="31"/>
                  </a:lnTo>
                  <a:lnTo>
                    <a:pt x="81" y="31"/>
                  </a:lnTo>
                  <a:lnTo>
                    <a:pt x="84" y="33"/>
                  </a:lnTo>
                  <a:lnTo>
                    <a:pt x="85" y="33"/>
                  </a:lnTo>
                  <a:lnTo>
                    <a:pt x="90" y="33"/>
                  </a:lnTo>
                  <a:lnTo>
                    <a:pt x="91" y="33"/>
                  </a:lnTo>
                  <a:lnTo>
                    <a:pt x="92" y="31"/>
                  </a:lnTo>
                  <a:lnTo>
                    <a:pt x="94" y="28"/>
                  </a:lnTo>
                  <a:lnTo>
                    <a:pt x="95" y="27"/>
                  </a:lnTo>
                  <a:lnTo>
                    <a:pt x="98" y="26"/>
                  </a:lnTo>
                  <a:lnTo>
                    <a:pt x="102" y="23"/>
                  </a:lnTo>
                  <a:lnTo>
                    <a:pt x="107" y="21"/>
                  </a:lnTo>
                  <a:lnTo>
                    <a:pt x="110" y="20"/>
                  </a:lnTo>
                  <a:lnTo>
                    <a:pt x="112" y="21"/>
                  </a:lnTo>
                  <a:lnTo>
                    <a:pt x="114" y="23"/>
                  </a:lnTo>
                  <a:lnTo>
                    <a:pt x="115" y="24"/>
                  </a:lnTo>
                  <a:lnTo>
                    <a:pt x="117" y="24"/>
                  </a:lnTo>
                  <a:lnTo>
                    <a:pt x="117" y="26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1" y="24"/>
                  </a:lnTo>
                  <a:lnTo>
                    <a:pt x="125" y="24"/>
                  </a:lnTo>
                  <a:lnTo>
                    <a:pt x="128" y="24"/>
                  </a:lnTo>
                  <a:close/>
                  <a:moveTo>
                    <a:pt x="114" y="123"/>
                  </a:moveTo>
                  <a:lnTo>
                    <a:pt x="114" y="123"/>
                  </a:lnTo>
                  <a:lnTo>
                    <a:pt x="114" y="121"/>
                  </a:lnTo>
                  <a:lnTo>
                    <a:pt x="115" y="120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5" y="121"/>
                  </a:lnTo>
                  <a:lnTo>
                    <a:pt x="114" y="12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Google Shape;242;p3"/>
            <p:cNvSpPr/>
            <p:nvPr/>
          </p:nvSpPr>
          <p:spPr>
            <a:xfrm>
              <a:off x="4729170" y="3892052"/>
              <a:ext cx="124130" cy="53362"/>
            </a:xfrm>
            <a:custGeom>
              <a:rect b="b" l="l" r="r" t="t"/>
              <a:pathLst>
                <a:path extrusionOk="0" h="85" w="177">
                  <a:moveTo>
                    <a:pt x="175" y="23"/>
                  </a:moveTo>
                  <a:lnTo>
                    <a:pt x="175" y="24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5" y="27"/>
                  </a:lnTo>
                  <a:lnTo>
                    <a:pt x="171" y="27"/>
                  </a:lnTo>
                  <a:lnTo>
                    <a:pt x="170" y="27"/>
                  </a:lnTo>
                  <a:lnTo>
                    <a:pt x="168" y="30"/>
                  </a:lnTo>
                  <a:lnTo>
                    <a:pt x="164" y="31"/>
                  </a:lnTo>
                  <a:lnTo>
                    <a:pt x="163" y="31"/>
                  </a:lnTo>
                  <a:lnTo>
                    <a:pt x="161" y="31"/>
                  </a:lnTo>
                  <a:lnTo>
                    <a:pt x="158" y="33"/>
                  </a:lnTo>
                  <a:lnTo>
                    <a:pt x="153" y="37"/>
                  </a:lnTo>
                  <a:lnTo>
                    <a:pt x="150" y="38"/>
                  </a:lnTo>
                  <a:lnTo>
                    <a:pt x="147" y="40"/>
                  </a:lnTo>
                  <a:lnTo>
                    <a:pt x="147" y="41"/>
                  </a:lnTo>
                  <a:lnTo>
                    <a:pt x="145" y="41"/>
                  </a:lnTo>
                  <a:lnTo>
                    <a:pt x="145" y="43"/>
                  </a:lnTo>
                  <a:lnTo>
                    <a:pt x="143" y="47"/>
                  </a:lnTo>
                  <a:lnTo>
                    <a:pt x="140" y="47"/>
                  </a:lnTo>
                  <a:lnTo>
                    <a:pt x="137" y="47"/>
                  </a:lnTo>
                  <a:lnTo>
                    <a:pt x="135" y="48"/>
                  </a:lnTo>
                  <a:lnTo>
                    <a:pt x="134" y="48"/>
                  </a:lnTo>
                  <a:lnTo>
                    <a:pt x="128" y="48"/>
                  </a:lnTo>
                  <a:lnTo>
                    <a:pt x="127" y="48"/>
                  </a:lnTo>
                  <a:lnTo>
                    <a:pt x="124" y="47"/>
                  </a:lnTo>
                  <a:lnTo>
                    <a:pt x="123" y="48"/>
                  </a:lnTo>
                  <a:lnTo>
                    <a:pt x="121" y="48"/>
                  </a:lnTo>
                  <a:lnTo>
                    <a:pt x="120" y="53"/>
                  </a:lnTo>
                  <a:lnTo>
                    <a:pt x="118" y="53"/>
                  </a:lnTo>
                  <a:lnTo>
                    <a:pt x="118" y="54"/>
                  </a:lnTo>
                  <a:lnTo>
                    <a:pt x="118" y="55"/>
                  </a:lnTo>
                  <a:lnTo>
                    <a:pt x="117" y="57"/>
                  </a:lnTo>
                  <a:lnTo>
                    <a:pt x="117" y="58"/>
                  </a:lnTo>
                  <a:lnTo>
                    <a:pt x="116" y="60"/>
                  </a:lnTo>
                  <a:lnTo>
                    <a:pt x="114" y="61"/>
                  </a:lnTo>
                  <a:lnTo>
                    <a:pt x="114" y="63"/>
                  </a:lnTo>
                  <a:lnTo>
                    <a:pt x="113" y="60"/>
                  </a:lnTo>
                  <a:lnTo>
                    <a:pt x="111" y="61"/>
                  </a:lnTo>
                  <a:lnTo>
                    <a:pt x="111" y="61"/>
                  </a:lnTo>
                  <a:lnTo>
                    <a:pt x="110" y="61"/>
                  </a:lnTo>
                  <a:lnTo>
                    <a:pt x="108" y="61"/>
                  </a:lnTo>
                  <a:lnTo>
                    <a:pt x="107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58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6" y="60"/>
                  </a:lnTo>
                  <a:lnTo>
                    <a:pt x="94" y="60"/>
                  </a:lnTo>
                  <a:lnTo>
                    <a:pt x="93" y="60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7" y="63"/>
                  </a:lnTo>
                  <a:lnTo>
                    <a:pt x="86" y="64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77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70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6" y="78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1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68" y="81"/>
                  </a:lnTo>
                  <a:lnTo>
                    <a:pt x="67" y="81"/>
                  </a:lnTo>
                  <a:lnTo>
                    <a:pt x="66" y="81"/>
                  </a:lnTo>
                  <a:lnTo>
                    <a:pt x="64" y="83"/>
                  </a:lnTo>
                  <a:lnTo>
                    <a:pt x="63" y="83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0" y="83"/>
                  </a:lnTo>
                  <a:lnTo>
                    <a:pt x="48" y="84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7" y="85"/>
                  </a:lnTo>
                  <a:lnTo>
                    <a:pt x="46" y="84"/>
                  </a:lnTo>
                  <a:lnTo>
                    <a:pt x="46" y="83"/>
                  </a:lnTo>
                  <a:lnTo>
                    <a:pt x="44" y="83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0" y="84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38" y="81"/>
                  </a:lnTo>
                  <a:lnTo>
                    <a:pt x="37" y="81"/>
                  </a:lnTo>
                  <a:lnTo>
                    <a:pt x="36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3" y="80"/>
                  </a:lnTo>
                  <a:lnTo>
                    <a:pt x="31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29" y="81"/>
                  </a:lnTo>
                  <a:lnTo>
                    <a:pt x="26" y="83"/>
                  </a:lnTo>
                  <a:lnTo>
                    <a:pt x="24" y="81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0" y="78"/>
                  </a:lnTo>
                  <a:lnTo>
                    <a:pt x="19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1" y="78"/>
                  </a:lnTo>
                  <a:lnTo>
                    <a:pt x="9" y="78"/>
                  </a:lnTo>
                  <a:lnTo>
                    <a:pt x="7" y="78"/>
                  </a:lnTo>
                  <a:lnTo>
                    <a:pt x="6" y="78"/>
                  </a:lnTo>
                  <a:lnTo>
                    <a:pt x="4" y="80"/>
                  </a:lnTo>
                  <a:lnTo>
                    <a:pt x="3" y="80"/>
                  </a:lnTo>
                  <a:lnTo>
                    <a:pt x="1" y="80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1" y="71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9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7" y="67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3" y="70"/>
                  </a:lnTo>
                  <a:lnTo>
                    <a:pt x="23" y="68"/>
                  </a:lnTo>
                  <a:lnTo>
                    <a:pt x="24" y="67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3" y="64"/>
                  </a:lnTo>
                  <a:lnTo>
                    <a:pt x="34" y="64"/>
                  </a:lnTo>
                  <a:lnTo>
                    <a:pt x="36" y="64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40" y="67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3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1"/>
                  </a:lnTo>
                  <a:lnTo>
                    <a:pt x="50" y="61"/>
                  </a:lnTo>
                  <a:lnTo>
                    <a:pt x="50" y="61"/>
                  </a:lnTo>
                  <a:lnTo>
                    <a:pt x="51" y="60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7"/>
                  </a:lnTo>
                  <a:lnTo>
                    <a:pt x="51" y="57"/>
                  </a:lnTo>
                  <a:lnTo>
                    <a:pt x="53" y="58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7" y="55"/>
                  </a:lnTo>
                  <a:lnTo>
                    <a:pt x="63" y="53"/>
                  </a:lnTo>
                  <a:lnTo>
                    <a:pt x="63" y="53"/>
                  </a:lnTo>
                  <a:lnTo>
                    <a:pt x="63" y="53"/>
                  </a:lnTo>
                  <a:lnTo>
                    <a:pt x="60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3" y="48"/>
                  </a:lnTo>
                  <a:lnTo>
                    <a:pt x="51" y="48"/>
                  </a:lnTo>
                  <a:lnTo>
                    <a:pt x="50" y="47"/>
                  </a:lnTo>
                  <a:lnTo>
                    <a:pt x="48" y="47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7"/>
                  </a:lnTo>
                  <a:lnTo>
                    <a:pt x="47" y="45"/>
                  </a:lnTo>
                  <a:lnTo>
                    <a:pt x="47" y="44"/>
                  </a:lnTo>
                  <a:lnTo>
                    <a:pt x="46" y="44"/>
                  </a:lnTo>
                  <a:lnTo>
                    <a:pt x="46" y="45"/>
                  </a:lnTo>
                  <a:lnTo>
                    <a:pt x="44" y="44"/>
                  </a:lnTo>
                  <a:lnTo>
                    <a:pt x="43" y="44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0"/>
                  </a:lnTo>
                  <a:lnTo>
                    <a:pt x="40" y="40"/>
                  </a:lnTo>
                  <a:lnTo>
                    <a:pt x="40" y="38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8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3" y="45"/>
                  </a:lnTo>
                  <a:lnTo>
                    <a:pt x="31" y="45"/>
                  </a:lnTo>
                  <a:lnTo>
                    <a:pt x="30" y="45"/>
                  </a:lnTo>
                  <a:lnTo>
                    <a:pt x="29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0" y="40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20" y="33"/>
                  </a:lnTo>
                  <a:lnTo>
                    <a:pt x="21" y="31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9" y="25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0"/>
                  </a:lnTo>
                  <a:lnTo>
                    <a:pt x="27" y="18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7" y="11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53" y="13"/>
                  </a:lnTo>
                  <a:lnTo>
                    <a:pt x="56" y="13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8" y="15"/>
                  </a:lnTo>
                  <a:lnTo>
                    <a:pt x="63" y="15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7" y="18"/>
                  </a:lnTo>
                  <a:lnTo>
                    <a:pt x="68" y="18"/>
                  </a:lnTo>
                  <a:lnTo>
                    <a:pt x="67" y="14"/>
                  </a:lnTo>
                  <a:lnTo>
                    <a:pt x="67" y="13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4" y="3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80" y="1"/>
                  </a:lnTo>
                  <a:lnTo>
                    <a:pt x="80" y="0"/>
                  </a:lnTo>
                  <a:lnTo>
                    <a:pt x="83" y="1"/>
                  </a:lnTo>
                  <a:lnTo>
                    <a:pt x="87" y="4"/>
                  </a:lnTo>
                  <a:lnTo>
                    <a:pt x="90" y="6"/>
                  </a:lnTo>
                  <a:lnTo>
                    <a:pt x="93" y="7"/>
                  </a:lnTo>
                  <a:lnTo>
                    <a:pt x="98" y="8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17" y="7"/>
                  </a:lnTo>
                  <a:lnTo>
                    <a:pt x="118" y="7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6" y="6"/>
                  </a:lnTo>
                  <a:lnTo>
                    <a:pt x="128" y="7"/>
                  </a:lnTo>
                  <a:lnTo>
                    <a:pt x="130" y="7"/>
                  </a:lnTo>
                  <a:lnTo>
                    <a:pt x="131" y="7"/>
                  </a:lnTo>
                  <a:lnTo>
                    <a:pt x="133" y="8"/>
                  </a:lnTo>
                  <a:lnTo>
                    <a:pt x="134" y="7"/>
                  </a:lnTo>
                  <a:lnTo>
                    <a:pt x="137" y="8"/>
                  </a:lnTo>
                  <a:lnTo>
                    <a:pt x="141" y="8"/>
                  </a:lnTo>
                  <a:lnTo>
                    <a:pt x="145" y="8"/>
                  </a:lnTo>
                  <a:lnTo>
                    <a:pt x="147" y="8"/>
                  </a:lnTo>
                  <a:lnTo>
                    <a:pt x="148" y="8"/>
                  </a:lnTo>
                  <a:lnTo>
                    <a:pt x="151" y="10"/>
                  </a:lnTo>
                  <a:lnTo>
                    <a:pt x="153" y="10"/>
                  </a:lnTo>
                  <a:lnTo>
                    <a:pt x="154" y="10"/>
                  </a:lnTo>
                  <a:lnTo>
                    <a:pt x="155" y="11"/>
                  </a:lnTo>
                  <a:lnTo>
                    <a:pt x="157" y="11"/>
                  </a:lnTo>
                  <a:lnTo>
                    <a:pt x="158" y="10"/>
                  </a:lnTo>
                  <a:lnTo>
                    <a:pt x="160" y="11"/>
                  </a:lnTo>
                  <a:lnTo>
                    <a:pt x="160" y="13"/>
                  </a:lnTo>
                  <a:lnTo>
                    <a:pt x="161" y="14"/>
                  </a:lnTo>
                  <a:lnTo>
                    <a:pt x="163" y="15"/>
                  </a:lnTo>
                  <a:lnTo>
                    <a:pt x="163" y="17"/>
                  </a:lnTo>
                  <a:lnTo>
                    <a:pt x="164" y="17"/>
                  </a:lnTo>
                  <a:lnTo>
                    <a:pt x="165" y="17"/>
                  </a:lnTo>
                  <a:lnTo>
                    <a:pt x="170" y="18"/>
                  </a:lnTo>
                  <a:lnTo>
                    <a:pt x="171" y="18"/>
                  </a:lnTo>
                  <a:lnTo>
                    <a:pt x="174" y="21"/>
                  </a:lnTo>
                  <a:lnTo>
                    <a:pt x="175" y="23"/>
                  </a:lnTo>
                  <a:close/>
                  <a:moveTo>
                    <a:pt x="31" y="71"/>
                  </a:moveTo>
                  <a:lnTo>
                    <a:pt x="31" y="71"/>
                  </a:lnTo>
                  <a:lnTo>
                    <a:pt x="31" y="70"/>
                  </a:lnTo>
                  <a:lnTo>
                    <a:pt x="31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7" y="67"/>
                  </a:lnTo>
                  <a:lnTo>
                    <a:pt x="29" y="68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71"/>
                  </a:lnTo>
                  <a:lnTo>
                    <a:pt x="30" y="71"/>
                  </a:lnTo>
                  <a:lnTo>
                    <a:pt x="31" y="71"/>
                  </a:lnTo>
                  <a:lnTo>
                    <a:pt x="31" y="71"/>
                  </a:lnTo>
                  <a:close/>
                  <a:moveTo>
                    <a:pt x="41" y="70"/>
                  </a:moveTo>
                  <a:lnTo>
                    <a:pt x="41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38" y="70"/>
                  </a:lnTo>
                  <a:lnTo>
                    <a:pt x="38" y="71"/>
                  </a:lnTo>
                  <a:lnTo>
                    <a:pt x="40" y="71"/>
                  </a:lnTo>
                  <a:lnTo>
                    <a:pt x="40" y="71"/>
                  </a:lnTo>
                  <a:lnTo>
                    <a:pt x="41" y="70"/>
                  </a:lnTo>
                  <a:close/>
                  <a:moveTo>
                    <a:pt x="23" y="73"/>
                  </a:moveTo>
                  <a:lnTo>
                    <a:pt x="23" y="73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3" y="7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243;p3"/>
            <p:cNvSpPr/>
            <p:nvPr/>
          </p:nvSpPr>
          <p:spPr>
            <a:xfrm>
              <a:off x="5100157" y="4224150"/>
              <a:ext cx="60312" cy="43945"/>
            </a:xfrm>
            <a:custGeom>
              <a:rect b="b" l="l" r="r" t="t"/>
              <a:pathLst>
                <a:path extrusionOk="0" h="70" w="86">
                  <a:moveTo>
                    <a:pt x="34" y="70"/>
                  </a:moveTo>
                  <a:lnTo>
                    <a:pt x="32" y="68"/>
                  </a:lnTo>
                  <a:lnTo>
                    <a:pt x="27" y="68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0" y="68"/>
                  </a:lnTo>
                  <a:lnTo>
                    <a:pt x="20" y="66"/>
                  </a:lnTo>
                  <a:lnTo>
                    <a:pt x="22" y="65"/>
                  </a:lnTo>
                  <a:lnTo>
                    <a:pt x="23" y="65"/>
                  </a:lnTo>
                  <a:lnTo>
                    <a:pt x="23" y="63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0" y="59"/>
                  </a:lnTo>
                  <a:lnTo>
                    <a:pt x="19" y="59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3" y="59"/>
                  </a:lnTo>
                  <a:lnTo>
                    <a:pt x="13" y="58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2" y="52"/>
                  </a:lnTo>
                  <a:lnTo>
                    <a:pt x="12" y="49"/>
                  </a:lnTo>
                  <a:lnTo>
                    <a:pt x="10" y="48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6" y="35"/>
                  </a:lnTo>
                  <a:lnTo>
                    <a:pt x="3" y="33"/>
                  </a:lnTo>
                  <a:lnTo>
                    <a:pt x="3" y="30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6"/>
                  </a:lnTo>
                  <a:lnTo>
                    <a:pt x="7" y="15"/>
                  </a:lnTo>
                  <a:lnTo>
                    <a:pt x="9" y="12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2" y="8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32" y="5"/>
                  </a:lnTo>
                  <a:lnTo>
                    <a:pt x="34" y="6"/>
                  </a:lnTo>
                  <a:lnTo>
                    <a:pt x="37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3" y="6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50" y="10"/>
                  </a:lnTo>
                  <a:lnTo>
                    <a:pt x="53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7" y="12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3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3"/>
                  </a:lnTo>
                  <a:lnTo>
                    <a:pt x="67" y="2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70" y="5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9" y="3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1" y="3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3"/>
                  </a:lnTo>
                  <a:lnTo>
                    <a:pt x="83" y="5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3" y="15"/>
                  </a:lnTo>
                  <a:lnTo>
                    <a:pt x="84" y="18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4" y="25"/>
                  </a:lnTo>
                  <a:lnTo>
                    <a:pt x="83" y="28"/>
                  </a:lnTo>
                  <a:lnTo>
                    <a:pt x="83" y="29"/>
                  </a:lnTo>
                  <a:lnTo>
                    <a:pt x="84" y="30"/>
                  </a:lnTo>
                  <a:lnTo>
                    <a:pt x="84" y="33"/>
                  </a:lnTo>
                  <a:lnTo>
                    <a:pt x="84" y="36"/>
                  </a:lnTo>
                  <a:lnTo>
                    <a:pt x="84" y="38"/>
                  </a:lnTo>
                  <a:lnTo>
                    <a:pt x="84" y="39"/>
                  </a:lnTo>
                  <a:lnTo>
                    <a:pt x="83" y="39"/>
                  </a:lnTo>
                  <a:lnTo>
                    <a:pt x="81" y="40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79" y="39"/>
                  </a:lnTo>
                  <a:lnTo>
                    <a:pt x="79" y="40"/>
                  </a:lnTo>
                  <a:lnTo>
                    <a:pt x="77" y="42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2" y="45"/>
                  </a:lnTo>
                  <a:lnTo>
                    <a:pt x="70" y="45"/>
                  </a:lnTo>
                  <a:lnTo>
                    <a:pt x="67" y="45"/>
                  </a:lnTo>
                  <a:lnTo>
                    <a:pt x="66" y="45"/>
                  </a:lnTo>
                  <a:lnTo>
                    <a:pt x="66" y="46"/>
                  </a:lnTo>
                  <a:lnTo>
                    <a:pt x="66" y="49"/>
                  </a:lnTo>
                  <a:lnTo>
                    <a:pt x="66" y="49"/>
                  </a:lnTo>
                  <a:lnTo>
                    <a:pt x="66" y="49"/>
                  </a:lnTo>
                  <a:lnTo>
                    <a:pt x="66" y="49"/>
                  </a:lnTo>
                  <a:lnTo>
                    <a:pt x="63" y="49"/>
                  </a:lnTo>
                  <a:lnTo>
                    <a:pt x="62" y="49"/>
                  </a:lnTo>
                  <a:lnTo>
                    <a:pt x="60" y="49"/>
                  </a:lnTo>
                  <a:lnTo>
                    <a:pt x="59" y="4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57" y="52"/>
                  </a:lnTo>
                  <a:lnTo>
                    <a:pt x="57" y="53"/>
                  </a:lnTo>
                  <a:lnTo>
                    <a:pt x="57" y="55"/>
                  </a:lnTo>
                  <a:lnTo>
                    <a:pt x="57" y="56"/>
                  </a:lnTo>
                  <a:lnTo>
                    <a:pt x="59" y="56"/>
                  </a:lnTo>
                  <a:lnTo>
                    <a:pt x="62" y="59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2" y="62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0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2"/>
                  </a:lnTo>
                  <a:lnTo>
                    <a:pt x="56" y="60"/>
                  </a:lnTo>
                  <a:lnTo>
                    <a:pt x="54" y="60"/>
                  </a:lnTo>
                  <a:lnTo>
                    <a:pt x="53" y="62"/>
                  </a:lnTo>
                  <a:lnTo>
                    <a:pt x="52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6" y="62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2" y="68"/>
                  </a:lnTo>
                  <a:lnTo>
                    <a:pt x="42" y="69"/>
                  </a:lnTo>
                  <a:lnTo>
                    <a:pt x="40" y="69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6" y="69"/>
                  </a:lnTo>
                  <a:lnTo>
                    <a:pt x="36" y="70"/>
                  </a:lnTo>
                  <a:lnTo>
                    <a:pt x="34" y="70"/>
                  </a:lnTo>
                  <a:close/>
                  <a:moveTo>
                    <a:pt x="13" y="56"/>
                  </a:move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3" y="56"/>
                  </a:lnTo>
                  <a:close/>
                  <a:moveTo>
                    <a:pt x="17" y="65"/>
                  </a:moveTo>
                  <a:lnTo>
                    <a:pt x="16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6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4" name="Google Shape;244;p3"/>
            <p:cNvSpPr/>
            <p:nvPr/>
          </p:nvSpPr>
          <p:spPr>
            <a:xfrm>
              <a:off x="5348416" y="3895818"/>
              <a:ext cx="70831" cy="68429"/>
            </a:xfrm>
            <a:custGeom>
              <a:rect b="b" l="l" r="r" t="t"/>
              <a:pathLst>
                <a:path extrusionOk="0" h="109" w="101">
                  <a:moveTo>
                    <a:pt x="98" y="9"/>
                  </a:moveTo>
                  <a:lnTo>
                    <a:pt x="98" y="11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97" y="15"/>
                  </a:lnTo>
                  <a:lnTo>
                    <a:pt x="96" y="17"/>
                  </a:lnTo>
                  <a:lnTo>
                    <a:pt x="94" y="17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0" y="21"/>
                  </a:lnTo>
                  <a:lnTo>
                    <a:pt x="88" y="24"/>
                  </a:lnTo>
                  <a:lnTo>
                    <a:pt x="88" y="25"/>
                  </a:lnTo>
                  <a:lnTo>
                    <a:pt x="86" y="27"/>
                  </a:lnTo>
                  <a:lnTo>
                    <a:pt x="86" y="29"/>
                  </a:lnTo>
                  <a:lnTo>
                    <a:pt x="86" y="32"/>
                  </a:lnTo>
                  <a:lnTo>
                    <a:pt x="86" y="34"/>
                  </a:lnTo>
                  <a:lnTo>
                    <a:pt x="87" y="37"/>
                  </a:lnTo>
                  <a:lnTo>
                    <a:pt x="86" y="39"/>
                  </a:lnTo>
                  <a:lnTo>
                    <a:pt x="86" y="44"/>
                  </a:lnTo>
                  <a:lnTo>
                    <a:pt x="86" y="45"/>
                  </a:lnTo>
                  <a:lnTo>
                    <a:pt x="80" y="48"/>
                  </a:lnTo>
                  <a:lnTo>
                    <a:pt x="78" y="49"/>
                  </a:lnTo>
                  <a:lnTo>
                    <a:pt x="76" y="54"/>
                  </a:lnTo>
                  <a:lnTo>
                    <a:pt x="73" y="54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8" y="59"/>
                  </a:lnTo>
                  <a:lnTo>
                    <a:pt x="66" y="61"/>
                  </a:lnTo>
                  <a:lnTo>
                    <a:pt x="64" y="61"/>
                  </a:lnTo>
                  <a:lnTo>
                    <a:pt x="63" y="62"/>
                  </a:lnTo>
                  <a:lnTo>
                    <a:pt x="60" y="62"/>
                  </a:lnTo>
                  <a:lnTo>
                    <a:pt x="57" y="64"/>
                  </a:lnTo>
                  <a:lnTo>
                    <a:pt x="56" y="65"/>
                  </a:lnTo>
                  <a:lnTo>
                    <a:pt x="51" y="68"/>
                  </a:lnTo>
                  <a:lnTo>
                    <a:pt x="50" y="69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48" y="77"/>
                  </a:lnTo>
                  <a:lnTo>
                    <a:pt x="48" y="78"/>
                  </a:lnTo>
                  <a:lnTo>
                    <a:pt x="48" y="79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3" y="81"/>
                  </a:lnTo>
                  <a:lnTo>
                    <a:pt x="54" y="82"/>
                  </a:lnTo>
                  <a:lnTo>
                    <a:pt x="57" y="87"/>
                  </a:lnTo>
                  <a:lnTo>
                    <a:pt x="60" y="88"/>
                  </a:lnTo>
                  <a:lnTo>
                    <a:pt x="61" y="88"/>
                  </a:lnTo>
                  <a:lnTo>
                    <a:pt x="63" y="89"/>
                  </a:lnTo>
                  <a:lnTo>
                    <a:pt x="63" y="91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3" y="94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57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47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99"/>
                  </a:lnTo>
                  <a:lnTo>
                    <a:pt x="41" y="101"/>
                  </a:lnTo>
                  <a:lnTo>
                    <a:pt x="40" y="102"/>
                  </a:lnTo>
                  <a:lnTo>
                    <a:pt x="38" y="105"/>
                  </a:lnTo>
                  <a:lnTo>
                    <a:pt x="37" y="107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6" y="109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1" y="107"/>
                  </a:lnTo>
                  <a:lnTo>
                    <a:pt x="30" y="108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7" y="107"/>
                  </a:lnTo>
                  <a:lnTo>
                    <a:pt x="26" y="107"/>
                  </a:lnTo>
                  <a:lnTo>
                    <a:pt x="23" y="105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0" y="108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6" y="108"/>
                  </a:lnTo>
                  <a:lnTo>
                    <a:pt x="11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13" y="104"/>
                  </a:lnTo>
                  <a:lnTo>
                    <a:pt x="14" y="104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0" y="102"/>
                  </a:lnTo>
                  <a:lnTo>
                    <a:pt x="9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10" y="95"/>
                  </a:lnTo>
                  <a:lnTo>
                    <a:pt x="11" y="94"/>
                  </a:lnTo>
                  <a:lnTo>
                    <a:pt x="16" y="91"/>
                  </a:lnTo>
                  <a:lnTo>
                    <a:pt x="17" y="91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89"/>
                  </a:lnTo>
                  <a:lnTo>
                    <a:pt x="17" y="89"/>
                  </a:lnTo>
                  <a:lnTo>
                    <a:pt x="14" y="89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7" y="78"/>
                  </a:lnTo>
                  <a:lnTo>
                    <a:pt x="17" y="78"/>
                  </a:lnTo>
                  <a:lnTo>
                    <a:pt x="16" y="75"/>
                  </a:lnTo>
                  <a:lnTo>
                    <a:pt x="16" y="74"/>
                  </a:lnTo>
                  <a:lnTo>
                    <a:pt x="13" y="72"/>
                  </a:lnTo>
                  <a:lnTo>
                    <a:pt x="11" y="72"/>
                  </a:lnTo>
                  <a:lnTo>
                    <a:pt x="9" y="69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3" y="68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1" y="59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1" y="52"/>
                  </a:lnTo>
                  <a:lnTo>
                    <a:pt x="13" y="51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8" y="48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6" y="44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8" y="41"/>
                  </a:lnTo>
                  <a:lnTo>
                    <a:pt x="30" y="39"/>
                  </a:lnTo>
                  <a:lnTo>
                    <a:pt x="31" y="38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2"/>
                  </a:lnTo>
                  <a:lnTo>
                    <a:pt x="36" y="29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4" y="29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7" y="31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3" y="32"/>
                  </a:lnTo>
                  <a:lnTo>
                    <a:pt x="57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1" y="34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29"/>
                  </a:lnTo>
                  <a:lnTo>
                    <a:pt x="63" y="28"/>
                  </a:lnTo>
                  <a:lnTo>
                    <a:pt x="61" y="28"/>
                  </a:lnTo>
                  <a:lnTo>
                    <a:pt x="60" y="27"/>
                  </a:lnTo>
                  <a:lnTo>
                    <a:pt x="60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8" y="21"/>
                  </a:lnTo>
                  <a:lnTo>
                    <a:pt x="70" y="19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2"/>
                  </a:lnTo>
                  <a:lnTo>
                    <a:pt x="80" y="11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4" y="12"/>
                  </a:lnTo>
                  <a:lnTo>
                    <a:pt x="84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7" y="5"/>
                  </a:lnTo>
                  <a:lnTo>
                    <a:pt x="87" y="4"/>
                  </a:lnTo>
                  <a:lnTo>
                    <a:pt x="87" y="2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1" y="0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5"/>
                  </a:lnTo>
                  <a:lnTo>
                    <a:pt x="94" y="7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close/>
                  <a:moveTo>
                    <a:pt x="9" y="72"/>
                  </a:moveTo>
                  <a:lnTo>
                    <a:pt x="7" y="74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5" name="Google Shape;245;p3"/>
            <p:cNvSpPr/>
            <p:nvPr/>
          </p:nvSpPr>
          <p:spPr>
            <a:xfrm>
              <a:off x="5366650" y="3953575"/>
              <a:ext cx="56104" cy="67173"/>
            </a:xfrm>
            <a:custGeom>
              <a:rect b="b" l="l" r="r" t="t"/>
              <a:pathLst>
                <a:path extrusionOk="0" h="107" w="80">
                  <a:moveTo>
                    <a:pt x="10" y="17"/>
                  </a:moveTo>
                  <a:lnTo>
                    <a:pt x="11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2" y="13"/>
                  </a:lnTo>
                  <a:lnTo>
                    <a:pt x="14" y="10"/>
                  </a:lnTo>
                  <a:lnTo>
                    <a:pt x="15" y="9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7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9"/>
                  </a:lnTo>
                  <a:lnTo>
                    <a:pt x="45" y="15"/>
                  </a:lnTo>
                  <a:lnTo>
                    <a:pt x="50" y="19"/>
                  </a:lnTo>
                  <a:lnTo>
                    <a:pt x="54" y="27"/>
                  </a:lnTo>
                  <a:lnTo>
                    <a:pt x="55" y="32"/>
                  </a:lnTo>
                  <a:lnTo>
                    <a:pt x="55" y="35"/>
                  </a:lnTo>
                  <a:lnTo>
                    <a:pt x="55" y="37"/>
                  </a:lnTo>
                  <a:lnTo>
                    <a:pt x="55" y="40"/>
                  </a:lnTo>
                  <a:lnTo>
                    <a:pt x="55" y="43"/>
                  </a:lnTo>
                  <a:lnTo>
                    <a:pt x="55" y="45"/>
                  </a:lnTo>
                  <a:lnTo>
                    <a:pt x="54" y="46"/>
                  </a:lnTo>
                  <a:lnTo>
                    <a:pt x="54" y="49"/>
                  </a:lnTo>
                  <a:lnTo>
                    <a:pt x="54" y="50"/>
                  </a:lnTo>
                  <a:lnTo>
                    <a:pt x="54" y="52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3"/>
                  </a:lnTo>
                  <a:lnTo>
                    <a:pt x="55" y="59"/>
                  </a:lnTo>
                  <a:lnTo>
                    <a:pt x="55" y="62"/>
                  </a:lnTo>
                  <a:lnTo>
                    <a:pt x="54" y="66"/>
                  </a:lnTo>
                  <a:lnTo>
                    <a:pt x="51" y="69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5" y="70"/>
                  </a:lnTo>
                  <a:lnTo>
                    <a:pt x="42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38" y="72"/>
                  </a:lnTo>
                  <a:lnTo>
                    <a:pt x="40" y="73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7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0" y="73"/>
                  </a:lnTo>
                  <a:lnTo>
                    <a:pt x="28" y="73"/>
                  </a:lnTo>
                  <a:lnTo>
                    <a:pt x="27" y="73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8" y="76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6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2" y="76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4" y="79"/>
                  </a:lnTo>
                  <a:lnTo>
                    <a:pt x="22" y="80"/>
                  </a:lnTo>
                  <a:lnTo>
                    <a:pt x="22" y="82"/>
                  </a:lnTo>
                  <a:lnTo>
                    <a:pt x="21" y="83"/>
                  </a:lnTo>
                  <a:lnTo>
                    <a:pt x="18" y="80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1" y="77"/>
                  </a:lnTo>
                  <a:lnTo>
                    <a:pt x="20" y="77"/>
                  </a:lnTo>
                  <a:lnTo>
                    <a:pt x="17" y="80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0" y="83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8" y="82"/>
                  </a:lnTo>
                  <a:lnTo>
                    <a:pt x="5" y="80"/>
                  </a:lnTo>
                  <a:lnTo>
                    <a:pt x="4" y="79"/>
                  </a:lnTo>
                  <a:lnTo>
                    <a:pt x="5" y="77"/>
                  </a:lnTo>
                  <a:lnTo>
                    <a:pt x="7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6"/>
                  </a:lnTo>
                  <a:lnTo>
                    <a:pt x="10" y="76"/>
                  </a:lnTo>
                  <a:lnTo>
                    <a:pt x="8" y="75"/>
                  </a:lnTo>
                  <a:lnTo>
                    <a:pt x="8" y="76"/>
                  </a:lnTo>
                  <a:lnTo>
                    <a:pt x="7" y="76"/>
                  </a:lnTo>
                  <a:lnTo>
                    <a:pt x="7" y="73"/>
                  </a:lnTo>
                  <a:lnTo>
                    <a:pt x="5" y="72"/>
                  </a:lnTo>
                  <a:lnTo>
                    <a:pt x="5" y="69"/>
                  </a:lnTo>
                  <a:lnTo>
                    <a:pt x="5" y="67"/>
                  </a:lnTo>
                  <a:lnTo>
                    <a:pt x="7" y="66"/>
                  </a:lnTo>
                  <a:lnTo>
                    <a:pt x="7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10" y="57"/>
                  </a:lnTo>
                  <a:lnTo>
                    <a:pt x="11" y="57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0" y="50"/>
                  </a:lnTo>
                  <a:lnTo>
                    <a:pt x="8" y="49"/>
                  </a:lnTo>
                  <a:lnTo>
                    <a:pt x="10" y="47"/>
                  </a:lnTo>
                  <a:lnTo>
                    <a:pt x="8" y="46"/>
                  </a:lnTo>
                  <a:lnTo>
                    <a:pt x="10" y="45"/>
                  </a:lnTo>
                  <a:lnTo>
                    <a:pt x="8" y="43"/>
                  </a:lnTo>
                  <a:lnTo>
                    <a:pt x="8" y="40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4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4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8" y="33"/>
                  </a:lnTo>
                  <a:lnTo>
                    <a:pt x="10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5" y="35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1" y="25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close/>
                  <a:moveTo>
                    <a:pt x="8" y="17"/>
                  </a:move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5" y="17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close/>
                  <a:moveTo>
                    <a:pt x="78" y="23"/>
                  </a:moveTo>
                  <a:lnTo>
                    <a:pt x="78" y="23"/>
                  </a:lnTo>
                  <a:lnTo>
                    <a:pt x="77" y="23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80" y="22"/>
                  </a:lnTo>
                  <a:lnTo>
                    <a:pt x="78" y="23"/>
                  </a:lnTo>
                  <a:close/>
                  <a:moveTo>
                    <a:pt x="7" y="43"/>
                  </a:moveTo>
                  <a:lnTo>
                    <a:pt x="7" y="45"/>
                  </a:lnTo>
                  <a:lnTo>
                    <a:pt x="5" y="43"/>
                  </a:lnTo>
                  <a:lnTo>
                    <a:pt x="5" y="40"/>
                  </a:lnTo>
                  <a:lnTo>
                    <a:pt x="7" y="42"/>
                  </a:lnTo>
                  <a:lnTo>
                    <a:pt x="7" y="43"/>
                  </a:lnTo>
                  <a:close/>
                  <a:moveTo>
                    <a:pt x="44" y="76"/>
                  </a:moveTo>
                  <a:lnTo>
                    <a:pt x="42" y="77"/>
                  </a:lnTo>
                  <a:lnTo>
                    <a:pt x="41" y="76"/>
                  </a:lnTo>
                  <a:lnTo>
                    <a:pt x="40" y="75"/>
                  </a:lnTo>
                  <a:lnTo>
                    <a:pt x="41" y="73"/>
                  </a:lnTo>
                  <a:lnTo>
                    <a:pt x="42" y="72"/>
                  </a:lnTo>
                  <a:lnTo>
                    <a:pt x="44" y="72"/>
                  </a:lnTo>
                  <a:lnTo>
                    <a:pt x="44" y="76"/>
                  </a:lnTo>
                  <a:close/>
                  <a:moveTo>
                    <a:pt x="32" y="76"/>
                  </a:moveTo>
                  <a:lnTo>
                    <a:pt x="32" y="77"/>
                  </a:lnTo>
                  <a:lnTo>
                    <a:pt x="32" y="77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0" y="77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2" y="75"/>
                  </a:lnTo>
                  <a:lnTo>
                    <a:pt x="32" y="76"/>
                  </a:lnTo>
                  <a:close/>
                  <a:moveTo>
                    <a:pt x="2" y="77"/>
                  </a:moveTo>
                  <a:lnTo>
                    <a:pt x="2" y="77"/>
                  </a:lnTo>
                  <a:lnTo>
                    <a:pt x="2" y="77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0" y="75"/>
                  </a:lnTo>
                  <a:lnTo>
                    <a:pt x="1" y="73"/>
                  </a:lnTo>
                  <a:lnTo>
                    <a:pt x="2" y="76"/>
                  </a:lnTo>
                  <a:lnTo>
                    <a:pt x="2" y="77"/>
                  </a:lnTo>
                  <a:close/>
                  <a:moveTo>
                    <a:pt x="28" y="79"/>
                  </a:moveTo>
                  <a:lnTo>
                    <a:pt x="28" y="80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close/>
                  <a:moveTo>
                    <a:pt x="4" y="85"/>
                  </a:moveTo>
                  <a:lnTo>
                    <a:pt x="2" y="85"/>
                  </a:lnTo>
                  <a:lnTo>
                    <a:pt x="2" y="85"/>
                  </a:lnTo>
                  <a:lnTo>
                    <a:pt x="1" y="83"/>
                  </a:lnTo>
                  <a:lnTo>
                    <a:pt x="2" y="83"/>
                  </a:lnTo>
                  <a:lnTo>
                    <a:pt x="4" y="82"/>
                  </a:lnTo>
                  <a:lnTo>
                    <a:pt x="4" y="80"/>
                  </a:lnTo>
                  <a:lnTo>
                    <a:pt x="5" y="80"/>
                  </a:lnTo>
                  <a:lnTo>
                    <a:pt x="7" y="82"/>
                  </a:lnTo>
                  <a:lnTo>
                    <a:pt x="5" y="83"/>
                  </a:lnTo>
                  <a:lnTo>
                    <a:pt x="4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1" y="86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3"/>
                  </a:lnTo>
                  <a:lnTo>
                    <a:pt x="12" y="85"/>
                  </a:lnTo>
                  <a:close/>
                  <a:moveTo>
                    <a:pt x="5" y="106"/>
                  </a:moveTo>
                  <a:lnTo>
                    <a:pt x="4" y="107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4" y="103"/>
                  </a:lnTo>
                  <a:lnTo>
                    <a:pt x="5" y="102"/>
                  </a:lnTo>
                  <a:lnTo>
                    <a:pt x="11" y="100"/>
                  </a:lnTo>
                  <a:lnTo>
                    <a:pt x="12" y="100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1" y="106"/>
                  </a:lnTo>
                  <a:lnTo>
                    <a:pt x="10" y="106"/>
                  </a:lnTo>
                  <a:lnTo>
                    <a:pt x="5" y="10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6" name="Google Shape;246;p3"/>
            <p:cNvSpPr/>
            <p:nvPr/>
          </p:nvSpPr>
          <p:spPr>
            <a:xfrm>
              <a:off x="4177249" y="3892052"/>
              <a:ext cx="18935" cy="18834"/>
            </a:xfrm>
            <a:custGeom>
              <a:rect b="b" l="l" r="r" t="t"/>
              <a:pathLst>
                <a:path extrusionOk="0" h="30" w="27">
                  <a:moveTo>
                    <a:pt x="24" y="21"/>
                  </a:moveTo>
                  <a:lnTo>
                    <a:pt x="24" y="21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4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3"/>
                  </a:lnTo>
                  <a:lnTo>
                    <a:pt x="15" y="24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5" y="21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1" y="18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7" y="8"/>
                  </a:lnTo>
                  <a:lnTo>
                    <a:pt x="7" y="8"/>
                  </a:lnTo>
                  <a:lnTo>
                    <a:pt x="5" y="7"/>
                  </a:lnTo>
                  <a:lnTo>
                    <a:pt x="7" y="7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1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3"/>
                  </a:lnTo>
                  <a:lnTo>
                    <a:pt x="14" y="3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0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7" name="Google Shape;247;p3"/>
            <p:cNvSpPr/>
            <p:nvPr/>
          </p:nvSpPr>
          <p:spPr>
            <a:xfrm>
              <a:off x="4473898" y="4056531"/>
              <a:ext cx="22442" cy="18206"/>
            </a:xfrm>
            <a:custGeom>
              <a:rect b="b" l="l" r="r" t="t"/>
              <a:pathLst>
                <a:path extrusionOk="0" h="29" w="32">
                  <a:moveTo>
                    <a:pt x="23" y="3"/>
                  </a:moveTo>
                  <a:lnTo>
                    <a:pt x="23" y="3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3" y="9"/>
                  </a:lnTo>
                  <a:lnTo>
                    <a:pt x="22" y="1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4" y="13"/>
                  </a:lnTo>
                  <a:lnTo>
                    <a:pt x="24" y="15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9" y="25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4" y="29"/>
                  </a:lnTo>
                  <a:lnTo>
                    <a:pt x="22" y="29"/>
                  </a:lnTo>
                  <a:lnTo>
                    <a:pt x="19" y="29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16" y="23"/>
                  </a:lnTo>
                  <a:lnTo>
                    <a:pt x="15" y="20"/>
                  </a:lnTo>
                  <a:lnTo>
                    <a:pt x="10" y="20"/>
                  </a:lnTo>
                  <a:lnTo>
                    <a:pt x="7" y="20"/>
                  </a:lnTo>
                  <a:lnTo>
                    <a:pt x="3" y="19"/>
                  </a:lnTo>
                  <a:lnTo>
                    <a:pt x="0" y="19"/>
                  </a:lnTo>
                  <a:lnTo>
                    <a:pt x="3" y="16"/>
                  </a:lnTo>
                  <a:lnTo>
                    <a:pt x="5" y="15"/>
                  </a:lnTo>
                  <a:lnTo>
                    <a:pt x="6" y="10"/>
                  </a:lnTo>
                  <a:lnTo>
                    <a:pt x="7" y="9"/>
                  </a:lnTo>
                  <a:lnTo>
                    <a:pt x="9" y="6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2"/>
                  </a:lnTo>
                  <a:lnTo>
                    <a:pt x="23" y="3"/>
                  </a:lnTo>
                  <a:close/>
                  <a:moveTo>
                    <a:pt x="29" y="9"/>
                  </a:moveTo>
                  <a:lnTo>
                    <a:pt x="27" y="10"/>
                  </a:lnTo>
                  <a:lnTo>
                    <a:pt x="27" y="10"/>
                  </a:lnTo>
                  <a:lnTo>
                    <a:pt x="26" y="9"/>
                  </a:lnTo>
                  <a:lnTo>
                    <a:pt x="26" y="6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0" y="6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9" y="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Google Shape;248;p3"/>
            <p:cNvSpPr/>
            <p:nvPr/>
          </p:nvSpPr>
          <p:spPr>
            <a:xfrm>
              <a:off x="3037639" y="4171416"/>
              <a:ext cx="18935" cy="5650"/>
            </a:xfrm>
            <a:custGeom>
              <a:rect b="b" l="l" r="r" t="t"/>
              <a:pathLst>
                <a:path extrusionOk="0" h="9" w="27">
                  <a:moveTo>
                    <a:pt x="26" y="0"/>
                  </a:moveTo>
                  <a:lnTo>
                    <a:pt x="24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6" y="0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  <a:moveTo>
                    <a:pt x="0" y="7"/>
                  </a:move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1" y="7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Google Shape;249;p3"/>
            <p:cNvSpPr/>
            <p:nvPr/>
          </p:nvSpPr>
          <p:spPr>
            <a:xfrm>
              <a:off x="4475300" y="3703716"/>
              <a:ext cx="457246" cy="224119"/>
            </a:xfrm>
            <a:custGeom>
              <a:rect b="b" l="l" r="r" t="t"/>
              <a:pathLst>
                <a:path extrusionOk="0" h="357" w="652">
                  <a:moveTo>
                    <a:pt x="652" y="166"/>
                  </a:moveTo>
                  <a:lnTo>
                    <a:pt x="650" y="164"/>
                  </a:lnTo>
                  <a:lnTo>
                    <a:pt x="647" y="164"/>
                  </a:lnTo>
                  <a:lnTo>
                    <a:pt x="646" y="164"/>
                  </a:lnTo>
                  <a:lnTo>
                    <a:pt x="644" y="166"/>
                  </a:lnTo>
                  <a:lnTo>
                    <a:pt x="643" y="166"/>
                  </a:lnTo>
                  <a:lnTo>
                    <a:pt x="643" y="167"/>
                  </a:lnTo>
                  <a:lnTo>
                    <a:pt x="642" y="168"/>
                  </a:lnTo>
                  <a:lnTo>
                    <a:pt x="643" y="171"/>
                  </a:lnTo>
                  <a:lnTo>
                    <a:pt x="642" y="174"/>
                  </a:lnTo>
                  <a:lnTo>
                    <a:pt x="642" y="176"/>
                  </a:lnTo>
                  <a:lnTo>
                    <a:pt x="639" y="178"/>
                  </a:lnTo>
                  <a:lnTo>
                    <a:pt x="639" y="180"/>
                  </a:lnTo>
                  <a:lnTo>
                    <a:pt x="636" y="180"/>
                  </a:lnTo>
                  <a:lnTo>
                    <a:pt x="634" y="180"/>
                  </a:lnTo>
                  <a:lnTo>
                    <a:pt x="632" y="181"/>
                  </a:lnTo>
                  <a:lnTo>
                    <a:pt x="627" y="181"/>
                  </a:lnTo>
                  <a:lnTo>
                    <a:pt x="626" y="183"/>
                  </a:lnTo>
                  <a:lnTo>
                    <a:pt x="626" y="184"/>
                  </a:lnTo>
                  <a:lnTo>
                    <a:pt x="624" y="186"/>
                  </a:lnTo>
                  <a:lnTo>
                    <a:pt x="624" y="187"/>
                  </a:lnTo>
                  <a:lnTo>
                    <a:pt x="623" y="190"/>
                  </a:lnTo>
                  <a:lnTo>
                    <a:pt x="623" y="193"/>
                  </a:lnTo>
                  <a:lnTo>
                    <a:pt x="623" y="197"/>
                  </a:lnTo>
                  <a:lnTo>
                    <a:pt x="624" y="201"/>
                  </a:lnTo>
                  <a:lnTo>
                    <a:pt x="624" y="203"/>
                  </a:lnTo>
                  <a:lnTo>
                    <a:pt x="624" y="206"/>
                  </a:lnTo>
                  <a:lnTo>
                    <a:pt x="626" y="207"/>
                  </a:lnTo>
                  <a:lnTo>
                    <a:pt x="624" y="208"/>
                  </a:lnTo>
                  <a:lnTo>
                    <a:pt x="623" y="211"/>
                  </a:lnTo>
                  <a:lnTo>
                    <a:pt x="623" y="213"/>
                  </a:lnTo>
                  <a:lnTo>
                    <a:pt x="622" y="214"/>
                  </a:lnTo>
                  <a:lnTo>
                    <a:pt x="620" y="214"/>
                  </a:lnTo>
                  <a:lnTo>
                    <a:pt x="619" y="214"/>
                  </a:lnTo>
                  <a:lnTo>
                    <a:pt x="616" y="216"/>
                  </a:lnTo>
                  <a:lnTo>
                    <a:pt x="614" y="217"/>
                  </a:lnTo>
                  <a:lnTo>
                    <a:pt x="612" y="218"/>
                  </a:lnTo>
                  <a:lnTo>
                    <a:pt x="612" y="218"/>
                  </a:lnTo>
                  <a:lnTo>
                    <a:pt x="610" y="218"/>
                  </a:lnTo>
                  <a:lnTo>
                    <a:pt x="610" y="217"/>
                  </a:lnTo>
                  <a:lnTo>
                    <a:pt x="609" y="216"/>
                  </a:lnTo>
                  <a:lnTo>
                    <a:pt x="607" y="216"/>
                  </a:lnTo>
                  <a:lnTo>
                    <a:pt x="607" y="216"/>
                  </a:lnTo>
                  <a:lnTo>
                    <a:pt x="604" y="216"/>
                  </a:lnTo>
                  <a:lnTo>
                    <a:pt x="602" y="216"/>
                  </a:lnTo>
                  <a:lnTo>
                    <a:pt x="600" y="216"/>
                  </a:lnTo>
                  <a:lnTo>
                    <a:pt x="599" y="216"/>
                  </a:lnTo>
                  <a:lnTo>
                    <a:pt x="596" y="216"/>
                  </a:lnTo>
                  <a:lnTo>
                    <a:pt x="594" y="214"/>
                  </a:lnTo>
                  <a:lnTo>
                    <a:pt x="593" y="214"/>
                  </a:lnTo>
                  <a:lnTo>
                    <a:pt x="590" y="213"/>
                  </a:lnTo>
                  <a:lnTo>
                    <a:pt x="586" y="211"/>
                  </a:lnTo>
                  <a:lnTo>
                    <a:pt x="585" y="210"/>
                  </a:lnTo>
                  <a:lnTo>
                    <a:pt x="583" y="211"/>
                  </a:lnTo>
                  <a:lnTo>
                    <a:pt x="583" y="211"/>
                  </a:lnTo>
                  <a:lnTo>
                    <a:pt x="583" y="214"/>
                  </a:lnTo>
                  <a:lnTo>
                    <a:pt x="582" y="216"/>
                  </a:lnTo>
                  <a:lnTo>
                    <a:pt x="579" y="224"/>
                  </a:lnTo>
                  <a:lnTo>
                    <a:pt x="577" y="230"/>
                  </a:lnTo>
                  <a:lnTo>
                    <a:pt x="576" y="234"/>
                  </a:lnTo>
                  <a:lnTo>
                    <a:pt x="575" y="238"/>
                  </a:lnTo>
                  <a:lnTo>
                    <a:pt x="573" y="243"/>
                  </a:lnTo>
                  <a:lnTo>
                    <a:pt x="572" y="246"/>
                  </a:lnTo>
                  <a:lnTo>
                    <a:pt x="572" y="247"/>
                  </a:lnTo>
                  <a:lnTo>
                    <a:pt x="572" y="248"/>
                  </a:lnTo>
                  <a:lnTo>
                    <a:pt x="572" y="250"/>
                  </a:lnTo>
                  <a:lnTo>
                    <a:pt x="573" y="250"/>
                  </a:lnTo>
                  <a:lnTo>
                    <a:pt x="576" y="251"/>
                  </a:lnTo>
                  <a:lnTo>
                    <a:pt x="576" y="251"/>
                  </a:lnTo>
                  <a:lnTo>
                    <a:pt x="576" y="253"/>
                  </a:lnTo>
                  <a:lnTo>
                    <a:pt x="576" y="254"/>
                  </a:lnTo>
                  <a:lnTo>
                    <a:pt x="576" y="256"/>
                  </a:lnTo>
                  <a:lnTo>
                    <a:pt x="576" y="257"/>
                  </a:lnTo>
                  <a:lnTo>
                    <a:pt x="575" y="258"/>
                  </a:lnTo>
                  <a:lnTo>
                    <a:pt x="575" y="258"/>
                  </a:lnTo>
                  <a:lnTo>
                    <a:pt x="573" y="257"/>
                  </a:lnTo>
                  <a:lnTo>
                    <a:pt x="572" y="257"/>
                  </a:lnTo>
                  <a:lnTo>
                    <a:pt x="570" y="256"/>
                  </a:lnTo>
                  <a:lnTo>
                    <a:pt x="569" y="257"/>
                  </a:lnTo>
                  <a:lnTo>
                    <a:pt x="566" y="257"/>
                  </a:lnTo>
                  <a:lnTo>
                    <a:pt x="566" y="257"/>
                  </a:lnTo>
                  <a:lnTo>
                    <a:pt x="565" y="257"/>
                  </a:lnTo>
                  <a:lnTo>
                    <a:pt x="563" y="256"/>
                  </a:lnTo>
                  <a:lnTo>
                    <a:pt x="563" y="254"/>
                  </a:lnTo>
                  <a:lnTo>
                    <a:pt x="562" y="253"/>
                  </a:lnTo>
                  <a:lnTo>
                    <a:pt x="560" y="254"/>
                  </a:lnTo>
                  <a:lnTo>
                    <a:pt x="556" y="256"/>
                  </a:lnTo>
                  <a:lnTo>
                    <a:pt x="552" y="257"/>
                  </a:lnTo>
                  <a:lnTo>
                    <a:pt x="547" y="258"/>
                  </a:lnTo>
                  <a:lnTo>
                    <a:pt x="547" y="258"/>
                  </a:lnTo>
                  <a:lnTo>
                    <a:pt x="545" y="258"/>
                  </a:lnTo>
                  <a:lnTo>
                    <a:pt x="543" y="258"/>
                  </a:lnTo>
                  <a:lnTo>
                    <a:pt x="542" y="260"/>
                  </a:lnTo>
                  <a:lnTo>
                    <a:pt x="537" y="260"/>
                  </a:lnTo>
                  <a:lnTo>
                    <a:pt x="536" y="261"/>
                  </a:lnTo>
                  <a:lnTo>
                    <a:pt x="533" y="263"/>
                  </a:lnTo>
                  <a:lnTo>
                    <a:pt x="532" y="264"/>
                  </a:lnTo>
                  <a:lnTo>
                    <a:pt x="532" y="264"/>
                  </a:lnTo>
                  <a:lnTo>
                    <a:pt x="533" y="266"/>
                  </a:lnTo>
                  <a:lnTo>
                    <a:pt x="535" y="266"/>
                  </a:lnTo>
                  <a:lnTo>
                    <a:pt x="536" y="266"/>
                  </a:lnTo>
                  <a:lnTo>
                    <a:pt x="539" y="266"/>
                  </a:lnTo>
                  <a:lnTo>
                    <a:pt x="540" y="266"/>
                  </a:lnTo>
                  <a:lnTo>
                    <a:pt x="542" y="267"/>
                  </a:lnTo>
                  <a:lnTo>
                    <a:pt x="542" y="267"/>
                  </a:lnTo>
                  <a:lnTo>
                    <a:pt x="542" y="268"/>
                  </a:lnTo>
                  <a:lnTo>
                    <a:pt x="540" y="268"/>
                  </a:lnTo>
                  <a:lnTo>
                    <a:pt x="540" y="268"/>
                  </a:lnTo>
                  <a:lnTo>
                    <a:pt x="540" y="270"/>
                  </a:lnTo>
                  <a:lnTo>
                    <a:pt x="540" y="271"/>
                  </a:lnTo>
                  <a:lnTo>
                    <a:pt x="540" y="274"/>
                  </a:lnTo>
                  <a:lnTo>
                    <a:pt x="540" y="276"/>
                  </a:lnTo>
                  <a:lnTo>
                    <a:pt x="540" y="278"/>
                  </a:lnTo>
                  <a:lnTo>
                    <a:pt x="540" y="280"/>
                  </a:lnTo>
                  <a:lnTo>
                    <a:pt x="540" y="281"/>
                  </a:lnTo>
                  <a:lnTo>
                    <a:pt x="540" y="283"/>
                  </a:lnTo>
                  <a:lnTo>
                    <a:pt x="542" y="284"/>
                  </a:lnTo>
                  <a:lnTo>
                    <a:pt x="542" y="286"/>
                  </a:lnTo>
                  <a:lnTo>
                    <a:pt x="545" y="290"/>
                  </a:lnTo>
                  <a:lnTo>
                    <a:pt x="545" y="293"/>
                  </a:lnTo>
                  <a:lnTo>
                    <a:pt x="546" y="296"/>
                  </a:lnTo>
                  <a:lnTo>
                    <a:pt x="545" y="298"/>
                  </a:lnTo>
                  <a:lnTo>
                    <a:pt x="545" y="298"/>
                  </a:lnTo>
                  <a:lnTo>
                    <a:pt x="546" y="300"/>
                  </a:lnTo>
                  <a:lnTo>
                    <a:pt x="546" y="301"/>
                  </a:lnTo>
                  <a:lnTo>
                    <a:pt x="547" y="301"/>
                  </a:lnTo>
                  <a:lnTo>
                    <a:pt x="547" y="303"/>
                  </a:lnTo>
                  <a:lnTo>
                    <a:pt x="546" y="303"/>
                  </a:lnTo>
                  <a:lnTo>
                    <a:pt x="545" y="303"/>
                  </a:lnTo>
                  <a:lnTo>
                    <a:pt x="543" y="304"/>
                  </a:lnTo>
                  <a:lnTo>
                    <a:pt x="540" y="304"/>
                  </a:lnTo>
                  <a:lnTo>
                    <a:pt x="540" y="306"/>
                  </a:lnTo>
                  <a:lnTo>
                    <a:pt x="540" y="306"/>
                  </a:lnTo>
                  <a:lnTo>
                    <a:pt x="540" y="306"/>
                  </a:lnTo>
                  <a:lnTo>
                    <a:pt x="542" y="307"/>
                  </a:lnTo>
                  <a:lnTo>
                    <a:pt x="543" y="307"/>
                  </a:lnTo>
                  <a:lnTo>
                    <a:pt x="543" y="308"/>
                  </a:lnTo>
                  <a:lnTo>
                    <a:pt x="542" y="308"/>
                  </a:lnTo>
                  <a:lnTo>
                    <a:pt x="539" y="310"/>
                  </a:lnTo>
                  <a:lnTo>
                    <a:pt x="537" y="311"/>
                  </a:lnTo>
                  <a:lnTo>
                    <a:pt x="537" y="313"/>
                  </a:lnTo>
                  <a:lnTo>
                    <a:pt x="537" y="314"/>
                  </a:lnTo>
                  <a:lnTo>
                    <a:pt x="537" y="315"/>
                  </a:lnTo>
                  <a:lnTo>
                    <a:pt x="537" y="318"/>
                  </a:lnTo>
                  <a:lnTo>
                    <a:pt x="539" y="321"/>
                  </a:lnTo>
                  <a:lnTo>
                    <a:pt x="539" y="323"/>
                  </a:lnTo>
                  <a:lnTo>
                    <a:pt x="537" y="323"/>
                  </a:lnTo>
                  <a:lnTo>
                    <a:pt x="537" y="323"/>
                  </a:lnTo>
                  <a:lnTo>
                    <a:pt x="536" y="321"/>
                  </a:lnTo>
                  <a:lnTo>
                    <a:pt x="533" y="318"/>
                  </a:lnTo>
                  <a:lnTo>
                    <a:pt x="532" y="317"/>
                  </a:lnTo>
                  <a:lnTo>
                    <a:pt x="527" y="317"/>
                  </a:lnTo>
                  <a:lnTo>
                    <a:pt x="526" y="317"/>
                  </a:lnTo>
                  <a:lnTo>
                    <a:pt x="525" y="317"/>
                  </a:lnTo>
                  <a:lnTo>
                    <a:pt x="525" y="315"/>
                  </a:lnTo>
                  <a:lnTo>
                    <a:pt x="523" y="314"/>
                  </a:lnTo>
                  <a:lnTo>
                    <a:pt x="522" y="313"/>
                  </a:lnTo>
                  <a:lnTo>
                    <a:pt x="520" y="311"/>
                  </a:lnTo>
                  <a:lnTo>
                    <a:pt x="520" y="310"/>
                  </a:lnTo>
                  <a:lnTo>
                    <a:pt x="519" y="311"/>
                  </a:lnTo>
                  <a:lnTo>
                    <a:pt x="517" y="310"/>
                  </a:lnTo>
                  <a:lnTo>
                    <a:pt x="516" y="310"/>
                  </a:lnTo>
                  <a:lnTo>
                    <a:pt x="515" y="310"/>
                  </a:lnTo>
                  <a:lnTo>
                    <a:pt x="513" y="310"/>
                  </a:lnTo>
                  <a:lnTo>
                    <a:pt x="510" y="308"/>
                  </a:lnTo>
                  <a:lnTo>
                    <a:pt x="509" y="308"/>
                  </a:lnTo>
                  <a:lnTo>
                    <a:pt x="507" y="308"/>
                  </a:lnTo>
                  <a:lnTo>
                    <a:pt x="503" y="308"/>
                  </a:lnTo>
                  <a:lnTo>
                    <a:pt x="499" y="308"/>
                  </a:lnTo>
                  <a:lnTo>
                    <a:pt x="496" y="307"/>
                  </a:lnTo>
                  <a:lnTo>
                    <a:pt x="495" y="307"/>
                  </a:lnTo>
                  <a:lnTo>
                    <a:pt x="493" y="307"/>
                  </a:lnTo>
                  <a:lnTo>
                    <a:pt x="492" y="307"/>
                  </a:lnTo>
                  <a:lnTo>
                    <a:pt x="490" y="307"/>
                  </a:lnTo>
                  <a:lnTo>
                    <a:pt x="488" y="306"/>
                  </a:lnTo>
                  <a:lnTo>
                    <a:pt x="486" y="306"/>
                  </a:lnTo>
                  <a:lnTo>
                    <a:pt x="486" y="306"/>
                  </a:lnTo>
                  <a:lnTo>
                    <a:pt x="480" y="307"/>
                  </a:lnTo>
                  <a:lnTo>
                    <a:pt x="479" y="307"/>
                  </a:lnTo>
                  <a:lnTo>
                    <a:pt x="473" y="307"/>
                  </a:lnTo>
                  <a:lnTo>
                    <a:pt x="469" y="307"/>
                  </a:lnTo>
                  <a:lnTo>
                    <a:pt x="468" y="307"/>
                  </a:lnTo>
                  <a:lnTo>
                    <a:pt x="468" y="307"/>
                  </a:lnTo>
                  <a:lnTo>
                    <a:pt x="465" y="308"/>
                  </a:lnTo>
                  <a:lnTo>
                    <a:pt x="465" y="310"/>
                  </a:lnTo>
                  <a:lnTo>
                    <a:pt x="460" y="308"/>
                  </a:lnTo>
                  <a:lnTo>
                    <a:pt x="455" y="307"/>
                  </a:lnTo>
                  <a:lnTo>
                    <a:pt x="452" y="306"/>
                  </a:lnTo>
                  <a:lnTo>
                    <a:pt x="448" y="304"/>
                  </a:lnTo>
                  <a:lnTo>
                    <a:pt x="445" y="301"/>
                  </a:lnTo>
                  <a:lnTo>
                    <a:pt x="442" y="300"/>
                  </a:lnTo>
                  <a:lnTo>
                    <a:pt x="442" y="301"/>
                  </a:lnTo>
                  <a:lnTo>
                    <a:pt x="440" y="301"/>
                  </a:lnTo>
                  <a:lnTo>
                    <a:pt x="439" y="301"/>
                  </a:lnTo>
                  <a:lnTo>
                    <a:pt x="438" y="301"/>
                  </a:lnTo>
                  <a:lnTo>
                    <a:pt x="436" y="303"/>
                  </a:lnTo>
                  <a:lnTo>
                    <a:pt x="433" y="304"/>
                  </a:lnTo>
                  <a:lnTo>
                    <a:pt x="432" y="304"/>
                  </a:lnTo>
                  <a:lnTo>
                    <a:pt x="430" y="306"/>
                  </a:lnTo>
                  <a:lnTo>
                    <a:pt x="429" y="311"/>
                  </a:lnTo>
                  <a:lnTo>
                    <a:pt x="429" y="314"/>
                  </a:lnTo>
                  <a:lnTo>
                    <a:pt x="430" y="318"/>
                  </a:lnTo>
                  <a:lnTo>
                    <a:pt x="429" y="318"/>
                  </a:lnTo>
                  <a:lnTo>
                    <a:pt x="428" y="317"/>
                  </a:lnTo>
                  <a:lnTo>
                    <a:pt x="426" y="315"/>
                  </a:lnTo>
                  <a:lnTo>
                    <a:pt x="425" y="315"/>
                  </a:lnTo>
                  <a:lnTo>
                    <a:pt x="420" y="315"/>
                  </a:lnTo>
                  <a:lnTo>
                    <a:pt x="419" y="314"/>
                  </a:lnTo>
                  <a:lnTo>
                    <a:pt x="418" y="313"/>
                  </a:lnTo>
                  <a:lnTo>
                    <a:pt x="416" y="313"/>
                  </a:lnTo>
                  <a:lnTo>
                    <a:pt x="415" y="313"/>
                  </a:lnTo>
                  <a:lnTo>
                    <a:pt x="410" y="311"/>
                  </a:lnTo>
                  <a:lnTo>
                    <a:pt x="409" y="311"/>
                  </a:lnTo>
                  <a:lnTo>
                    <a:pt x="403" y="310"/>
                  </a:lnTo>
                  <a:lnTo>
                    <a:pt x="402" y="310"/>
                  </a:lnTo>
                  <a:lnTo>
                    <a:pt x="402" y="310"/>
                  </a:lnTo>
                  <a:lnTo>
                    <a:pt x="400" y="310"/>
                  </a:lnTo>
                  <a:lnTo>
                    <a:pt x="399" y="310"/>
                  </a:lnTo>
                  <a:lnTo>
                    <a:pt x="398" y="310"/>
                  </a:lnTo>
                  <a:lnTo>
                    <a:pt x="395" y="311"/>
                  </a:lnTo>
                  <a:lnTo>
                    <a:pt x="393" y="313"/>
                  </a:lnTo>
                  <a:lnTo>
                    <a:pt x="392" y="314"/>
                  </a:lnTo>
                  <a:lnTo>
                    <a:pt x="391" y="315"/>
                  </a:lnTo>
                  <a:lnTo>
                    <a:pt x="391" y="317"/>
                  </a:lnTo>
                  <a:lnTo>
                    <a:pt x="389" y="318"/>
                  </a:lnTo>
                  <a:lnTo>
                    <a:pt x="389" y="320"/>
                  </a:lnTo>
                  <a:lnTo>
                    <a:pt x="389" y="321"/>
                  </a:lnTo>
                  <a:lnTo>
                    <a:pt x="389" y="321"/>
                  </a:lnTo>
                  <a:lnTo>
                    <a:pt x="388" y="323"/>
                  </a:lnTo>
                  <a:lnTo>
                    <a:pt x="386" y="323"/>
                  </a:lnTo>
                  <a:lnTo>
                    <a:pt x="386" y="324"/>
                  </a:lnTo>
                  <a:lnTo>
                    <a:pt x="385" y="324"/>
                  </a:lnTo>
                  <a:lnTo>
                    <a:pt x="383" y="325"/>
                  </a:lnTo>
                  <a:lnTo>
                    <a:pt x="383" y="327"/>
                  </a:lnTo>
                  <a:lnTo>
                    <a:pt x="383" y="325"/>
                  </a:lnTo>
                  <a:lnTo>
                    <a:pt x="382" y="325"/>
                  </a:lnTo>
                  <a:lnTo>
                    <a:pt x="381" y="325"/>
                  </a:lnTo>
                  <a:lnTo>
                    <a:pt x="379" y="327"/>
                  </a:lnTo>
                  <a:lnTo>
                    <a:pt x="378" y="328"/>
                  </a:lnTo>
                  <a:lnTo>
                    <a:pt x="376" y="331"/>
                  </a:lnTo>
                  <a:lnTo>
                    <a:pt x="373" y="333"/>
                  </a:lnTo>
                  <a:lnTo>
                    <a:pt x="371" y="334"/>
                  </a:lnTo>
                  <a:lnTo>
                    <a:pt x="369" y="334"/>
                  </a:lnTo>
                  <a:lnTo>
                    <a:pt x="368" y="335"/>
                  </a:lnTo>
                  <a:lnTo>
                    <a:pt x="365" y="337"/>
                  </a:lnTo>
                  <a:lnTo>
                    <a:pt x="363" y="338"/>
                  </a:lnTo>
                  <a:lnTo>
                    <a:pt x="362" y="338"/>
                  </a:lnTo>
                  <a:lnTo>
                    <a:pt x="361" y="340"/>
                  </a:lnTo>
                  <a:lnTo>
                    <a:pt x="359" y="341"/>
                  </a:lnTo>
                  <a:lnTo>
                    <a:pt x="359" y="343"/>
                  </a:lnTo>
                  <a:lnTo>
                    <a:pt x="358" y="344"/>
                  </a:lnTo>
                  <a:lnTo>
                    <a:pt x="356" y="345"/>
                  </a:lnTo>
                  <a:lnTo>
                    <a:pt x="353" y="347"/>
                  </a:lnTo>
                  <a:lnTo>
                    <a:pt x="353" y="350"/>
                  </a:lnTo>
                  <a:lnTo>
                    <a:pt x="352" y="351"/>
                  </a:lnTo>
                  <a:lnTo>
                    <a:pt x="351" y="353"/>
                  </a:lnTo>
                  <a:lnTo>
                    <a:pt x="351" y="353"/>
                  </a:lnTo>
                  <a:lnTo>
                    <a:pt x="352" y="354"/>
                  </a:lnTo>
                  <a:lnTo>
                    <a:pt x="352" y="355"/>
                  </a:lnTo>
                  <a:lnTo>
                    <a:pt x="352" y="357"/>
                  </a:lnTo>
                  <a:lnTo>
                    <a:pt x="351" y="357"/>
                  </a:lnTo>
                  <a:lnTo>
                    <a:pt x="349" y="357"/>
                  </a:lnTo>
                  <a:lnTo>
                    <a:pt x="346" y="355"/>
                  </a:lnTo>
                  <a:lnTo>
                    <a:pt x="345" y="354"/>
                  </a:lnTo>
                  <a:lnTo>
                    <a:pt x="343" y="354"/>
                  </a:lnTo>
                  <a:lnTo>
                    <a:pt x="343" y="353"/>
                  </a:lnTo>
                  <a:lnTo>
                    <a:pt x="343" y="351"/>
                  </a:lnTo>
                  <a:lnTo>
                    <a:pt x="343" y="350"/>
                  </a:lnTo>
                  <a:lnTo>
                    <a:pt x="343" y="348"/>
                  </a:lnTo>
                  <a:lnTo>
                    <a:pt x="343" y="347"/>
                  </a:lnTo>
                  <a:lnTo>
                    <a:pt x="342" y="347"/>
                  </a:lnTo>
                  <a:lnTo>
                    <a:pt x="342" y="345"/>
                  </a:lnTo>
                  <a:lnTo>
                    <a:pt x="341" y="344"/>
                  </a:lnTo>
                  <a:lnTo>
                    <a:pt x="341" y="344"/>
                  </a:lnTo>
                  <a:lnTo>
                    <a:pt x="339" y="345"/>
                  </a:lnTo>
                  <a:lnTo>
                    <a:pt x="338" y="344"/>
                  </a:lnTo>
                  <a:lnTo>
                    <a:pt x="335" y="344"/>
                  </a:lnTo>
                  <a:lnTo>
                    <a:pt x="332" y="344"/>
                  </a:lnTo>
                  <a:lnTo>
                    <a:pt x="329" y="345"/>
                  </a:lnTo>
                  <a:lnTo>
                    <a:pt x="326" y="345"/>
                  </a:lnTo>
                  <a:lnTo>
                    <a:pt x="323" y="345"/>
                  </a:lnTo>
                  <a:lnTo>
                    <a:pt x="322" y="345"/>
                  </a:lnTo>
                  <a:lnTo>
                    <a:pt x="322" y="344"/>
                  </a:lnTo>
                  <a:lnTo>
                    <a:pt x="321" y="343"/>
                  </a:lnTo>
                  <a:lnTo>
                    <a:pt x="321" y="341"/>
                  </a:lnTo>
                  <a:lnTo>
                    <a:pt x="319" y="338"/>
                  </a:lnTo>
                  <a:lnTo>
                    <a:pt x="319" y="335"/>
                  </a:lnTo>
                  <a:lnTo>
                    <a:pt x="319" y="333"/>
                  </a:lnTo>
                  <a:lnTo>
                    <a:pt x="318" y="330"/>
                  </a:lnTo>
                  <a:lnTo>
                    <a:pt x="318" y="327"/>
                  </a:lnTo>
                  <a:lnTo>
                    <a:pt x="315" y="327"/>
                  </a:lnTo>
                  <a:lnTo>
                    <a:pt x="313" y="327"/>
                  </a:lnTo>
                  <a:lnTo>
                    <a:pt x="311" y="327"/>
                  </a:lnTo>
                  <a:lnTo>
                    <a:pt x="311" y="325"/>
                  </a:lnTo>
                  <a:lnTo>
                    <a:pt x="311" y="323"/>
                  </a:lnTo>
                  <a:lnTo>
                    <a:pt x="311" y="320"/>
                  </a:lnTo>
                  <a:lnTo>
                    <a:pt x="311" y="317"/>
                  </a:lnTo>
                  <a:lnTo>
                    <a:pt x="311" y="314"/>
                  </a:lnTo>
                  <a:lnTo>
                    <a:pt x="312" y="310"/>
                  </a:lnTo>
                  <a:lnTo>
                    <a:pt x="312" y="308"/>
                  </a:lnTo>
                  <a:lnTo>
                    <a:pt x="312" y="306"/>
                  </a:lnTo>
                  <a:lnTo>
                    <a:pt x="311" y="307"/>
                  </a:lnTo>
                  <a:lnTo>
                    <a:pt x="309" y="307"/>
                  </a:lnTo>
                  <a:lnTo>
                    <a:pt x="306" y="308"/>
                  </a:lnTo>
                  <a:lnTo>
                    <a:pt x="306" y="306"/>
                  </a:lnTo>
                  <a:lnTo>
                    <a:pt x="305" y="304"/>
                  </a:lnTo>
                  <a:lnTo>
                    <a:pt x="304" y="301"/>
                  </a:lnTo>
                  <a:lnTo>
                    <a:pt x="302" y="298"/>
                  </a:lnTo>
                  <a:lnTo>
                    <a:pt x="301" y="297"/>
                  </a:lnTo>
                  <a:lnTo>
                    <a:pt x="298" y="297"/>
                  </a:lnTo>
                  <a:lnTo>
                    <a:pt x="296" y="294"/>
                  </a:lnTo>
                  <a:lnTo>
                    <a:pt x="295" y="293"/>
                  </a:lnTo>
                  <a:lnTo>
                    <a:pt x="294" y="291"/>
                  </a:lnTo>
                  <a:lnTo>
                    <a:pt x="292" y="290"/>
                  </a:lnTo>
                  <a:lnTo>
                    <a:pt x="291" y="290"/>
                  </a:lnTo>
                  <a:lnTo>
                    <a:pt x="289" y="291"/>
                  </a:lnTo>
                  <a:lnTo>
                    <a:pt x="288" y="291"/>
                  </a:lnTo>
                  <a:lnTo>
                    <a:pt x="286" y="293"/>
                  </a:lnTo>
                  <a:lnTo>
                    <a:pt x="285" y="293"/>
                  </a:lnTo>
                  <a:lnTo>
                    <a:pt x="284" y="293"/>
                  </a:lnTo>
                  <a:lnTo>
                    <a:pt x="282" y="293"/>
                  </a:lnTo>
                  <a:lnTo>
                    <a:pt x="278" y="293"/>
                  </a:lnTo>
                  <a:lnTo>
                    <a:pt x="276" y="293"/>
                  </a:lnTo>
                  <a:lnTo>
                    <a:pt x="274" y="293"/>
                  </a:lnTo>
                  <a:lnTo>
                    <a:pt x="269" y="291"/>
                  </a:lnTo>
                  <a:lnTo>
                    <a:pt x="265" y="291"/>
                  </a:lnTo>
                  <a:lnTo>
                    <a:pt x="264" y="293"/>
                  </a:lnTo>
                  <a:lnTo>
                    <a:pt x="259" y="293"/>
                  </a:lnTo>
                  <a:lnTo>
                    <a:pt x="256" y="293"/>
                  </a:lnTo>
                  <a:lnTo>
                    <a:pt x="254" y="294"/>
                  </a:lnTo>
                  <a:lnTo>
                    <a:pt x="249" y="294"/>
                  </a:lnTo>
                  <a:lnTo>
                    <a:pt x="248" y="294"/>
                  </a:lnTo>
                  <a:lnTo>
                    <a:pt x="246" y="294"/>
                  </a:lnTo>
                  <a:lnTo>
                    <a:pt x="245" y="293"/>
                  </a:lnTo>
                  <a:lnTo>
                    <a:pt x="242" y="290"/>
                  </a:lnTo>
                  <a:lnTo>
                    <a:pt x="241" y="288"/>
                  </a:lnTo>
                  <a:lnTo>
                    <a:pt x="238" y="286"/>
                  </a:lnTo>
                  <a:lnTo>
                    <a:pt x="236" y="284"/>
                  </a:lnTo>
                  <a:lnTo>
                    <a:pt x="235" y="281"/>
                  </a:lnTo>
                  <a:lnTo>
                    <a:pt x="232" y="280"/>
                  </a:lnTo>
                  <a:lnTo>
                    <a:pt x="232" y="278"/>
                  </a:lnTo>
                  <a:lnTo>
                    <a:pt x="231" y="276"/>
                  </a:lnTo>
                  <a:lnTo>
                    <a:pt x="231" y="274"/>
                  </a:lnTo>
                  <a:lnTo>
                    <a:pt x="228" y="273"/>
                  </a:lnTo>
                  <a:lnTo>
                    <a:pt x="226" y="271"/>
                  </a:lnTo>
                  <a:lnTo>
                    <a:pt x="224" y="270"/>
                  </a:lnTo>
                  <a:lnTo>
                    <a:pt x="222" y="268"/>
                  </a:lnTo>
                  <a:lnTo>
                    <a:pt x="219" y="267"/>
                  </a:lnTo>
                  <a:lnTo>
                    <a:pt x="216" y="266"/>
                  </a:lnTo>
                  <a:lnTo>
                    <a:pt x="215" y="264"/>
                  </a:lnTo>
                  <a:lnTo>
                    <a:pt x="212" y="263"/>
                  </a:lnTo>
                  <a:lnTo>
                    <a:pt x="211" y="261"/>
                  </a:lnTo>
                  <a:lnTo>
                    <a:pt x="208" y="260"/>
                  </a:lnTo>
                  <a:lnTo>
                    <a:pt x="207" y="258"/>
                  </a:lnTo>
                  <a:lnTo>
                    <a:pt x="204" y="257"/>
                  </a:lnTo>
                  <a:lnTo>
                    <a:pt x="202" y="256"/>
                  </a:lnTo>
                  <a:lnTo>
                    <a:pt x="199" y="254"/>
                  </a:lnTo>
                  <a:lnTo>
                    <a:pt x="198" y="253"/>
                  </a:lnTo>
                  <a:lnTo>
                    <a:pt x="195" y="251"/>
                  </a:lnTo>
                  <a:lnTo>
                    <a:pt x="192" y="250"/>
                  </a:lnTo>
                  <a:lnTo>
                    <a:pt x="191" y="248"/>
                  </a:lnTo>
                  <a:lnTo>
                    <a:pt x="189" y="248"/>
                  </a:lnTo>
                  <a:lnTo>
                    <a:pt x="187" y="250"/>
                  </a:lnTo>
                  <a:lnTo>
                    <a:pt x="184" y="250"/>
                  </a:lnTo>
                  <a:lnTo>
                    <a:pt x="181" y="251"/>
                  </a:lnTo>
                  <a:lnTo>
                    <a:pt x="177" y="253"/>
                  </a:lnTo>
                  <a:lnTo>
                    <a:pt x="174" y="253"/>
                  </a:lnTo>
                  <a:lnTo>
                    <a:pt x="171" y="254"/>
                  </a:lnTo>
                  <a:lnTo>
                    <a:pt x="169" y="256"/>
                  </a:lnTo>
                  <a:lnTo>
                    <a:pt x="165" y="256"/>
                  </a:lnTo>
                  <a:lnTo>
                    <a:pt x="162" y="257"/>
                  </a:lnTo>
                  <a:lnTo>
                    <a:pt x="159" y="258"/>
                  </a:lnTo>
                  <a:lnTo>
                    <a:pt x="157" y="258"/>
                  </a:lnTo>
                  <a:lnTo>
                    <a:pt x="154" y="260"/>
                  </a:lnTo>
                  <a:lnTo>
                    <a:pt x="152" y="260"/>
                  </a:lnTo>
                  <a:lnTo>
                    <a:pt x="149" y="261"/>
                  </a:lnTo>
                  <a:lnTo>
                    <a:pt x="149" y="267"/>
                  </a:lnTo>
                  <a:lnTo>
                    <a:pt x="149" y="271"/>
                  </a:lnTo>
                  <a:lnTo>
                    <a:pt x="149" y="277"/>
                  </a:lnTo>
                  <a:lnTo>
                    <a:pt x="149" y="281"/>
                  </a:lnTo>
                  <a:lnTo>
                    <a:pt x="149" y="287"/>
                  </a:lnTo>
                  <a:lnTo>
                    <a:pt x="149" y="291"/>
                  </a:lnTo>
                  <a:lnTo>
                    <a:pt x="149" y="297"/>
                  </a:lnTo>
                  <a:lnTo>
                    <a:pt x="149" y="303"/>
                  </a:lnTo>
                  <a:lnTo>
                    <a:pt x="149" y="307"/>
                  </a:lnTo>
                  <a:lnTo>
                    <a:pt x="149" y="313"/>
                  </a:lnTo>
                  <a:lnTo>
                    <a:pt x="149" y="317"/>
                  </a:lnTo>
                  <a:lnTo>
                    <a:pt x="149" y="321"/>
                  </a:lnTo>
                  <a:lnTo>
                    <a:pt x="149" y="327"/>
                  </a:lnTo>
                  <a:lnTo>
                    <a:pt x="149" y="331"/>
                  </a:lnTo>
                  <a:lnTo>
                    <a:pt x="149" y="337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8" y="341"/>
                  </a:lnTo>
                  <a:lnTo>
                    <a:pt x="145" y="343"/>
                  </a:lnTo>
                  <a:lnTo>
                    <a:pt x="142" y="343"/>
                  </a:lnTo>
                  <a:lnTo>
                    <a:pt x="142" y="343"/>
                  </a:lnTo>
                  <a:lnTo>
                    <a:pt x="141" y="343"/>
                  </a:lnTo>
                  <a:lnTo>
                    <a:pt x="141" y="341"/>
                  </a:lnTo>
                  <a:lnTo>
                    <a:pt x="139" y="340"/>
                  </a:lnTo>
                  <a:lnTo>
                    <a:pt x="138" y="338"/>
                  </a:lnTo>
                  <a:lnTo>
                    <a:pt x="137" y="337"/>
                  </a:lnTo>
                  <a:lnTo>
                    <a:pt x="135" y="335"/>
                  </a:lnTo>
                  <a:lnTo>
                    <a:pt x="134" y="331"/>
                  </a:lnTo>
                  <a:lnTo>
                    <a:pt x="132" y="330"/>
                  </a:lnTo>
                  <a:lnTo>
                    <a:pt x="132" y="328"/>
                  </a:lnTo>
                  <a:lnTo>
                    <a:pt x="132" y="328"/>
                  </a:lnTo>
                  <a:lnTo>
                    <a:pt x="129" y="325"/>
                  </a:lnTo>
                  <a:lnTo>
                    <a:pt x="125" y="323"/>
                  </a:lnTo>
                  <a:lnTo>
                    <a:pt x="122" y="321"/>
                  </a:lnTo>
                  <a:lnTo>
                    <a:pt x="121" y="321"/>
                  </a:lnTo>
                  <a:lnTo>
                    <a:pt x="119" y="320"/>
                  </a:lnTo>
                  <a:lnTo>
                    <a:pt x="118" y="320"/>
                  </a:lnTo>
                  <a:lnTo>
                    <a:pt x="117" y="320"/>
                  </a:lnTo>
                  <a:lnTo>
                    <a:pt x="112" y="321"/>
                  </a:lnTo>
                  <a:lnTo>
                    <a:pt x="110" y="321"/>
                  </a:lnTo>
                  <a:lnTo>
                    <a:pt x="107" y="323"/>
                  </a:lnTo>
                  <a:lnTo>
                    <a:pt x="102" y="324"/>
                  </a:lnTo>
                  <a:lnTo>
                    <a:pt x="102" y="324"/>
                  </a:lnTo>
                  <a:lnTo>
                    <a:pt x="100" y="325"/>
                  </a:lnTo>
                  <a:lnTo>
                    <a:pt x="97" y="328"/>
                  </a:lnTo>
                  <a:lnTo>
                    <a:pt x="94" y="331"/>
                  </a:lnTo>
                  <a:lnTo>
                    <a:pt x="94" y="330"/>
                  </a:lnTo>
                  <a:lnTo>
                    <a:pt x="94" y="325"/>
                  </a:lnTo>
                  <a:lnTo>
                    <a:pt x="94" y="325"/>
                  </a:lnTo>
                  <a:lnTo>
                    <a:pt x="94" y="323"/>
                  </a:lnTo>
                  <a:lnTo>
                    <a:pt x="95" y="320"/>
                  </a:lnTo>
                  <a:lnTo>
                    <a:pt x="97" y="318"/>
                  </a:lnTo>
                  <a:lnTo>
                    <a:pt x="97" y="315"/>
                  </a:lnTo>
                  <a:lnTo>
                    <a:pt x="95" y="311"/>
                  </a:lnTo>
                  <a:lnTo>
                    <a:pt x="95" y="310"/>
                  </a:lnTo>
                  <a:lnTo>
                    <a:pt x="94" y="310"/>
                  </a:lnTo>
                  <a:lnTo>
                    <a:pt x="92" y="310"/>
                  </a:lnTo>
                  <a:lnTo>
                    <a:pt x="91" y="310"/>
                  </a:lnTo>
                  <a:lnTo>
                    <a:pt x="91" y="310"/>
                  </a:lnTo>
                  <a:lnTo>
                    <a:pt x="90" y="308"/>
                  </a:lnTo>
                  <a:lnTo>
                    <a:pt x="87" y="308"/>
                  </a:lnTo>
                  <a:lnTo>
                    <a:pt x="87" y="308"/>
                  </a:lnTo>
                  <a:lnTo>
                    <a:pt x="85" y="308"/>
                  </a:lnTo>
                  <a:lnTo>
                    <a:pt x="84" y="308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6"/>
                  </a:lnTo>
                  <a:lnTo>
                    <a:pt x="81" y="303"/>
                  </a:lnTo>
                  <a:lnTo>
                    <a:pt x="80" y="303"/>
                  </a:lnTo>
                  <a:lnTo>
                    <a:pt x="78" y="301"/>
                  </a:lnTo>
                  <a:lnTo>
                    <a:pt x="75" y="301"/>
                  </a:lnTo>
                  <a:lnTo>
                    <a:pt x="75" y="301"/>
                  </a:lnTo>
                  <a:lnTo>
                    <a:pt x="75" y="300"/>
                  </a:lnTo>
                  <a:lnTo>
                    <a:pt x="75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2" y="291"/>
                  </a:lnTo>
                  <a:lnTo>
                    <a:pt x="71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7" y="278"/>
                  </a:lnTo>
                  <a:lnTo>
                    <a:pt x="65" y="277"/>
                  </a:lnTo>
                  <a:lnTo>
                    <a:pt x="61" y="277"/>
                  </a:lnTo>
                  <a:lnTo>
                    <a:pt x="60" y="276"/>
                  </a:lnTo>
                  <a:lnTo>
                    <a:pt x="58" y="276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61" y="270"/>
                  </a:lnTo>
                  <a:lnTo>
                    <a:pt x="64" y="270"/>
                  </a:lnTo>
                  <a:lnTo>
                    <a:pt x="68" y="270"/>
                  </a:lnTo>
                  <a:lnTo>
                    <a:pt x="71" y="271"/>
                  </a:lnTo>
                  <a:lnTo>
                    <a:pt x="72" y="273"/>
                  </a:lnTo>
                  <a:lnTo>
                    <a:pt x="72" y="273"/>
                  </a:lnTo>
                  <a:lnTo>
                    <a:pt x="75" y="271"/>
                  </a:lnTo>
                  <a:lnTo>
                    <a:pt x="77" y="271"/>
                  </a:lnTo>
                  <a:lnTo>
                    <a:pt x="78" y="271"/>
                  </a:lnTo>
                  <a:lnTo>
                    <a:pt x="78" y="270"/>
                  </a:lnTo>
                  <a:lnTo>
                    <a:pt x="77" y="270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4" y="267"/>
                  </a:lnTo>
                  <a:lnTo>
                    <a:pt x="71" y="266"/>
                  </a:lnTo>
                  <a:lnTo>
                    <a:pt x="71" y="264"/>
                  </a:lnTo>
                  <a:lnTo>
                    <a:pt x="70" y="263"/>
                  </a:lnTo>
                  <a:lnTo>
                    <a:pt x="71" y="261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5" y="256"/>
                  </a:lnTo>
                  <a:lnTo>
                    <a:pt x="75" y="254"/>
                  </a:lnTo>
                  <a:lnTo>
                    <a:pt x="77" y="253"/>
                  </a:lnTo>
                  <a:lnTo>
                    <a:pt x="78" y="253"/>
                  </a:lnTo>
                  <a:lnTo>
                    <a:pt x="82" y="251"/>
                  </a:lnTo>
                  <a:lnTo>
                    <a:pt x="87" y="253"/>
                  </a:lnTo>
                  <a:lnTo>
                    <a:pt x="92" y="251"/>
                  </a:lnTo>
                  <a:lnTo>
                    <a:pt x="95" y="251"/>
                  </a:lnTo>
                  <a:lnTo>
                    <a:pt x="98" y="253"/>
                  </a:lnTo>
                  <a:lnTo>
                    <a:pt x="101" y="254"/>
                  </a:lnTo>
                  <a:lnTo>
                    <a:pt x="104" y="254"/>
                  </a:lnTo>
                  <a:lnTo>
                    <a:pt x="105" y="254"/>
                  </a:lnTo>
                  <a:lnTo>
                    <a:pt x="104" y="251"/>
                  </a:lnTo>
                  <a:lnTo>
                    <a:pt x="100" y="250"/>
                  </a:lnTo>
                  <a:lnTo>
                    <a:pt x="98" y="248"/>
                  </a:lnTo>
                  <a:lnTo>
                    <a:pt x="101" y="243"/>
                  </a:lnTo>
                  <a:lnTo>
                    <a:pt x="102" y="238"/>
                  </a:lnTo>
                  <a:lnTo>
                    <a:pt x="104" y="234"/>
                  </a:lnTo>
                  <a:lnTo>
                    <a:pt x="104" y="228"/>
                  </a:lnTo>
                  <a:lnTo>
                    <a:pt x="104" y="227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5" y="223"/>
                  </a:lnTo>
                  <a:lnTo>
                    <a:pt x="104" y="221"/>
                  </a:lnTo>
                  <a:lnTo>
                    <a:pt x="104" y="218"/>
                  </a:lnTo>
                  <a:lnTo>
                    <a:pt x="102" y="217"/>
                  </a:lnTo>
                  <a:lnTo>
                    <a:pt x="101" y="216"/>
                  </a:lnTo>
                  <a:lnTo>
                    <a:pt x="97" y="216"/>
                  </a:lnTo>
                  <a:lnTo>
                    <a:pt x="94" y="216"/>
                  </a:lnTo>
                  <a:lnTo>
                    <a:pt x="92" y="216"/>
                  </a:lnTo>
                  <a:lnTo>
                    <a:pt x="92" y="217"/>
                  </a:lnTo>
                  <a:lnTo>
                    <a:pt x="91" y="217"/>
                  </a:lnTo>
                  <a:lnTo>
                    <a:pt x="90" y="218"/>
                  </a:lnTo>
                  <a:lnTo>
                    <a:pt x="88" y="218"/>
                  </a:lnTo>
                  <a:lnTo>
                    <a:pt x="88" y="218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2" y="217"/>
                  </a:lnTo>
                  <a:lnTo>
                    <a:pt x="81" y="214"/>
                  </a:lnTo>
                  <a:lnTo>
                    <a:pt x="80" y="214"/>
                  </a:lnTo>
                  <a:lnTo>
                    <a:pt x="75" y="213"/>
                  </a:lnTo>
                  <a:lnTo>
                    <a:pt x="72" y="213"/>
                  </a:lnTo>
                  <a:lnTo>
                    <a:pt x="68" y="214"/>
                  </a:lnTo>
                  <a:lnTo>
                    <a:pt x="65" y="216"/>
                  </a:lnTo>
                  <a:lnTo>
                    <a:pt x="65" y="217"/>
                  </a:lnTo>
                  <a:lnTo>
                    <a:pt x="64" y="218"/>
                  </a:lnTo>
                  <a:lnTo>
                    <a:pt x="62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0" y="220"/>
                  </a:lnTo>
                  <a:lnTo>
                    <a:pt x="55" y="223"/>
                  </a:lnTo>
                  <a:lnTo>
                    <a:pt x="54" y="224"/>
                  </a:lnTo>
                  <a:lnTo>
                    <a:pt x="52" y="224"/>
                  </a:lnTo>
                  <a:lnTo>
                    <a:pt x="50" y="226"/>
                  </a:lnTo>
                  <a:lnTo>
                    <a:pt x="48" y="226"/>
                  </a:lnTo>
                  <a:lnTo>
                    <a:pt x="47" y="226"/>
                  </a:lnTo>
                  <a:lnTo>
                    <a:pt x="45" y="226"/>
                  </a:lnTo>
                  <a:lnTo>
                    <a:pt x="44" y="226"/>
                  </a:lnTo>
                  <a:lnTo>
                    <a:pt x="44" y="227"/>
                  </a:lnTo>
                  <a:lnTo>
                    <a:pt x="44" y="228"/>
                  </a:lnTo>
                  <a:lnTo>
                    <a:pt x="42" y="228"/>
                  </a:lnTo>
                  <a:lnTo>
                    <a:pt x="41" y="230"/>
                  </a:lnTo>
                  <a:lnTo>
                    <a:pt x="42" y="230"/>
                  </a:lnTo>
                  <a:lnTo>
                    <a:pt x="41" y="230"/>
                  </a:lnTo>
                  <a:lnTo>
                    <a:pt x="37" y="228"/>
                  </a:lnTo>
                  <a:lnTo>
                    <a:pt x="34" y="227"/>
                  </a:lnTo>
                  <a:lnTo>
                    <a:pt x="32" y="226"/>
                  </a:lnTo>
                  <a:lnTo>
                    <a:pt x="31" y="226"/>
                  </a:lnTo>
                  <a:lnTo>
                    <a:pt x="31" y="224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1" y="221"/>
                  </a:lnTo>
                  <a:lnTo>
                    <a:pt x="31" y="220"/>
                  </a:lnTo>
                  <a:lnTo>
                    <a:pt x="32" y="221"/>
                  </a:lnTo>
                  <a:lnTo>
                    <a:pt x="32" y="221"/>
                  </a:lnTo>
                  <a:lnTo>
                    <a:pt x="34" y="221"/>
                  </a:lnTo>
                  <a:lnTo>
                    <a:pt x="37" y="221"/>
                  </a:lnTo>
                  <a:lnTo>
                    <a:pt x="37" y="221"/>
                  </a:lnTo>
                  <a:lnTo>
                    <a:pt x="37" y="220"/>
                  </a:lnTo>
                  <a:lnTo>
                    <a:pt x="35" y="216"/>
                  </a:lnTo>
                  <a:lnTo>
                    <a:pt x="34" y="213"/>
                  </a:lnTo>
                  <a:lnTo>
                    <a:pt x="31" y="208"/>
                  </a:lnTo>
                  <a:lnTo>
                    <a:pt x="31" y="207"/>
                  </a:lnTo>
                  <a:lnTo>
                    <a:pt x="28" y="204"/>
                  </a:lnTo>
                  <a:lnTo>
                    <a:pt x="27" y="201"/>
                  </a:lnTo>
                  <a:lnTo>
                    <a:pt x="25" y="198"/>
                  </a:lnTo>
                  <a:lnTo>
                    <a:pt x="24" y="197"/>
                  </a:lnTo>
                  <a:lnTo>
                    <a:pt x="21" y="197"/>
                  </a:lnTo>
                  <a:lnTo>
                    <a:pt x="15" y="197"/>
                  </a:lnTo>
                  <a:lnTo>
                    <a:pt x="14" y="196"/>
                  </a:lnTo>
                  <a:lnTo>
                    <a:pt x="13" y="197"/>
                  </a:lnTo>
                  <a:lnTo>
                    <a:pt x="11" y="197"/>
                  </a:lnTo>
                  <a:lnTo>
                    <a:pt x="10" y="197"/>
                  </a:lnTo>
                  <a:lnTo>
                    <a:pt x="8" y="194"/>
                  </a:lnTo>
                  <a:lnTo>
                    <a:pt x="7" y="193"/>
                  </a:lnTo>
                  <a:lnTo>
                    <a:pt x="8" y="191"/>
                  </a:lnTo>
                  <a:lnTo>
                    <a:pt x="8" y="188"/>
                  </a:lnTo>
                  <a:lnTo>
                    <a:pt x="7" y="186"/>
                  </a:lnTo>
                  <a:lnTo>
                    <a:pt x="5" y="184"/>
                  </a:lnTo>
                  <a:lnTo>
                    <a:pt x="4" y="184"/>
                  </a:lnTo>
                  <a:lnTo>
                    <a:pt x="1" y="181"/>
                  </a:lnTo>
                  <a:lnTo>
                    <a:pt x="0" y="177"/>
                  </a:lnTo>
                  <a:lnTo>
                    <a:pt x="1" y="171"/>
                  </a:lnTo>
                  <a:lnTo>
                    <a:pt x="4" y="168"/>
                  </a:lnTo>
                  <a:lnTo>
                    <a:pt x="5" y="166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3"/>
                  </a:lnTo>
                  <a:lnTo>
                    <a:pt x="5" y="161"/>
                  </a:lnTo>
                  <a:lnTo>
                    <a:pt x="4" y="160"/>
                  </a:lnTo>
                  <a:lnTo>
                    <a:pt x="3" y="158"/>
                  </a:lnTo>
                  <a:lnTo>
                    <a:pt x="3" y="156"/>
                  </a:lnTo>
                  <a:lnTo>
                    <a:pt x="4" y="150"/>
                  </a:lnTo>
                  <a:lnTo>
                    <a:pt x="5" y="146"/>
                  </a:lnTo>
                  <a:lnTo>
                    <a:pt x="8" y="144"/>
                  </a:lnTo>
                  <a:lnTo>
                    <a:pt x="10" y="143"/>
                  </a:lnTo>
                  <a:lnTo>
                    <a:pt x="11" y="141"/>
                  </a:lnTo>
                  <a:lnTo>
                    <a:pt x="11" y="138"/>
                  </a:lnTo>
                  <a:lnTo>
                    <a:pt x="11" y="137"/>
                  </a:lnTo>
                  <a:lnTo>
                    <a:pt x="11" y="136"/>
                  </a:lnTo>
                  <a:lnTo>
                    <a:pt x="13" y="134"/>
                  </a:lnTo>
                  <a:lnTo>
                    <a:pt x="13" y="134"/>
                  </a:lnTo>
                  <a:lnTo>
                    <a:pt x="14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20" y="136"/>
                  </a:lnTo>
                  <a:lnTo>
                    <a:pt x="22" y="140"/>
                  </a:lnTo>
                  <a:lnTo>
                    <a:pt x="25" y="143"/>
                  </a:lnTo>
                  <a:lnTo>
                    <a:pt x="25" y="144"/>
                  </a:lnTo>
                  <a:lnTo>
                    <a:pt x="27" y="146"/>
                  </a:lnTo>
                  <a:lnTo>
                    <a:pt x="30" y="147"/>
                  </a:lnTo>
                  <a:lnTo>
                    <a:pt x="31" y="146"/>
                  </a:lnTo>
                  <a:lnTo>
                    <a:pt x="34" y="144"/>
                  </a:lnTo>
                  <a:lnTo>
                    <a:pt x="35" y="144"/>
                  </a:lnTo>
                  <a:lnTo>
                    <a:pt x="35" y="143"/>
                  </a:lnTo>
                  <a:lnTo>
                    <a:pt x="35" y="140"/>
                  </a:lnTo>
                  <a:lnTo>
                    <a:pt x="34" y="138"/>
                  </a:lnTo>
                  <a:lnTo>
                    <a:pt x="34" y="137"/>
                  </a:lnTo>
                  <a:lnTo>
                    <a:pt x="34" y="134"/>
                  </a:lnTo>
                  <a:lnTo>
                    <a:pt x="32" y="128"/>
                  </a:lnTo>
                  <a:lnTo>
                    <a:pt x="32" y="127"/>
                  </a:lnTo>
                  <a:lnTo>
                    <a:pt x="32" y="127"/>
                  </a:lnTo>
                  <a:lnTo>
                    <a:pt x="34" y="127"/>
                  </a:lnTo>
                  <a:lnTo>
                    <a:pt x="35" y="127"/>
                  </a:lnTo>
                  <a:lnTo>
                    <a:pt x="37" y="127"/>
                  </a:lnTo>
                  <a:lnTo>
                    <a:pt x="40" y="124"/>
                  </a:lnTo>
                  <a:lnTo>
                    <a:pt x="44" y="121"/>
                  </a:lnTo>
                  <a:lnTo>
                    <a:pt x="44" y="118"/>
                  </a:lnTo>
                  <a:lnTo>
                    <a:pt x="45" y="117"/>
                  </a:lnTo>
                  <a:lnTo>
                    <a:pt x="45" y="116"/>
                  </a:lnTo>
                  <a:lnTo>
                    <a:pt x="48" y="114"/>
                  </a:lnTo>
                  <a:lnTo>
                    <a:pt x="51" y="114"/>
                  </a:lnTo>
                  <a:lnTo>
                    <a:pt x="52" y="113"/>
                  </a:lnTo>
                  <a:lnTo>
                    <a:pt x="55" y="111"/>
                  </a:lnTo>
                  <a:lnTo>
                    <a:pt x="58" y="110"/>
                  </a:lnTo>
                  <a:lnTo>
                    <a:pt x="60" y="110"/>
                  </a:lnTo>
                  <a:lnTo>
                    <a:pt x="60" y="108"/>
                  </a:lnTo>
                  <a:lnTo>
                    <a:pt x="62" y="104"/>
                  </a:lnTo>
                  <a:lnTo>
                    <a:pt x="64" y="103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8" y="98"/>
                  </a:lnTo>
                  <a:lnTo>
                    <a:pt x="71" y="100"/>
                  </a:lnTo>
                  <a:lnTo>
                    <a:pt x="72" y="101"/>
                  </a:lnTo>
                  <a:lnTo>
                    <a:pt x="74" y="103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6"/>
                  </a:lnTo>
                  <a:lnTo>
                    <a:pt x="77" y="106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2" y="103"/>
                  </a:lnTo>
                  <a:lnTo>
                    <a:pt x="87" y="100"/>
                  </a:lnTo>
                  <a:lnTo>
                    <a:pt x="90" y="100"/>
                  </a:lnTo>
                  <a:lnTo>
                    <a:pt x="91" y="100"/>
                  </a:lnTo>
                  <a:lnTo>
                    <a:pt x="92" y="103"/>
                  </a:lnTo>
                  <a:lnTo>
                    <a:pt x="94" y="104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7" y="106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100" y="104"/>
                  </a:lnTo>
                  <a:lnTo>
                    <a:pt x="101" y="106"/>
                  </a:lnTo>
                  <a:lnTo>
                    <a:pt x="102" y="106"/>
                  </a:lnTo>
                  <a:lnTo>
                    <a:pt x="105" y="106"/>
                  </a:lnTo>
                  <a:lnTo>
                    <a:pt x="107" y="104"/>
                  </a:lnTo>
                  <a:lnTo>
                    <a:pt x="108" y="106"/>
                  </a:lnTo>
                  <a:lnTo>
                    <a:pt x="110" y="106"/>
                  </a:lnTo>
                  <a:lnTo>
                    <a:pt x="111" y="107"/>
                  </a:lnTo>
                  <a:lnTo>
                    <a:pt x="114" y="111"/>
                  </a:lnTo>
                  <a:lnTo>
                    <a:pt x="115" y="111"/>
                  </a:lnTo>
                  <a:lnTo>
                    <a:pt x="118" y="113"/>
                  </a:lnTo>
                  <a:lnTo>
                    <a:pt x="118" y="114"/>
                  </a:lnTo>
                  <a:lnTo>
                    <a:pt x="121" y="117"/>
                  </a:lnTo>
                  <a:lnTo>
                    <a:pt x="121" y="117"/>
                  </a:lnTo>
                  <a:lnTo>
                    <a:pt x="122" y="120"/>
                  </a:lnTo>
                  <a:lnTo>
                    <a:pt x="125" y="123"/>
                  </a:lnTo>
                  <a:lnTo>
                    <a:pt x="125" y="126"/>
                  </a:lnTo>
                  <a:lnTo>
                    <a:pt x="125" y="128"/>
                  </a:lnTo>
                  <a:lnTo>
                    <a:pt x="127" y="128"/>
                  </a:lnTo>
                  <a:lnTo>
                    <a:pt x="127" y="130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6"/>
                  </a:lnTo>
                  <a:lnTo>
                    <a:pt x="128" y="123"/>
                  </a:lnTo>
                  <a:lnTo>
                    <a:pt x="128" y="120"/>
                  </a:lnTo>
                  <a:lnTo>
                    <a:pt x="127" y="120"/>
                  </a:lnTo>
                  <a:lnTo>
                    <a:pt x="127" y="118"/>
                  </a:lnTo>
                  <a:lnTo>
                    <a:pt x="127" y="117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32" y="118"/>
                  </a:lnTo>
                  <a:lnTo>
                    <a:pt x="134" y="121"/>
                  </a:lnTo>
                  <a:lnTo>
                    <a:pt x="137" y="124"/>
                  </a:lnTo>
                  <a:lnTo>
                    <a:pt x="139" y="126"/>
                  </a:lnTo>
                  <a:lnTo>
                    <a:pt x="142" y="127"/>
                  </a:lnTo>
                  <a:lnTo>
                    <a:pt x="145" y="128"/>
                  </a:lnTo>
                  <a:lnTo>
                    <a:pt x="147" y="127"/>
                  </a:lnTo>
                  <a:lnTo>
                    <a:pt x="149" y="126"/>
                  </a:lnTo>
                  <a:lnTo>
                    <a:pt x="151" y="124"/>
                  </a:lnTo>
                  <a:lnTo>
                    <a:pt x="152" y="123"/>
                  </a:lnTo>
                  <a:lnTo>
                    <a:pt x="152" y="121"/>
                  </a:lnTo>
                  <a:lnTo>
                    <a:pt x="155" y="118"/>
                  </a:lnTo>
                  <a:lnTo>
                    <a:pt x="158" y="117"/>
                  </a:lnTo>
                  <a:lnTo>
                    <a:pt x="159" y="117"/>
                  </a:lnTo>
                  <a:lnTo>
                    <a:pt x="159" y="118"/>
                  </a:lnTo>
                  <a:lnTo>
                    <a:pt x="162" y="117"/>
                  </a:lnTo>
                  <a:lnTo>
                    <a:pt x="164" y="116"/>
                  </a:lnTo>
                  <a:lnTo>
                    <a:pt x="167" y="116"/>
                  </a:lnTo>
                  <a:lnTo>
                    <a:pt x="169" y="117"/>
                  </a:lnTo>
                  <a:lnTo>
                    <a:pt x="171" y="118"/>
                  </a:lnTo>
                  <a:lnTo>
                    <a:pt x="174" y="120"/>
                  </a:lnTo>
                  <a:lnTo>
                    <a:pt x="175" y="120"/>
                  </a:lnTo>
                  <a:lnTo>
                    <a:pt x="177" y="120"/>
                  </a:lnTo>
                  <a:lnTo>
                    <a:pt x="178" y="118"/>
                  </a:lnTo>
                  <a:lnTo>
                    <a:pt x="178" y="116"/>
                  </a:lnTo>
                  <a:lnTo>
                    <a:pt x="179" y="116"/>
                  </a:lnTo>
                  <a:lnTo>
                    <a:pt x="179" y="116"/>
                  </a:lnTo>
                  <a:lnTo>
                    <a:pt x="182" y="116"/>
                  </a:lnTo>
                  <a:lnTo>
                    <a:pt x="185" y="116"/>
                  </a:lnTo>
                  <a:lnTo>
                    <a:pt x="185" y="116"/>
                  </a:lnTo>
                  <a:lnTo>
                    <a:pt x="188" y="116"/>
                  </a:lnTo>
                  <a:lnTo>
                    <a:pt x="191" y="118"/>
                  </a:lnTo>
                  <a:lnTo>
                    <a:pt x="192" y="121"/>
                  </a:lnTo>
                  <a:lnTo>
                    <a:pt x="195" y="124"/>
                  </a:lnTo>
                  <a:lnTo>
                    <a:pt x="197" y="126"/>
                  </a:lnTo>
                  <a:lnTo>
                    <a:pt x="198" y="126"/>
                  </a:lnTo>
                  <a:lnTo>
                    <a:pt x="199" y="126"/>
                  </a:lnTo>
                  <a:lnTo>
                    <a:pt x="201" y="127"/>
                  </a:lnTo>
                  <a:lnTo>
                    <a:pt x="205" y="127"/>
                  </a:lnTo>
                  <a:lnTo>
                    <a:pt x="207" y="127"/>
                  </a:lnTo>
                  <a:lnTo>
                    <a:pt x="207" y="128"/>
                  </a:lnTo>
                  <a:lnTo>
                    <a:pt x="207" y="130"/>
                  </a:lnTo>
                  <a:lnTo>
                    <a:pt x="207" y="130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2" y="126"/>
                  </a:lnTo>
                  <a:lnTo>
                    <a:pt x="214" y="123"/>
                  </a:lnTo>
                  <a:lnTo>
                    <a:pt x="214" y="121"/>
                  </a:lnTo>
                  <a:lnTo>
                    <a:pt x="215" y="121"/>
                  </a:lnTo>
                  <a:lnTo>
                    <a:pt x="216" y="121"/>
                  </a:lnTo>
                  <a:lnTo>
                    <a:pt x="216" y="123"/>
                  </a:lnTo>
                  <a:lnTo>
                    <a:pt x="219" y="126"/>
                  </a:lnTo>
                  <a:lnTo>
                    <a:pt x="221" y="126"/>
                  </a:lnTo>
                  <a:lnTo>
                    <a:pt x="222" y="126"/>
                  </a:lnTo>
                  <a:lnTo>
                    <a:pt x="225" y="126"/>
                  </a:lnTo>
                  <a:lnTo>
                    <a:pt x="229" y="126"/>
                  </a:lnTo>
                  <a:lnTo>
                    <a:pt x="234" y="123"/>
                  </a:lnTo>
                  <a:lnTo>
                    <a:pt x="236" y="121"/>
                  </a:lnTo>
                  <a:lnTo>
                    <a:pt x="238" y="117"/>
                  </a:lnTo>
                  <a:lnTo>
                    <a:pt x="238" y="114"/>
                  </a:lnTo>
                  <a:lnTo>
                    <a:pt x="239" y="111"/>
                  </a:lnTo>
                  <a:lnTo>
                    <a:pt x="239" y="110"/>
                  </a:lnTo>
                  <a:lnTo>
                    <a:pt x="236" y="107"/>
                  </a:lnTo>
                  <a:lnTo>
                    <a:pt x="236" y="106"/>
                  </a:lnTo>
                  <a:lnTo>
                    <a:pt x="231" y="106"/>
                  </a:lnTo>
                  <a:lnTo>
                    <a:pt x="231" y="104"/>
                  </a:lnTo>
                  <a:lnTo>
                    <a:pt x="229" y="104"/>
                  </a:lnTo>
                  <a:lnTo>
                    <a:pt x="224" y="101"/>
                  </a:lnTo>
                  <a:lnTo>
                    <a:pt x="222" y="101"/>
                  </a:lnTo>
                  <a:lnTo>
                    <a:pt x="221" y="100"/>
                  </a:lnTo>
                  <a:lnTo>
                    <a:pt x="221" y="97"/>
                  </a:lnTo>
                  <a:lnTo>
                    <a:pt x="218" y="96"/>
                  </a:lnTo>
                  <a:lnTo>
                    <a:pt x="215" y="94"/>
                  </a:lnTo>
                  <a:lnTo>
                    <a:pt x="215" y="94"/>
                  </a:lnTo>
                  <a:lnTo>
                    <a:pt x="215" y="93"/>
                  </a:lnTo>
                  <a:lnTo>
                    <a:pt x="218" y="91"/>
                  </a:lnTo>
                  <a:lnTo>
                    <a:pt x="221" y="89"/>
                  </a:lnTo>
                  <a:lnTo>
                    <a:pt x="222" y="89"/>
                  </a:lnTo>
                  <a:lnTo>
                    <a:pt x="225" y="89"/>
                  </a:lnTo>
                  <a:lnTo>
                    <a:pt x="228" y="86"/>
                  </a:lnTo>
                  <a:lnTo>
                    <a:pt x="229" y="84"/>
                  </a:lnTo>
                  <a:lnTo>
                    <a:pt x="231" y="83"/>
                  </a:lnTo>
                  <a:lnTo>
                    <a:pt x="229" y="81"/>
                  </a:lnTo>
                  <a:lnTo>
                    <a:pt x="228" y="77"/>
                  </a:lnTo>
                  <a:lnTo>
                    <a:pt x="226" y="74"/>
                  </a:lnTo>
                  <a:lnTo>
                    <a:pt x="226" y="73"/>
                  </a:lnTo>
                  <a:lnTo>
                    <a:pt x="228" y="70"/>
                  </a:lnTo>
                  <a:lnTo>
                    <a:pt x="229" y="70"/>
                  </a:lnTo>
                  <a:lnTo>
                    <a:pt x="231" y="67"/>
                  </a:lnTo>
                  <a:lnTo>
                    <a:pt x="231" y="66"/>
                  </a:lnTo>
                  <a:lnTo>
                    <a:pt x="234" y="66"/>
                  </a:lnTo>
                  <a:lnTo>
                    <a:pt x="236" y="66"/>
                  </a:lnTo>
                  <a:lnTo>
                    <a:pt x="239" y="66"/>
                  </a:lnTo>
                  <a:lnTo>
                    <a:pt x="242" y="66"/>
                  </a:lnTo>
                  <a:lnTo>
                    <a:pt x="245" y="67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8" y="66"/>
                  </a:lnTo>
                  <a:lnTo>
                    <a:pt x="248" y="64"/>
                  </a:lnTo>
                  <a:lnTo>
                    <a:pt x="246" y="63"/>
                  </a:lnTo>
                  <a:lnTo>
                    <a:pt x="242" y="61"/>
                  </a:lnTo>
                  <a:lnTo>
                    <a:pt x="241" y="60"/>
                  </a:lnTo>
                  <a:lnTo>
                    <a:pt x="239" y="60"/>
                  </a:lnTo>
                  <a:lnTo>
                    <a:pt x="236" y="59"/>
                  </a:lnTo>
                  <a:lnTo>
                    <a:pt x="235" y="59"/>
                  </a:lnTo>
                  <a:lnTo>
                    <a:pt x="234" y="59"/>
                  </a:lnTo>
                  <a:lnTo>
                    <a:pt x="232" y="57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5" y="53"/>
                  </a:lnTo>
                  <a:lnTo>
                    <a:pt x="236" y="53"/>
                  </a:lnTo>
                  <a:lnTo>
                    <a:pt x="238" y="53"/>
                  </a:lnTo>
                  <a:lnTo>
                    <a:pt x="238" y="53"/>
                  </a:lnTo>
                  <a:lnTo>
                    <a:pt x="239" y="51"/>
                  </a:lnTo>
                  <a:lnTo>
                    <a:pt x="238" y="51"/>
                  </a:lnTo>
                  <a:lnTo>
                    <a:pt x="238" y="50"/>
                  </a:lnTo>
                  <a:lnTo>
                    <a:pt x="236" y="50"/>
                  </a:lnTo>
                  <a:lnTo>
                    <a:pt x="235" y="50"/>
                  </a:lnTo>
                  <a:lnTo>
                    <a:pt x="234" y="51"/>
                  </a:lnTo>
                  <a:lnTo>
                    <a:pt x="232" y="50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31" y="47"/>
                  </a:lnTo>
                  <a:lnTo>
                    <a:pt x="232" y="46"/>
                  </a:lnTo>
                  <a:lnTo>
                    <a:pt x="232" y="44"/>
                  </a:lnTo>
                  <a:lnTo>
                    <a:pt x="232" y="41"/>
                  </a:lnTo>
                  <a:lnTo>
                    <a:pt x="232" y="40"/>
                  </a:lnTo>
                  <a:lnTo>
                    <a:pt x="234" y="39"/>
                  </a:lnTo>
                  <a:lnTo>
                    <a:pt x="235" y="37"/>
                  </a:lnTo>
                  <a:lnTo>
                    <a:pt x="239" y="39"/>
                  </a:lnTo>
                  <a:lnTo>
                    <a:pt x="245" y="40"/>
                  </a:lnTo>
                  <a:lnTo>
                    <a:pt x="246" y="40"/>
                  </a:lnTo>
                  <a:lnTo>
                    <a:pt x="246" y="39"/>
                  </a:lnTo>
                  <a:lnTo>
                    <a:pt x="246" y="39"/>
                  </a:lnTo>
                  <a:lnTo>
                    <a:pt x="254" y="39"/>
                  </a:lnTo>
                  <a:lnTo>
                    <a:pt x="255" y="37"/>
                  </a:lnTo>
                  <a:lnTo>
                    <a:pt x="256" y="37"/>
                  </a:lnTo>
                  <a:lnTo>
                    <a:pt x="264" y="36"/>
                  </a:lnTo>
                  <a:lnTo>
                    <a:pt x="264" y="34"/>
                  </a:lnTo>
                  <a:lnTo>
                    <a:pt x="265" y="34"/>
                  </a:lnTo>
                  <a:lnTo>
                    <a:pt x="266" y="34"/>
                  </a:lnTo>
                  <a:lnTo>
                    <a:pt x="269" y="34"/>
                  </a:lnTo>
                  <a:lnTo>
                    <a:pt x="272" y="33"/>
                  </a:lnTo>
                  <a:lnTo>
                    <a:pt x="274" y="31"/>
                  </a:lnTo>
                  <a:lnTo>
                    <a:pt x="274" y="31"/>
                  </a:lnTo>
                  <a:lnTo>
                    <a:pt x="276" y="33"/>
                  </a:lnTo>
                  <a:lnTo>
                    <a:pt x="278" y="31"/>
                  </a:lnTo>
                  <a:lnTo>
                    <a:pt x="279" y="31"/>
                  </a:lnTo>
                  <a:lnTo>
                    <a:pt x="279" y="30"/>
                  </a:lnTo>
                  <a:lnTo>
                    <a:pt x="281" y="29"/>
                  </a:lnTo>
                  <a:lnTo>
                    <a:pt x="285" y="29"/>
                  </a:lnTo>
                  <a:lnTo>
                    <a:pt x="286" y="29"/>
                  </a:lnTo>
                  <a:lnTo>
                    <a:pt x="289" y="29"/>
                  </a:lnTo>
                  <a:lnTo>
                    <a:pt x="291" y="29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5" y="30"/>
                  </a:lnTo>
                  <a:lnTo>
                    <a:pt x="296" y="29"/>
                  </a:lnTo>
                  <a:lnTo>
                    <a:pt x="298" y="27"/>
                  </a:lnTo>
                  <a:lnTo>
                    <a:pt x="298" y="24"/>
                  </a:lnTo>
                  <a:lnTo>
                    <a:pt x="299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2" y="21"/>
                  </a:lnTo>
                  <a:lnTo>
                    <a:pt x="305" y="21"/>
                  </a:lnTo>
                  <a:lnTo>
                    <a:pt x="309" y="20"/>
                  </a:lnTo>
                  <a:lnTo>
                    <a:pt x="309" y="20"/>
                  </a:lnTo>
                  <a:lnTo>
                    <a:pt x="313" y="20"/>
                  </a:lnTo>
                  <a:lnTo>
                    <a:pt x="319" y="19"/>
                  </a:lnTo>
                  <a:lnTo>
                    <a:pt x="322" y="19"/>
                  </a:lnTo>
                  <a:lnTo>
                    <a:pt x="328" y="17"/>
                  </a:lnTo>
                  <a:lnTo>
                    <a:pt x="331" y="16"/>
                  </a:lnTo>
                  <a:lnTo>
                    <a:pt x="333" y="16"/>
                  </a:lnTo>
                  <a:lnTo>
                    <a:pt x="338" y="14"/>
                  </a:lnTo>
                  <a:lnTo>
                    <a:pt x="339" y="13"/>
                  </a:lnTo>
                  <a:lnTo>
                    <a:pt x="341" y="13"/>
                  </a:lnTo>
                  <a:lnTo>
                    <a:pt x="343" y="13"/>
                  </a:lnTo>
                  <a:lnTo>
                    <a:pt x="345" y="11"/>
                  </a:lnTo>
                  <a:lnTo>
                    <a:pt x="345" y="11"/>
                  </a:lnTo>
                  <a:lnTo>
                    <a:pt x="346" y="10"/>
                  </a:lnTo>
                  <a:lnTo>
                    <a:pt x="346" y="9"/>
                  </a:lnTo>
                  <a:lnTo>
                    <a:pt x="345" y="7"/>
                  </a:lnTo>
                  <a:lnTo>
                    <a:pt x="348" y="6"/>
                  </a:lnTo>
                  <a:lnTo>
                    <a:pt x="349" y="6"/>
                  </a:lnTo>
                  <a:lnTo>
                    <a:pt x="351" y="6"/>
                  </a:lnTo>
                  <a:lnTo>
                    <a:pt x="353" y="3"/>
                  </a:lnTo>
                  <a:lnTo>
                    <a:pt x="356" y="1"/>
                  </a:lnTo>
                  <a:lnTo>
                    <a:pt x="358" y="0"/>
                  </a:lnTo>
                  <a:lnTo>
                    <a:pt x="362" y="0"/>
                  </a:lnTo>
                  <a:lnTo>
                    <a:pt x="366" y="1"/>
                  </a:lnTo>
                  <a:lnTo>
                    <a:pt x="371" y="3"/>
                  </a:lnTo>
                  <a:lnTo>
                    <a:pt x="372" y="4"/>
                  </a:lnTo>
                  <a:lnTo>
                    <a:pt x="373" y="6"/>
                  </a:lnTo>
                  <a:lnTo>
                    <a:pt x="376" y="6"/>
                  </a:lnTo>
                  <a:lnTo>
                    <a:pt x="378" y="7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1" y="4"/>
                  </a:lnTo>
                  <a:lnTo>
                    <a:pt x="382" y="3"/>
                  </a:lnTo>
                  <a:lnTo>
                    <a:pt x="386" y="3"/>
                  </a:lnTo>
                  <a:lnTo>
                    <a:pt x="386" y="4"/>
                  </a:lnTo>
                  <a:lnTo>
                    <a:pt x="389" y="7"/>
                  </a:lnTo>
                  <a:lnTo>
                    <a:pt x="391" y="13"/>
                  </a:lnTo>
                  <a:lnTo>
                    <a:pt x="392" y="19"/>
                  </a:lnTo>
                  <a:lnTo>
                    <a:pt x="393" y="23"/>
                  </a:lnTo>
                  <a:lnTo>
                    <a:pt x="393" y="24"/>
                  </a:lnTo>
                  <a:lnTo>
                    <a:pt x="393" y="26"/>
                  </a:lnTo>
                  <a:lnTo>
                    <a:pt x="393" y="29"/>
                  </a:lnTo>
                  <a:lnTo>
                    <a:pt x="391" y="31"/>
                  </a:lnTo>
                  <a:lnTo>
                    <a:pt x="392" y="33"/>
                  </a:lnTo>
                  <a:lnTo>
                    <a:pt x="396" y="34"/>
                  </a:lnTo>
                  <a:lnTo>
                    <a:pt x="400" y="34"/>
                  </a:lnTo>
                  <a:lnTo>
                    <a:pt x="405" y="33"/>
                  </a:lnTo>
                  <a:lnTo>
                    <a:pt x="406" y="33"/>
                  </a:lnTo>
                  <a:lnTo>
                    <a:pt x="408" y="33"/>
                  </a:lnTo>
                  <a:lnTo>
                    <a:pt x="408" y="30"/>
                  </a:lnTo>
                  <a:lnTo>
                    <a:pt x="409" y="30"/>
                  </a:lnTo>
                  <a:lnTo>
                    <a:pt x="410" y="31"/>
                  </a:lnTo>
                  <a:lnTo>
                    <a:pt x="412" y="34"/>
                  </a:lnTo>
                  <a:lnTo>
                    <a:pt x="412" y="36"/>
                  </a:lnTo>
                  <a:lnTo>
                    <a:pt x="412" y="37"/>
                  </a:lnTo>
                  <a:lnTo>
                    <a:pt x="413" y="40"/>
                  </a:lnTo>
                  <a:lnTo>
                    <a:pt x="413" y="40"/>
                  </a:lnTo>
                  <a:lnTo>
                    <a:pt x="415" y="40"/>
                  </a:lnTo>
                  <a:lnTo>
                    <a:pt x="416" y="39"/>
                  </a:lnTo>
                  <a:lnTo>
                    <a:pt x="416" y="39"/>
                  </a:lnTo>
                  <a:lnTo>
                    <a:pt x="415" y="37"/>
                  </a:lnTo>
                  <a:lnTo>
                    <a:pt x="415" y="36"/>
                  </a:lnTo>
                  <a:lnTo>
                    <a:pt x="416" y="36"/>
                  </a:lnTo>
                  <a:lnTo>
                    <a:pt x="416" y="36"/>
                  </a:lnTo>
                  <a:lnTo>
                    <a:pt x="418" y="36"/>
                  </a:lnTo>
                  <a:lnTo>
                    <a:pt x="420" y="36"/>
                  </a:lnTo>
                  <a:lnTo>
                    <a:pt x="425" y="39"/>
                  </a:lnTo>
                  <a:lnTo>
                    <a:pt x="426" y="40"/>
                  </a:lnTo>
                  <a:lnTo>
                    <a:pt x="426" y="40"/>
                  </a:lnTo>
                  <a:lnTo>
                    <a:pt x="429" y="40"/>
                  </a:lnTo>
                  <a:lnTo>
                    <a:pt x="430" y="39"/>
                  </a:lnTo>
                  <a:lnTo>
                    <a:pt x="432" y="37"/>
                  </a:lnTo>
                  <a:lnTo>
                    <a:pt x="432" y="37"/>
                  </a:lnTo>
                  <a:lnTo>
                    <a:pt x="433" y="37"/>
                  </a:lnTo>
                  <a:lnTo>
                    <a:pt x="433" y="37"/>
                  </a:lnTo>
                  <a:lnTo>
                    <a:pt x="433" y="39"/>
                  </a:lnTo>
                  <a:lnTo>
                    <a:pt x="433" y="40"/>
                  </a:lnTo>
                  <a:lnTo>
                    <a:pt x="430" y="43"/>
                  </a:lnTo>
                  <a:lnTo>
                    <a:pt x="429" y="44"/>
                  </a:lnTo>
                  <a:lnTo>
                    <a:pt x="428" y="47"/>
                  </a:lnTo>
                  <a:lnTo>
                    <a:pt x="426" y="50"/>
                  </a:lnTo>
                  <a:lnTo>
                    <a:pt x="428" y="51"/>
                  </a:lnTo>
                  <a:lnTo>
                    <a:pt x="428" y="51"/>
                  </a:lnTo>
                  <a:lnTo>
                    <a:pt x="428" y="53"/>
                  </a:lnTo>
                  <a:lnTo>
                    <a:pt x="429" y="54"/>
                  </a:lnTo>
                  <a:lnTo>
                    <a:pt x="430" y="53"/>
                  </a:lnTo>
                  <a:lnTo>
                    <a:pt x="432" y="50"/>
                  </a:lnTo>
                  <a:lnTo>
                    <a:pt x="433" y="50"/>
                  </a:lnTo>
                  <a:lnTo>
                    <a:pt x="436" y="49"/>
                  </a:lnTo>
                  <a:lnTo>
                    <a:pt x="439" y="49"/>
                  </a:lnTo>
                  <a:lnTo>
                    <a:pt x="442" y="50"/>
                  </a:lnTo>
                  <a:lnTo>
                    <a:pt x="443" y="51"/>
                  </a:lnTo>
                  <a:lnTo>
                    <a:pt x="443" y="53"/>
                  </a:lnTo>
                  <a:lnTo>
                    <a:pt x="445" y="51"/>
                  </a:lnTo>
                  <a:lnTo>
                    <a:pt x="445" y="51"/>
                  </a:lnTo>
                  <a:lnTo>
                    <a:pt x="445" y="50"/>
                  </a:lnTo>
                  <a:lnTo>
                    <a:pt x="446" y="49"/>
                  </a:lnTo>
                  <a:lnTo>
                    <a:pt x="449" y="46"/>
                  </a:lnTo>
                  <a:lnTo>
                    <a:pt x="452" y="43"/>
                  </a:lnTo>
                  <a:lnTo>
                    <a:pt x="452" y="43"/>
                  </a:lnTo>
                  <a:lnTo>
                    <a:pt x="455" y="44"/>
                  </a:lnTo>
                  <a:lnTo>
                    <a:pt x="455" y="43"/>
                  </a:lnTo>
                  <a:lnTo>
                    <a:pt x="458" y="41"/>
                  </a:lnTo>
                  <a:lnTo>
                    <a:pt x="460" y="40"/>
                  </a:lnTo>
                  <a:lnTo>
                    <a:pt x="460" y="39"/>
                  </a:lnTo>
                  <a:lnTo>
                    <a:pt x="460" y="37"/>
                  </a:lnTo>
                  <a:lnTo>
                    <a:pt x="462" y="36"/>
                  </a:lnTo>
                  <a:lnTo>
                    <a:pt x="465" y="36"/>
                  </a:lnTo>
                  <a:lnTo>
                    <a:pt x="465" y="36"/>
                  </a:lnTo>
                  <a:lnTo>
                    <a:pt x="469" y="34"/>
                  </a:lnTo>
                  <a:lnTo>
                    <a:pt x="473" y="31"/>
                  </a:lnTo>
                  <a:lnTo>
                    <a:pt x="475" y="30"/>
                  </a:lnTo>
                  <a:lnTo>
                    <a:pt x="479" y="30"/>
                  </a:lnTo>
                  <a:lnTo>
                    <a:pt x="479" y="29"/>
                  </a:lnTo>
                  <a:lnTo>
                    <a:pt x="480" y="29"/>
                  </a:lnTo>
                  <a:lnTo>
                    <a:pt x="482" y="27"/>
                  </a:lnTo>
                  <a:lnTo>
                    <a:pt x="483" y="27"/>
                  </a:lnTo>
                  <a:lnTo>
                    <a:pt x="483" y="30"/>
                  </a:lnTo>
                  <a:lnTo>
                    <a:pt x="482" y="34"/>
                  </a:lnTo>
                  <a:lnTo>
                    <a:pt x="480" y="34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37"/>
                  </a:lnTo>
                  <a:lnTo>
                    <a:pt x="478" y="39"/>
                  </a:lnTo>
                  <a:lnTo>
                    <a:pt x="479" y="39"/>
                  </a:lnTo>
                  <a:lnTo>
                    <a:pt x="479" y="40"/>
                  </a:lnTo>
                  <a:lnTo>
                    <a:pt x="483" y="43"/>
                  </a:lnTo>
                  <a:lnTo>
                    <a:pt x="489" y="47"/>
                  </a:lnTo>
                  <a:lnTo>
                    <a:pt x="493" y="53"/>
                  </a:lnTo>
                  <a:lnTo>
                    <a:pt x="497" y="56"/>
                  </a:lnTo>
                  <a:lnTo>
                    <a:pt x="499" y="57"/>
                  </a:lnTo>
                  <a:lnTo>
                    <a:pt x="500" y="59"/>
                  </a:lnTo>
                  <a:lnTo>
                    <a:pt x="503" y="63"/>
                  </a:lnTo>
                  <a:lnTo>
                    <a:pt x="506" y="67"/>
                  </a:lnTo>
                  <a:lnTo>
                    <a:pt x="510" y="76"/>
                  </a:lnTo>
                  <a:lnTo>
                    <a:pt x="513" y="83"/>
                  </a:lnTo>
                  <a:lnTo>
                    <a:pt x="519" y="90"/>
                  </a:lnTo>
                  <a:lnTo>
                    <a:pt x="520" y="96"/>
                  </a:lnTo>
                  <a:lnTo>
                    <a:pt x="526" y="104"/>
                  </a:lnTo>
                  <a:lnTo>
                    <a:pt x="527" y="108"/>
                  </a:lnTo>
                  <a:lnTo>
                    <a:pt x="530" y="113"/>
                  </a:lnTo>
                  <a:lnTo>
                    <a:pt x="532" y="118"/>
                  </a:lnTo>
                  <a:lnTo>
                    <a:pt x="535" y="123"/>
                  </a:lnTo>
                  <a:lnTo>
                    <a:pt x="536" y="124"/>
                  </a:lnTo>
                  <a:lnTo>
                    <a:pt x="536" y="123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7" y="120"/>
                  </a:lnTo>
                  <a:lnTo>
                    <a:pt x="539" y="120"/>
                  </a:lnTo>
                  <a:lnTo>
                    <a:pt x="540" y="120"/>
                  </a:lnTo>
                  <a:lnTo>
                    <a:pt x="542" y="118"/>
                  </a:lnTo>
                  <a:lnTo>
                    <a:pt x="542" y="117"/>
                  </a:lnTo>
                  <a:lnTo>
                    <a:pt x="542" y="116"/>
                  </a:lnTo>
                  <a:lnTo>
                    <a:pt x="542" y="114"/>
                  </a:lnTo>
                  <a:lnTo>
                    <a:pt x="542" y="113"/>
                  </a:lnTo>
                  <a:lnTo>
                    <a:pt x="542" y="113"/>
                  </a:lnTo>
                  <a:lnTo>
                    <a:pt x="543" y="111"/>
                  </a:lnTo>
                  <a:lnTo>
                    <a:pt x="545" y="111"/>
                  </a:lnTo>
                  <a:lnTo>
                    <a:pt x="545" y="110"/>
                  </a:lnTo>
                  <a:lnTo>
                    <a:pt x="546" y="110"/>
                  </a:lnTo>
                  <a:lnTo>
                    <a:pt x="547" y="110"/>
                  </a:lnTo>
                  <a:lnTo>
                    <a:pt x="549" y="110"/>
                  </a:lnTo>
                  <a:lnTo>
                    <a:pt x="549" y="111"/>
                  </a:lnTo>
                  <a:lnTo>
                    <a:pt x="550" y="113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3" y="114"/>
                  </a:lnTo>
                  <a:lnTo>
                    <a:pt x="552" y="116"/>
                  </a:lnTo>
                  <a:lnTo>
                    <a:pt x="552" y="117"/>
                  </a:lnTo>
                  <a:lnTo>
                    <a:pt x="552" y="118"/>
                  </a:lnTo>
                  <a:lnTo>
                    <a:pt x="552" y="118"/>
                  </a:lnTo>
                  <a:lnTo>
                    <a:pt x="556" y="118"/>
                  </a:lnTo>
                  <a:lnTo>
                    <a:pt x="556" y="118"/>
                  </a:lnTo>
                  <a:lnTo>
                    <a:pt x="557" y="120"/>
                  </a:lnTo>
                  <a:lnTo>
                    <a:pt x="557" y="121"/>
                  </a:lnTo>
                  <a:lnTo>
                    <a:pt x="557" y="121"/>
                  </a:lnTo>
                  <a:lnTo>
                    <a:pt x="557" y="123"/>
                  </a:lnTo>
                  <a:lnTo>
                    <a:pt x="557" y="124"/>
                  </a:lnTo>
                  <a:lnTo>
                    <a:pt x="560" y="124"/>
                  </a:lnTo>
                  <a:lnTo>
                    <a:pt x="562" y="123"/>
                  </a:lnTo>
                  <a:lnTo>
                    <a:pt x="566" y="123"/>
                  </a:lnTo>
                  <a:lnTo>
                    <a:pt x="567" y="124"/>
                  </a:lnTo>
                  <a:lnTo>
                    <a:pt x="570" y="124"/>
                  </a:lnTo>
                  <a:lnTo>
                    <a:pt x="572" y="124"/>
                  </a:lnTo>
                  <a:lnTo>
                    <a:pt x="575" y="124"/>
                  </a:lnTo>
                  <a:lnTo>
                    <a:pt x="576" y="123"/>
                  </a:lnTo>
                  <a:lnTo>
                    <a:pt x="577" y="121"/>
                  </a:lnTo>
                  <a:lnTo>
                    <a:pt x="577" y="121"/>
                  </a:lnTo>
                  <a:lnTo>
                    <a:pt x="579" y="120"/>
                  </a:lnTo>
                  <a:lnTo>
                    <a:pt x="582" y="120"/>
                  </a:lnTo>
                  <a:lnTo>
                    <a:pt x="583" y="120"/>
                  </a:lnTo>
                  <a:lnTo>
                    <a:pt x="585" y="118"/>
                  </a:lnTo>
                  <a:lnTo>
                    <a:pt x="585" y="117"/>
                  </a:lnTo>
                  <a:lnTo>
                    <a:pt x="587" y="117"/>
                  </a:lnTo>
                  <a:lnTo>
                    <a:pt x="587" y="117"/>
                  </a:lnTo>
                  <a:lnTo>
                    <a:pt x="592" y="118"/>
                  </a:lnTo>
                  <a:lnTo>
                    <a:pt x="594" y="120"/>
                  </a:lnTo>
                  <a:lnTo>
                    <a:pt x="596" y="123"/>
                  </a:lnTo>
                  <a:lnTo>
                    <a:pt x="597" y="123"/>
                  </a:lnTo>
                  <a:lnTo>
                    <a:pt x="599" y="126"/>
                  </a:lnTo>
                  <a:lnTo>
                    <a:pt x="600" y="127"/>
                  </a:lnTo>
                  <a:lnTo>
                    <a:pt x="602" y="130"/>
                  </a:lnTo>
                  <a:lnTo>
                    <a:pt x="602" y="131"/>
                  </a:lnTo>
                  <a:lnTo>
                    <a:pt x="603" y="136"/>
                  </a:lnTo>
                  <a:lnTo>
                    <a:pt x="603" y="137"/>
                  </a:lnTo>
                  <a:lnTo>
                    <a:pt x="604" y="137"/>
                  </a:lnTo>
                  <a:lnTo>
                    <a:pt x="606" y="137"/>
                  </a:lnTo>
                  <a:lnTo>
                    <a:pt x="609" y="137"/>
                  </a:lnTo>
                  <a:lnTo>
                    <a:pt x="612" y="140"/>
                  </a:lnTo>
                  <a:lnTo>
                    <a:pt x="613" y="140"/>
                  </a:lnTo>
                  <a:lnTo>
                    <a:pt x="614" y="141"/>
                  </a:lnTo>
                  <a:lnTo>
                    <a:pt x="614" y="143"/>
                  </a:lnTo>
                  <a:lnTo>
                    <a:pt x="614" y="144"/>
                  </a:lnTo>
                  <a:lnTo>
                    <a:pt x="614" y="146"/>
                  </a:lnTo>
                  <a:lnTo>
                    <a:pt x="616" y="147"/>
                  </a:lnTo>
                  <a:lnTo>
                    <a:pt x="616" y="148"/>
                  </a:lnTo>
                  <a:lnTo>
                    <a:pt x="617" y="151"/>
                  </a:lnTo>
                  <a:lnTo>
                    <a:pt x="619" y="153"/>
                  </a:lnTo>
                  <a:lnTo>
                    <a:pt x="619" y="153"/>
                  </a:lnTo>
                  <a:lnTo>
                    <a:pt x="620" y="151"/>
                  </a:lnTo>
                  <a:lnTo>
                    <a:pt x="623" y="153"/>
                  </a:lnTo>
                  <a:lnTo>
                    <a:pt x="629" y="154"/>
                  </a:lnTo>
                  <a:lnTo>
                    <a:pt x="629" y="154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2" y="154"/>
                  </a:lnTo>
                  <a:lnTo>
                    <a:pt x="633" y="156"/>
                  </a:lnTo>
                  <a:lnTo>
                    <a:pt x="634" y="154"/>
                  </a:lnTo>
                  <a:lnTo>
                    <a:pt x="634" y="153"/>
                  </a:lnTo>
                  <a:lnTo>
                    <a:pt x="637" y="151"/>
                  </a:lnTo>
                  <a:lnTo>
                    <a:pt x="639" y="150"/>
                  </a:lnTo>
                  <a:lnTo>
                    <a:pt x="640" y="148"/>
                  </a:lnTo>
                  <a:lnTo>
                    <a:pt x="642" y="148"/>
                  </a:lnTo>
                  <a:lnTo>
                    <a:pt x="642" y="148"/>
                  </a:lnTo>
                  <a:lnTo>
                    <a:pt x="642" y="150"/>
                  </a:lnTo>
                  <a:lnTo>
                    <a:pt x="642" y="151"/>
                  </a:lnTo>
                  <a:lnTo>
                    <a:pt x="640" y="153"/>
                  </a:lnTo>
                  <a:lnTo>
                    <a:pt x="640" y="153"/>
                  </a:lnTo>
                  <a:lnTo>
                    <a:pt x="642" y="154"/>
                  </a:lnTo>
                  <a:lnTo>
                    <a:pt x="643" y="156"/>
                  </a:lnTo>
                  <a:lnTo>
                    <a:pt x="646" y="160"/>
                  </a:lnTo>
                  <a:lnTo>
                    <a:pt x="646" y="160"/>
                  </a:lnTo>
                  <a:lnTo>
                    <a:pt x="647" y="161"/>
                  </a:lnTo>
                  <a:lnTo>
                    <a:pt x="649" y="161"/>
                  </a:lnTo>
                  <a:lnTo>
                    <a:pt x="650" y="161"/>
                  </a:lnTo>
                  <a:lnTo>
                    <a:pt x="652" y="164"/>
                  </a:lnTo>
                  <a:lnTo>
                    <a:pt x="652" y="166"/>
                  </a:lnTo>
                  <a:close/>
                  <a:moveTo>
                    <a:pt x="60" y="261"/>
                  </a:moveTo>
                  <a:lnTo>
                    <a:pt x="58" y="261"/>
                  </a:lnTo>
                  <a:lnTo>
                    <a:pt x="58" y="260"/>
                  </a:lnTo>
                  <a:lnTo>
                    <a:pt x="58" y="260"/>
                  </a:lnTo>
                  <a:lnTo>
                    <a:pt x="60" y="260"/>
                  </a:lnTo>
                  <a:lnTo>
                    <a:pt x="60" y="261"/>
                  </a:lnTo>
                  <a:lnTo>
                    <a:pt x="60" y="261"/>
                  </a:lnTo>
                  <a:close/>
                  <a:moveTo>
                    <a:pt x="57" y="264"/>
                  </a:moveTo>
                  <a:lnTo>
                    <a:pt x="57" y="266"/>
                  </a:lnTo>
                  <a:lnTo>
                    <a:pt x="55" y="264"/>
                  </a:lnTo>
                  <a:lnTo>
                    <a:pt x="54" y="263"/>
                  </a:lnTo>
                  <a:lnTo>
                    <a:pt x="54" y="260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5" y="261"/>
                  </a:lnTo>
                  <a:lnTo>
                    <a:pt x="55" y="263"/>
                  </a:lnTo>
                  <a:lnTo>
                    <a:pt x="55" y="264"/>
                  </a:lnTo>
                  <a:lnTo>
                    <a:pt x="57" y="26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0" name="Google Shape;250;p3"/>
            <p:cNvSpPr/>
            <p:nvPr/>
          </p:nvSpPr>
          <p:spPr>
            <a:xfrm>
              <a:off x="5076313" y="4141910"/>
              <a:ext cx="84156" cy="90401"/>
            </a:xfrm>
            <a:custGeom>
              <a:rect b="b" l="l" r="r" t="t"/>
              <a:pathLst>
                <a:path extrusionOk="0" h="144" w="120">
                  <a:moveTo>
                    <a:pt x="31" y="2"/>
                  </a:moveTo>
                  <a:lnTo>
                    <a:pt x="33" y="4"/>
                  </a:lnTo>
                  <a:lnTo>
                    <a:pt x="34" y="6"/>
                  </a:lnTo>
                  <a:lnTo>
                    <a:pt x="37" y="9"/>
                  </a:lnTo>
                  <a:lnTo>
                    <a:pt x="37" y="10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6" y="14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0"/>
                  </a:lnTo>
                  <a:lnTo>
                    <a:pt x="43" y="22"/>
                  </a:lnTo>
                  <a:lnTo>
                    <a:pt x="44" y="23"/>
                  </a:lnTo>
                  <a:lnTo>
                    <a:pt x="47" y="27"/>
                  </a:lnTo>
                  <a:lnTo>
                    <a:pt x="48" y="29"/>
                  </a:lnTo>
                  <a:lnTo>
                    <a:pt x="53" y="30"/>
                  </a:lnTo>
                  <a:lnTo>
                    <a:pt x="54" y="30"/>
                  </a:lnTo>
                  <a:lnTo>
                    <a:pt x="56" y="32"/>
                  </a:lnTo>
                  <a:lnTo>
                    <a:pt x="57" y="30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4" y="27"/>
                  </a:lnTo>
                  <a:lnTo>
                    <a:pt x="67" y="29"/>
                  </a:lnTo>
                  <a:lnTo>
                    <a:pt x="68" y="30"/>
                  </a:lnTo>
                  <a:lnTo>
                    <a:pt x="70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68" y="34"/>
                  </a:lnTo>
                  <a:lnTo>
                    <a:pt x="67" y="36"/>
                  </a:lnTo>
                  <a:lnTo>
                    <a:pt x="68" y="36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4" y="39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7" y="41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4" y="44"/>
                  </a:lnTo>
                  <a:lnTo>
                    <a:pt x="74" y="46"/>
                  </a:lnTo>
                  <a:lnTo>
                    <a:pt x="74" y="47"/>
                  </a:lnTo>
                  <a:lnTo>
                    <a:pt x="71" y="49"/>
                  </a:lnTo>
                  <a:lnTo>
                    <a:pt x="70" y="50"/>
                  </a:lnTo>
                  <a:lnTo>
                    <a:pt x="66" y="49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1" y="49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3" y="53"/>
                  </a:lnTo>
                  <a:lnTo>
                    <a:pt x="61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6"/>
                  </a:lnTo>
                  <a:lnTo>
                    <a:pt x="61" y="56"/>
                  </a:lnTo>
                  <a:lnTo>
                    <a:pt x="64" y="56"/>
                  </a:lnTo>
                  <a:lnTo>
                    <a:pt x="68" y="60"/>
                  </a:lnTo>
                  <a:lnTo>
                    <a:pt x="70" y="61"/>
                  </a:lnTo>
                  <a:lnTo>
                    <a:pt x="71" y="61"/>
                  </a:lnTo>
                  <a:lnTo>
                    <a:pt x="73" y="63"/>
                  </a:lnTo>
                  <a:lnTo>
                    <a:pt x="77" y="64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80" y="70"/>
                  </a:lnTo>
                  <a:lnTo>
                    <a:pt x="80" y="71"/>
                  </a:lnTo>
                  <a:lnTo>
                    <a:pt x="83" y="73"/>
                  </a:lnTo>
                  <a:lnTo>
                    <a:pt x="83" y="73"/>
                  </a:lnTo>
                  <a:lnTo>
                    <a:pt x="84" y="73"/>
                  </a:lnTo>
                  <a:lnTo>
                    <a:pt x="86" y="74"/>
                  </a:lnTo>
                  <a:lnTo>
                    <a:pt x="86" y="76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3"/>
                  </a:lnTo>
                  <a:lnTo>
                    <a:pt x="93" y="84"/>
                  </a:lnTo>
                  <a:lnTo>
                    <a:pt x="93" y="86"/>
                  </a:lnTo>
                  <a:lnTo>
                    <a:pt x="94" y="86"/>
                  </a:lnTo>
                  <a:lnTo>
                    <a:pt x="98" y="90"/>
                  </a:lnTo>
                  <a:lnTo>
                    <a:pt x="98" y="91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4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3" y="99"/>
                  </a:lnTo>
                  <a:lnTo>
                    <a:pt x="103" y="100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8" y="103"/>
                  </a:lnTo>
                  <a:lnTo>
                    <a:pt x="108" y="104"/>
                  </a:lnTo>
                  <a:lnTo>
                    <a:pt x="110" y="104"/>
                  </a:lnTo>
                  <a:lnTo>
                    <a:pt x="111" y="106"/>
                  </a:lnTo>
                  <a:lnTo>
                    <a:pt x="113" y="107"/>
                  </a:lnTo>
                  <a:lnTo>
                    <a:pt x="114" y="109"/>
                  </a:lnTo>
                  <a:lnTo>
                    <a:pt x="115" y="109"/>
                  </a:lnTo>
                  <a:lnTo>
                    <a:pt x="115" y="109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5" y="111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5" y="117"/>
                  </a:lnTo>
                  <a:lnTo>
                    <a:pt x="117" y="119"/>
                  </a:lnTo>
                  <a:lnTo>
                    <a:pt x="118" y="120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3"/>
                  </a:lnTo>
                  <a:lnTo>
                    <a:pt x="120" y="124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7" y="127"/>
                  </a:lnTo>
                  <a:lnTo>
                    <a:pt x="118" y="127"/>
                  </a:lnTo>
                  <a:lnTo>
                    <a:pt x="118" y="129"/>
                  </a:lnTo>
                  <a:lnTo>
                    <a:pt x="118" y="130"/>
                  </a:lnTo>
                  <a:lnTo>
                    <a:pt x="118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4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13" y="134"/>
                  </a:lnTo>
                  <a:lnTo>
                    <a:pt x="111" y="136"/>
                  </a:lnTo>
                  <a:lnTo>
                    <a:pt x="111" y="136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08" y="137"/>
                  </a:lnTo>
                  <a:lnTo>
                    <a:pt x="108" y="137"/>
                  </a:lnTo>
                  <a:lnTo>
                    <a:pt x="107" y="137"/>
                  </a:lnTo>
                  <a:lnTo>
                    <a:pt x="107" y="137"/>
                  </a:lnTo>
                  <a:lnTo>
                    <a:pt x="106" y="137"/>
                  </a:lnTo>
                  <a:lnTo>
                    <a:pt x="104" y="136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1" y="133"/>
                  </a:lnTo>
                  <a:lnTo>
                    <a:pt x="101" y="134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7" y="134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4" y="144"/>
                  </a:lnTo>
                  <a:lnTo>
                    <a:pt x="93" y="144"/>
                  </a:lnTo>
                  <a:lnTo>
                    <a:pt x="91" y="143"/>
                  </a:lnTo>
                  <a:lnTo>
                    <a:pt x="90" y="141"/>
                  </a:lnTo>
                  <a:lnTo>
                    <a:pt x="90" y="141"/>
                  </a:lnTo>
                  <a:lnTo>
                    <a:pt x="86" y="140"/>
                  </a:lnTo>
                  <a:lnTo>
                    <a:pt x="84" y="141"/>
                  </a:lnTo>
                  <a:lnTo>
                    <a:pt x="83" y="141"/>
                  </a:lnTo>
                  <a:lnTo>
                    <a:pt x="83" y="140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81" y="137"/>
                  </a:lnTo>
                  <a:lnTo>
                    <a:pt x="81" y="137"/>
                  </a:lnTo>
                  <a:lnTo>
                    <a:pt x="83" y="136"/>
                  </a:lnTo>
                  <a:lnTo>
                    <a:pt x="84" y="136"/>
                  </a:lnTo>
                  <a:lnTo>
                    <a:pt x="86" y="134"/>
                  </a:lnTo>
                  <a:lnTo>
                    <a:pt x="86" y="133"/>
                  </a:lnTo>
                  <a:lnTo>
                    <a:pt x="86" y="131"/>
                  </a:lnTo>
                  <a:lnTo>
                    <a:pt x="86" y="129"/>
                  </a:lnTo>
                  <a:lnTo>
                    <a:pt x="87" y="127"/>
                  </a:lnTo>
                  <a:lnTo>
                    <a:pt x="87" y="126"/>
                  </a:lnTo>
                  <a:lnTo>
                    <a:pt x="86" y="124"/>
                  </a:lnTo>
                  <a:lnTo>
                    <a:pt x="86" y="121"/>
                  </a:lnTo>
                  <a:lnTo>
                    <a:pt x="86" y="121"/>
                  </a:lnTo>
                  <a:lnTo>
                    <a:pt x="86" y="120"/>
                  </a:lnTo>
                  <a:lnTo>
                    <a:pt x="87" y="120"/>
                  </a:lnTo>
                  <a:lnTo>
                    <a:pt x="87" y="119"/>
                  </a:lnTo>
                  <a:lnTo>
                    <a:pt x="88" y="117"/>
                  </a:lnTo>
                  <a:lnTo>
                    <a:pt x="88" y="116"/>
                  </a:lnTo>
                  <a:lnTo>
                    <a:pt x="88" y="114"/>
                  </a:lnTo>
                  <a:lnTo>
                    <a:pt x="87" y="114"/>
                  </a:lnTo>
                  <a:lnTo>
                    <a:pt x="86" y="113"/>
                  </a:lnTo>
                  <a:lnTo>
                    <a:pt x="84" y="113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0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8" y="107"/>
                  </a:lnTo>
                  <a:lnTo>
                    <a:pt x="78" y="106"/>
                  </a:lnTo>
                  <a:lnTo>
                    <a:pt x="77" y="104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4" y="96"/>
                  </a:lnTo>
                  <a:lnTo>
                    <a:pt x="74" y="91"/>
                  </a:lnTo>
                  <a:lnTo>
                    <a:pt x="74" y="89"/>
                  </a:lnTo>
                  <a:lnTo>
                    <a:pt x="74" y="86"/>
                  </a:lnTo>
                  <a:lnTo>
                    <a:pt x="73" y="84"/>
                  </a:lnTo>
                  <a:lnTo>
                    <a:pt x="70" y="83"/>
                  </a:lnTo>
                  <a:lnTo>
                    <a:pt x="68" y="81"/>
                  </a:lnTo>
                  <a:lnTo>
                    <a:pt x="67" y="80"/>
                  </a:lnTo>
                  <a:lnTo>
                    <a:pt x="64" y="77"/>
                  </a:lnTo>
                  <a:lnTo>
                    <a:pt x="63" y="73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58" y="71"/>
                  </a:lnTo>
                  <a:lnTo>
                    <a:pt x="56" y="70"/>
                  </a:lnTo>
                  <a:lnTo>
                    <a:pt x="54" y="70"/>
                  </a:lnTo>
                  <a:lnTo>
                    <a:pt x="51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8" y="73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6"/>
                  </a:lnTo>
                  <a:lnTo>
                    <a:pt x="46" y="77"/>
                  </a:lnTo>
                  <a:lnTo>
                    <a:pt x="44" y="77"/>
                  </a:lnTo>
                  <a:lnTo>
                    <a:pt x="43" y="77"/>
                  </a:lnTo>
                  <a:lnTo>
                    <a:pt x="41" y="79"/>
                  </a:lnTo>
                  <a:lnTo>
                    <a:pt x="40" y="79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7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6" y="76"/>
                  </a:lnTo>
                  <a:lnTo>
                    <a:pt x="33" y="74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0" y="74"/>
                  </a:lnTo>
                  <a:lnTo>
                    <a:pt x="28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6" y="76"/>
                  </a:lnTo>
                  <a:lnTo>
                    <a:pt x="26" y="77"/>
                  </a:lnTo>
                  <a:lnTo>
                    <a:pt x="24" y="79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0" y="81"/>
                  </a:lnTo>
                  <a:lnTo>
                    <a:pt x="19" y="83"/>
                  </a:lnTo>
                  <a:lnTo>
                    <a:pt x="16" y="84"/>
                  </a:lnTo>
                  <a:lnTo>
                    <a:pt x="16" y="86"/>
                  </a:lnTo>
                  <a:lnTo>
                    <a:pt x="14" y="84"/>
                  </a:lnTo>
                  <a:lnTo>
                    <a:pt x="13" y="84"/>
                  </a:lnTo>
                  <a:lnTo>
                    <a:pt x="13" y="83"/>
                  </a:lnTo>
                  <a:lnTo>
                    <a:pt x="14" y="80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6" y="71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7" y="63"/>
                  </a:lnTo>
                  <a:lnTo>
                    <a:pt x="19" y="60"/>
                  </a:lnTo>
                  <a:lnTo>
                    <a:pt x="19" y="59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0" y="50"/>
                  </a:lnTo>
                  <a:lnTo>
                    <a:pt x="10" y="51"/>
                  </a:lnTo>
                  <a:lnTo>
                    <a:pt x="7" y="51"/>
                  </a:lnTo>
                  <a:lnTo>
                    <a:pt x="6" y="50"/>
                  </a:lnTo>
                  <a:lnTo>
                    <a:pt x="4" y="49"/>
                  </a:lnTo>
                  <a:lnTo>
                    <a:pt x="4" y="47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3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1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7" y="26"/>
                  </a:lnTo>
                  <a:lnTo>
                    <a:pt x="7" y="24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7" y="17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20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9" y="23"/>
                  </a:lnTo>
                  <a:lnTo>
                    <a:pt x="21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9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1" name="Google Shape;251;p3"/>
            <p:cNvSpPr/>
            <p:nvPr/>
          </p:nvSpPr>
          <p:spPr>
            <a:xfrm>
              <a:off x="4346261" y="4003169"/>
              <a:ext cx="16831" cy="18834"/>
            </a:xfrm>
            <a:custGeom>
              <a:rect b="b" l="l" r="r" t="t"/>
              <a:pathLst>
                <a:path extrusionOk="0" h="30" w="24">
                  <a:moveTo>
                    <a:pt x="11" y="23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10" y="26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3" y="30"/>
                  </a:lnTo>
                  <a:lnTo>
                    <a:pt x="1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1" y="27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5" y="14"/>
                  </a:lnTo>
                  <a:lnTo>
                    <a:pt x="8" y="11"/>
                  </a:lnTo>
                  <a:lnTo>
                    <a:pt x="8" y="7"/>
                  </a:lnTo>
                  <a:lnTo>
                    <a:pt x="11" y="4"/>
                  </a:lnTo>
                  <a:lnTo>
                    <a:pt x="12" y="3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5" y="16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" name="Google Shape;252;p3"/>
            <p:cNvSpPr/>
            <p:nvPr/>
          </p:nvSpPr>
          <p:spPr>
            <a:xfrm>
              <a:off x="4058028" y="3834296"/>
              <a:ext cx="2104" cy="3767"/>
            </a:xfrm>
            <a:custGeom>
              <a:rect b="b" l="l" r="r" t="t"/>
              <a:pathLst>
                <a:path extrusionOk="0" h="6" w="3">
                  <a:moveTo>
                    <a:pt x="1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3" name="Google Shape;253;p3"/>
            <p:cNvSpPr/>
            <p:nvPr/>
          </p:nvSpPr>
          <p:spPr>
            <a:xfrm>
              <a:off x="4846988" y="4274372"/>
              <a:ext cx="24546" cy="38923"/>
            </a:xfrm>
            <a:custGeom>
              <a:rect b="b" l="l" r="r" t="t"/>
              <a:pathLst>
                <a:path extrusionOk="0" h="62" w="35">
                  <a:moveTo>
                    <a:pt x="5" y="0"/>
                  </a:moveTo>
                  <a:lnTo>
                    <a:pt x="6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0" y="3"/>
                  </a:lnTo>
                  <a:lnTo>
                    <a:pt x="16" y="8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5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7" y="26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5" y="40"/>
                  </a:lnTo>
                  <a:lnTo>
                    <a:pt x="35" y="45"/>
                  </a:lnTo>
                  <a:lnTo>
                    <a:pt x="35" y="47"/>
                  </a:lnTo>
                  <a:lnTo>
                    <a:pt x="33" y="49"/>
                  </a:lnTo>
                  <a:lnTo>
                    <a:pt x="33" y="52"/>
                  </a:lnTo>
                  <a:lnTo>
                    <a:pt x="32" y="53"/>
                  </a:lnTo>
                  <a:lnTo>
                    <a:pt x="30" y="55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0" y="60"/>
                  </a:lnTo>
                  <a:lnTo>
                    <a:pt x="16" y="62"/>
                  </a:lnTo>
                  <a:lnTo>
                    <a:pt x="12" y="62"/>
                  </a:lnTo>
                  <a:lnTo>
                    <a:pt x="9" y="62"/>
                  </a:lnTo>
                  <a:lnTo>
                    <a:pt x="6" y="59"/>
                  </a:lnTo>
                  <a:lnTo>
                    <a:pt x="5" y="56"/>
                  </a:lnTo>
                  <a:lnTo>
                    <a:pt x="3" y="52"/>
                  </a:lnTo>
                  <a:lnTo>
                    <a:pt x="2" y="47"/>
                  </a:lnTo>
                  <a:lnTo>
                    <a:pt x="2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3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10" y="5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9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5" y="0"/>
                  </a:lnTo>
                  <a:close/>
                  <a:moveTo>
                    <a:pt x="5" y="3"/>
                  </a:moveTo>
                  <a:lnTo>
                    <a:pt x="3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3"/>
                  </a:lnTo>
                  <a:close/>
                  <a:moveTo>
                    <a:pt x="2" y="12"/>
                  </a:moveTo>
                  <a:lnTo>
                    <a:pt x="3" y="13"/>
                  </a:lnTo>
                  <a:lnTo>
                    <a:pt x="2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4" name="Google Shape;254;p3"/>
            <p:cNvSpPr/>
            <p:nvPr/>
          </p:nvSpPr>
          <p:spPr>
            <a:xfrm>
              <a:off x="3823093" y="4286928"/>
              <a:ext cx="45585" cy="42062"/>
            </a:xfrm>
            <a:custGeom>
              <a:rect b="b" l="l" r="r" t="t"/>
              <a:pathLst>
                <a:path extrusionOk="0" h="67" w="65">
                  <a:moveTo>
                    <a:pt x="48" y="16"/>
                  </a:moveTo>
                  <a:lnTo>
                    <a:pt x="48" y="16"/>
                  </a:lnTo>
                  <a:lnTo>
                    <a:pt x="48" y="18"/>
                  </a:lnTo>
                  <a:lnTo>
                    <a:pt x="48" y="19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50" y="29"/>
                  </a:lnTo>
                  <a:lnTo>
                    <a:pt x="48" y="30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5"/>
                  </a:lnTo>
                  <a:lnTo>
                    <a:pt x="48" y="33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1" y="36"/>
                  </a:lnTo>
                  <a:lnTo>
                    <a:pt x="52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5" y="36"/>
                  </a:lnTo>
                  <a:lnTo>
                    <a:pt x="57" y="37"/>
                  </a:lnTo>
                  <a:lnTo>
                    <a:pt x="58" y="39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2"/>
                  </a:lnTo>
                  <a:lnTo>
                    <a:pt x="60" y="43"/>
                  </a:lnTo>
                  <a:lnTo>
                    <a:pt x="61" y="43"/>
                  </a:lnTo>
                  <a:lnTo>
                    <a:pt x="62" y="43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7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4" y="50"/>
                  </a:lnTo>
                  <a:lnTo>
                    <a:pt x="64" y="52"/>
                  </a:lnTo>
                  <a:lnTo>
                    <a:pt x="64" y="53"/>
                  </a:lnTo>
                  <a:lnTo>
                    <a:pt x="64" y="55"/>
                  </a:lnTo>
                  <a:lnTo>
                    <a:pt x="64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2" y="59"/>
                  </a:lnTo>
                  <a:lnTo>
                    <a:pt x="62" y="60"/>
                  </a:lnTo>
                  <a:lnTo>
                    <a:pt x="62" y="65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1" y="67"/>
                  </a:lnTo>
                  <a:lnTo>
                    <a:pt x="55" y="65"/>
                  </a:lnTo>
                  <a:lnTo>
                    <a:pt x="51" y="63"/>
                  </a:lnTo>
                  <a:lnTo>
                    <a:pt x="37" y="56"/>
                  </a:lnTo>
                  <a:lnTo>
                    <a:pt x="34" y="53"/>
                  </a:lnTo>
                  <a:lnTo>
                    <a:pt x="28" y="49"/>
                  </a:lnTo>
                  <a:lnTo>
                    <a:pt x="18" y="40"/>
                  </a:lnTo>
                  <a:lnTo>
                    <a:pt x="17" y="39"/>
                  </a:lnTo>
                  <a:lnTo>
                    <a:pt x="14" y="37"/>
                  </a:lnTo>
                  <a:lnTo>
                    <a:pt x="12" y="37"/>
                  </a:lnTo>
                  <a:lnTo>
                    <a:pt x="11" y="36"/>
                  </a:lnTo>
                  <a:lnTo>
                    <a:pt x="10" y="33"/>
                  </a:lnTo>
                  <a:lnTo>
                    <a:pt x="7" y="32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1" y="23"/>
                  </a:lnTo>
                  <a:lnTo>
                    <a:pt x="2" y="22"/>
                  </a:lnTo>
                  <a:lnTo>
                    <a:pt x="4" y="20"/>
                  </a:lnTo>
                  <a:lnTo>
                    <a:pt x="5" y="19"/>
                  </a:lnTo>
                  <a:lnTo>
                    <a:pt x="7" y="18"/>
                  </a:lnTo>
                  <a:lnTo>
                    <a:pt x="10" y="16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20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6"/>
                  </a:lnTo>
                  <a:lnTo>
                    <a:pt x="48" y="1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5" name="Google Shape;255;p3"/>
            <p:cNvSpPr/>
            <p:nvPr/>
          </p:nvSpPr>
          <p:spPr>
            <a:xfrm>
              <a:off x="4255093" y="4671760"/>
              <a:ext cx="26649" cy="23228"/>
            </a:xfrm>
            <a:custGeom>
              <a:rect b="b" l="l" r="r" t="t"/>
              <a:pathLst>
                <a:path extrusionOk="0" h="37" w="38">
                  <a:moveTo>
                    <a:pt x="27" y="27"/>
                  </a:move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1" y="30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8" y="36"/>
                  </a:lnTo>
                  <a:lnTo>
                    <a:pt x="17" y="36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7" y="33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4"/>
                  </a:lnTo>
                  <a:lnTo>
                    <a:pt x="1" y="23"/>
                  </a:lnTo>
                  <a:lnTo>
                    <a:pt x="1" y="21"/>
                  </a:lnTo>
                  <a:lnTo>
                    <a:pt x="0" y="20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6" y="16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1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6" y="4"/>
                  </a:lnTo>
                  <a:lnTo>
                    <a:pt x="17" y="3"/>
                  </a:lnTo>
                  <a:lnTo>
                    <a:pt x="20" y="1"/>
                  </a:lnTo>
                  <a:lnTo>
                    <a:pt x="23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4" y="7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3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27" y="2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6" name="Google Shape;256;p3"/>
            <p:cNvSpPr/>
            <p:nvPr/>
          </p:nvSpPr>
          <p:spPr>
            <a:xfrm>
              <a:off x="4185664" y="3685510"/>
              <a:ext cx="66624" cy="43945"/>
            </a:xfrm>
            <a:custGeom>
              <a:rect b="b" l="l" r="r" t="t"/>
              <a:pathLst>
                <a:path extrusionOk="0" h="70" w="95">
                  <a:moveTo>
                    <a:pt x="92" y="22"/>
                  </a:moveTo>
                  <a:lnTo>
                    <a:pt x="92" y="23"/>
                  </a:lnTo>
                  <a:lnTo>
                    <a:pt x="92" y="25"/>
                  </a:lnTo>
                  <a:lnTo>
                    <a:pt x="92" y="28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2"/>
                  </a:lnTo>
                  <a:lnTo>
                    <a:pt x="93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3"/>
                  </a:lnTo>
                  <a:lnTo>
                    <a:pt x="93" y="33"/>
                  </a:lnTo>
                  <a:lnTo>
                    <a:pt x="93" y="35"/>
                  </a:lnTo>
                  <a:lnTo>
                    <a:pt x="92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6" y="39"/>
                  </a:lnTo>
                  <a:lnTo>
                    <a:pt x="86" y="40"/>
                  </a:lnTo>
                  <a:lnTo>
                    <a:pt x="85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9" y="45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7" y="53"/>
                  </a:lnTo>
                  <a:lnTo>
                    <a:pt x="76" y="55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9" y="60"/>
                  </a:lnTo>
                  <a:lnTo>
                    <a:pt x="79" y="62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7" y="63"/>
                  </a:lnTo>
                  <a:lnTo>
                    <a:pt x="76" y="63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5" y="62"/>
                  </a:lnTo>
                  <a:lnTo>
                    <a:pt x="75" y="60"/>
                  </a:lnTo>
                  <a:lnTo>
                    <a:pt x="75" y="59"/>
                  </a:lnTo>
                  <a:lnTo>
                    <a:pt x="73" y="60"/>
                  </a:lnTo>
                  <a:lnTo>
                    <a:pt x="72" y="60"/>
                  </a:lnTo>
                  <a:lnTo>
                    <a:pt x="69" y="62"/>
                  </a:lnTo>
                  <a:lnTo>
                    <a:pt x="69" y="63"/>
                  </a:lnTo>
                  <a:lnTo>
                    <a:pt x="67" y="65"/>
                  </a:lnTo>
                  <a:lnTo>
                    <a:pt x="65" y="63"/>
                  </a:lnTo>
                  <a:lnTo>
                    <a:pt x="63" y="65"/>
                  </a:lnTo>
                  <a:lnTo>
                    <a:pt x="63" y="68"/>
                  </a:lnTo>
                  <a:lnTo>
                    <a:pt x="63" y="69"/>
                  </a:lnTo>
                  <a:lnTo>
                    <a:pt x="60" y="68"/>
                  </a:lnTo>
                  <a:lnTo>
                    <a:pt x="59" y="69"/>
                  </a:lnTo>
                  <a:lnTo>
                    <a:pt x="56" y="70"/>
                  </a:lnTo>
                  <a:lnTo>
                    <a:pt x="55" y="70"/>
                  </a:lnTo>
                  <a:lnTo>
                    <a:pt x="53" y="69"/>
                  </a:lnTo>
                  <a:lnTo>
                    <a:pt x="52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49" y="69"/>
                  </a:lnTo>
                  <a:lnTo>
                    <a:pt x="46" y="70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2" y="68"/>
                  </a:lnTo>
                  <a:lnTo>
                    <a:pt x="42" y="66"/>
                  </a:lnTo>
                  <a:lnTo>
                    <a:pt x="42" y="63"/>
                  </a:lnTo>
                  <a:lnTo>
                    <a:pt x="40" y="62"/>
                  </a:lnTo>
                  <a:lnTo>
                    <a:pt x="39" y="62"/>
                  </a:lnTo>
                  <a:lnTo>
                    <a:pt x="38" y="60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6"/>
                  </a:lnTo>
                  <a:lnTo>
                    <a:pt x="29" y="55"/>
                  </a:lnTo>
                  <a:lnTo>
                    <a:pt x="29" y="52"/>
                  </a:lnTo>
                  <a:lnTo>
                    <a:pt x="30" y="50"/>
                  </a:lnTo>
                  <a:lnTo>
                    <a:pt x="32" y="45"/>
                  </a:lnTo>
                  <a:lnTo>
                    <a:pt x="32" y="43"/>
                  </a:lnTo>
                  <a:lnTo>
                    <a:pt x="30" y="42"/>
                  </a:lnTo>
                  <a:lnTo>
                    <a:pt x="29" y="40"/>
                  </a:lnTo>
                  <a:lnTo>
                    <a:pt x="28" y="39"/>
                  </a:lnTo>
                  <a:lnTo>
                    <a:pt x="25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8"/>
                  </a:lnTo>
                  <a:lnTo>
                    <a:pt x="13" y="36"/>
                  </a:lnTo>
                  <a:lnTo>
                    <a:pt x="12" y="35"/>
                  </a:lnTo>
                  <a:lnTo>
                    <a:pt x="10" y="33"/>
                  </a:lnTo>
                  <a:lnTo>
                    <a:pt x="9" y="32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5" y="23"/>
                  </a:lnTo>
                  <a:lnTo>
                    <a:pt x="3" y="18"/>
                  </a:lnTo>
                  <a:lnTo>
                    <a:pt x="3" y="12"/>
                  </a:lnTo>
                  <a:lnTo>
                    <a:pt x="3" y="10"/>
                  </a:lnTo>
                  <a:lnTo>
                    <a:pt x="8" y="6"/>
                  </a:lnTo>
                  <a:lnTo>
                    <a:pt x="13" y="3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3"/>
                  </a:lnTo>
                  <a:lnTo>
                    <a:pt x="53" y="5"/>
                  </a:lnTo>
                  <a:lnTo>
                    <a:pt x="56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6" y="2"/>
                  </a:lnTo>
                  <a:lnTo>
                    <a:pt x="67" y="6"/>
                  </a:lnTo>
                  <a:lnTo>
                    <a:pt x="70" y="6"/>
                  </a:lnTo>
                  <a:lnTo>
                    <a:pt x="76" y="8"/>
                  </a:lnTo>
                  <a:lnTo>
                    <a:pt x="77" y="9"/>
                  </a:lnTo>
                  <a:lnTo>
                    <a:pt x="80" y="12"/>
                  </a:lnTo>
                  <a:lnTo>
                    <a:pt x="83" y="13"/>
                  </a:lnTo>
                  <a:lnTo>
                    <a:pt x="85" y="15"/>
                  </a:lnTo>
                  <a:lnTo>
                    <a:pt x="86" y="18"/>
                  </a:lnTo>
                  <a:lnTo>
                    <a:pt x="87" y="19"/>
                  </a:lnTo>
                  <a:lnTo>
                    <a:pt x="89" y="20"/>
                  </a:lnTo>
                  <a:lnTo>
                    <a:pt x="92" y="22"/>
                  </a:lnTo>
                  <a:lnTo>
                    <a:pt x="92" y="22"/>
                  </a:lnTo>
                  <a:close/>
                  <a:moveTo>
                    <a:pt x="2" y="32"/>
                  </a:moveTo>
                  <a:lnTo>
                    <a:pt x="0" y="32"/>
                  </a:lnTo>
                  <a:lnTo>
                    <a:pt x="3" y="29"/>
                  </a:lnTo>
                  <a:lnTo>
                    <a:pt x="3" y="26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3" y="30"/>
                  </a:lnTo>
                  <a:lnTo>
                    <a:pt x="2" y="3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7" name="Google Shape;257;p3"/>
            <p:cNvSpPr/>
            <p:nvPr/>
          </p:nvSpPr>
          <p:spPr>
            <a:xfrm>
              <a:off x="4015950" y="3790351"/>
              <a:ext cx="9117" cy="11928"/>
            </a:xfrm>
            <a:custGeom>
              <a:rect b="b" l="l" r="r" t="t"/>
              <a:pathLst>
                <a:path extrusionOk="0" h="19" w="13">
                  <a:moveTo>
                    <a:pt x="6" y="2"/>
                  </a:moveTo>
                  <a:lnTo>
                    <a:pt x="6" y="2"/>
                  </a:lnTo>
                  <a:lnTo>
                    <a:pt x="6" y="3"/>
                  </a:lnTo>
                  <a:lnTo>
                    <a:pt x="7" y="5"/>
                  </a:lnTo>
                  <a:lnTo>
                    <a:pt x="7" y="6"/>
                  </a:lnTo>
                  <a:lnTo>
                    <a:pt x="8" y="8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3" y="15"/>
                  </a:lnTo>
                  <a:lnTo>
                    <a:pt x="3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8" name="Google Shape;258;p3"/>
            <p:cNvSpPr/>
            <p:nvPr/>
          </p:nvSpPr>
          <p:spPr>
            <a:xfrm>
              <a:off x="4187768" y="3655377"/>
              <a:ext cx="79948" cy="43945"/>
            </a:xfrm>
            <a:custGeom>
              <a:rect b="b" l="l" r="r" t="t"/>
              <a:pathLst>
                <a:path extrusionOk="0" h="70" w="114">
                  <a:moveTo>
                    <a:pt x="102" y="16"/>
                  </a:moveTo>
                  <a:lnTo>
                    <a:pt x="103" y="16"/>
                  </a:lnTo>
                  <a:lnTo>
                    <a:pt x="104" y="16"/>
                  </a:lnTo>
                  <a:lnTo>
                    <a:pt x="104" y="18"/>
                  </a:lnTo>
                  <a:lnTo>
                    <a:pt x="106" y="20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09" y="24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7" y="27"/>
                  </a:lnTo>
                  <a:lnTo>
                    <a:pt x="107" y="30"/>
                  </a:lnTo>
                  <a:lnTo>
                    <a:pt x="107" y="31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9" y="34"/>
                  </a:lnTo>
                  <a:lnTo>
                    <a:pt x="109" y="36"/>
                  </a:lnTo>
                  <a:lnTo>
                    <a:pt x="110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2" y="41"/>
                  </a:lnTo>
                  <a:lnTo>
                    <a:pt x="112" y="43"/>
                  </a:lnTo>
                  <a:lnTo>
                    <a:pt x="113" y="44"/>
                  </a:lnTo>
                  <a:lnTo>
                    <a:pt x="113" y="46"/>
                  </a:lnTo>
                  <a:lnTo>
                    <a:pt x="114" y="48"/>
                  </a:lnTo>
                  <a:lnTo>
                    <a:pt x="114" y="51"/>
                  </a:lnTo>
                  <a:lnTo>
                    <a:pt x="114" y="53"/>
                  </a:lnTo>
                  <a:lnTo>
                    <a:pt x="114" y="54"/>
                  </a:lnTo>
                  <a:lnTo>
                    <a:pt x="114" y="56"/>
                  </a:lnTo>
                  <a:lnTo>
                    <a:pt x="113" y="56"/>
                  </a:lnTo>
                  <a:lnTo>
                    <a:pt x="112" y="56"/>
                  </a:lnTo>
                  <a:lnTo>
                    <a:pt x="110" y="58"/>
                  </a:lnTo>
                  <a:lnTo>
                    <a:pt x="107" y="61"/>
                  </a:lnTo>
                  <a:lnTo>
                    <a:pt x="106" y="63"/>
                  </a:lnTo>
                  <a:lnTo>
                    <a:pt x="106" y="66"/>
                  </a:lnTo>
                  <a:lnTo>
                    <a:pt x="104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0" y="66"/>
                  </a:lnTo>
                  <a:lnTo>
                    <a:pt x="96" y="64"/>
                  </a:lnTo>
                  <a:lnTo>
                    <a:pt x="94" y="66"/>
                  </a:lnTo>
                  <a:lnTo>
                    <a:pt x="93" y="68"/>
                  </a:lnTo>
                  <a:lnTo>
                    <a:pt x="92" y="68"/>
                  </a:lnTo>
                  <a:lnTo>
                    <a:pt x="90" y="68"/>
                  </a:lnTo>
                  <a:lnTo>
                    <a:pt x="89" y="70"/>
                  </a:lnTo>
                  <a:lnTo>
                    <a:pt x="89" y="70"/>
                  </a:lnTo>
                  <a:lnTo>
                    <a:pt x="86" y="68"/>
                  </a:lnTo>
                  <a:lnTo>
                    <a:pt x="84" y="67"/>
                  </a:lnTo>
                  <a:lnTo>
                    <a:pt x="83" y="66"/>
                  </a:lnTo>
                  <a:lnTo>
                    <a:pt x="82" y="63"/>
                  </a:lnTo>
                  <a:lnTo>
                    <a:pt x="80" y="61"/>
                  </a:lnTo>
                  <a:lnTo>
                    <a:pt x="77" y="60"/>
                  </a:lnTo>
                  <a:lnTo>
                    <a:pt x="74" y="57"/>
                  </a:lnTo>
                  <a:lnTo>
                    <a:pt x="73" y="56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3" y="50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0" y="48"/>
                  </a:lnTo>
                  <a:lnTo>
                    <a:pt x="59" y="48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3" y="51"/>
                  </a:lnTo>
                  <a:lnTo>
                    <a:pt x="50" y="53"/>
                  </a:lnTo>
                  <a:lnTo>
                    <a:pt x="47" y="51"/>
                  </a:lnTo>
                  <a:lnTo>
                    <a:pt x="45" y="50"/>
                  </a:lnTo>
                  <a:lnTo>
                    <a:pt x="43" y="50"/>
                  </a:lnTo>
                  <a:lnTo>
                    <a:pt x="42" y="50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2" y="51"/>
                  </a:lnTo>
                  <a:lnTo>
                    <a:pt x="32" y="48"/>
                  </a:lnTo>
                  <a:lnTo>
                    <a:pt x="30" y="48"/>
                  </a:lnTo>
                  <a:lnTo>
                    <a:pt x="27" y="48"/>
                  </a:lnTo>
                  <a:lnTo>
                    <a:pt x="25" y="48"/>
                  </a:lnTo>
                  <a:lnTo>
                    <a:pt x="22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10" y="51"/>
                  </a:lnTo>
                  <a:lnTo>
                    <a:pt x="5" y="54"/>
                  </a:lnTo>
                  <a:lnTo>
                    <a:pt x="0" y="58"/>
                  </a:lnTo>
                  <a:lnTo>
                    <a:pt x="0" y="53"/>
                  </a:lnTo>
                  <a:lnTo>
                    <a:pt x="0" y="41"/>
                  </a:lnTo>
                  <a:lnTo>
                    <a:pt x="0" y="36"/>
                  </a:lnTo>
                  <a:lnTo>
                    <a:pt x="3" y="33"/>
                  </a:lnTo>
                  <a:lnTo>
                    <a:pt x="5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7" y="21"/>
                  </a:lnTo>
                  <a:lnTo>
                    <a:pt x="12" y="14"/>
                  </a:lnTo>
                  <a:lnTo>
                    <a:pt x="15" y="13"/>
                  </a:lnTo>
                  <a:lnTo>
                    <a:pt x="19" y="11"/>
                  </a:lnTo>
                  <a:lnTo>
                    <a:pt x="25" y="10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32" y="20"/>
                  </a:lnTo>
                  <a:lnTo>
                    <a:pt x="35" y="21"/>
                  </a:lnTo>
                  <a:lnTo>
                    <a:pt x="36" y="28"/>
                  </a:lnTo>
                  <a:lnTo>
                    <a:pt x="42" y="31"/>
                  </a:lnTo>
                  <a:lnTo>
                    <a:pt x="46" y="31"/>
                  </a:lnTo>
                  <a:lnTo>
                    <a:pt x="49" y="28"/>
                  </a:lnTo>
                  <a:lnTo>
                    <a:pt x="52" y="26"/>
                  </a:lnTo>
                  <a:lnTo>
                    <a:pt x="54" y="24"/>
                  </a:lnTo>
                  <a:lnTo>
                    <a:pt x="54" y="21"/>
                  </a:lnTo>
                  <a:lnTo>
                    <a:pt x="53" y="11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4" y="4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9" y="1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3" y="3"/>
                  </a:lnTo>
                  <a:lnTo>
                    <a:pt x="74" y="4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80" y="6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3" y="11"/>
                  </a:lnTo>
                  <a:lnTo>
                    <a:pt x="84" y="13"/>
                  </a:lnTo>
                  <a:lnTo>
                    <a:pt x="87" y="14"/>
                  </a:lnTo>
                  <a:lnTo>
                    <a:pt x="89" y="16"/>
                  </a:lnTo>
                  <a:lnTo>
                    <a:pt x="93" y="14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6" y="14"/>
                  </a:lnTo>
                  <a:lnTo>
                    <a:pt x="99" y="16"/>
                  </a:lnTo>
                  <a:lnTo>
                    <a:pt x="102" y="16"/>
                  </a:lnTo>
                  <a:lnTo>
                    <a:pt x="102" y="1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Google Shape;259;p3"/>
            <p:cNvSpPr/>
            <p:nvPr/>
          </p:nvSpPr>
          <p:spPr>
            <a:xfrm>
              <a:off x="4055924" y="4020747"/>
              <a:ext cx="178130" cy="153179"/>
            </a:xfrm>
            <a:custGeom>
              <a:rect b="b" l="l" r="r" t="t"/>
              <a:pathLst>
                <a:path extrusionOk="0" h="244" w="254">
                  <a:moveTo>
                    <a:pt x="254" y="29"/>
                  </a:moveTo>
                  <a:lnTo>
                    <a:pt x="254" y="29"/>
                  </a:lnTo>
                  <a:lnTo>
                    <a:pt x="252" y="30"/>
                  </a:lnTo>
                  <a:lnTo>
                    <a:pt x="252" y="32"/>
                  </a:lnTo>
                  <a:lnTo>
                    <a:pt x="251" y="33"/>
                  </a:lnTo>
                  <a:lnTo>
                    <a:pt x="250" y="35"/>
                  </a:lnTo>
                  <a:lnTo>
                    <a:pt x="250" y="37"/>
                  </a:lnTo>
                  <a:lnTo>
                    <a:pt x="250" y="40"/>
                  </a:lnTo>
                  <a:lnTo>
                    <a:pt x="251" y="43"/>
                  </a:lnTo>
                  <a:lnTo>
                    <a:pt x="251" y="45"/>
                  </a:lnTo>
                  <a:lnTo>
                    <a:pt x="251" y="47"/>
                  </a:lnTo>
                  <a:lnTo>
                    <a:pt x="251" y="49"/>
                  </a:lnTo>
                  <a:lnTo>
                    <a:pt x="250" y="52"/>
                  </a:lnTo>
                  <a:lnTo>
                    <a:pt x="247" y="55"/>
                  </a:lnTo>
                  <a:lnTo>
                    <a:pt x="247" y="56"/>
                  </a:lnTo>
                  <a:lnTo>
                    <a:pt x="247" y="57"/>
                  </a:lnTo>
                  <a:lnTo>
                    <a:pt x="248" y="62"/>
                  </a:lnTo>
                  <a:lnTo>
                    <a:pt x="248" y="63"/>
                  </a:lnTo>
                  <a:lnTo>
                    <a:pt x="250" y="67"/>
                  </a:lnTo>
                  <a:lnTo>
                    <a:pt x="251" y="72"/>
                  </a:lnTo>
                  <a:lnTo>
                    <a:pt x="251" y="73"/>
                  </a:lnTo>
                  <a:lnTo>
                    <a:pt x="251" y="75"/>
                  </a:lnTo>
                  <a:lnTo>
                    <a:pt x="251" y="79"/>
                  </a:lnTo>
                  <a:lnTo>
                    <a:pt x="251" y="83"/>
                  </a:lnTo>
                  <a:lnTo>
                    <a:pt x="251" y="87"/>
                  </a:lnTo>
                  <a:lnTo>
                    <a:pt x="251" y="90"/>
                  </a:lnTo>
                  <a:lnTo>
                    <a:pt x="251" y="95"/>
                  </a:lnTo>
                  <a:lnTo>
                    <a:pt x="251" y="99"/>
                  </a:lnTo>
                  <a:lnTo>
                    <a:pt x="251" y="103"/>
                  </a:lnTo>
                  <a:lnTo>
                    <a:pt x="251" y="107"/>
                  </a:lnTo>
                  <a:lnTo>
                    <a:pt x="251" y="112"/>
                  </a:lnTo>
                  <a:lnTo>
                    <a:pt x="251" y="115"/>
                  </a:lnTo>
                  <a:lnTo>
                    <a:pt x="251" y="119"/>
                  </a:lnTo>
                  <a:lnTo>
                    <a:pt x="251" y="123"/>
                  </a:lnTo>
                  <a:lnTo>
                    <a:pt x="251" y="127"/>
                  </a:lnTo>
                  <a:lnTo>
                    <a:pt x="251" y="132"/>
                  </a:lnTo>
                  <a:lnTo>
                    <a:pt x="251" y="135"/>
                  </a:lnTo>
                  <a:lnTo>
                    <a:pt x="251" y="139"/>
                  </a:lnTo>
                  <a:lnTo>
                    <a:pt x="251" y="143"/>
                  </a:lnTo>
                  <a:lnTo>
                    <a:pt x="251" y="147"/>
                  </a:lnTo>
                  <a:lnTo>
                    <a:pt x="251" y="152"/>
                  </a:lnTo>
                  <a:lnTo>
                    <a:pt x="251" y="155"/>
                  </a:lnTo>
                  <a:lnTo>
                    <a:pt x="251" y="159"/>
                  </a:lnTo>
                  <a:lnTo>
                    <a:pt x="251" y="163"/>
                  </a:lnTo>
                  <a:lnTo>
                    <a:pt x="251" y="167"/>
                  </a:lnTo>
                  <a:lnTo>
                    <a:pt x="251" y="170"/>
                  </a:lnTo>
                  <a:lnTo>
                    <a:pt x="251" y="175"/>
                  </a:lnTo>
                  <a:lnTo>
                    <a:pt x="251" y="179"/>
                  </a:lnTo>
                  <a:lnTo>
                    <a:pt x="251" y="182"/>
                  </a:lnTo>
                  <a:lnTo>
                    <a:pt x="251" y="186"/>
                  </a:lnTo>
                  <a:lnTo>
                    <a:pt x="251" y="190"/>
                  </a:lnTo>
                  <a:lnTo>
                    <a:pt x="251" y="195"/>
                  </a:lnTo>
                  <a:lnTo>
                    <a:pt x="251" y="197"/>
                  </a:lnTo>
                  <a:lnTo>
                    <a:pt x="251" y="202"/>
                  </a:lnTo>
                  <a:lnTo>
                    <a:pt x="251" y="210"/>
                  </a:lnTo>
                  <a:lnTo>
                    <a:pt x="251" y="219"/>
                  </a:lnTo>
                  <a:lnTo>
                    <a:pt x="251" y="227"/>
                  </a:lnTo>
                  <a:lnTo>
                    <a:pt x="251" y="236"/>
                  </a:lnTo>
                  <a:lnTo>
                    <a:pt x="251" y="236"/>
                  </a:lnTo>
                  <a:lnTo>
                    <a:pt x="251" y="236"/>
                  </a:lnTo>
                  <a:lnTo>
                    <a:pt x="251" y="236"/>
                  </a:lnTo>
                  <a:lnTo>
                    <a:pt x="251" y="236"/>
                  </a:lnTo>
                  <a:lnTo>
                    <a:pt x="247" y="236"/>
                  </a:lnTo>
                  <a:lnTo>
                    <a:pt x="244" y="236"/>
                  </a:lnTo>
                  <a:lnTo>
                    <a:pt x="240" y="236"/>
                  </a:lnTo>
                  <a:lnTo>
                    <a:pt x="235" y="236"/>
                  </a:lnTo>
                  <a:lnTo>
                    <a:pt x="235" y="237"/>
                  </a:lnTo>
                  <a:lnTo>
                    <a:pt x="235" y="240"/>
                  </a:lnTo>
                  <a:lnTo>
                    <a:pt x="235" y="242"/>
                  </a:lnTo>
                  <a:lnTo>
                    <a:pt x="235" y="244"/>
                  </a:lnTo>
                  <a:lnTo>
                    <a:pt x="228" y="240"/>
                  </a:lnTo>
                  <a:lnTo>
                    <a:pt x="220" y="236"/>
                  </a:lnTo>
                  <a:lnTo>
                    <a:pt x="213" y="232"/>
                  </a:lnTo>
                  <a:lnTo>
                    <a:pt x="204" y="229"/>
                  </a:lnTo>
                  <a:lnTo>
                    <a:pt x="197" y="225"/>
                  </a:lnTo>
                  <a:lnTo>
                    <a:pt x="190" y="220"/>
                  </a:lnTo>
                  <a:lnTo>
                    <a:pt x="181" y="216"/>
                  </a:lnTo>
                  <a:lnTo>
                    <a:pt x="174" y="212"/>
                  </a:lnTo>
                  <a:lnTo>
                    <a:pt x="167" y="209"/>
                  </a:lnTo>
                  <a:lnTo>
                    <a:pt x="158" y="205"/>
                  </a:lnTo>
                  <a:lnTo>
                    <a:pt x="151" y="200"/>
                  </a:lnTo>
                  <a:lnTo>
                    <a:pt x="143" y="196"/>
                  </a:lnTo>
                  <a:lnTo>
                    <a:pt x="136" y="192"/>
                  </a:lnTo>
                  <a:lnTo>
                    <a:pt x="128" y="187"/>
                  </a:lnTo>
                  <a:lnTo>
                    <a:pt x="120" y="183"/>
                  </a:lnTo>
                  <a:lnTo>
                    <a:pt x="113" y="180"/>
                  </a:lnTo>
                  <a:lnTo>
                    <a:pt x="107" y="177"/>
                  </a:lnTo>
                  <a:lnTo>
                    <a:pt x="101" y="179"/>
                  </a:lnTo>
                  <a:lnTo>
                    <a:pt x="97" y="182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84" y="189"/>
                  </a:lnTo>
                  <a:lnTo>
                    <a:pt x="80" y="192"/>
                  </a:lnTo>
                  <a:lnTo>
                    <a:pt x="78" y="192"/>
                  </a:lnTo>
                  <a:lnTo>
                    <a:pt x="78" y="190"/>
                  </a:lnTo>
                  <a:lnTo>
                    <a:pt x="73" y="186"/>
                  </a:lnTo>
                  <a:lnTo>
                    <a:pt x="68" y="182"/>
                  </a:lnTo>
                  <a:lnTo>
                    <a:pt x="67" y="182"/>
                  </a:lnTo>
                  <a:lnTo>
                    <a:pt x="60" y="179"/>
                  </a:lnTo>
                  <a:lnTo>
                    <a:pt x="51" y="177"/>
                  </a:lnTo>
                  <a:lnTo>
                    <a:pt x="43" y="176"/>
                  </a:lnTo>
                  <a:lnTo>
                    <a:pt x="41" y="172"/>
                  </a:lnTo>
                  <a:lnTo>
                    <a:pt x="40" y="169"/>
                  </a:lnTo>
                  <a:lnTo>
                    <a:pt x="37" y="165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29" y="159"/>
                  </a:lnTo>
                  <a:lnTo>
                    <a:pt x="23" y="157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6" y="155"/>
                  </a:lnTo>
                  <a:lnTo>
                    <a:pt x="13" y="153"/>
                  </a:lnTo>
                  <a:lnTo>
                    <a:pt x="11" y="149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9" y="139"/>
                  </a:lnTo>
                  <a:lnTo>
                    <a:pt x="4" y="133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7" y="125"/>
                  </a:lnTo>
                  <a:lnTo>
                    <a:pt x="9" y="122"/>
                  </a:lnTo>
                  <a:lnTo>
                    <a:pt x="10" y="120"/>
                  </a:lnTo>
                  <a:lnTo>
                    <a:pt x="10" y="117"/>
                  </a:lnTo>
                  <a:lnTo>
                    <a:pt x="9" y="116"/>
                  </a:lnTo>
                  <a:lnTo>
                    <a:pt x="9" y="113"/>
                  </a:lnTo>
                  <a:lnTo>
                    <a:pt x="7" y="110"/>
                  </a:lnTo>
                  <a:lnTo>
                    <a:pt x="7" y="107"/>
                  </a:lnTo>
                  <a:lnTo>
                    <a:pt x="9" y="105"/>
                  </a:lnTo>
                  <a:lnTo>
                    <a:pt x="10" y="100"/>
                  </a:lnTo>
                  <a:lnTo>
                    <a:pt x="9" y="95"/>
                  </a:lnTo>
                  <a:lnTo>
                    <a:pt x="9" y="86"/>
                  </a:lnTo>
                  <a:lnTo>
                    <a:pt x="9" y="79"/>
                  </a:lnTo>
                  <a:lnTo>
                    <a:pt x="9" y="76"/>
                  </a:lnTo>
                  <a:lnTo>
                    <a:pt x="9" y="75"/>
                  </a:lnTo>
                  <a:lnTo>
                    <a:pt x="7" y="72"/>
                  </a:lnTo>
                  <a:lnTo>
                    <a:pt x="6" y="67"/>
                  </a:lnTo>
                  <a:lnTo>
                    <a:pt x="6" y="66"/>
                  </a:lnTo>
                  <a:lnTo>
                    <a:pt x="4" y="63"/>
                  </a:lnTo>
                  <a:lnTo>
                    <a:pt x="1" y="60"/>
                  </a:lnTo>
                  <a:lnTo>
                    <a:pt x="0" y="57"/>
                  </a:lnTo>
                  <a:lnTo>
                    <a:pt x="3" y="56"/>
                  </a:lnTo>
                  <a:lnTo>
                    <a:pt x="4" y="56"/>
                  </a:lnTo>
                  <a:lnTo>
                    <a:pt x="6" y="55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4" y="45"/>
                  </a:lnTo>
                  <a:lnTo>
                    <a:pt x="16" y="43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4" y="36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6" y="29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20" y="26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4" y="22"/>
                  </a:lnTo>
                  <a:lnTo>
                    <a:pt x="24" y="20"/>
                  </a:lnTo>
                  <a:lnTo>
                    <a:pt x="27" y="19"/>
                  </a:lnTo>
                  <a:lnTo>
                    <a:pt x="30" y="17"/>
                  </a:lnTo>
                  <a:lnTo>
                    <a:pt x="33" y="16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6" y="5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6" y="8"/>
                  </a:lnTo>
                  <a:lnTo>
                    <a:pt x="61" y="6"/>
                  </a:lnTo>
                  <a:lnTo>
                    <a:pt x="64" y="5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8" y="9"/>
                  </a:lnTo>
                  <a:lnTo>
                    <a:pt x="80" y="9"/>
                  </a:lnTo>
                  <a:lnTo>
                    <a:pt x="83" y="12"/>
                  </a:lnTo>
                  <a:lnTo>
                    <a:pt x="84" y="13"/>
                  </a:lnTo>
                  <a:lnTo>
                    <a:pt x="94" y="15"/>
                  </a:lnTo>
                  <a:lnTo>
                    <a:pt x="96" y="16"/>
                  </a:lnTo>
                  <a:lnTo>
                    <a:pt x="97" y="19"/>
                  </a:lnTo>
                  <a:lnTo>
                    <a:pt x="97" y="23"/>
                  </a:lnTo>
                  <a:lnTo>
                    <a:pt x="98" y="26"/>
                  </a:lnTo>
                  <a:lnTo>
                    <a:pt x="100" y="29"/>
                  </a:lnTo>
                  <a:lnTo>
                    <a:pt x="101" y="32"/>
                  </a:lnTo>
                  <a:lnTo>
                    <a:pt x="103" y="33"/>
                  </a:lnTo>
                  <a:lnTo>
                    <a:pt x="106" y="35"/>
                  </a:lnTo>
                  <a:lnTo>
                    <a:pt x="110" y="36"/>
                  </a:lnTo>
                  <a:lnTo>
                    <a:pt x="114" y="37"/>
                  </a:lnTo>
                  <a:lnTo>
                    <a:pt x="120" y="37"/>
                  </a:lnTo>
                  <a:lnTo>
                    <a:pt x="130" y="39"/>
                  </a:lnTo>
                  <a:lnTo>
                    <a:pt x="137" y="42"/>
                  </a:lnTo>
                  <a:lnTo>
                    <a:pt x="138" y="43"/>
                  </a:lnTo>
                  <a:lnTo>
                    <a:pt x="143" y="45"/>
                  </a:lnTo>
                  <a:lnTo>
                    <a:pt x="150" y="52"/>
                  </a:lnTo>
                  <a:lnTo>
                    <a:pt x="154" y="55"/>
                  </a:lnTo>
                  <a:lnTo>
                    <a:pt x="157" y="55"/>
                  </a:lnTo>
                  <a:lnTo>
                    <a:pt x="160" y="55"/>
                  </a:lnTo>
                  <a:lnTo>
                    <a:pt x="165" y="52"/>
                  </a:lnTo>
                  <a:lnTo>
                    <a:pt x="167" y="50"/>
                  </a:lnTo>
                  <a:lnTo>
                    <a:pt x="171" y="45"/>
                  </a:lnTo>
                  <a:lnTo>
                    <a:pt x="174" y="42"/>
                  </a:lnTo>
                  <a:lnTo>
                    <a:pt x="174" y="40"/>
                  </a:lnTo>
                  <a:lnTo>
                    <a:pt x="174" y="37"/>
                  </a:lnTo>
                  <a:lnTo>
                    <a:pt x="173" y="36"/>
                  </a:lnTo>
                  <a:lnTo>
                    <a:pt x="173" y="33"/>
                  </a:lnTo>
                  <a:lnTo>
                    <a:pt x="171" y="30"/>
                  </a:lnTo>
                  <a:lnTo>
                    <a:pt x="170" y="26"/>
                  </a:lnTo>
                  <a:lnTo>
                    <a:pt x="171" y="22"/>
                  </a:lnTo>
                  <a:lnTo>
                    <a:pt x="173" y="20"/>
                  </a:lnTo>
                  <a:lnTo>
                    <a:pt x="174" y="19"/>
                  </a:lnTo>
                  <a:lnTo>
                    <a:pt x="177" y="15"/>
                  </a:lnTo>
                  <a:lnTo>
                    <a:pt x="181" y="12"/>
                  </a:lnTo>
                  <a:lnTo>
                    <a:pt x="188" y="8"/>
                  </a:lnTo>
                  <a:lnTo>
                    <a:pt x="193" y="8"/>
                  </a:lnTo>
                  <a:lnTo>
                    <a:pt x="194" y="8"/>
                  </a:lnTo>
                  <a:lnTo>
                    <a:pt x="198" y="5"/>
                  </a:lnTo>
                  <a:lnTo>
                    <a:pt x="200" y="5"/>
                  </a:lnTo>
                  <a:lnTo>
                    <a:pt x="201" y="5"/>
                  </a:lnTo>
                  <a:lnTo>
                    <a:pt x="207" y="5"/>
                  </a:lnTo>
                  <a:lnTo>
                    <a:pt x="210" y="6"/>
                  </a:lnTo>
                  <a:lnTo>
                    <a:pt x="213" y="8"/>
                  </a:lnTo>
                  <a:lnTo>
                    <a:pt x="215" y="9"/>
                  </a:lnTo>
                  <a:lnTo>
                    <a:pt x="218" y="9"/>
                  </a:lnTo>
                  <a:lnTo>
                    <a:pt x="221" y="10"/>
                  </a:lnTo>
                  <a:lnTo>
                    <a:pt x="221" y="15"/>
                  </a:lnTo>
                  <a:lnTo>
                    <a:pt x="221" y="15"/>
                  </a:lnTo>
                  <a:lnTo>
                    <a:pt x="221" y="16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34" y="20"/>
                  </a:lnTo>
                  <a:lnTo>
                    <a:pt x="237" y="22"/>
                  </a:lnTo>
                  <a:lnTo>
                    <a:pt x="238" y="22"/>
                  </a:lnTo>
                  <a:lnTo>
                    <a:pt x="244" y="22"/>
                  </a:lnTo>
                  <a:lnTo>
                    <a:pt x="247" y="22"/>
                  </a:lnTo>
                  <a:lnTo>
                    <a:pt x="250" y="23"/>
                  </a:lnTo>
                  <a:lnTo>
                    <a:pt x="251" y="23"/>
                  </a:lnTo>
                  <a:lnTo>
                    <a:pt x="252" y="25"/>
                  </a:lnTo>
                  <a:lnTo>
                    <a:pt x="254" y="27"/>
                  </a:lnTo>
                  <a:lnTo>
                    <a:pt x="254" y="2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0" name="Google Shape;260;p3"/>
            <p:cNvSpPr/>
            <p:nvPr/>
          </p:nvSpPr>
          <p:spPr>
            <a:xfrm>
              <a:off x="3804158" y="3986847"/>
              <a:ext cx="136052" cy="97934"/>
            </a:xfrm>
            <a:custGeom>
              <a:rect b="b" l="l" r="r" t="t"/>
              <a:pathLst>
                <a:path extrusionOk="0" h="156" w="194">
                  <a:moveTo>
                    <a:pt x="175" y="17"/>
                  </a:moveTo>
                  <a:lnTo>
                    <a:pt x="175" y="19"/>
                  </a:lnTo>
                  <a:lnTo>
                    <a:pt x="176" y="20"/>
                  </a:lnTo>
                  <a:lnTo>
                    <a:pt x="179" y="22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81" y="26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2" y="29"/>
                  </a:lnTo>
                  <a:lnTo>
                    <a:pt x="182" y="29"/>
                  </a:lnTo>
                  <a:lnTo>
                    <a:pt x="182" y="30"/>
                  </a:lnTo>
                  <a:lnTo>
                    <a:pt x="182" y="32"/>
                  </a:lnTo>
                  <a:lnTo>
                    <a:pt x="184" y="34"/>
                  </a:lnTo>
                  <a:lnTo>
                    <a:pt x="184" y="39"/>
                  </a:lnTo>
                  <a:lnTo>
                    <a:pt x="184" y="42"/>
                  </a:lnTo>
                  <a:lnTo>
                    <a:pt x="184" y="43"/>
                  </a:lnTo>
                  <a:lnTo>
                    <a:pt x="184" y="44"/>
                  </a:lnTo>
                  <a:lnTo>
                    <a:pt x="184" y="47"/>
                  </a:lnTo>
                  <a:lnTo>
                    <a:pt x="184" y="52"/>
                  </a:lnTo>
                  <a:lnTo>
                    <a:pt x="185" y="54"/>
                  </a:lnTo>
                  <a:lnTo>
                    <a:pt x="185" y="56"/>
                  </a:lnTo>
                  <a:lnTo>
                    <a:pt x="186" y="60"/>
                  </a:lnTo>
                  <a:lnTo>
                    <a:pt x="188" y="62"/>
                  </a:lnTo>
                  <a:lnTo>
                    <a:pt x="189" y="63"/>
                  </a:lnTo>
                  <a:lnTo>
                    <a:pt x="189" y="64"/>
                  </a:lnTo>
                  <a:lnTo>
                    <a:pt x="191" y="64"/>
                  </a:lnTo>
                  <a:lnTo>
                    <a:pt x="192" y="66"/>
                  </a:lnTo>
                  <a:lnTo>
                    <a:pt x="194" y="67"/>
                  </a:lnTo>
                  <a:lnTo>
                    <a:pt x="192" y="69"/>
                  </a:lnTo>
                  <a:lnTo>
                    <a:pt x="191" y="70"/>
                  </a:lnTo>
                  <a:lnTo>
                    <a:pt x="191" y="71"/>
                  </a:lnTo>
                  <a:lnTo>
                    <a:pt x="191" y="73"/>
                  </a:lnTo>
                  <a:lnTo>
                    <a:pt x="191" y="74"/>
                  </a:lnTo>
                  <a:lnTo>
                    <a:pt x="189" y="74"/>
                  </a:lnTo>
                  <a:lnTo>
                    <a:pt x="186" y="74"/>
                  </a:lnTo>
                  <a:lnTo>
                    <a:pt x="184" y="74"/>
                  </a:lnTo>
                  <a:lnTo>
                    <a:pt x="181" y="74"/>
                  </a:lnTo>
                  <a:lnTo>
                    <a:pt x="178" y="74"/>
                  </a:lnTo>
                  <a:lnTo>
                    <a:pt x="175" y="74"/>
                  </a:lnTo>
                  <a:lnTo>
                    <a:pt x="171" y="74"/>
                  </a:lnTo>
                  <a:lnTo>
                    <a:pt x="169" y="74"/>
                  </a:lnTo>
                  <a:lnTo>
                    <a:pt x="166" y="74"/>
                  </a:lnTo>
                  <a:lnTo>
                    <a:pt x="165" y="74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7"/>
                  </a:lnTo>
                  <a:lnTo>
                    <a:pt x="162" y="79"/>
                  </a:lnTo>
                  <a:lnTo>
                    <a:pt x="162" y="80"/>
                  </a:lnTo>
                  <a:lnTo>
                    <a:pt x="155" y="81"/>
                  </a:lnTo>
                  <a:lnTo>
                    <a:pt x="152" y="83"/>
                  </a:lnTo>
                  <a:lnTo>
                    <a:pt x="151" y="81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49" y="84"/>
                  </a:lnTo>
                  <a:lnTo>
                    <a:pt x="149" y="86"/>
                  </a:lnTo>
                  <a:lnTo>
                    <a:pt x="149" y="87"/>
                  </a:lnTo>
                  <a:lnTo>
                    <a:pt x="149" y="89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3"/>
                  </a:lnTo>
                  <a:lnTo>
                    <a:pt x="152" y="93"/>
                  </a:lnTo>
                  <a:lnTo>
                    <a:pt x="152" y="94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1" y="96"/>
                  </a:lnTo>
                  <a:lnTo>
                    <a:pt x="148" y="97"/>
                  </a:lnTo>
                  <a:lnTo>
                    <a:pt x="146" y="97"/>
                  </a:lnTo>
                  <a:lnTo>
                    <a:pt x="144" y="99"/>
                  </a:lnTo>
                  <a:lnTo>
                    <a:pt x="141" y="100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4" y="103"/>
                  </a:lnTo>
                  <a:lnTo>
                    <a:pt x="131" y="106"/>
                  </a:lnTo>
                  <a:lnTo>
                    <a:pt x="129" y="107"/>
                  </a:lnTo>
                  <a:lnTo>
                    <a:pt x="128" y="110"/>
                  </a:lnTo>
                  <a:lnTo>
                    <a:pt x="125" y="113"/>
                  </a:lnTo>
                  <a:lnTo>
                    <a:pt x="124" y="114"/>
                  </a:lnTo>
                  <a:lnTo>
                    <a:pt x="121" y="116"/>
                  </a:lnTo>
                  <a:lnTo>
                    <a:pt x="118" y="116"/>
                  </a:lnTo>
                  <a:lnTo>
                    <a:pt x="114" y="117"/>
                  </a:lnTo>
                  <a:lnTo>
                    <a:pt x="112" y="117"/>
                  </a:lnTo>
                  <a:lnTo>
                    <a:pt x="111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9"/>
                  </a:lnTo>
                  <a:lnTo>
                    <a:pt x="107" y="120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4" y="121"/>
                  </a:lnTo>
                  <a:lnTo>
                    <a:pt x="102" y="121"/>
                  </a:lnTo>
                  <a:lnTo>
                    <a:pt x="101" y="121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2" y="123"/>
                  </a:lnTo>
                  <a:lnTo>
                    <a:pt x="91" y="124"/>
                  </a:lnTo>
                  <a:lnTo>
                    <a:pt x="91" y="124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4" y="129"/>
                  </a:lnTo>
                  <a:lnTo>
                    <a:pt x="82" y="130"/>
                  </a:lnTo>
                  <a:lnTo>
                    <a:pt x="78" y="133"/>
                  </a:lnTo>
                  <a:lnTo>
                    <a:pt x="77" y="133"/>
                  </a:lnTo>
                  <a:lnTo>
                    <a:pt x="77" y="134"/>
                  </a:lnTo>
                  <a:lnTo>
                    <a:pt x="74" y="136"/>
                  </a:lnTo>
                  <a:lnTo>
                    <a:pt x="72" y="137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9"/>
                  </a:lnTo>
                  <a:lnTo>
                    <a:pt x="71" y="151"/>
                  </a:lnTo>
                  <a:lnTo>
                    <a:pt x="71" y="156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1" y="154"/>
                  </a:lnTo>
                  <a:lnTo>
                    <a:pt x="2" y="151"/>
                  </a:lnTo>
                  <a:lnTo>
                    <a:pt x="5" y="150"/>
                  </a:lnTo>
                  <a:lnTo>
                    <a:pt x="11" y="150"/>
                  </a:lnTo>
                  <a:lnTo>
                    <a:pt x="18" y="147"/>
                  </a:lnTo>
                  <a:lnTo>
                    <a:pt x="25" y="144"/>
                  </a:lnTo>
                  <a:lnTo>
                    <a:pt x="27" y="143"/>
                  </a:lnTo>
                  <a:lnTo>
                    <a:pt x="29" y="140"/>
                  </a:lnTo>
                  <a:lnTo>
                    <a:pt x="32" y="137"/>
                  </a:lnTo>
                  <a:lnTo>
                    <a:pt x="39" y="133"/>
                  </a:lnTo>
                  <a:lnTo>
                    <a:pt x="42" y="131"/>
                  </a:lnTo>
                  <a:lnTo>
                    <a:pt x="47" y="124"/>
                  </a:lnTo>
                  <a:lnTo>
                    <a:pt x="49" y="120"/>
                  </a:lnTo>
                  <a:lnTo>
                    <a:pt x="52" y="117"/>
                  </a:lnTo>
                  <a:lnTo>
                    <a:pt x="54" y="114"/>
                  </a:lnTo>
                  <a:lnTo>
                    <a:pt x="55" y="111"/>
                  </a:lnTo>
                  <a:lnTo>
                    <a:pt x="57" y="107"/>
                  </a:lnTo>
                  <a:lnTo>
                    <a:pt x="55" y="106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2" y="94"/>
                  </a:lnTo>
                  <a:lnTo>
                    <a:pt x="54" y="87"/>
                  </a:lnTo>
                  <a:lnTo>
                    <a:pt x="55" y="81"/>
                  </a:lnTo>
                  <a:lnTo>
                    <a:pt x="61" y="74"/>
                  </a:lnTo>
                  <a:lnTo>
                    <a:pt x="62" y="71"/>
                  </a:lnTo>
                  <a:lnTo>
                    <a:pt x="62" y="67"/>
                  </a:lnTo>
                  <a:lnTo>
                    <a:pt x="62" y="66"/>
                  </a:lnTo>
                  <a:lnTo>
                    <a:pt x="69" y="59"/>
                  </a:lnTo>
                  <a:lnTo>
                    <a:pt x="72" y="54"/>
                  </a:lnTo>
                  <a:lnTo>
                    <a:pt x="74" y="53"/>
                  </a:lnTo>
                  <a:lnTo>
                    <a:pt x="78" y="50"/>
                  </a:lnTo>
                  <a:lnTo>
                    <a:pt x="89" y="46"/>
                  </a:lnTo>
                  <a:lnTo>
                    <a:pt x="97" y="42"/>
                  </a:lnTo>
                  <a:lnTo>
                    <a:pt x="99" y="39"/>
                  </a:lnTo>
                  <a:lnTo>
                    <a:pt x="102" y="36"/>
                  </a:lnTo>
                  <a:lnTo>
                    <a:pt x="108" y="23"/>
                  </a:lnTo>
                  <a:lnTo>
                    <a:pt x="115" y="6"/>
                  </a:lnTo>
                  <a:lnTo>
                    <a:pt x="115" y="3"/>
                  </a:lnTo>
                  <a:lnTo>
                    <a:pt x="118" y="3"/>
                  </a:lnTo>
                  <a:lnTo>
                    <a:pt x="121" y="3"/>
                  </a:lnTo>
                  <a:lnTo>
                    <a:pt x="122" y="2"/>
                  </a:lnTo>
                  <a:lnTo>
                    <a:pt x="124" y="0"/>
                  </a:lnTo>
                  <a:lnTo>
                    <a:pt x="126" y="2"/>
                  </a:lnTo>
                  <a:lnTo>
                    <a:pt x="125" y="3"/>
                  </a:lnTo>
                  <a:lnTo>
                    <a:pt x="125" y="4"/>
                  </a:lnTo>
                  <a:lnTo>
                    <a:pt x="126" y="7"/>
                  </a:lnTo>
                  <a:lnTo>
                    <a:pt x="128" y="10"/>
                  </a:lnTo>
                  <a:lnTo>
                    <a:pt x="132" y="13"/>
                  </a:lnTo>
                  <a:lnTo>
                    <a:pt x="136" y="14"/>
                  </a:lnTo>
                  <a:lnTo>
                    <a:pt x="141" y="16"/>
                  </a:lnTo>
                  <a:lnTo>
                    <a:pt x="146" y="14"/>
                  </a:lnTo>
                  <a:lnTo>
                    <a:pt x="149" y="14"/>
                  </a:lnTo>
                  <a:lnTo>
                    <a:pt x="151" y="13"/>
                  </a:lnTo>
                  <a:lnTo>
                    <a:pt x="152" y="14"/>
                  </a:lnTo>
                  <a:lnTo>
                    <a:pt x="156" y="14"/>
                  </a:lnTo>
                  <a:lnTo>
                    <a:pt x="159" y="14"/>
                  </a:lnTo>
                  <a:lnTo>
                    <a:pt x="161" y="13"/>
                  </a:lnTo>
                  <a:lnTo>
                    <a:pt x="162" y="12"/>
                  </a:lnTo>
                  <a:lnTo>
                    <a:pt x="164" y="12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5" y="16"/>
                  </a:lnTo>
                  <a:lnTo>
                    <a:pt x="165" y="17"/>
                  </a:lnTo>
                  <a:lnTo>
                    <a:pt x="166" y="16"/>
                  </a:lnTo>
                  <a:lnTo>
                    <a:pt x="168" y="17"/>
                  </a:lnTo>
                  <a:lnTo>
                    <a:pt x="172" y="17"/>
                  </a:lnTo>
                  <a:lnTo>
                    <a:pt x="175" y="1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1" name="Google Shape;261;p3"/>
            <p:cNvSpPr/>
            <p:nvPr/>
          </p:nvSpPr>
          <p:spPr>
            <a:xfrm>
              <a:off x="4034885" y="3884518"/>
              <a:ext cx="0" cy="1256"/>
            </a:xfrm>
            <a:custGeom>
              <a:rect b="b" l="l" r="r" t="t"/>
              <a:pathLst>
                <a:path extrusionOk="0" h="2" w="120000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2" name="Google Shape;262;p3"/>
            <p:cNvSpPr/>
            <p:nvPr/>
          </p:nvSpPr>
          <p:spPr>
            <a:xfrm>
              <a:off x="4250885" y="3816718"/>
              <a:ext cx="39273" cy="44573"/>
            </a:xfrm>
            <a:custGeom>
              <a:rect b="b" l="l" r="r" t="t"/>
              <a:pathLst>
                <a:path extrusionOk="0" h="71" w="56">
                  <a:moveTo>
                    <a:pt x="26" y="71"/>
                  </a:moveTo>
                  <a:lnTo>
                    <a:pt x="24" y="70"/>
                  </a:lnTo>
                  <a:lnTo>
                    <a:pt x="23" y="68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4"/>
                  </a:lnTo>
                  <a:lnTo>
                    <a:pt x="24" y="63"/>
                  </a:lnTo>
                  <a:lnTo>
                    <a:pt x="23" y="63"/>
                  </a:lnTo>
                  <a:lnTo>
                    <a:pt x="23" y="61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4" y="50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40"/>
                  </a:lnTo>
                  <a:lnTo>
                    <a:pt x="23" y="36"/>
                  </a:lnTo>
                  <a:lnTo>
                    <a:pt x="22" y="34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17" y="28"/>
                  </a:lnTo>
                  <a:lnTo>
                    <a:pt x="16" y="27"/>
                  </a:lnTo>
                  <a:lnTo>
                    <a:pt x="14" y="24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2" y="20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9" y="16"/>
                  </a:lnTo>
                  <a:lnTo>
                    <a:pt x="9" y="13"/>
                  </a:lnTo>
                  <a:lnTo>
                    <a:pt x="7" y="10"/>
                  </a:lnTo>
                  <a:lnTo>
                    <a:pt x="6" y="8"/>
                  </a:lnTo>
                  <a:lnTo>
                    <a:pt x="6" y="7"/>
                  </a:lnTo>
                  <a:lnTo>
                    <a:pt x="4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6" y="3"/>
                  </a:lnTo>
                  <a:lnTo>
                    <a:pt x="9" y="3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19" y="1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6" y="11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0" y="13"/>
                  </a:lnTo>
                  <a:lnTo>
                    <a:pt x="42" y="14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3" y="26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30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3"/>
                  </a:lnTo>
                  <a:lnTo>
                    <a:pt x="47" y="34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7"/>
                  </a:lnTo>
                  <a:lnTo>
                    <a:pt x="49" y="38"/>
                  </a:lnTo>
                  <a:lnTo>
                    <a:pt x="52" y="38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4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4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4" y="47"/>
                  </a:lnTo>
                  <a:lnTo>
                    <a:pt x="44" y="48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50"/>
                  </a:lnTo>
                  <a:lnTo>
                    <a:pt x="37" y="51"/>
                  </a:lnTo>
                  <a:lnTo>
                    <a:pt x="37" y="54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6" y="58"/>
                  </a:lnTo>
                  <a:lnTo>
                    <a:pt x="33" y="60"/>
                  </a:lnTo>
                  <a:lnTo>
                    <a:pt x="33" y="61"/>
                  </a:lnTo>
                  <a:lnTo>
                    <a:pt x="33" y="63"/>
                  </a:lnTo>
                  <a:lnTo>
                    <a:pt x="30" y="64"/>
                  </a:lnTo>
                  <a:lnTo>
                    <a:pt x="30" y="66"/>
                  </a:lnTo>
                  <a:lnTo>
                    <a:pt x="30" y="67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29" y="70"/>
                  </a:lnTo>
                  <a:lnTo>
                    <a:pt x="27" y="70"/>
                  </a:lnTo>
                  <a:lnTo>
                    <a:pt x="26" y="70"/>
                  </a:lnTo>
                  <a:lnTo>
                    <a:pt x="26" y="7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3" name="Google Shape;263;p3"/>
            <p:cNvSpPr/>
            <p:nvPr/>
          </p:nvSpPr>
          <p:spPr>
            <a:xfrm>
              <a:off x="4436729" y="4494097"/>
              <a:ext cx="82052" cy="143763"/>
            </a:xfrm>
            <a:custGeom>
              <a:rect b="b" l="l" r="r" t="t"/>
              <a:pathLst>
                <a:path extrusionOk="0" h="229" w="117">
                  <a:moveTo>
                    <a:pt x="102" y="6"/>
                  </a:moveTo>
                  <a:lnTo>
                    <a:pt x="102" y="9"/>
                  </a:lnTo>
                  <a:lnTo>
                    <a:pt x="103" y="10"/>
                  </a:lnTo>
                  <a:lnTo>
                    <a:pt x="106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9" y="20"/>
                  </a:lnTo>
                  <a:lnTo>
                    <a:pt x="110" y="26"/>
                  </a:lnTo>
                  <a:lnTo>
                    <a:pt x="112" y="33"/>
                  </a:lnTo>
                  <a:lnTo>
                    <a:pt x="112" y="40"/>
                  </a:lnTo>
                  <a:lnTo>
                    <a:pt x="113" y="44"/>
                  </a:lnTo>
                  <a:lnTo>
                    <a:pt x="115" y="47"/>
                  </a:lnTo>
                  <a:lnTo>
                    <a:pt x="116" y="52"/>
                  </a:lnTo>
                  <a:lnTo>
                    <a:pt x="117" y="54"/>
                  </a:lnTo>
                  <a:lnTo>
                    <a:pt x="116" y="59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0" y="63"/>
                  </a:lnTo>
                  <a:lnTo>
                    <a:pt x="109" y="62"/>
                  </a:lnTo>
                  <a:lnTo>
                    <a:pt x="107" y="59"/>
                  </a:lnTo>
                  <a:lnTo>
                    <a:pt x="107" y="56"/>
                  </a:lnTo>
                  <a:lnTo>
                    <a:pt x="106" y="56"/>
                  </a:lnTo>
                  <a:lnTo>
                    <a:pt x="105" y="56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3" y="60"/>
                  </a:lnTo>
                  <a:lnTo>
                    <a:pt x="105" y="62"/>
                  </a:lnTo>
                  <a:lnTo>
                    <a:pt x="105" y="64"/>
                  </a:lnTo>
                  <a:lnTo>
                    <a:pt x="105" y="66"/>
                  </a:lnTo>
                  <a:lnTo>
                    <a:pt x="105" y="67"/>
                  </a:lnTo>
                  <a:lnTo>
                    <a:pt x="106" y="67"/>
                  </a:lnTo>
                  <a:lnTo>
                    <a:pt x="106" y="69"/>
                  </a:lnTo>
                  <a:lnTo>
                    <a:pt x="106" y="73"/>
                  </a:lnTo>
                  <a:lnTo>
                    <a:pt x="106" y="74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2" y="83"/>
                  </a:lnTo>
                  <a:lnTo>
                    <a:pt x="100" y="86"/>
                  </a:lnTo>
                  <a:lnTo>
                    <a:pt x="100" y="87"/>
                  </a:lnTo>
                  <a:lnTo>
                    <a:pt x="100" y="93"/>
                  </a:lnTo>
                  <a:lnTo>
                    <a:pt x="100" y="97"/>
                  </a:lnTo>
                  <a:lnTo>
                    <a:pt x="99" y="104"/>
                  </a:lnTo>
                  <a:lnTo>
                    <a:pt x="97" y="107"/>
                  </a:lnTo>
                  <a:lnTo>
                    <a:pt x="96" y="112"/>
                  </a:lnTo>
                  <a:lnTo>
                    <a:pt x="95" y="117"/>
                  </a:lnTo>
                  <a:lnTo>
                    <a:pt x="92" y="124"/>
                  </a:lnTo>
                  <a:lnTo>
                    <a:pt x="90" y="131"/>
                  </a:lnTo>
                  <a:lnTo>
                    <a:pt x="89" y="136"/>
                  </a:lnTo>
                  <a:lnTo>
                    <a:pt x="86" y="140"/>
                  </a:lnTo>
                  <a:lnTo>
                    <a:pt x="85" y="147"/>
                  </a:lnTo>
                  <a:lnTo>
                    <a:pt x="83" y="156"/>
                  </a:lnTo>
                  <a:lnTo>
                    <a:pt x="80" y="163"/>
                  </a:lnTo>
                  <a:lnTo>
                    <a:pt x="76" y="173"/>
                  </a:lnTo>
                  <a:lnTo>
                    <a:pt x="76" y="174"/>
                  </a:lnTo>
                  <a:lnTo>
                    <a:pt x="75" y="179"/>
                  </a:lnTo>
                  <a:lnTo>
                    <a:pt x="73" y="183"/>
                  </a:lnTo>
                  <a:lnTo>
                    <a:pt x="73" y="187"/>
                  </a:lnTo>
                  <a:lnTo>
                    <a:pt x="70" y="194"/>
                  </a:lnTo>
                  <a:lnTo>
                    <a:pt x="70" y="197"/>
                  </a:lnTo>
                  <a:lnTo>
                    <a:pt x="70" y="199"/>
                  </a:lnTo>
                  <a:lnTo>
                    <a:pt x="68" y="203"/>
                  </a:lnTo>
                  <a:lnTo>
                    <a:pt x="68" y="204"/>
                  </a:lnTo>
                  <a:lnTo>
                    <a:pt x="66" y="206"/>
                  </a:lnTo>
                  <a:lnTo>
                    <a:pt x="66" y="209"/>
                  </a:lnTo>
                  <a:lnTo>
                    <a:pt x="65" y="211"/>
                  </a:lnTo>
                  <a:lnTo>
                    <a:pt x="63" y="214"/>
                  </a:lnTo>
                  <a:lnTo>
                    <a:pt x="62" y="219"/>
                  </a:lnTo>
                  <a:lnTo>
                    <a:pt x="60" y="219"/>
                  </a:lnTo>
                  <a:lnTo>
                    <a:pt x="56" y="221"/>
                  </a:lnTo>
                  <a:lnTo>
                    <a:pt x="55" y="221"/>
                  </a:lnTo>
                  <a:lnTo>
                    <a:pt x="52" y="221"/>
                  </a:lnTo>
                  <a:lnTo>
                    <a:pt x="48" y="223"/>
                  </a:lnTo>
                  <a:lnTo>
                    <a:pt x="43" y="224"/>
                  </a:lnTo>
                  <a:lnTo>
                    <a:pt x="40" y="227"/>
                  </a:lnTo>
                  <a:lnTo>
                    <a:pt x="39" y="227"/>
                  </a:lnTo>
                  <a:lnTo>
                    <a:pt x="38" y="229"/>
                  </a:lnTo>
                  <a:lnTo>
                    <a:pt x="32" y="229"/>
                  </a:lnTo>
                  <a:lnTo>
                    <a:pt x="30" y="229"/>
                  </a:lnTo>
                  <a:lnTo>
                    <a:pt x="26" y="224"/>
                  </a:lnTo>
                  <a:lnTo>
                    <a:pt x="25" y="224"/>
                  </a:lnTo>
                  <a:lnTo>
                    <a:pt x="20" y="223"/>
                  </a:lnTo>
                  <a:lnTo>
                    <a:pt x="19" y="223"/>
                  </a:lnTo>
                  <a:lnTo>
                    <a:pt x="19" y="223"/>
                  </a:lnTo>
                  <a:lnTo>
                    <a:pt x="18" y="220"/>
                  </a:lnTo>
                  <a:lnTo>
                    <a:pt x="15" y="219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3" y="216"/>
                  </a:lnTo>
                  <a:lnTo>
                    <a:pt x="12" y="214"/>
                  </a:lnTo>
                  <a:lnTo>
                    <a:pt x="12" y="211"/>
                  </a:lnTo>
                  <a:lnTo>
                    <a:pt x="10" y="210"/>
                  </a:lnTo>
                  <a:lnTo>
                    <a:pt x="8" y="207"/>
                  </a:lnTo>
                  <a:lnTo>
                    <a:pt x="8" y="206"/>
                  </a:lnTo>
                  <a:lnTo>
                    <a:pt x="8" y="203"/>
                  </a:lnTo>
                  <a:lnTo>
                    <a:pt x="8" y="200"/>
                  </a:lnTo>
                  <a:lnTo>
                    <a:pt x="8" y="196"/>
                  </a:lnTo>
                  <a:lnTo>
                    <a:pt x="8" y="194"/>
                  </a:lnTo>
                  <a:lnTo>
                    <a:pt x="9" y="193"/>
                  </a:lnTo>
                  <a:lnTo>
                    <a:pt x="8" y="191"/>
                  </a:lnTo>
                  <a:lnTo>
                    <a:pt x="8" y="189"/>
                  </a:lnTo>
                  <a:lnTo>
                    <a:pt x="6" y="187"/>
                  </a:lnTo>
                  <a:lnTo>
                    <a:pt x="6" y="184"/>
                  </a:lnTo>
                  <a:lnTo>
                    <a:pt x="3" y="181"/>
                  </a:lnTo>
                  <a:lnTo>
                    <a:pt x="3" y="180"/>
                  </a:lnTo>
                  <a:lnTo>
                    <a:pt x="2" y="179"/>
                  </a:lnTo>
                  <a:lnTo>
                    <a:pt x="0" y="173"/>
                  </a:lnTo>
                  <a:lnTo>
                    <a:pt x="0" y="171"/>
                  </a:lnTo>
                  <a:lnTo>
                    <a:pt x="2" y="167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3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3" y="160"/>
                  </a:lnTo>
                  <a:lnTo>
                    <a:pt x="5" y="156"/>
                  </a:lnTo>
                  <a:lnTo>
                    <a:pt x="6" y="154"/>
                  </a:lnTo>
                  <a:lnTo>
                    <a:pt x="8" y="153"/>
                  </a:lnTo>
                  <a:lnTo>
                    <a:pt x="10" y="151"/>
                  </a:lnTo>
                  <a:lnTo>
                    <a:pt x="10" y="150"/>
                  </a:lnTo>
                  <a:lnTo>
                    <a:pt x="12" y="147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6" y="139"/>
                  </a:lnTo>
                  <a:lnTo>
                    <a:pt x="19" y="134"/>
                  </a:lnTo>
                  <a:lnTo>
                    <a:pt x="19" y="133"/>
                  </a:lnTo>
                  <a:lnTo>
                    <a:pt x="19" y="131"/>
                  </a:lnTo>
                  <a:lnTo>
                    <a:pt x="20" y="127"/>
                  </a:lnTo>
                  <a:lnTo>
                    <a:pt x="20" y="124"/>
                  </a:lnTo>
                  <a:lnTo>
                    <a:pt x="20" y="123"/>
                  </a:lnTo>
                  <a:lnTo>
                    <a:pt x="19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8" y="113"/>
                  </a:lnTo>
                  <a:lnTo>
                    <a:pt x="16" y="112"/>
                  </a:lnTo>
                  <a:lnTo>
                    <a:pt x="16" y="109"/>
                  </a:lnTo>
                  <a:lnTo>
                    <a:pt x="15" y="107"/>
                  </a:lnTo>
                  <a:lnTo>
                    <a:pt x="13" y="103"/>
                  </a:lnTo>
                  <a:lnTo>
                    <a:pt x="13" y="97"/>
                  </a:lnTo>
                  <a:lnTo>
                    <a:pt x="13" y="96"/>
                  </a:lnTo>
                  <a:lnTo>
                    <a:pt x="13" y="93"/>
                  </a:lnTo>
                  <a:lnTo>
                    <a:pt x="12" y="92"/>
                  </a:lnTo>
                  <a:lnTo>
                    <a:pt x="13" y="89"/>
                  </a:lnTo>
                  <a:lnTo>
                    <a:pt x="19" y="77"/>
                  </a:lnTo>
                  <a:lnTo>
                    <a:pt x="20" y="76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2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9" y="67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3" y="64"/>
                  </a:lnTo>
                  <a:lnTo>
                    <a:pt x="33" y="66"/>
                  </a:lnTo>
                  <a:lnTo>
                    <a:pt x="35" y="66"/>
                  </a:lnTo>
                  <a:lnTo>
                    <a:pt x="36" y="64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40" y="62"/>
                  </a:lnTo>
                  <a:lnTo>
                    <a:pt x="43" y="62"/>
                  </a:lnTo>
                  <a:lnTo>
                    <a:pt x="45" y="62"/>
                  </a:lnTo>
                  <a:lnTo>
                    <a:pt x="48" y="60"/>
                  </a:lnTo>
                  <a:lnTo>
                    <a:pt x="48" y="62"/>
                  </a:lnTo>
                  <a:lnTo>
                    <a:pt x="50" y="63"/>
                  </a:lnTo>
                  <a:lnTo>
                    <a:pt x="50" y="64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52" y="59"/>
                  </a:lnTo>
                  <a:lnTo>
                    <a:pt x="53" y="57"/>
                  </a:lnTo>
                  <a:lnTo>
                    <a:pt x="56" y="54"/>
                  </a:lnTo>
                  <a:lnTo>
                    <a:pt x="59" y="53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3" y="56"/>
                  </a:lnTo>
                  <a:lnTo>
                    <a:pt x="63" y="54"/>
                  </a:lnTo>
                  <a:lnTo>
                    <a:pt x="63" y="53"/>
                  </a:lnTo>
                  <a:lnTo>
                    <a:pt x="63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5" y="49"/>
                  </a:lnTo>
                  <a:lnTo>
                    <a:pt x="66" y="47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8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8" y="47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70" y="46"/>
                  </a:lnTo>
                  <a:lnTo>
                    <a:pt x="72" y="44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5" y="43"/>
                  </a:lnTo>
                  <a:lnTo>
                    <a:pt x="76" y="43"/>
                  </a:lnTo>
                  <a:lnTo>
                    <a:pt x="75" y="42"/>
                  </a:lnTo>
                  <a:lnTo>
                    <a:pt x="73" y="39"/>
                  </a:lnTo>
                  <a:lnTo>
                    <a:pt x="76" y="33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7" y="32"/>
                  </a:lnTo>
                  <a:lnTo>
                    <a:pt x="76" y="30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76" y="27"/>
                  </a:lnTo>
                  <a:lnTo>
                    <a:pt x="76" y="26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6"/>
                  </a:lnTo>
                  <a:lnTo>
                    <a:pt x="83" y="24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90" y="20"/>
                  </a:lnTo>
                  <a:lnTo>
                    <a:pt x="92" y="14"/>
                  </a:lnTo>
                  <a:lnTo>
                    <a:pt x="92" y="13"/>
                  </a:lnTo>
                  <a:lnTo>
                    <a:pt x="92" y="12"/>
                  </a:lnTo>
                  <a:lnTo>
                    <a:pt x="90" y="9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3" y="4"/>
                  </a:lnTo>
                  <a:lnTo>
                    <a:pt x="96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4"/>
                  </a:lnTo>
                  <a:lnTo>
                    <a:pt x="102" y="6"/>
                  </a:lnTo>
                  <a:close/>
                  <a:moveTo>
                    <a:pt x="82" y="22"/>
                  </a:moveTo>
                  <a:lnTo>
                    <a:pt x="83" y="23"/>
                  </a:lnTo>
                  <a:lnTo>
                    <a:pt x="80" y="22"/>
                  </a:lnTo>
                  <a:lnTo>
                    <a:pt x="80" y="20"/>
                  </a:lnTo>
                  <a:lnTo>
                    <a:pt x="82" y="20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20"/>
                  </a:lnTo>
                  <a:lnTo>
                    <a:pt x="82" y="22"/>
                  </a:lnTo>
                  <a:close/>
                  <a:moveTo>
                    <a:pt x="107" y="80"/>
                  </a:moveTo>
                  <a:lnTo>
                    <a:pt x="106" y="83"/>
                  </a:lnTo>
                  <a:lnTo>
                    <a:pt x="106" y="80"/>
                  </a:lnTo>
                  <a:lnTo>
                    <a:pt x="109" y="77"/>
                  </a:lnTo>
                  <a:lnTo>
                    <a:pt x="109" y="77"/>
                  </a:lnTo>
                  <a:lnTo>
                    <a:pt x="107" y="8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4" name="Google Shape;264;p3"/>
            <p:cNvSpPr/>
            <p:nvPr/>
          </p:nvSpPr>
          <p:spPr>
            <a:xfrm>
              <a:off x="4159015" y="3888285"/>
              <a:ext cx="21039" cy="22600"/>
            </a:xfrm>
            <a:custGeom>
              <a:rect b="b" l="l" r="r" t="t"/>
              <a:pathLst>
                <a:path extrusionOk="0" h="36" w="30"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6" y="4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1" y="9"/>
                  </a:lnTo>
                  <a:lnTo>
                    <a:pt x="23" y="9"/>
                  </a:lnTo>
                  <a:lnTo>
                    <a:pt x="24" y="10"/>
                  </a:lnTo>
                  <a:lnTo>
                    <a:pt x="27" y="12"/>
                  </a:lnTo>
                  <a:lnTo>
                    <a:pt x="28" y="13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4" y="21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7" y="23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4" y="27"/>
                  </a:lnTo>
                  <a:lnTo>
                    <a:pt x="13" y="30"/>
                  </a:lnTo>
                  <a:lnTo>
                    <a:pt x="14" y="30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4"/>
                  </a:lnTo>
                  <a:lnTo>
                    <a:pt x="14" y="36"/>
                  </a:lnTo>
                  <a:lnTo>
                    <a:pt x="11" y="34"/>
                  </a:lnTo>
                  <a:lnTo>
                    <a:pt x="10" y="31"/>
                  </a:lnTo>
                  <a:lnTo>
                    <a:pt x="7" y="27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7"/>
                  </a:lnTo>
                  <a:lnTo>
                    <a:pt x="3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5" name="Google Shape;265;p3"/>
            <p:cNvSpPr/>
            <p:nvPr/>
          </p:nvSpPr>
          <p:spPr>
            <a:xfrm>
              <a:off x="4180755" y="3904607"/>
              <a:ext cx="29455" cy="19462"/>
            </a:xfrm>
            <a:custGeom>
              <a:rect b="b" l="l" r="r" t="t"/>
              <a:pathLst>
                <a:path extrusionOk="0" h="31" w="42">
                  <a:moveTo>
                    <a:pt x="32" y="0"/>
                  </a:moveTo>
                  <a:lnTo>
                    <a:pt x="33" y="4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0" y="15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7" y="21"/>
                  </a:lnTo>
                  <a:lnTo>
                    <a:pt x="37" y="24"/>
                  </a:lnTo>
                  <a:lnTo>
                    <a:pt x="36" y="25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2" y="30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5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7"/>
                  </a:lnTo>
                  <a:lnTo>
                    <a:pt x="6" y="5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6" name="Google Shape;266;p3"/>
            <p:cNvSpPr/>
            <p:nvPr/>
          </p:nvSpPr>
          <p:spPr>
            <a:xfrm>
              <a:off x="3813976" y="4114915"/>
              <a:ext cx="185143" cy="156319"/>
            </a:xfrm>
            <a:custGeom>
              <a:rect b="b" l="l" r="r" t="t"/>
              <a:pathLst>
                <a:path extrusionOk="0" h="249" w="264">
                  <a:moveTo>
                    <a:pt x="264" y="100"/>
                  </a:moveTo>
                  <a:lnTo>
                    <a:pt x="264" y="103"/>
                  </a:lnTo>
                  <a:lnTo>
                    <a:pt x="264" y="107"/>
                  </a:lnTo>
                  <a:lnTo>
                    <a:pt x="264" y="113"/>
                  </a:lnTo>
                  <a:lnTo>
                    <a:pt x="264" y="117"/>
                  </a:lnTo>
                  <a:lnTo>
                    <a:pt x="264" y="123"/>
                  </a:lnTo>
                  <a:lnTo>
                    <a:pt x="264" y="126"/>
                  </a:lnTo>
                  <a:lnTo>
                    <a:pt x="264" y="132"/>
                  </a:lnTo>
                  <a:lnTo>
                    <a:pt x="264" y="136"/>
                  </a:lnTo>
                  <a:lnTo>
                    <a:pt x="264" y="137"/>
                  </a:lnTo>
                  <a:lnTo>
                    <a:pt x="264" y="140"/>
                  </a:lnTo>
                  <a:lnTo>
                    <a:pt x="264" y="143"/>
                  </a:lnTo>
                  <a:lnTo>
                    <a:pt x="262" y="147"/>
                  </a:lnTo>
                  <a:lnTo>
                    <a:pt x="261" y="150"/>
                  </a:lnTo>
                  <a:lnTo>
                    <a:pt x="259" y="152"/>
                  </a:lnTo>
                  <a:lnTo>
                    <a:pt x="259" y="153"/>
                  </a:lnTo>
                  <a:lnTo>
                    <a:pt x="259" y="154"/>
                  </a:lnTo>
                  <a:lnTo>
                    <a:pt x="259" y="156"/>
                  </a:lnTo>
                  <a:lnTo>
                    <a:pt x="258" y="157"/>
                  </a:lnTo>
                  <a:lnTo>
                    <a:pt x="258" y="157"/>
                  </a:lnTo>
                  <a:lnTo>
                    <a:pt x="258" y="159"/>
                  </a:lnTo>
                  <a:lnTo>
                    <a:pt x="255" y="159"/>
                  </a:lnTo>
                  <a:lnTo>
                    <a:pt x="252" y="162"/>
                  </a:lnTo>
                  <a:lnTo>
                    <a:pt x="252" y="163"/>
                  </a:lnTo>
                  <a:lnTo>
                    <a:pt x="249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4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29" y="164"/>
                  </a:lnTo>
                  <a:lnTo>
                    <a:pt x="227" y="164"/>
                  </a:lnTo>
                  <a:lnTo>
                    <a:pt x="221" y="164"/>
                  </a:lnTo>
                  <a:lnTo>
                    <a:pt x="217" y="164"/>
                  </a:lnTo>
                  <a:lnTo>
                    <a:pt x="214" y="167"/>
                  </a:lnTo>
                  <a:lnTo>
                    <a:pt x="212" y="170"/>
                  </a:lnTo>
                  <a:lnTo>
                    <a:pt x="211" y="170"/>
                  </a:lnTo>
                  <a:lnTo>
                    <a:pt x="208" y="170"/>
                  </a:lnTo>
                  <a:lnTo>
                    <a:pt x="204" y="170"/>
                  </a:lnTo>
                  <a:lnTo>
                    <a:pt x="201" y="170"/>
                  </a:lnTo>
                  <a:lnTo>
                    <a:pt x="200" y="170"/>
                  </a:lnTo>
                  <a:lnTo>
                    <a:pt x="200" y="170"/>
                  </a:lnTo>
                  <a:lnTo>
                    <a:pt x="197" y="170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0" y="169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5" y="169"/>
                  </a:lnTo>
                  <a:lnTo>
                    <a:pt x="184" y="169"/>
                  </a:lnTo>
                  <a:lnTo>
                    <a:pt x="182" y="170"/>
                  </a:lnTo>
                  <a:lnTo>
                    <a:pt x="180" y="172"/>
                  </a:lnTo>
                  <a:lnTo>
                    <a:pt x="180" y="173"/>
                  </a:lnTo>
                  <a:lnTo>
                    <a:pt x="177" y="173"/>
                  </a:lnTo>
                  <a:lnTo>
                    <a:pt x="172" y="176"/>
                  </a:lnTo>
                  <a:lnTo>
                    <a:pt x="170" y="177"/>
                  </a:lnTo>
                  <a:lnTo>
                    <a:pt x="170" y="177"/>
                  </a:lnTo>
                  <a:lnTo>
                    <a:pt x="168" y="177"/>
                  </a:lnTo>
                  <a:lnTo>
                    <a:pt x="167" y="177"/>
                  </a:lnTo>
                  <a:lnTo>
                    <a:pt x="165" y="179"/>
                  </a:lnTo>
                  <a:lnTo>
                    <a:pt x="164" y="183"/>
                  </a:lnTo>
                  <a:lnTo>
                    <a:pt x="162" y="183"/>
                  </a:lnTo>
                  <a:lnTo>
                    <a:pt x="157" y="182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2" y="184"/>
                  </a:lnTo>
                  <a:lnTo>
                    <a:pt x="151" y="187"/>
                  </a:lnTo>
                  <a:lnTo>
                    <a:pt x="150" y="189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5" y="192"/>
                  </a:lnTo>
                  <a:lnTo>
                    <a:pt x="144" y="192"/>
                  </a:lnTo>
                  <a:lnTo>
                    <a:pt x="144" y="193"/>
                  </a:lnTo>
                  <a:lnTo>
                    <a:pt x="144" y="196"/>
                  </a:lnTo>
                  <a:lnTo>
                    <a:pt x="144" y="197"/>
                  </a:lnTo>
                  <a:lnTo>
                    <a:pt x="142" y="199"/>
                  </a:lnTo>
                  <a:lnTo>
                    <a:pt x="141" y="199"/>
                  </a:lnTo>
                  <a:lnTo>
                    <a:pt x="140" y="199"/>
                  </a:lnTo>
                  <a:lnTo>
                    <a:pt x="140" y="199"/>
                  </a:lnTo>
                  <a:lnTo>
                    <a:pt x="135" y="196"/>
                  </a:lnTo>
                  <a:lnTo>
                    <a:pt x="132" y="196"/>
                  </a:lnTo>
                  <a:lnTo>
                    <a:pt x="131" y="196"/>
                  </a:lnTo>
                  <a:lnTo>
                    <a:pt x="130" y="197"/>
                  </a:lnTo>
                  <a:lnTo>
                    <a:pt x="130" y="197"/>
                  </a:lnTo>
                  <a:lnTo>
                    <a:pt x="128" y="199"/>
                  </a:lnTo>
                  <a:lnTo>
                    <a:pt x="127" y="200"/>
                  </a:lnTo>
                  <a:lnTo>
                    <a:pt x="127" y="202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8" y="206"/>
                  </a:lnTo>
                  <a:lnTo>
                    <a:pt x="124" y="207"/>
                  </a:lnTo>
                  <a:lnTo>
                    <a:pt x="125" y="209"/>
                  </a:lnTo>
                  <a:lnTo>
                    <a:pt x="125" y="209"/>
                  </a:lnTo>
                  <a:lnTo>
                    <a:pt x="125" y="210"/>
                  </a:lnTo>
                  <a:lnTo>
                    <a:pt x="125" y="213"/>
                  </a:lnTo>
                  <a:lnTo>
                    <a:pt x="125" y="214"/>
                  </a:lnTo>
                  <a:lnTo>
                    <a:pt x="124" y="214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1" y="217"/>
                  </a:lnTo>
                  <a:lnTo>
                    <a:pt x="120" y="217"/>
                  </a:lnTo>
                  <a:lnTo>
                    <a:pt x="117" y="219"/>
                  </a:lnTo>
                  <a:lnTo>
                    <a:pt x="114" y="219"/>
                  </a:lnTo>
                  <a:lnTo>
                    <a:pt x="114" y="220"/>
                  </a:lnTo>
                  <a:lnTo>
                    <a:pt x="112" y="220"/>
                  </a:lnTo>
                  <a:lnTo>
                    <a:pt x="111" y="222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2" y="224"/>
                  </a:lnTo>
                  <a:lnTo>
                    <a:pt x="112" y="226"/>
                  </a:lnTo>
                  <a:lnTo>
                    <a:pt x="112" y="226"/>
                  </a:lnTo>
                  <a:lnTo>
                    <a:pt x="112" y="229"/>
                  </a:lnTo>
                  <a:lnTo>
                    <a:pt x="111" y="232"/>
                  </a:lnTo>
                  <a:lnTo>
                    <a:pt x="111" y="233"/>
                  </a:lnTo>
                  <a:lnTo>
                    <a:pt x="110" y="233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10" y="239"/>
                  </a:lnTo>
                  <a:lnTo>
                    <a:pt x="108" y="240"/>
                  </a:lnTo>
                  <a:lnTo>
                    <a:pt x="108" y="242"/>
                  </a:lnTo>
                  <a:lnTo>
                    <a:pt x="108" y="243"/>
                  </a:lnTo>
                  <a:lnTo>
                    <a:pt x="108" y="244"/>
                  </a:lnTo>
                  <a:lnTo>
                    <a:pt x="107" y="244"/>
                  </a:lnTo>
                  <a:lnTo>
                    <a:pt x="105" y="244"/>
                  </a:lnTo>
                  <a:lnTo>
                    <a:pt x="103" y="244"/>
                  </a:lnTo>
                  <a:lnTo>
                    <a:pt x="103" y="246"/>
                  </a:lnTo>
                  <a:lnTo>
                    <a:pt x="101" y="246"/>
                  </a:lnTo>
                  <a:lnTo>
                    <a:pt x="101" y="246"/>
                  </a:lnTo>
                  <a:lnTo>
                    <a:pt x="101" y="247"/>
                  </a:lnTo>
                  <a:lnTo>
                    <a:pt x="100" y="247"/>
                  </a:lnTo>
                  <a:lnTo>
                    <a:pt x="98" y="247"/>
                  </a:lnTo>
                  <a:lnTo>
                    <a:pt x="97" y="247"/>
                  </a:lnTo>
                  <a:lnTo>
                    <a:pt x="97" y="247"/>
                  </a:lnTo>
                  <a:lnTo>
                    <a:pt x="97" y="246"/>
                  </a:lnTo>
                  <a:lnTo>
                    <a:pt x="97" y="246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7" y="243"/>
                  </a:lnTo>
                  <a:lnTo>
                    <a:pt x="97" y="242"/>
                  </a:lnTo>
                  <a:lnTo>
                    <a:pt x="97" y="242"/>
                  </a:lnTo>
                  <a:lnTo>
                    <a:pt x="97" y="239"/>
                  </a:lnTo>
                  <a:lnTo>
                    <a:pt x="95" y="239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4" y="242"/>
                  </a:lnTo>
                  <a:lnTo>
                    <a:pt x="94" y="242"/>
                  </a:lnTo>
                  <a:lnTo>
                    <a:pt x="93" y="242"/>
                  </a:lnTo>
                  <a:lnTo>
                    <a:pt x="91" y="242"/>
                  </a:lnTo>
                  <a:lnTo>
                    <a:pt x="90" y="240"/>
                  </a:lnTo>
                  <a:lnTo>
                    <a:pt x="90" y="240"/>
                  </a:lnTo>
                  <a:lnTo>
                    <a:pt x="90" y="242"/>
                  </a:lnTo>
                  <a:lnTo>
                    <a:pt x="90" y="243"/>
                  </a:lnTo>
                  <a:lnTo>
                    <a:pt x="90" y="244"/>
                  </a:lnTo>
                  <a:lnTo>
                    <a:pt x="90" y="246"/>
                  </a:lnTo>
                  <a:lnTo>
                    <a:pt x="88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6"/>
                  </a:lnTo>
                  <a:lnTo>
                    <a:pt x="84" y="246"/>
                  </a:lnTo>
                  <a:lnTo>
                    <a:pt x="84" y="247"/>
                  </a:lnTo>
                  <a:lnTo>
                    <a:pt x="85" y="247"/>
                  </a:lnTo>
                  <a:lnTo>
                    <a:pt x="85" y="249"/>
                  </a:lnTo>
                  <a:lnTo>
                    <a:pt x="84" y="249"/>
                  </a:lnTo>
                  <a:lnTo>
                    <a:pt x="84" y="249"/>
                  </a:lnTo>
                  <a:lnTo>
                    <a:pt x="84" y="249"/>
                  </a:lnTo>
                  <a:lnTo>
                    <a:pt x="83" y="247"/>
                  </a:lnTo>
                  <a:lnTo>
                    <a:pt x="81" y="247"/>
                  </a:lnTo>
                  <a:lnTo>
                    <a:pt x="78" y="247"/>
                  </a:lnTo>
                  <a:lnTo>
                    <a:pt x="78" y="246"/>
                  </a:lnTo>
                  <a:lnTo>
                    <a:pt x="78" y="246"/>
                  </a:lnTo>
                  <a:lnTo>
                    <a:pt x="77" y="244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4"/>
                  </a:lnTo>
                  <a:lnTo>
                    <a:pt x="74" y="244"/>
                  </a:lnTo>
                  <a:lnTo>
                    <a:pt x="73" y="246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64" y="244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3" y="239"/>
                  </a:lnTo>
                  <a:lnTo>
                    <a:pt x="63" y="237"/>
                  </a:lnTo>
                  <a:lnTo>
                    <a:pt x="64" y="236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1" y="234"/>
                  </a:lnTo>
                  <a:lnTo>
                    <a:pt x="61" y="234"/>
                  </a:lnTo>
                  <a:lnTo>
                    <a:pt x="60" y="234"/>
                  </a:lnTo>
                  <a:lnTo>
                    <a:pt x="58" y="234"/>
                  </a:lnTo>
                  <a:lnTo>
                    <a:pt x="58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1" y="230"/>
                  </a:lnTo>
                  <a:lnTo>
                    <a:pt x="61" y="230"/>
                  </a:lnTo>
                  <a:lnTo>
                    <a:pt x="61" y="229"/>
                  </a:lnTo>
                  <a:lnTo>
                    <a:pt x="61" y="229"/>
                  </a:lnTo>
                  <a:lnTo>
                    <a:pt x="61" y="229"/>
                  </a:lnTo>
                  <a:lnTo>
                    <a:pt x="61" y="229"/>
                  </a:lnTo>
                  <a:lnTo>
                    <a:pt x="60" y="227"/>
                  </a:lnTo>
                  <a:lnTo>
                    <a:pt x="58" y="227"/>
                  </a:lnTo>
                  <a:lnTo>
                    <a:pt x="58" y="226"/>
                  </a:lnTo>
                  <a:lnTo>
                    <a:pt x="57" y="224"/>
                  </a:lnTo>
                  <a:lnTo>
                    <a:pt x="57" y="224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5" y="222"/>
                  </a:lnTo>
                  <a:lnTo>
                    <a:pt x="55" y="220"/>
                  </a:lnTo>
                  <a:lnTo>
                    <a:pt x="54" y="217"/>
                  </a:lnTo>
                  <a:lnTo>
                    <a:pt x="53" y="214"/>
                  </a:lnTo>
                  <a:lnTo>
                    <a:pt x="53" y="213"/>
                  </a:lnTo>
                  <a:lnTo>
                    <a:pt x="51" y="212"/>
                  </a:lnTo>
                  <a:lnTo>
                    <a:pt x="50" y="212"/>
                  </a:lnTo>
                  <a:lnTo>
                    <a:pt x="48" y="210"/>
                  </a:lnTo>
                  <a:lnTo>
                    <a:pt x="47" y="210"/>
                  </a:lnTo>
                  <a:lnTo>
                    <a:pt x="47" y="210"/>
                  </a:lnTo>
                  <a:lnTo>
                    <a:pt x="45" y="212"/>
                  </a:lnTo>
                  <a:lnTo>
                    <a:pt x="45" y="212"/>
                  </a:lnTo>
                  <a:lnTo>
                    <a:pt x="47" y="213"/>
                  </a:lnTo>
                  <a:lnTo>
                    <a:pt x="47" y="213"/>
                  </a:lnTo>
                  <a:lnTo>
                    <a:pt x="47" y="214"/>
                  </a:lnTo>
                  <a:lnTo>
                    <a:pt x="47" y="214"/>
                  </a:lnTo>
                  <a:lnTo>
                    <a:pt x="45" y="214"/>
                  </a:lnTo>
                  <a:lnTo>
                    <a:pt x="44" y="214"/>
                  </a:lnTo>
                  <a:lnTo>
                    <a:pt x="43" y="216"/>
                  </a:lnTo>
                  <a:lnTo>
                    <a:pt x="41" y="216"/>
                  </a:lnTo>
                  <a:lnTo>
                    <a:pt x="41" y="217"/>
                  </a:lnTo>
                  <a:lnTo>
                    <a:pt x="40" y="219"/>
                  </a:lnTo>
                  <a:lnTo>
                    <a:pt x="40" y="217"/>
                  </a:lnTo>
                  <a:lnTo>
                    <a:pt x="35" y="217"/>
                  </a:lnTo>
                  <a:lnTo>
                    <a:pt x="34" y="216"/>
                  </a:lnTo>
                  <a:lnTo>
                    <a:pt x="31" y="214"/>
                  </a:lnTo>
                  <a:lnTo>
                    <a:pt x="31" y="216"/>
                  </a:lnTo>
                  <a:lnTo>
                    <a:pt x="30" y="216"/>
                  </a:lnTo>
                  <a:lnTo>
                    <a:pt x="28" y="216"/>
                  </a:lnTo>
                  <a:lnTo>
                    <a:pt x="27" y="219"/>
                  </a:lnTo>
                  <a:lnTo>
                    <a:pt x="27" y="220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5" y="220"/>
                  </a:lnTo>
                  <a:lnTo>
                    <a:pt x="24" y="220"/>
                  </a:lnTo>
                  <a:lnTo>
                    <a:pt x="24" y="220"/>
                  </a:lnTo>
                  <a:lnTo>
                    <a:pt x="23" y="217"/>
                  </a:lnTo>
                  <a:lnTo>
                    <a:pt x="23" y="216"/>
                  </a:lnTo>
                  <a:lnTo>
                    <a:pt x="21" y="216"/>
                  </a:lnTo>
                  <a:lnTo>
                    <a:pt x="20" y="214"/>
                  </a:lnTo>
                  <a:lnTo>
                    <a:pt x="20" y="216"/>
                  </a:lnTo>
                  <a:lnTo>
                    <a:pt x="18" y="217"/>
                  </a:lnTo>
                  <a:lnTo>
                    <a:pt x="17" y="219"/>
                  </a:lnTo>
                  <a:lnTo>
                    <a:pt x="15" y="219"/>
                  </a:lnTo>
                  <a:lnTo>
                    <a:pt x="15" y="219"/>
                  </a:lnTo>
                  <a:lnTo>
                    <a:pt x="14" y="217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4"/>
                  </a:lnTo>
                  <a:lnTo>
                    <a:pt x="13" y="213"/>
                  </a:lnTo>
                  <a:lnTo>
                    <a:pt x="14" y="213"/>
                  </a:lnTo>
                  <a:lnTo>
                    <a:pt x="14" y="212"/>
                  </a:lnTo>
                  <a:lnTo>
                    <a:pt x="14" y="210"/>
                  </a:lnTo>
                  <a:lnTo>
                    <a:pt x="13" y="210"/>
                  </a:lnTo>
                  <a:lnTo>
                    <a:pt x="13" y="209"/>
                  </a:lnTo>
                  <a:lnTo>
                    <a:pt x="13" y="209"/>
                  </a:lnTo>
                  <a:lnTo>
                    <a:pt x="14" y="206"/>
                  </a:lnTo>
                  <a:lnTo>
                    <a:pt x="14" y="204"/>
                  </a:lnTo>
                  <a:lnTo>
                    <a:pt x="14" y="203"/>
                  </a:lnTo>
                  <a:lnTo>
                    <a:pt x="13" y="203"/>
                  </a:lnTo>
                  <a:lnTo>
                    <a:pt x="13" y="202"/>
                  </a:lnTo>
                  <a:lnTo>
                    <a:pt x="13" y="200"/>
                  </a:lnTo>
                  <a:lnTo>
                    <a:pt x="11" y="199"/>
                  </a:lnTo>
                  <a:lnTo>
                    <a:pt x="11" y="199"/>
                  </a:lnTo>
                  <a:lnTo>
                    <a:pt x="11" y="197"/>
                  </a:lnTo>
                  <a:lnTo>
                    <a:pt x="10" y="196"/>
                  </a:lnTo>
                  <a:lnTo>
                    <a:pt x="10" y="196"/>
                  </a:lnTo>
                  <a:lnTo>
                    <a:pt x="8" y="196"/>
                  </a:lnTo>
                  <a:lnTo>
                    <a:pt x="8" y="196"/>
                  </a:lnTo>
                  <a:lnTo>
                    <a:pt x="7" y="197"/>
                  </a:lnTo>
                  <a:lnTo>
                    <a:pt x="7" y="197"/>
                  </a:lnTo>
                  <a:lnTo>
                    <a:pt x="6" y="196"/>
                  </a:lnTo>
                  <a:lnTo>
                    <a:pt x="6" y="196"/>
                  </a:lnTo>
                  <a:lnTo>
                    <a:pt x="6" y="194"/>
                  </a:lnTo>
                  <a:lnTo>
                    <a:pt x="6" y="194"/>
                  </a:lnTo>
                  <a:lnTo>
                    <a:pt x="3" y="192"/>
                  </a:lnTo>
                  <a:lnTo>
                    <a:pt x="4" y="190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6" y="187"/>
                  </a:lnTo>
                  <a:lnTo>
                    <a:pt x="4" y="187"/>
                  </a:lnTo>
                  <a:lnTo>
                    <a:pt x="4" y="186"/>
                  </a:lnTo>
                  <a:lnTo>
                    <a:pt x="4" y="184"/>
                  </a:lnTo>
                  <a:lnTo>
                    <a:pt x="4" y="183"/>
                  </a:lnTo>
                  <a:lnTo>
                    <a:pt x="3" y="182"/>
                  </a:lnTo>
                  <a:lnTo>
                    <a:pt x="3" y="180"/>
                  </a:lnTo>
                  <a:lnTo>
                    <a:pt x="1" y="180"/>
                  </a:lnTo>
                  <a:lnTo>
                    <a:pt x="1" y="179"/>
                  </a:lnTo>
                  <a:lnTo>
                    <a:pt x="1" y="176"/>
                  </a:lnTo>
                  <a:lnTo>
                    <a:pt x="1" y="176"/>
                  </a:lnTo>
                  <a:lnTo>
                    <a:pt x="0" y="173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4" y="173"/>
                  </a:lnTo>
                  <a:lnTo>
                    <a:pt x="6" y="172"/>
                  </a:lnTo>
                  <a:lnTo>
                    <a:pt x="7" y="170"/>
                  </a:lnTo>
                  <a:lnTo>
                    <a:pt x="7" y="167"/>
                  </a:lnTo>
                  <a:lnTo>
                    <a:pt x="7" y="166"/>
                  </a:lnTo>
                  <a:lnTo>
                    <a:pt x="7" y="163"/>
                  </a:lnTo>
                  <a:lnTo>
                    <a:pt x="8" y="163"/>
                  </a:lnTo>
                  <a:lnTo>
                    <a:pt x="10" y="162"/>
                  </a:lnTo>
                  <a:lnTo>
                    <a:pt x="11" y="160"/>
                  </a:lnTo>
                  <a:lnTo>
                    <a:pt x="13" y="159"/>
                  </a:lnTo>
                  <a:lnTo>
                    <a:pt x="13" y="159"/>
                  </a:lnTo>
                  <a:lnTo>
                    <a:pt x="14" y="160"/>
                  </a:lnTo>
                  <a:lnTo>
                    <a:pt x="17" y="163"/>
                  </a:lnTo>
                  <a:lnTo>
                    <a:pt x="20" y="166"/>
                  </a:lnTo>
                  <a:lnTo>
                    <a:pt x="21" y="167"/>
                  </a:lnTo>
                  <a:lnTo>
                    <a:pt x="21" y="167"/>
                  </a:lnTo>
                  <a:lnTo>
                    <a:pt x="23" y="164"/>
                  </a:lnTo>
                  <a:lnTo>
                    <a:pt x="24" y="163"/>
                  </a:lnTo>
                  <a:lnTo>
                    <a:pt x="25" y="163"/>
                  </a:lnTo>
                  <a:lnTo>
                    <a:pt x="27" y="162"/>
                  </a:lnTo>
                  <a:lnTo>
                    <a:pt x="28" y="162"/>
                  </a:lnTo>
                  <a:lnTo>
                    <a:pt x="30" y="162"/>
                  </a:lnTo>
                  <a:lnTo>
                    <a:pt x="33" y="163"/>
                  </a:lnTo>
                  <a:lnTo>
                    <a:pt x="33" y="163"/>
                  </a:lnTo>
                  <a:lnTo>
                    <a:pt x="34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3" y="162"/>
                  </a:lnTo>
                  <a:lnTo>
                    <a:pt x="45" y="162"/>
                  </a:lnTo>
                  <a:lnTo>
                    <a:pt x="45" y="162"/>
                  </a:lnTo>
                  <a:lnTo>
                    <a:pt x="45" y="160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7" y="159"/>
                  </a:lnTo>
                  <a:lnTo>
                    <a:pt x="47" y="160"/>
                  </a:lnTo>
                  <a:lnTo>
                    <a:pt x="47" y="162"/>
                  </a:lnTo>
                  <a:lnTo>
                    <a:pt x="50" y="162"/>
                  </a:lnTo>
                  <a:lnTo>
                    <a:pt x="53" y="162"/>
                  </a:lnTo>
                  <a:lnTo>
                    <a:pt x="55" y="162"/>
                  </a:lnTo>
                  <a:lnTo>
                    <a:pt x="58" y="162"/>
                  </a:lnTo>
                  <a:lnTo>
                    <a:pt x="63" y="162"/>
                  </a:lnTo>
                  <a:lnTo>
                    <a:pt x="65" y="162"/>
                  </a:lnTo>
                  <a:lnTo>
                    <a:pt x="68" y="162"/>
                  </a:lnTo>
                  <a:lnTo>
                    <a:pt x="73" y="162"/>
                  </a:lnTo>
                  <a:lnTo>
                    <a:pt x="75" y="162"/>
                  </a:lnTo>
                  <a:lnTo>
                    <a:pt x="78" y="162"/>
                  </a:lnTo>
                  <a:lnTo>
                    <a:pt x="83" y="162"/>
                  </a:lnTo>
                  <a:lnTo>
                    <a:pt x="85" y="162"/>
                  </a:lnTo>
                  <a:lnTo>
                    <a:pt x="88" y="162"/>
                  </a:lnTo>
                  <a:lnTo>
                    <a:pt x="91" y="162"/>
                  </a:lnTo>
                  <a:lnTo>
                    <a:pt x="95" y="162"/>
                  </a:lnTo>
                  <a:lnTo>
                    <a:pt x="98" y="162"/>
                  </a:lnTo>
                  <a:lnTo>
                    <a:pt x="101" y="162"/>
                  </a:lnTo>
                  <a:lnTo>
                    <a:pt x="105" y="162"/>
                  </a:lnTo>
                  <a:lnTo>
                    <a:pt x="108" y="162"/>
                  </a:lnTo>
                  <a:lnTo>
                    <a:pt x="110" y="156"/>
                  </a:lnTo>
                  <a:lnTo>
                    <a:pt x="110" y="152"/>
                  </a:lnTo>
                  <a:lnTo>
                    <a:pt x="111" y="149"/>
                  </a:lnTo>
                  <a:lnTo>
                    <a:pt x="108" y="146"/>
                  </a:lnTo>
                  <a:lnTo>
                    <a:pt x="107" y="143"/>
                  </a:lnTo>
                  <a:lnTo>
                    <a:pt x="105" y="139"/>
                  </a:lnTo>
                  <a:lnTo>
                    <a:pt x="105" y="136"/>
                  </a:lnTo>
                  <a:lnTo>
                    <a:pt x="105" y="132"/>
                  </a:lnTo>
                  <a:lnTo>
                    <a:pt x="104" y="127"/>
                  </a:lnTo>
                  <a:lnTo>
                    <a:pt x="104" y="123"/>
                  </a:lnTo>
                  <a:lnTo>
                    <a:pt x="104" y="119"/>
                  </a:lnTo>
                  <a:lnTo>
                    <a:pt x="103" y="114"/>
                  </a:lnTo>
                  <a:lnTo>
                    <a:pt x="103" y="110"/>
                  </a:lnTo>
                  <a:lnTo>
                    <a:pt x="103" y="106"/>
                  </a:lnTo>
                  <a:lnTo>
                    <a:pt x="101" y="102"/>
                  </a:lnTo>
                  <a:lnTo>
                    <a:pt x="101" y="97"/>
                  </a:lnTo>
                  <a:lnTo>
                    <a:pt x="101" y="93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100" y="80"/>
                  </a:lnTo>
                  <a:lnTo>
                    <a:pt x="98" y="77"/>
                  </a:lnTo>
                  <a:lnTo>
                    <a:pt x="98" y="73"/>
                  </a:lnTo>
                  <a:lnTo>
                    <a:pt x="98" y="69"/>
                  </a:lnTo>
                  <a:lnTo>
                    <a:pt x="98" y="65"/>
                  </a:lnTo>
                  <a:lnTo>
                    <a:pt x="97" y="60"/>
                  </a:lnTo>
                  <a:lnTo>
                    <a:pt x="97" y="56"/>
                  </a:lnTo>
                  <a:lnTo>
                    <a:pt x="97" y="52"/>
                  </a:lnTo>
                  <a:lnTo>
                    <a:pt x="95" y="47"/>
                  </a:lnTo>
                  <a:lnTo>
                    <a:pt x="95" y="43"/>
                  </a:lnTo>
                  <a:lnTo>
                    <a:pt x="95" y="39"/>
                  </a:lnTo>
                  <a:lnTo>
                    <a:pt x="94" y="35"/>
                  </a:lnTo>
                  <a:lnTo>
                    <a:pt x="94" y="30"/>
                  </a:lnTo>
                  <a:lnTo>
                    <a:pt x="94" y="26"/>
                  </a:lnTo>
                  <a:lnTo>
                    <a:pt x="93" y="22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1" y="7"/>
                  </a:lnTo>
                  <a:lnTo>
                    <a:pt x="91" y="3"/>
                  </a:lnTo>
                  <a:lnTo>
                    <a:pt x="91" y="0"/>
                  </a:lnTo>
                  <a:lnTo>
                    <a:pt x="95" y="0"/>
                  </a:lnTo>
                  <a:lnTo>
                    <a:pt x="101" y="0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4" y="3"/>
                  </a:lnTo>
                  <a:lnTo>
                    <a:pt x="128" y="6"/>
                  </a:lnTo>
                  <a:lnTo>
                    <a:pt x="134" y="10"/>
                  </a:lnTo>
                  <a:lnTo>
                    <a:pt x="140" y="13"/>
                  </a:lnTo>
                  <a:lnTo>
                    <a:pt x="144" y="17"/>
                  </a:lnTo>
                  <a:lnTo>
                    <a:pt x="150" y="22"/>
                  </a:lnTo>
                  <a:lnTo>
                    <a:pt x="155" y="25"/>
                  </a:lnTo>
                  <a:lnTo>
                    <a:pt x="160" y="29"/>
                  </a:lnTo>
                  <a:lnTo>
                    <a:pt x="165" y="32"/>
                  </a:lnTo>
                  <a:lnTo>
                    <a:pt x="171" y="36"/>
                  </a:lnTo>
                  <a:lnTo>
                    <a:pt x="175" y="40"/>
                  </a:lnTo>
                  <a:lnTo>
                    <a:pt x="181" y="43"/>
                  </a:lnTo>
                  <a:lnTo>
                    <a:pt x="187" y="47"/>
                  </a:lnTo>
                  <a:lnTo>
                    <a:pt x="191" y="50"/>
                  </a:lnTo>
                  <a:lnTo>
                    <a:pt x="197" y="55"/>
                  </a:lnTo>
                  <a:lnTo>
                    <a:pt x="202" y="59"/>
                  </a:lnTo>
                  <a:lnTo>
                    <a:pt x="207" y="62"/>
                  </a:lnTo>
                  <a:lnTo>
                    <a:pt x="212" y="66"/>
                  </a:lnTo>
                  <a:lnTo>
                    <a:pt x="215" y="67"/>
                  </a:lnTo>
                  <a:lnTo>
                    <a:pt x="215" y="67"/>
                  </a:lnTo>
                  <a:lnTo>
                    <a:pt x="215" y="69"/>
                  </a:lnTo>
                  <a:lnTo>
                    <a:pt x="215" y="70"/>
                  </a:lnTo>
                  <a:lnTo>
                    <a:pt x="215" y="72"/>
                  </a:lnTo>
                  <a:lnTo>
                    <a:pt x="215" y="73"/>
                  </a:lnTo>
                  <a:lnTo>
                    <a:pt x="217" y="73"/>
                  </a:lnTo>
                  <a:lnTo>
                    <a:pt x="222" y="76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24" y="79"/>
                  </a:lnTo>
                  <a:lnTo>
                    <a:pt x="224" y="80"/>
                  </a:lnTo>
                  <a:lnTo>
                    <a:pt x="225" y="80"/>
                  </a:lnTo>
                  <a:lnTo>
                    <a:pt x="227" y="82"/>
                  </a:lnTo>
                  <a:lnTo>
                    <a:pt x="232" y="82"/>
                  </a:lnTo>
                  <a:lnTo>
                    <a:pt x="232" y="82"/>
                  </a:lnTo>
                  <a:lnTo>
                    <a:pt x="235" y="84"/>
                  </a:lnTo>
                  <a:lnTo>
                    <a:pt x="237" y="86"/>
                  </a:lnTo>
                  <a:lnTo>
                    <a:pt x="239" y="86"/>
                  </a:lnTo>
                  <a:lnTo>
                    <a:pt x="241" y="86"/>
                  </a:lnTo>
                  <a:lnTo>
                    <a:pt x="242" y="86"/>
                  </a:lnTo>
                  <a:lnTo>
                    <a:pt x="244" y="87"/>
                  </a:lnTo>
                  <a:lnTo>
                    <a:pt x="247" y="89"/>
                  </a:lnTo>
                  <a:lnTo>
                    <a:pt x="248" y="89"/>
                  </a:lnTo>
                  <a:lnTo>
                    <a:pt x="248" y="90"/>
                  </a:lnTo>
                  <a:lnTo>
                    <a:pt x="248" y="90"/>
                  </a:lnTo>
                  <a:lnTo>
                    <a:pt x="248" y="93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48" y="97"/>
                  </a:lnTo>
                  <a:lnTo>
                    <a:pt x="248" y="97"/>
                  </a:lnTo>
                  <a:lnTo>
                    <a:pt x="247" y="99"/>
                  </a:lnTo>
                  <a:lnTo>
                    <a:pt x="247" y="99"/>
                  </a:lnTo>
                  <a:lnTo>
                    <a:pt x="247" y="100"/>
                  </a:lnTo>
                  <a:lnTo>
                    <a:pt x="247" y="102"/>
                  </a:lnTo>
                  <a:lnTo>
                    <a:pt x="247" y="102"/>
                  </a:lnTo>
                  <a:lnTo>
                    <a:pt x="248" y="10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55" y="102"/>
                  </a:lnTo>
                  <a:lnTo>
                    <a:pt x="259" y="102"/>
                  </a:lnTo>
                  <a:lnTo>
                    <a:pt x="264" y="10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7" name="Google Shape;267;p3"/>
            <p:cNvSpPr/>
            <p:nvPr/>
          </p:nvSpPr>
          <p:spPr>
            <a:xfrm>
              <a:off x="5226391" y="4144421"/>
              <a:ext cx="0" cy="1256"/>
            </a:xfrm>
            <a:custGeom>
              <a:rect b="b" l="l" r="r" t="t"/>
              <a:pathLst>
                <a:path extrusionOk="0" h="2" w="12000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8" name="Google Shape;268;p3"/>
            <p:cNvSpPr/>
            <p:nvPr/>
          </p:nvSpPr>
          <p:spPr>
            <a:xfrm>
              <a:off x="4987248" y="4074737"/>
              <a:ext cx="100286" cy="199008"/>
            </a:xfrm>
            <a:custGeom>
              <a:rect b="b" l="l" r="r" t="t"/>
              <a:pathLst>
                <a:path extrusionOk="0" h="317" w="143">
                  <a:moveTo>
                    <a:pt x="143" y="123"/>
                  </a:moveTo>
                  <a:lnTo>
                    <a:pt x="143" y="124"/>
                  </a:lnTo>
                  <a:lnTo>
                    <a:pt x="140" y="127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6" y="129"/>
                  </a:lnTo>
                  <a:lnTo>
                    <a:pt x="136" y="130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3" y="133"/>
                  </a:lnTo>
                  <a:lnTo>
                    <a:pt x="133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3" y="136"/>
                  </a:lnTo>
                  <a:lnTo>
                    <a:pt x="131" y="136"/>
                  </a:lnTo>
                  <a:lnTo>
                    <a:pt x="130" y="136"/>
                  </a:lnTo>
                  <a:lnTo>
                    <a:pt x="128" y="137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4"/>
                  </a:lnTo>
                  <a:lnTo>
                    <a:pt x="124" y="143"/>
                  </a:lnTo>
                  <a:lnTo>
                    <a:pt x="124" y="143"/>
                  </a:lnTo>
                  <a:lnTo>
                    <a:pt x="123" y="143"/>
                  </a:lnTo>
                  <a:lnTo>
                    <a:pt x="121" y="143"/>
                  </a:lnTo>
                  <a:lnTo>
                    <a:pt x="121" y="144"/>
                  </a:lnTo>
                  <a:lnTo>
                    <a:pt x="120" y="144"/>
                  </a:lnTo>
                  <a:lnTo>
                    <a:pt x="118" y="144"/>
                  </a:lnTo>
                  <a:lnTo>
                    <a:pt x="117" y="144"/>
                  </a:lnTo>
                  <a:lnTo>
                    <a:pt x="116" y="144"/>
                  </a:lnTo>
                  <a:lnTo>
                    <a:pt x="116" y="144"/>
                  </a:lnTo>
                  <a:lnTo>
                    <a:pt x="117" y="146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6" y="148"/>
                  </a:lnTo>
                  <a:lnTo>
                    <a:pt x="116" y="148"/>
                  </a:lnTo>
                  <a:lnTo>
                    <a:pt x="114" y="148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11" y="148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08" y="148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06" y="154"/>
                  </a:lnTo>
                  <a:lnTo>
                    <a:pt x="104" y="154"/>
                  </a:lnTo>
                  <a:lnTo>
                    <a:pt x="100" y="154"/>
                  </a:lnTo>
                  <a:lnTo>
                    <a:pt x="100" y="156"/>
                  </a:lnTo>
                  <a:lnTo>
                    <a:pt x="98" y="156"/>
                  </a:lnTo>
                  <a:lnTo>
                    <a:pt x="97" y="156"/>
                  </a:lnTo>
                  <a:lnTo>
                    <a:pt x="97" y="156"/>
                  </a:lnTo>
                  <a:lnTo>
                    <a:pt x="94" y="154"/>
                  </a:lnTo>
                  <a:lnTo>
                    <a:pt x="93" y="154"/>
                  </a:lnTo>
                  <a:lnTo>
                    <a:pt x="93" y="154"/>
                  </a:lnTo>
                  <a:lnTo>
                    <a:pt x="93" y="156"/>
                  </a:lnTo>
                  <a:lnTo>
                    <a:pt x="91" y="157"/>
                  </a:lnTo>
                  <a:lnTo>
                    <a:pt x="90" y="158"/>
                  </a:lnTo>
                  <a:lnTo>
                    <a:pt x="90" y="163"/>
                  </a:lnTo>
                  <a:lnTo>
                    <a:pt x="90" y="164"/>
                  </a:lnTo>
                  <a:lnTo>
                    <a:pt x="88" y="167"/>
                  </a:lnTo>
                  <a:lnTo>
                    <a:pt x="88" y="168"/>
                  </a:lnTo>
                  <a:lnTo>
                    <a:pt x="88" y="173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7" y="174"/>
                  </a:lnTo>
                  <a:lnTo>
                    <a:pt x="86" y="174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6"/>
                  </a:lnTo>
                  <a:lnTo>
                    <a:pt x="84" y="177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7" y="180"/>
                  </a:lnTo>
                  <a:lnTo>
                    <a:pt x="87" y="181"/>
                  </a:lnTo>
                  <a:lnTo>
                    <a:pt x="88" y="183"/>
                  </a:lnTo>
                  <a:lnTo>
                    <a:pt x="88" y="184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90" y="188"/>
                  </a:lnTo>
                  <a:lnTo>
                    <a:pt x="91" y="191"/>
                  </a:lnTo>
                  <a:lnTo>
                    <a:pt x="94" y="194"/>
                  </a:lnTo>
                  <a:lnTo>
                    <a:pt x="96" y="196"/>
                  </a:lnTo>
                  <a:lnTo>
                    <a:pt x="97" y="198"/>
                  </a:lnTo>
                  <a:lnTo>
                    <a:pt x="100" y="201"/>
                  </a:lnTo>
                  <a:lnTo>
                    <a:pt x="100" y="203"/>
                  </a:lnTo>
                  <a:lnTo>
                    <a:pt x="100" y="204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103" y="208"/>
                  </a:lnTo>
                  <a:lnTo>
                    <a:pt x="103" y="211"/>
                  </a:lnTo>
                  <a:lnTo>
                    <a:pt x="104" y="211"/>
                  </a:lnTo>
                  <a:lnTo>
                    <a:pt x="106" y="210"/>
                  </a:lnTo>
                  <a:lnTo>
                    <a:pt x="107" y="210"/>
                  </a:lnTo>
                  <a:lnTo>
                    <a:pt x="107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6" y="214"/>
                  </a:lnTo>
                  <a:lnTo>
                    <a:pt x="103" y="216"/>
                  </a:lnTo>
                  <a:lnTo>
                    <a:pt x="101" y="218"/>
                  </a:lnTo>
                  <a:lnTo>
                    <a:pt x="101" y="221"/>
                  </a:lnTo>
                  <a:lnTo>
                    <a:pt x="101" y="224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0" y="227"/>
                  </a:lnTo>
                  <a:lnTo>
                    <a:pt x="98" y="228"/>
                  </a:lnTo>
                  <a:lnTo>
                    <a:pt x="97" y="228"/>
                  </a:lnTo>
                  <a:lnTo>
                    <a:pt x="97" y="230"/>
                  </a:lnTo>
                  <a:lnTo>
                    <a:pt x="96" y="230"/>
                  </a:lnTo>
                  <a:lnTo>
                    <a:pt x="96" y="231"/>
                  </a:lnTo>
                  <a:lnTo>
                    <a:pt x="96" y="234"/>
                  </a:lnTo>
                  <a:lnTo>
                    <a:pt x="97" y="237"/>
                  </a:lnTo>
                  <a:lnTo>
                    <a:pt x="98" y="238"/>
                  </a:lnTo>
                  <a:lnTo>
                    <a:pt x="98" y="240"/>
                  </a:lnTo>
                  <a:lnTo>
                    <a:pt x="101" y="243"/>
                  </a:lnTo>
                  <a:lnTo>
                    <a:pt x="101" y="244"/>
                  </a:lnTo>
                  <a:lnTo>
                    <a:pt x="104" y="246"/>
                  </a:lnTo>
                  <a:lnTo>
                    <a:pt x="107" y="248"/>
                  </a:lnTo>
                  <a:lnTo>
                    <a:pt x="108" y="251"/>
                  </a:lnTo>
                  <a:lnTo>
                    <a:pt x="110" y="253"/>
                  </a:lnTo>
                  <a:lnTo>
                    <a:pt x="111" y="254"/>
                  </a:lnTo>
                  <a:lnTo>
                    <a:pt x="111" y="257"/>
                  </a:lnTo>
                  <a:lnTo>
                    <a:pt x="111" y="258"/>
                  </a:lnTo>
                  <a:lnTo>
                    <a:pt x="111" y="263"/>
                  </a:lnTo>
                  <a:lnTo>
                    <a:pt x="111" y="264"/>
                  </a:lnTo>
                  <a:lnTo>
                    <a:pt x="110" y="264"/>
                  </a:lnTo>
                  <a:lnTo>
                    <a:pt x="111" y="266"/>
                  </a:lnTo>
                  <a:lnTo>
                    <a:pt x="111" y="267"/>
                  </a:lnTo>
                  <a:lnTo>
                    <a:pt x="111" y="268"/>
                  </a:lnTo>
                  <a:lnTo>
                    <a:pt x="113" y="270"/>
                  </a:lnTo>
                  <a:lnTo>
                    <a:pt x="114" y="271"/>
                  </a:lnTo>
                  <a:lnTo>
                    <a:pt x="114" y="273"/>
                  </a:lnTo>
                  <a:lnTo>
                    <a:pt x="116" y="274"/>
                  </a:lnTo>
                  <a:lnTo>
                    <a:pt x="116" y="276"/>
                  </a:lnTo>
                  <a:lnTo>
                    <a:pt x="116" y="276"/>
                  </a:lnTo>
                  <a:lnTo>
                    <a:pt x="116" y="277"/>
                  </a:lnTo>
                  <a:lnTo>
                    <a:pt x="116" y="280"/>
                  </a:lnTo>
                  <a:lnTo>
                    <a:pt x="117" y="281"/>
                  </a:lnTo>
                  <a:lnTo>
                    <a:pt x="118" y="286"/>
                  </a:lnTo>
                  <a:lnTo>
                    <a:pt x="118" y="287"/>
                  </a:lnTo>
                  <a:lnTo>
                    <a:pt x="118" y="287"/>
                  </a:lnTo>
                  <a:lnTo>
                    <a:pt x="117" y="288"/>
                  </a:lnTo>
                  <a:lnTo>
                    <a:pt x="117" y="288"/>
                  </a:lnTo>
                  <a:lnTo>
                    <a:pt x="116" y="290"/>
                  </a:lnTo>
                  <a:lnTo>
                    <a:pt x="114" y="293"/>
                  </a:lnTo>
                  <a:lnTo>
                    <a:pt x="111" y="297"/>
                  </a:lnTo>
                  <a:lnTo>
                    <a:pt x="110" y="300"/>
                  </a:lnTo>
                  <a:lnTo>
                    <a:pt x="107" y="303"/>
                  </a:lnTo>
                  <a:lnTo>
                    <a:pt x="106" y="304"/>
                  </a:lnTo>
                  <a:lnTo>
                    <a:pt x="104" y="304"/>
                  </a:lnTo>
                  <a:lnTo>
                    <a:pt x="104" y="306"/>
                  </a:lnTo>
                  <a:lnTo>
                    <a:pt x="106" y="306"/>
                  </a:lnTo>
                  <a:lnTo>
                    <a:pt x="106" y="308"/>
                  </a:lnTo>
                  <a:lnTo>
                    <a:pt x="104" y="310"/>
                  </a:lnTo>
                  <a:lnTo>
                    <a:pt x="104" y="311"/>
                  </a:lnTo>
                  <a:lnTo>
                    <a:pt x="104" y="311"/>
                  </a:lnTo>
                  <a:lnTo>
                    <a:pt x="103" y="313"/>
                  </a:lnTo>
                  <a:lnTo>
                    <a:pt x="101" y="314"/>
                  </a:lnTo>
                  <a:lnTo>
                    <a:pt x="101" y="313"/>
                  </a:lnTo>
                  <a:lnTo>
                    <a:pt x="101" y="313"/>
                  </a:lnTo>
                  <a:lnTo>
                    <a:pt x="101" y="310"/>
                  </a:lnTo>
                  <a:lnTo>
                    <a:pt x="100" y="304"/>
                  </a:lnTo>
                  <a:lnTo>
                    <a:pt x="101" y="303"/>
                  </a:lnTo>
                  <a:lnTo>
                    <a:pt x="101" y="303"/>
                  </a:lnTo>
                  <a:lnTo>
                    <a:pt x="103" y="301"/>
                  </a:lnTo>
                  <a:lnTo>
                    <a:pt x="104" y="298"/>
                  </a:lnTo>
                  <a:lnTo>
                    <a:pt x="104" y="297"/>
                  </a:lnTo>
                  <a:lnTo>
                    <a:pt x="104" y="296"/>
                  </a:lnTo>
                  <a:lnTo>
                    <a:pt x="104" y="294"/>
                  </a:lnTo>
                  <a:lnTo>
                    <a:pt x="104" y="291"/>
                  </a:lnTo>
                  <a:lnTo>
                    <a:pt x="104" y="290"/>
                  </a:lnTo>
                  <a:lnTo>
                    <a:pt x="104" y="290"/>
                  </a:lnTo>
                  <a:lnTo>
                    <a:pt x="106" y="288"/>
                  </a:lnTo>
                  <a:lnTo>
                    <a:pt x="107" y="287"/>
                  </a:lnTo>
                  <a:lnTo>
                    <a:pt x="106" y="287"/>
                  </a:lnTo>
                  <a:lnTo>
                    <a:pt x="106" y="286"/>
                  </a:lnTo>
                  <a:lnTo>
                    <a:pt x="104" y="287"/>
                  </a:lnTo>
                  <a:lnTo>
                    <a:pt x="103" y="287"/>
                  </a:lnTo>
                  <a:lnTo>
                    <a:pt x="103" y="286"/>
                  </a:lnTo>
                  <a:lnTo>
                    <a:pt x="103" y="284"/>
                  </a:lnTo>
                  <a:lnTo>
                    <a:pt x="103" y="284"/>
                  </a:lnTo>
                  <a:lnTo>
                    <a:pt x="104" y="283"/>
                  </a:lnTo>
                  <a:lnTo>
                    <a:pt x="104" y="281"/>
                  </a:lnTo>
                  <a:lnTo>
                    <a:pt x="103" y="280"/>
                  </a:lnTo>
                  <a:lnTo>
                    <a:pt x="104" y="278"/>
                  </a:lnTo>
                  <a:lnTo>
                    <a:pt x="103" y="278"/>
                  </a:lnTo>
                  <a:lnTo>
                    <a:pt x="103" y="278"/>
                  </a:lnTo>
                  <a:lnTo>
                    <a:pt x="103" y="277"/>
                  </a:lnTo>
                  <a:lnTo>
                    <a:pt x="104" y="277"/>
                  </a:lnTo>
                  <a:lnTo>
                    <a:pt x="103" y="276"/>
                  </a:lnTo>
                  <a:lnTo>
                    <a:pt x="103" y="274"/>
                  </a:lnTo>
                  <a:lnTo>
                    <a:pt x="103" y="271"/>
                  </a:lnTo>
                  <a:lnTo>
                    <a:pt x="103" y="270"/>
                  </a:lnTo>
                  <a:lnTo>
                    <a:pt x="103" y="268"/>
                  </a:lnTo>
                  <a:lnTo>
                    <a:pt x="103" y="267"/>
                  </a:lnTo>
                  <a:lnTo>
                    <a:pt x="101" y="264"/>
                  </a:lnTo>
                  <a:lnTo>
                    <a:pt x="100" y="261"/>
                  </a:lnTo>
                  <a:lnTo>
                    <a:pt x="100" y="258"/>
                  </a:lnTo>
                  <a:lnTo>
                    <a:pt x="97" y="254"/>
                  </a:lnTo>
                  <a:lnTo>
                    <a:pt x="97" y="253"/>
                  </a:lnTo>
                  <a:lnTo>
                    <a:pt x="97" y="251"/>
                  </a:lnTo>
                  <a:lnTo>
                    <a:pt x="96" y="250"/>
                  </a:lnTo>
                  <a:lnTo>
                    <a:pt x="96" y="256"/>
                  </a:lnTo>
                  <a:lnTo>
                    <a:pt x="94" y="254"/>
                  </a:lnTo>
                  <a:lnTo>
                    <a:pt x="94" y="251"/>
                  </a:lnTo>
                  <a:lnTo>
                    <a:pt x="94" y="250"/>
                  </a:lnTo>
                  <a:lnTo>
                    <a:pt x="94" y="247"/>
                  </a:lnTo>
                  <a:lnTo>
                    <a:pt x="93" y="244"/>
                  </a:lnTo>
                  <a:lnTo>
                    <a:pt x="93" y="243"/>
                  </a:lnTo>
                  <a:lnTo>
                    <a:pt x="91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7"/>
                  </a:lnTo>
                  <a:lnTo>
                    <a:pt x="91" y="237"/>
                  </a:lnTo>
                  <a:lnTo>
                    <a:pt x="90" y="236"/>
                  </a:lnTo>
                  <a:lnTo>
                    <a:pt x="90" y="230"/>
                  </a:lnTo>
                  <a:lnTo>
                    <a:pt x="88" y="228"/>
                  </a:lnTo>
                  <a:lnTo>
                    <a:pt x="88" y="226"/>
                  </a:lnTo>
                  <a:lnTo>
                    <a:pt x="88" y="218"/>
                  </a:lnTo>
                  <a:lnTo>
                    <a:pt x="86" y="217"/>
                  </a:lnTo>
                  <a:lnTo>
                    <a:pt x="87" y="214"/>
                  </a:lnTo>
                  <a:lnTo>
                    <a:pt x="87" y="213"/>
                  </a:lnTo>
                  <a:lnTo>
                    <a:pt x="87" y="210"/>
                  </a:lnTo>
                  <a:lnTo>
                    <a:pt x="87" y="208"/>
                  </a:lnTo>
                  <a:lnTo>
                    <a:pt x="88" y="207"/>
                  </a:lnTo>
                  <a:lnTo>
                    <a:pt x="87" y="207"/>
                  </a:lnTo>
                  <a:lnTo>
                    <a:pt x="87" y="208"/>
                  </a:lnTo>
                  <a:lnTo>
                    <a:pt x="84" y="208"/>
                  </a:lnTo>
                  <a:lnTo>
                    <a:pt x="83" y="208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0" y="203"/>
                  </a:lnTo>
                  <a:lnTo>
                    <a:pt x="80" y="200"/>
                  </a:lnTo>
                  <a:lnTo>
                    <a:pt x="80" y="198"/>
                  </a:lnTo>
                  <a:lnTo>
                    <a:pt x="78" y="197"/>
                  </a:lnTo>
                  <a:lnTo>
                    <a:pt x="78" y="197"/>
                  </a:lnTo>
                  <a:lnTo>
                    <a:pt x="76" y="196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76" y="196"/>
                  </a:lnTo>
                  <a:lnTo>
                    <a:pt x="74" y="197"/>
                  </a:lnTo>
                  <a:lnTo>
                    <a:pt x="76" y="200"/>
                  </a:lnTo>
                  <a:lnTo>
                    <a:pt x="74" y="201"/>
                  </a:lnTo>
                  <a:lnTo>
                    <a:pt x="74" y="204"/>
                  </a:lnTo>
                  <a:lnTo>
                    <a:pt x="73" y="206"/>
                  </a:lnTo>
                  <a:lnTo>
                    <a:pt x="71" y="207"/>
                  </a:lnTo>
                  <a:lnTo>
                    <a:pt x="68" y="208"/>
                  </a:lnTo>
                  <a:lnTo>
                    <a:pt x="67" y="208"/>
                  </a:lnTo>
                  <a:lnTo>
                    <a:pt x="67" y="208"/>
                  </a:lnTo>
                  <a:lnTo>
                    <a:pt x="66" y="207"/>
                  </a:lnTo>
                  <a:lnTo>
                    <a:pt x="64" y="206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4" y="207"/>
                  </a:lnTo>
                  <a:lnTo>
                    <a:pt x="64" y="207"/>
                  </a:lnTo>
                  <a:lnTo>
                    <a:pt x="66" y="210"/>
                  </a:lnTo>
                  <a:lnTo>
                    <a:pt x="66" y="210"/>
                  </a:lnTo>
                  <a:lnTo>
                    <a:pt x="63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13"/>
                  </a:lnTo>
                  <a:lnTo>
                    <a:pt x="61" y="213"/>
                  </a:lnTo>
                  <a:lnTo>
                    <a:pt x="57" y="214"/>
                  </a:lnTo>
                  <a:lnTo>
                    <a:pt x="56" y="216"/>
                  </a:lnTo>
                  <a:lnTo>
                    <a:pt x="56" y="217"/>
                  </a:lnTo>
                  <a:lnTo>
                    <a:pt x="54" y="220"/>
                  </a:lnTo>
                  <a:lnTo>
                    <a:pt x="51" y="221"/>
                  </a:lnTo>
                  <a:lnTo>
                    <a:pt x="50" y="221"/>
                  </a:lnTo>
                  <a:lnTo>
                    <a:pt x="50" y="221"/>
                  </a:lnTo>
                  <a:lnTo>
                    <a:pt x="50" y="218"/>
                  </a:lnTo>
                  <a:lnTo>
                    <a:pt x="50" y="217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49" y="218"/>
                  </a:lnTo>
                  <a:lnTo>
                    <a:pt x="47" y="220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3" y="217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1" y="217"/>
                  </a:lnTo>
                  <a:lnTo>
                    <a:pt x="40" y="218"/>
                  </a:lnTo>
                  <a:lnTo>
                    <a:pt x="39" y="217"/>
                  </a:lnTo>
                  <a:lnTo>
                    <a:pt x="39" y="216"/>
                  </a:lnTo>
                  <a:lnTo>
                    <a:pt x="40" y="214"/>
                  </a:lnTo>
                  <a:lnTo>
                    <a:pt x="40" y="213"/>
                  </a:lnTo>
                  <a:lnTo>
                    <a:pt x="40" y="210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40" y="210"/>
                  </a:lnTo>
                  <a:lnTo>
                    <a:pt x="40" y="211"/>
                  </a:lnTo>
                  <a:lnTo>
                    <a:pt x="39" y="211"/>
                  </a:lnTo>
                  <a:lnTo>
                    <a:pt x="39" y="213"/>
                  </a:lnTo>
                  <a:lnTo>
                    <a:pt x="37" y="214"/>
                  </a:lnTo>
                  <a:lnTo>
                    <a:pt x="36" y="216"/>
                  </a:lnTo>
                  <a:lnTo>
                    <a:pt x="33" y="217"/>
                  </a:lnTo>
                  <a:lnTo>
                    <a:pt x="33" y="217"/>
                  </a:lnTo>
                  <a:lnTo>
                    <a:pt x="31" y="214"/>
                  </a:lnTo>
                  <a:lnTo>
                    <a:pt x="33" y="208"/>
                  </a:lnTo>
                  <a:lnTo>
                    <a:pt x="34" y="207"/>
                  </a:lnTo>
                  <a:lnTo>
                    <a:pt x="34" y="206"/>
                  </a:lnTo>
                  <a:lnTo>
                    <a:pt x="36" y="203"/>
                  </a:lnTo>
                  <a:lnTo>
                    <a:pt x="36" y="201"/>
                  </a:lnTo>
                  <a:lnTo>
                    <a:pt x="36" y="198"/>
                  </a:lnTo>
                  <a:lnTo>
                    <a:pt x="37" y="197"/>
                  </a:lnTo>
                  <a:lnTo>
                    <a:pt x="37" y="196"/>
                  </a:lnTo>
                  <a:lnTo>
                    <a:pt x="39" y="191"/>
                  </a:lnTo>
                  <a:lnTo>
                    <a:pt x="37" y="188"/>
                  </a:lnTo>
                  <a:lnTo>
                    <a:pt x="37" y="187"/>
                  </a:lnTo>
                  <a:lnTo>
                    <a:pt x="36" y="180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1" y="171"/>
                  </a:lnTo>
                  <a:lnTo>
                    <a:pt x="33" y="171"/>
                  </a:lnTo>
                  <a:lnTo>
                    <a:pt x="30" y="170"/>
                  </a:lnTo>
                  <a:lnTo>
                    <a:pt x="30" y="168"/>
                  </a:lnTo>
                  <a:lnTo>
                    <a:pt x="30" y="164"/>
                  </a:lnTo>
                  <a:lnTo>
                    <a:pt x="30" y="161"/>
                  </a:lnTo>
                  <a:lnTo>
                    <a:pt x="29" y="163"/>
                  </a:lnTo>
                  <a:lnTo>
                    <a:pt x="29" y="164"/>
                  </a:lnTo>
                  <a:lnTo>
                    <a:pt x="27" y="164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27" y="168"/>
                  </a:lnTo>
                  <a:lnTo>
                    <a:pt x="26" y="167"/>
                  </a:lnTo>
                  <a:lnTo>
                    <a:pt x="24" y="166"/>
                  </a:lnTo>
                  <a:lnTo>
                    <a:pt x="23" y="164"/>
                  </a:lnTo>
                  <a:lnTo>
                    <a:pt x="20" y="160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4" y="163"/>
                  </a:lnTo>
                  <a:lnTo>
                    <a:pt x="26" y="163"/>
                  </a:lnTo>
                  <a:lnTo>
                    <a:pt x="27" y="163"/>
                  </a:lnTo>
                  <a:lnTo>
                    <a:pt x="29" y="161"/>
                  </a:lnTo>
                  <a:lnTo>
                    <a:pt x="29" y="160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6" y="157"/>
                  </a:lnTo>
                  <a:lnTo>
                    <a:pt x="24" y="157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3" y="153"/>
                  </a:lnTo>
                  <a:lnTo>
                    <a:pt x="24" y="151"/>
                  </a:lnTo>
                  <a:lnTo>
                    <a:pt x="21" y="151"/>
                  </a:lnTo>
                  <a:lnTo>
                    <a:pt x="20" y="150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17" y="148"/>
                  </a:lnTo>
                  <a:lnTo>
                    <a:pt x="16" y="148"/>
                  </a:lnTo>
                  <a:lnTo>
                    <a:pt x="16" y="151"/>
                  </a:lnTo>
                  <a:lnTo>
                    <a:pt x="16" y="153"/>
                  </a:lnTo>
                  <a:lnTo>
                    <a:pt x="14" y="153"/>
                  </a:lnTo>
                  <a:lnTo>
                    <a:pt x="13" y="148"/>
                  </a:lnTo>
                  <a:lnTo>
                    <a:pt x="13" y="147"/>
                  </a:lnTo>
                  <a:lnTo>
                    <a:pt x="14" y="147"/>
                  </a:lnTo>
                  <a:lnTo>
                    <a:pt x="14" y="147"/>
                  </a:lnTo>
                  <a:lnTo>
                    <a:pt x="13" y="147"/>
                  </a:lnTo>
                  <a:lnTo>
                    <a:pt x="14" y="143"/>
                  </a:lnTo>
                  <a:lnTo>
                    <a:pt x="13" y="143"/>
                  </a:lnTo>
                  <a:lnTo>
                    <a:pt x="13" y="144"/>
                  </a:lnTo>
                  <a:lnTo>
                    <a:pt x="13" y="146"/>
                  </a:lnTo>
                  <a:lnTo>
                    <a:pt x="11" y="147"/>
                  </a:lnTo>
                  <a:lnTo>
                    <a:pt x="10" y="147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1" y="144"/>
                  </a:lnTo>
                  <a:lnTo>
                    <a:pt x="10" y="143"/>
                  </a:lnTo>
                  <a:lnTo>
                    <a:pt x="9" y="141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43"/>
                  </a:lnTo>
                  <a:lnTo>
                    <a:pt x="9" y="144"/>
                  </a:lnTo>
                  <a:lnTo>
                    <a:pt x="6" y="141"/>
                  </a:lnTo>
                  <a:lnTo>
                    <a:pt x="3" y="137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1" y="131"/>
                  </a:lnTo>
                  <a:lnTo>
                    <a:pt x="0" y="131"/>
                  </a:lnTo>
                  <a:lnTo>
                    <a:pt x="0" y="130"/>
                  </a:lnTo>
                  <a:lnTo>
                    <a:pt x="0" y="129"/>
                  </a:lnTo>
                  <a:lnTo>
                    <a:pt x="0" y="127"/>
                  </a:lnTo>
                  <a:lnTo>
                    <a:pt x="1" y="126"/>
                  </a:lnTo>
                  <a:lnTo>
                    <a:pt x="1" y="126"/>
                  </a:lnTo>
                  <a:lnTo>
                    <a:pt x="3" y="126"/>
                  </a:lnTo>
                  <a:lnTo>
                    <a:pt x="4" y="127"/>
                  </a:lnTo>
                  <a:lnTo>
                    <a:pt x="6" y="127"/>
                  </a:lnTo>
                  <a:lnTo>
                    <a:pt x="6" y="129"/>
                  </a:lnTo>
                  <a:lnTo>
                    <a:pt x="6" y="129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6" y="124"/>
                  </a:lnTo>
                  <a:lnTo>
                    <a:pt x="6" y="123"/>
                  </a:lnTo>
                  <a:lnTo>
                    <a:pt x="6" y="117"/>
                  </a:lnTo>
                  <a:lnTo>
                    <a:pt x="6" y="116"/>
                  </a:lnTo>
                  <a:lnTo>
                    <a:pt x="7" y="116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3"/>
                  </a:lnTo>
                  <a:lnTo>
                    <a:pt x="9" y="113"/>
                  </a:lnTo>
                  <a:lnTo>
                    <a:pt x="9" y="114"/>
                  </a:lnTo>
                  <a:lnTo>
                    <a:pt x="10" y="116"/>
                  </a:lnTo>
                  <a:lnTo>
                    <a:pt x="11" y="116"/>
                  </a:lnTo>
                  <a:lnTo>
                    <a:pt x="11" y="116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4" y="111"/>
                  </a:lnTo>
                  <a:lnTo>
                    <a:pt x="14" y="113"/>
                  </a:lnTo>
                  <a:lnTo>
                    <a:pt x="16" y="111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4" y="106"/>
                  </a:lnTo>
                  <a:lnTo>
                    <a:pt x="14" y="104"/>
                  </a:lnTo>
                  <a:lnTo>
                    <a:pt x="14" y="103"/>
                  </a:lnTo>
                  <a:lnTo>
                    <a:pt x="14" y="101"/>
                  </a:lnTo>
                  <a:lnTo>
                    <a:pt x="16" y="100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9" y="97"/>
                  </a:lnTo>
                  <a:lnTo>
                    <a:pt x="19" y="96"/>
                  </a:lnTo>
                  <a:lnTo>
                    <a:pt x="19" y="93"/>
                  </a:lnTo>
                  <a:lnTo>
                    <a:pt x="19" y="89"/>
                  </a:lnTo>
                  <a:lnTo>
                    <a:pt x="20" y="87"/>
                  </a:lnTo>
                  <a:lnTo>
                    <a:pt x="19" y="84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1" y="81"/>
                  </a:lnTo>
                  <a:lnTo>
                    <a:pt x="23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6" y="81"/>
                  </a:lnTo>
                  <a:lnTo>
                    <a:pt x="29" y="83"/>
                  </a:lnTo>
                  <a:lnTo>
                    <a:pt x="30" y="83"/>
                  </a:lnTo>
                  <a:lnTo>
                    <a:pt x="31" y="83"/>
                  </a:lnTo>
                  <a:lnTo>
                    <a:pt x="31" y="81"/>
                  </a:lnTo>
                  <a:lnTo>
                    <a:pt x="33" y="79"/>
                  </a:lnTo>
                  <a:lnTo>
                    <a:pt x="33" y="76"/>
                  </a:lnTo>
                  <a:lnTo>
                    <a:pt x="34" y="73"/>
                  </a:lnTo>
                  <a:lnTo>
                    <a:pt x="36" y="71"/>
                  </a:lnTo>
                  <a:lnTo>
                    <a:pt x="37" y="70"/>
                  </a:lnTo>
                  <a:lnTo>
                    <a:pt x="39" y="67"/>
                  </a:lnTo>
                  <a:lnTo>
                    <a:pt x="40" y="64"/>
                  </a:lnTo>
                  <a:lnTo>
                    <a:pt x="40" y="63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1" y="54"/>
                  </a:lnTo>
                  <a:lnTo>
                    <a:pt x="43" y="53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47"/>
                  </a:lnTo>
                  <a:lnTo>
                    <a:pt x="46" y="47"/>
                  </a:lnTo>
                  <a:lnTo>
                    <a:pt x="46" y="46"/>
                  </a:lnTo>
                  <a:lnTo>
                    <a:pt x="47" y="46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6" y="43"/>
                  </a:lnTo>
                  <a:lnTo>
                    <a:pt x="46" y="40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7" y="36"/>
                  </a:lnTo>
                  <a:lnTo>
                    <a:pt x="49" y="34"/>
                  </a:lnTo>
                  <a:lnTo>
                    <a:pt x="50" y="34"/>
                  </a:lnTo>
                  <a:lnTo>
                    <a:pt x="51" y="33"/>
                  </a:lnTo>
                  <a:lnTo>
                    <a:pt x="57" y="29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60" y="26"/>
                  </a:lnTo>
                  <a:lnTo>
                    <a:pt x="61" y="24"/>
                  </a:lnTo>
                  <a:lnTo>
                    <a:pt x="64" y="23"/>
                  </a:lnTo>
                  <a:lnTo>
                    <a:pt x="66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4" y="24"/>
                  </a:lnTo>
                  <a:lnTo>
                    <a:pt x="76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6" y="20"/>
                  </a:lnTo>
                  <a:lnTo>
                    <a:pt x="74" y="19"/>
                  </a:lnTo>
                  <a:lnTo>
                    <a:pt x="74" y="17"/>
                  </a:lnTo>
                  <a:lnTo>
                    <a:pt x="76" y="17"/>
                  </a:lnTo>
                  <a:lnTo>
                    <a:pt x="76" y="16"/>
                  </a:lnTo>
                  <a:lnTo>
                    <a:pt x="77" y="14"/>
                  </a:lnTo>
                  <a:lnTo>
                    <a:pt x="80" y="13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1" y="9"/>
                  </a:lnTo>
                  <a:lnTo>
                    <a:pt x="81" y="7"/>
                  </a:lnTo>
                  <a:lnTo>
                    <a:pt x="81" y="6"/>
                  </a:lnTo>
                  <a:lnTo>
                    <a:pt x="83" y="6"/>
                  </a:lnTo>
                  <a:lnTo>
                    <a:pt x="84" y="4"/>
                  </a:lnTo>
                  <a:lnTo>
                    <a:pt x="84" y="3"/>
                  </a:lnTo>
                  <a:lnTo>
                    <a:pt x="84" y="1"/>
                  </a:lnTo>
                  <a:lnTo>
                    <a:pt x="86" y="1"/>
                  </a:lnTo>
                  <a:lnTo>
                    <a:pt x="86" y="0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3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0" y="3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3" y="6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9"/>
                  </a:lnTo>
                  <a:lnTo>
                    <a:pt x="94" y="10"/>
                  </a:lnTo>
                  <a:lnTo>
                    <a:pt x="97" y="16"/>
                  </a:lnTo>
                  <a:lnTo>
                    <a:pt x="97" y="17"/>
                  </a:lnTo>
                  <a:lnTo>
                    <a:pt x="97" y="19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7"/>
                  </a:lnTo>
                  <a:lnTo>
                    <a:pt x="104" y="30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4" y="36"/>
                  </a:lnTo>
                  <a:lnTo>
                    <a:pt x="104" y="39"/>
                  </a:lnTo>
                  <a:lnTo>
                    <a:pt x="104" y="40"/>
                  </a:lnTo>
                  <a:lnTo>
                    <a:pt x="104" y="43"/>
                  </a:lnTo>
                  <a:lnTo>
                    <a:pt x="103" y="43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1" y="49"/>
                  </a:lnTo>
                  <a:lnTo>
                    <a:pt x="100" y="50"/>
                  </a:lnTo>
                  <a:lnTo>
                    <a:pt x="98" y="51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1" y="60"/>
                  </a:lnTo>
                  <a:lnTo>
                    <a:pt x="90" y="59"/>
                  </a:lnTo>
                  <a:lnTo>
                    <a:pt x="88" y="61"/>
                  </a:lnTo>
                  <a:lnTo>
                    <a:pt x="88" y="63"/>
                  </a:lnTo>
                  <a:lnTo>
                    <a:pt x="88" y="64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7" y="67"/>
                  </a:lnTo>
                  <a:lnTo>
                    <a:pt x="86" y="67"/>
                  </a:lnTo>
                  <a:lnTo>
                    <a:pt x="86" y="70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7" y="74"/>
                  </a:lnTo>
                  <a:lnTo>
                    <a:pt x="87" y="74"/>
                  </a:lnTo>
                  <a:lnTo>
                    <a:pt x="87" y="76"/>
                  </a:lnTo>
                  <a:lnTo>
                    <a:pt x="88" y="77"/>
                  </a:lnTo>
                  <a:lnTo>
                    <a:pt x="88" y="79"/>
                  </a:lnTo>
                  <a:lnTo>
                    <a:pt x="86" y="81"/>
                  </a:lnTo>
                  <a:lnTo>
                    <a:pt x="86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8" y="83"/>
                  </a:lnTo>
                  <a:lnTo>
                    <a:pt x="90" y="81"/>
                  </a:lnTo>
                  <a:lnTo>
                    <a:pt x="93" y="80"/>
                  </a:lnTo>
                  <a:lnTo>
                    <a:pt x="96" y="79"/>
                  </a:lnTo>
                  <a:lnTo>
                    <a:pt x="98" y="79"/>
                  </a:lnTo>
                  <a:lnTo>
                    <a:pt x="101" y="79"/>
                  </a:lnTo>
                  <a:lnTo>
                    <a:pt x="101" y="80"/>
                  </a:lnTo>
                  <a:lnTo>
                    <a:pt x="103" y="80"/>
                  </a:lnTo>
                  <a:lnTo>
                    <a:pt x="106" y="79"/>
                  </a:lnTo>
                  <a:lnTo>
                    <a:pt x="106" y="79"/>
                  </a:lnTo>
                  <a:lnTo>
                    <a:pt x="106" y="79"/>
                  </a:lnTo>
                  <a:lnTo>
                    <a:pt x="106" y="80"/>
                  </a:lnTo>
                  <a:lnTo>
                    <a:pt x="104" y="81"/>
                  </a:lnTo>
                  <a:lnTo>
                    <a:pt x="104" y="83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6" y="86"/>
                  </a:lnTo>
                  <a:lnTo>
                    <a:pt x="106" y="87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7" y="91"/>
                  </a:lnTo>
                  <a:lnTo>
                    <a:pt x="107" y="91"/>
                  </a:lnTo>
                  <a:lnTo>
                    <a:pt x="107" y="93"/>
                  </a:lnTo>
                  <a:lnTo>
                    <a:pt x="107" y="96"/>
                  </a:lnTo>
                  <a:lnTo>
                    <a:pt x="110" y="96"/>
                  </a:lnTo>
                  <a:lnTo>
                    <a:pt x="113" y="97"/>
                  </a:lnTo>
                  <a:lnTo>
                    <a:pt x="114" y="97"/>
                  </a:lnTo>
                  <a:lnTo>
                    <a:pt x="116" y="97"/>
                  </a:lnTo>
                  <a:lnTo>
                    <a:pt x="116" y="97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6" y="100"/>
                  </a:lnTo>
                  <a:lnTo>
                    <a:pt x="116" y="101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4" y="107"/>
                  </a:lnTo>
                  <a:lnTo>
                    <a:pt x="113" y="110"/>
                  </a:lnTo>
                  <a:lnTo>
                    <a:pt x="113" y="111"/>
                  </a:lnTo>
                  <a:lnTo>
                    <a:pt x="111" y="113"/>
                  </a:lnTo>
                  <a:lnTo>
                    <a:pt x="111" y="113"/>
                  </a:lnTo>
                  <a:lnTo>
                    <a:pt x="111" y="113"/>
                  </a:lnTo>
                  <a:lnTo>
                    <a:pt x="113" y="114"/>
                  </a:lnTo>
                  <a:lnTo>
                    <a:pt x="114" y="114"/>
                  </a:lnTo>
                  <a:lnTo>
                    <a:pt x="116" y="114"/>
                  </a:lnTo>
                  <a:lnTo>
                    <a:pt x="118" y="114"/>
                  </a:lnTo>
                  <a:lnTo>
                    <a:pt x="121" y="114"/>
                  </a:lnTo>
                  <a:lnTo>
                    <a:pt x="123" y="116"/>
                  </a:lnTo>
                  <a:lnTo>
                    <a:pt x="124" y="116"/>
                  </a:lnTo>
                  <a:lnTo>
                    <a:pt x="124" y="117"/>
                  </a:lnTo>
                  <a:lnTo>
                    <a:pt x="124" y="119"/>
                  </a:lnTo>
                  <a:lnTo>
                    <a:pt x="124" y="120"/>
                  </a:lnTo>
                  <a:lnTo>
                    <a:pt x="124" y="121"/>
                  </a:lnTo>
                  <a:lnTo>
                    <a:pt x="126" y="121"/>
                  </a:lnTo>
                  <a:lnTo>
                    <a:pt x="126" y="121"/>
                  </a:lnTo>
                  <a:lnTo>
                    <a:pt x="127" y="123"/>
                  </a:lnTo>
                  <a:lnTo>
                    <a:pt x="126" y="123"/>
                  </a:lnTo>
                  <a:lnTo>
                    <a:pt x="127" y="124"/>
                  </a:lnTo>
                  <a:lnTo>
                    <a:pt x="127" y="124"/>
                  </a:lnTo>
                  <a:lnTo>
                    <a:pt x="128" y="124"/>
                  </a:lnTo>
                  <a:lnTo>
                    <a:pt x="130" y="124"/>
                  </a:lnTo>
                  <a:lnTo>
                    <a:pt x="131" y="124"/>
                  </a:lnTo>
                  <a:lnTo>
                    <a:pt x="133" y="126"/>
                  </a:lnTo>
                  <a:lnTo>
                    <a:pt x="134" y="124"/>
                  </a:lnTo>
                  <a:lnTo>
                    <a:pt x="136" y="124"/>
                  </a:lnTo>
                  <a:lnTo>
                    <a:pt x="138" y="121"/>
                  </a:lnTo>
                  <a:lnTo>
                    <a:pt x="141" y="120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21"/>
                  </a:lnTo>
                  <a:lnTo>
                    <a:pt x="143" y="123"/>
                  </a:lnTo>
                  <a:lnTo>
                    <a:pt x="143" y="123"/>
                  </a:lnTo>
                  <a:close/>
                  <a:moveTo>
                    <a:pt x="13" y="151"/>
                  </a:moveTo>
                  <a:lnTo>
                    <a:pt x="13" y="153"/>
                  </a:lnTo>
                  <a:lnTo>
                    <a:pt x="13" y="151"/>
                  </a:lnTo>
                  <a:lnTo>
                    <a:pt x="11" y="150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3" y="151"/>
                  </a:lnTo>
                  <a:close/>
                  <a:moveTo>
                    <a:pt x="20" y="151"/>
                  </a:moveTo>
                  <a:lnTo>
                    <a:pt x="21" y="154"/>
                  </a:lnTo>
                  <a:lnTo>
                    <a:pt x="20" y="153"/>
                  </a:lnTo>
                  <a:lnTo>
                    <a:pt x="20" y="151"/>
                  </a:lnTo>
                  <a:lnTo>
                    <a:pt x="19" y="151"/>
                  </a:lnTo>
                  <a:lnTo>
                    <a:pt x="20" y="151"/>
                  </a:lnTo>
                  <a:close/>
                  <a:moveTo>
                    <a:pt x="24" y="157"/>
                  </a:moveTo>
                  <a:lnTo>
                    <a:pt x="26" y="158"/>
                  </a:lnTo>
                  <a:lnTo>
                    <a:pt x="27" y="158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6" y="161"/>
                  </a:lnTo>
                  <a:lnTo>
                    <a:pt x="24" y="161"/>
                  </a:lnTo>
                  <a:lnTo>
                    <a:pt x="24" y="160"/>
                  </a:lnTo>
                  <a:lnTo>
                    <a:pt x="23" y="158"/>
                  </a:lnTo>
                  <a:lnTo>
                    <a:pt x="23" y="158"/>
                  </a:lnTo>
                  <a:lnTo>
                    <a:pt x="24" y="157"/>
                  </a:lnTo>
                  <a:lnTo>
                    <a:pt x="24" y="157"/>
                  </a:lnTo>
                  <a:close/>
                  <a:moveTo>
                    <a:pt x="24" y="171"/>
                  </a:moveTo>
                  <a:lnTo>
                    <a:pt x="23" y="173"/>
                  </a:lnTo>
                  <a:lnTo>
                    <a:pt x="21" y="171"/>
                  </a:lnTo>
                  <a:lnTo>
                    <a:pt x="20" y="168"/>
                  </a:lnTo>
                  <a:lnTo>
                    <a:pt x="23" y="168"/>
                  </a:lnTo>
                  <a:lnTo>
                    <a:pt x="24" y="168"/>
                  </a:lnTo>
                  <a:lnTo>
                    <a:pt x="24" y="170"/>
                  </a:lnTo>
                  <a:lnTo>
                    <a:pt x="24" y="171"/>
                  </a:lnTo>
                  <a:lnTo>
                    <a:pt x="24" y="171"/>
                  </a:lnTo>
                  <a:close/>
                  <a:moveTo>
                    <a:pt x="86" y="213"/>
                  </a:moveTo>
                  <a:lnTo>
                    <a:pt x="86" y="213"/>
                  </a:lnTo>
                  <a:lnTo>
                    <a:pt x="84" y="211"/>
                  </a:lnTo>
                  <a:lnTo>
                    <a:pt x="84" y="210"/>
                  </a:lnTo>
                  <a:lnTo>
                    <a:pt x="86" y="208"/>
                  </a:lnTo>
                  <a:lnTo>
                    <a:pt x="86" y="208"/>
                  </a:lnTo>
                  <a:lnTo>
                    <a:pt x="86" y="208"/>
                  </a:lnTo>
                  <a:lnTo>
                    <a:pt x="86" y="210"/>
                  </a:lnTo>
                  <a:lnTo>
                    <a:pt x="86" y="210"/>
                  </a:lnTo>
                  <a:lnTo>
                    <a:pt x="86" y="210"/>
                  </a:lnTo>
                  <a:lnTo>
                    <a:pt x="86" y="213"/>
                  </a:lnTo>
                  <a:close/>
                  <a:moveTo>
                    <a:pt x="36" y="217"/>
                  </a:moveTo>
                  <a:lnTo>
                    <a:pt x="36" y="220"/>
                  </a:lnTo>
                  <a:lnTo>
                    <a:pt x="34" y="217"/>
                  </a:lnTo>
                  <a:lnTo>
                    <a:pt x="37" y="216"/>
                  </a:lnTo>
                  <a:lnTo>
                    <a:pt x="37" y="214"/>
                  </a:lnTo>
                  <a:lnTo>
                    <a:pt x="39" y="213"/>
                  </a:lnTo>
                  <a:lnTo>
                    <a:pt x="39" y="214"/>
                  </a:lnTo>
                  <a:lnTo>
                    <a:pt x="37" y="217"/>
                  </a:lnTo>
                  <a:lnTo>
                    <a:pt x="36" y="217"/>
                  </a:lnTo>
                  <a:close/>
                  <a:moveTo>
                    <a:pt x="41" y="220"/>
                  </a:moveTo>
                  <a:lnTo>
                    <a:pt x="41" y="220"/>
                  </a:lnTo>
                  <a:lnTo>
                    <a:pt x="40" y="220"/>
                  </a:lnTo>
                  <a:lnTo>
                    <a:pt x="40" y="220"/>
                  </a:lnTo>
                  <a:lnTo>
                    <a:pt x="41" y="218"/>
                  </a:lnTo>
                  <a:lnTo>
                    <a:pt x="41" y="218"/>
                  </a:lnTo>
                  <a:lnTo>
                    <a:pt x="41" y="220"/>
                  </a:lnTo>
                  <a:close/>
                  <a:moveTo>
                    <a:pt x="97" y="264"/>
                  </a:moveTo>
                  <a:lnTo>
                    <a:pt x="97" y="267"/>
                  </a:lnTo>
                  <a:lnTo>
                    <a:pt x="97" y="266"/>
                  </a:lnTo>
                  <a:lnTo>
                    <a:pt x="97" y="264"/>
                  </a:lnTo>
                  <a:lnTo>
                    <a:pt x="97" y="263"/>
                  </a:lnTo>
                  <a:lnTo>
                    <a:pt x="97" y="263"/>
                  </a:lnTo>
                  <a:lnTo>
                    <a:pt x="97" y="263"/>
                  </a:lnTo>
                  <a:lnTo>
                    <a:pt x="97" y="264"/>
                  </a:lnTo>
                  <a:lnTo>
                    <a:pt x="97" y="264"/>
                  </a:lnTo>
                  <a:close/>
                  <a:moveTo>
                    <a:pt x="100" y="273"/>
                  </a:moveTo>
                  <a:lnTo>
                    <a:pt x="100" y="273"/>
                  </a:lnTo>
                  <a:lnTo>
                    <a:pt x="100" y="273"/>
                  </a:lnTo>
                  <a:lnTo>
                    <a:pt x="100" y="274"/>
                  </a:lnTo>
                  <a:lnTo>
                    <a:pt x="98" y="277"/>
                  </a:lnTo>
                  <a:lnTo>
                    <a:pt x="98" y="277"/>
                  </a:lnTo>
                  <a:lnTo>
                    <a:pt x="97" y="277"/>
                  </a:lnTo>
                  <a:lnTo>
                    <a:pt x="98" y="274"/>
                  </a:lnTo>
                  <a:lnTo>
                    <a:pt x="97" y="273"/>
                  </a:lnTo>
                  <a:lnTo>
                    <a:pt x="97" y="271"/>
                  </a:lnTo>
                  <a:lnTo>
                    <a:pt x="98" y="271"/>
                  </a:lnTo>
                  <a:lnTo>
                    <a:pt x="100" y="273"/>
                  </a:lnTo>
                  <a:close/>
                  <a:moveTo>
                    <a:pt x="94" y="276"/>
                  </a:moveTo>
                  <a:lnTo>
                    <a:pt x="94" y="277"/>
                  </a:lnTo>
                  <a:lnTo>
                    <a:pt x="93" y="278"/>
                  </a:lnTo>
                  <a:lnTo>
                    <a:pt x="91" y="277"/>
                  </a:lnTo>
                  <a:lnTo>
                    <a:pt x="91" y="277"/>
                  </a:lnTo>
                  <a:lnTo>
                    <a:pt x="93" y="276"/>
                  </a:lnTo>
                  <a:lnTo>
                    <a:pt x="93" y="276"/>
                  </a:lnTo>
                  <a:lnTo>
                    <a:pt x="94" y="276"/>
                  </a:lnTo>
                  <a:lnTo>
                    <a:pt x="94" y="276"/>
                  </a:lnTo>
                  <a:close/>
                  <a:moveTo>
                    <a:pt x="94" y="280"/>
                  </a:moveTo>
                  <a:lnTo>
                    <a:pt x="94" y="280"/>
                  </a:lnTo>
                  <a:lnTo>
                    <a:pt x="94" y="280"/>
                  </a:lnTo>
                  <a:lnTo>
                    <a:pt x="94" y="280"/>
                  </a:lnTo>
                  <a:lnTo>
                    <a:pt x="93" y="278"/>
                  </a:lnTo>
                  <a:lnTo>
                    <a:pt x="94" y="278"/>
                  </a:lnTo>
                  <a:lnTo>
                    <a:pt x="94" y="278"/>
                  </a:lnTo>
                  <a:lnTo>
                    <a:pt x="94" y="278"/>
                  </a:lnTo>
                  <a:lnTo>
                    <a:pt x="94" y="278"/>
                  </a:lnTo>
                  <a:lnTo>
                    <a:pt x="94" y="278"/>
                  </a:lnTo>
                  <a:lnTo>
                    <a:pt x="94" y="278"/>
                  </a:lnTo>
                  <a:lnTo>
                    <a:pt x="94" y="280"/>
                  </a:lnTo>
                  <a:lnTo>
                    <a:pt x="94" y="280"/>
                  </a:lnTo>
                  <a:close/>
                  <a:moveTo>
                    <a:pt x="101" y="284"/>
                  </a:moveTo>
                  <a:lnTo>
                    <a:pt x="100" y="284"/>
                  </a:lnTo>
                  <a:lnTo>
                    <a:pt x="100" y="281"/>
                  </a:lnTo>
                  <a:lnTo>
                    <a:pt x="100" y="281"/>
                  </a:lnTo>
                  <a:lnTo>
                    <a:pt x="101" y="283"/>
                  </a:lnTo>
                  <a:lnTo>
                    <a:pt x="103" y="283"/>
                  </a:lnTo>
                  <a:lnTo>
                    <a:pt x="101" y="284"/>
                  </a:lnTo>
                  <a:lnTo>
                    <a:pt x="101" y="284"/>
                  </a:lnTo>
                  <a:close/>
                  <a:moveTo>
                    <a:pt x="94" y="287"/>
                  </a:moveTo>
                  <a:lnTo>
                    <a:pt x="94" y="288"/>
                  </a:lnTo>
                  <a:lnTo>
                    <a:pt x="93" y="287"/>
                  </a:lnTo>
                  <a:lnTo>
                    <a:pt x="93" y="284"/>
                  </a:lnTo>
                  <a:lnTo>
                    <a:pt x="94" y="287"/>
                  </a:lnTo>
                  <a:lnTo>
                    <a:pt x="94" y="287"/>
                  </a:lnTo>
                  <a:lnTo>
                    <a:pt x="94" y="287"/>
                  </a:lnTo>
                  <a:close/>
                  <a:moveTo>
                    <a:pt x="101" y="287"/>
                  </a:moveTo>
                  <a:lnTo>
                    <a:pt x="101" y="290"/>
                  </a:lnTo>
                  <a:lnTo>
                    <a:pt x="100" y="290"/>
                  </a:lnTo>
                  <a:lnTo>
                    <a:pt x="100" y="290"/>
                  </a:lnTo>
                  <a:lnTo>
                    <a:pt x="98" y="287"/>
                  </a:lnTo>
                  <a:lnTo>
                    <a:pt x="98" y="287"/>
                  </a:lnTo>
                  <a:lnTo>
                    <a:pt x="98" y="286"/>
                  </a:lnTo>
                  <a:lnTo>
                    <a:pt x="101" y="286"/>
                  </a:lnTo>
                  <a:lnTo>
                    <a:pt x="101" y="287"/>
                  </a:lnTo>
                  <a:close/>
                  <a:moveTo>
                    <a:pt x="96" y="291"/>
                  </a:moveTo>
                  <a:lnTo>
                    <a:pt x="96" y="291"/>
                  </a:lnTo>
                  <a:lnTo>
                    <a:pt x="96" y="291"/>
                  </a:lnTo>
                  <a:lnTo>
                    <a:pt x="96" y="291"/>
                  </a:lnTo>
                  <a:lnTo>
                    <a:pt x="96" y="290"/>
                  </a:lnTo>
                  <a:lnTo>
                    <a:pt x="97" y="288"/>
                  </a:lnTo>
                  <a:lnTo>
                    <a:pt x="97" y="287"/>
                  </a:lnTo>
                  <a:lnTo>
                    <a:pt x="97" y="286"/>
                  </a:lnTo>
                  <a:lnTo>
                    <a:pt x="97" y="287"/>
                  </a:lnTo>
                  <a:lnTo>
                    <a:pt x="97" y="288"/>
                  </a:lnTo>
                  <a:lnTo>
                    <a:pt x="97" y="290"/>
                  </a:lnTo>
                  <a:lnTo>
                    <a:pt x="96" y="291"/>
                  </a:lnTo>
                  <a:close/>
                  <a:moveTo>
                    <a:pt x="101" y="300"/>
                  </a:moveTo>
                  <a:lnTo>
                    <a:pt x="101" y="300"/>
                  </a:lnTo>
                  <a:lnTo>
                    <a:pt x="101" y="300"/>
                  </a:lnTo>
                  <a:lnTo>
                    <a:pt x="100" y="298"/>
                  </a:lnTo>
                  <a:lnTo>
                    <a:pt x="101" y="297"/>
                  </a:lnTo>
                  <a:lnTo>
                    <a:pt x="101" y="300"/>
                  </a:lnTo>
                  <a:close/>
                  <a:moveTo>
                    <a:pt x="96" y="300"/>
                  </a:moveTo>
                  <a:lnTo>
                    <a:pt x="97" y="303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6" y="301"/>
                  </a:lnTo>
                  <a:lnTo>
                    <a:pt x="96" y="300"/>
                  </a:lnTo>
                  <a:lnTo>
                    <a:pt x="94" y="301"/>
                  </a:lnTo>
                  <a:lnTo>
                    <a:pt x="96" y="300"/>
                  </a:lnTo>
                  <a:lnTo>
                    <a:pt x="96" y="298"/>
                  </a:lnTo>
                  <a:lnTo>
                    <a:pt x="96" y="300"/>
                  </a:lnTo>
                  <a:close/>
                  <a:moveTo>
                    <a:pt x="96" y="316"/>
                  </a:moveTo>
                  <a:lnTo>
                    <a:pt x="94" y="317"/>
                  </a:lnTo>
                  <a:lnTo>
                    <a:pt x="94" y="317"/>
                  </a:lnTo>
                  <a:lnTo>
                    <a:pt x="96" y="316"/>
                  </a:lnTo>
                  <a:lnTo>
                    <a:pt x="96" y="314"/>
                  </a:lnTo>
                  <a:lnTo>
                    <a:pt x="97" y="314"/>
                  </a:lnTo>
                  <a:lnTo>
                    <a:pt x="97" y="316"/>
                  </a:lnTo>
                  <a:lnTo>
                    <a:pt x="97" y="316"/>
                  </a:lnTo>
                  <a:lnTo>
                    <a:pt x="96" y="31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9" name="Google Shape;269;p3"/>
            <p:cNvSpPr/>
            <p:nvPr/>
          </p:nvSpPr>
          <p:spPr>
            <a:xfrm>
              <a:off x="4937456" y="3759589"/>
              <a:ext cx="361169" cy="154435"/>
            </a:xfrm>
            <a:custGeom>
              <a:rect b="b" l="l" r="r" t="t"/>
              <a:pathLst>
                <a:path extrusionOk="0" h="246" w="515">
                  <a:moveTo>
                    <a:pt x="463" y="58"/>
                  </a:moveTo>
                  <a:lnTo>
                    <a:pt x="462" y="61"/>
                  </a:lnTo>
                  <a:lnTo>
                    <a:pt x="459" y="68"/>
                  </a:lnTo>
                  <a:lnTo>
                    <a:pt x="456" y="74"/>
                  </a:lnTo>
                  <a:lnTo>
                    <a:pt x="455" y="78"/>
                  </a:lnTo>
                  <a:lnTo>
                    <a:pt x="453" y="79"/>
                  </a:lnTo>
                  <a:lnTo>
                    <a:pt x="452" y="82"/>
                  </a:lnTo>
                  <a:lnTo>
                    <a:pt x="452" y="84"/>
                  </a:lnTo>
                  <a:lnTo>
                    <a:pt x="450" y="85"/>
                  </a:lnTo>
                  <a:lnTo>
                    <a:pt x="449" y="88"/>
                  </a:lnTo>
                  <a:lnTo>
                    <a:pt x="449" y="91"/>
                  </a:lnTo>
                  <a:lnTo>
                    <a:pt x="449" y="94"/>
                  </a:lnTo>
                  <a:lnTo>
                    <a:pt x="449" y="97"/>
                  </a:lnTo>
                  <a:lnTo>
                    <a:pt x="446" y="98"/>
                  </a:lnTo>
                  <a:lnTo>
                    <a:pt x="445" y="99"/>
                  </a:lnTo>
                  <a:lnTo>
                    <a:pt x="445" y="104"/>
                  </a:lnTo>
                  <a:lnTo>
                    <a:pt x="446" y="105"/>
                  </a:lnTo>
                  <a:lnTo>
                    <a:pt x="448" y="107"/>
                  </a:lnTo>
                  <a:lnTo>
                    <a:pt x="449" y="108"/>
                  </a:lnTo>
                  <a:lnTo>
                    <a:pt x="450" y="109"/>
                  </a:lnTo>
                  <a:lnTo>
                    <a:pt x="452" y="109"/>
                  </a:lnTo>
                  <a:lnTo>
                    <a:pt x="453" y="108"/>
                  </a:lnTo>
                  <a:lnTo>
                    <a:pt x="456" y="105"/>
                  </a:lnTo>
                  <a:lnTo>
                    <a:pt x="458" y="105"/>
                  </a:lnTo>
                  <a:lnTo>
                    <a:pt x="458" y="107"/>
                  </a:lnTo>
                  <a:lnTo>
                    <a:pt x="460" y="107"/>
                  </a:lnTo>
                  <a:lnTo>
                    <a:pt x="462" y="105"/>
                  </a:lnTo>
                  <a:lnTo>
                    <a:pt x="465" y="105"/>
                  </a:lnTo>
                  <a:lnTo>
                    <a:pt x="466" y="105"/>
                  </a:lnTo>
                  <a:lnTo>
                    <a:pt x="468" y="107"/>
                  </a:lnTo>
                  <a:lnTo>
                    <a:pt x="469" y="107"/>
                  </a:lnTo>
                  <a:lnTo>
                    <a:pt x="470" y="108"/>
                  </a:lnTo>
                  <a:lnTo>
                    <a:pt x="472" y="111"/>
                  </a:lnTo>
                  <a:lnTo>
                    <a:pt x="473" y="111"/>
                  </a:lnTo>
                  <a:lnTo>
                    <a:pt x="475" y="109"/>
                  </a:lnTo>
                  <a:lnTo>
                    <a:pt x="475" y="108"/>
                  </a:lnTo>
                  <a:lnTo>
                    <a:pt x="476" y="107"/>
                  </a:lnTo>
                  <a:lnTo>
                    <a:pt x="479" y="105"/>
                  </a:lnTo>
                  <a:lnTo>
                    <a:pt x="480" y="102"/>
                  </a:lnTo>
                  <a:lnTo>
                    <a:pt x="482" y="102"/>
                  </a:lnTo>
                  <a:lnTo>
                    <a:pt x="483" y="102"/>
                  </a:lnTo>
                  <a:lnTo>
                    <a:pt x="485" y="102"/>
                  </a:lnTo>
                  <a:lnTo>
                    <a:pt x="486" y="102"/>
                  </a:lnTo>
                  <a:lnTo>
                    <a:pt x="488" y="102"/>
                  </a:lnTo>
                  <a:lnTo>
                    <a:pt x="492" y="102"/>
                  </a:lnTo>
                  <a:lnTo>
                    <a:pt x="493" y="104"/>
                  </a:lnTo>
                  <a:lnTo>
                    <a:pt x="495" y="107"/>
                  </a:lnTo>
                  <a:lnTo>
                    <a:pt x="496" y="108"/>
                  </a:lnTo>
                  <a:lnTo>
                    <a:pt x="498" y="109"/>
                  </a:lnTo>
                  <a:lnTo>
                    <a:pt x="499" y="109"/>
                  </a:lnTo>
                  <a:lnTo>
                    <a:pt x="500" y="109"/>
                  </a:lnTo>
                  <a:lnTo>
                    <a:pt x="502" y="111"/>
                  </a:lnTo>
                  <a:lnTo>
                    <a:pt x="502" y="111"/>
                  </a:lnTo>
                  <a:lnTo>
                    <a:pt x="502" y="112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5" y="115"/>
                  </a:lnTo>
                  <a:lnTo>
                    <a:pt x="505" y="117"/>
                  </a:lnTo>
                  <a:lnTo>
                    <a:pt x="505" y="117"/>
                  </a:lnTo>
                  <a:lnTo>
                    <a:pt x="506" y="117"/>
                  </a:lnTo>
                  <a:lnTo>
                    <a:pt x="509" y="119"/>
                  </a:lnTo>
                  <a:lnTo>
                    <a:pt x="509" y="121"/>
                  </a:lnTo>
                  <a:lnTo>
                    <a:pt x="512" y="122"/>
                  </a:lnTo>
                  <a:lnTo>
                    <a:pt x="512" y="124"/>
                  </a:lnTo>
                  <a:lnTo>
                    <a:pt x="512" y="125"/>
                  </a:lnTo>
                  <a:lnTo>
                    <a:pt x="513" y="127"/>
                  </a:lnTo>
                  <a:lnTo>
                    <a:pt x="513" y="128"/>
                  </a:lnTo>
                  <a:lnTo>
                    <a:pt x="515" y="129"/>
                  </a:lnTo>
                  <a:lnTo>
                    <a:pt x="515" y="131"/>
                  </a:lnTo>
                  <a:lnTo>
                    <a:pt x="515" y="132"/>
                  </a:lnTo>
                  <a:lnTo>
                    <a:pt x="513" y="134"/>
                  </a:lnTo>
                  <a:lnTo>
                    <a:pt x="512" y="135"/>
                  </a:lnTo>
                  <a:lnTo>
                    <a:pt x="512" y="135"/>
                  </a:lnTo>
                  <a:lnTo>
                    <a:pt x="510" y="135"/>
                  </a:lnTo>
                  <a:lnTo>
                    <a:pt x="507" y="135"/>
                  </a:lnTo>
                  <a:lnTo>
                    <a:pt x="505" y="135"/>
                  </a:lnTo>
                  <a:lnTo>
                    <a:pt x="503" y="135"/>
                  </a:lnTo>
                  <a:lnTo>
                    <a:pt x="500" y="134"/>
                  </a:lnTo>
                  <a:lnTo>
                    <a:pt x="499" y="132"/>
                  </a:lnTo>
                  <a:lnTo>
                    <a:pt x="498" y="132"/>
                  </a:lnTo>
                  <a:lnTo>
                    <a:pt x="496" y="132"/>
                  </a:lnTo>
                  <a:lnTo>
                    <a:pt x="496" y="134"/>
                  </a:lnTo>
                  <a:lnTo>
                    <a:pt x="495" y="132"/>
                  </a:lnTo>
                  <a:lnTo>
                    <a:pt x="493" y="134"/>
                  </a:lnTo>
                  <a:lnTo>
                    <a:pt x="490" y="132"/>
                  </a:lnTo>
                  <a:lnTo>
                    <a:pt x="489" y="132"/>
                  </a:lnTo>
                  <a:lnTo>
                    <a:pt x="486" y="134"/>
                  </a:lnTo>
                  <a:lnTo>
                    <a:pt x="485" y="134"/>
                  </a:lnTo>
                  <a:lnTo>
                    <a:pt x="482" y="135"/>
                  </a:lnTo>
                  <a:lnTo>
                    <a:pt x="480" y="137"/>
                  </a:lnTo>
                  <a:lnTo>
                    <a:pt x="480" y="137"/>
                  </a:lnTo>
                  <a:lnTo>
                    <a:pt x="479" y="137"/>
                  </a:lnTo>
                  <a:lnTo>
                    <a:pt x="478" y="137"/>
                  </a:lnTo>
                  <a:lnTo>
                    <a:pt x="476" y="135"/>
                  </a:lnTo>
                  <a:lnTo>
                    <a:pt x="475" y="135"/>
                  </a:lnTo>
                  <a:lnTo>
                    <a:pt x="475" y="137"/>
                  </a:lnTo>
                  <a:lnTo>
                    <a:pt x="475" y="137"/>
                  </a:lnTo>
                  <a:lnTo>
                    <a:pt x="473" y="139"/>
                  </a:lnTo>
                  <a:lnTo>
                    <a:pt x="473" y="141"/>
                  </a:lnTo>
                  <a:lnTo>
                    <a:pt x="473" y="141"/>
                  </a:lnTo>
                  <a:lnTo>
                    <a:pt x="472" y="141"/>
                  </a:lnTo>
                  <a:lnTo>
                    <a:pt x="470" y="141"/>
                  </a:lnTo>
                  <a:lnTo>
                    <a:pt x="468" y="141"/>
                  </a:lnTo>
                  <a:lnTo>
                    <a:pt x="466" y="141"/>
                  </a:lnTo>
                  <a:lnTo>
                    <a:pt x="465" y="141"/>
                  </a:lnTo>
                  <a:lnTo>
                    <a:pt x="463" y="142"/>
                  </a:lnTo>
                  <a:lnTo>
                    <a:pt x="462" y="142"/>
                  </a:lnTo>
                  <a:lnTo>
                    <a:pt x="460" y="142"/>
                  </a:lnTo>
                  <a:lnTo>
                    <a:pt x="460" y="144"/>
                  </a:lnTo>
                  <a:lnTo>
                    <a:pt x="459" y="145"/>
                  </a:lnTo>
                  <a:lnTo>
                    <a:pt x="458" y="147"/>
                  </a:lnTo>
                  <a:lnTo>
                    <a:pt x="456" y="149"/>
                  </a:lnTo>
                  <a:lnTo>
                    <a:pt x="455" y="152"/>
                  </a:lnTo>
                  <a:lnTo>
                    <a:pt x="456" y="152"/>
                  </a:lnTo>
                  <a:lnTo>
                    <a:pt x="456" y="154"/>
                  </a:lnTo>
                  <a:lnTo>
                    <a:pt x="455" y="155"/>
                  </a:lnTo>
                  <a:lnTo>
                    <a:pt x="453" y="157"/>
                  </a:lnTo>
                  <a:lnTo>
                    <a:pt x="452" y="157"/>
                  </a:lnTo>
                  <a:lnTo>
                    <a:pt x="450" y="158"/>
                  </a:lnTo>
                  <a:lnTo>
                    <a:pt x="449" y="159"/>
                  </a:lnTo>
                  <a:lnTo>
                    <a:pt x="446" y="162"/>
                  </a:lnTo>
                  <a:lnTo>
                    <a:pt x="445" y="162"/>
                  </a:lnTo>
                  <a:lnTo>
                    <a:pt x="443" y="162"/>
                  </a:lnTo>
                  <a:lnTo>
                    <a:pt x="439" y="164"/>
                  </a:lnTo>
                  <a:lnTo>
                    <a:pt x="439" y="164"/>
                  </a:lnTo>
                  <a:lnTo>
                    <a:pt x="435" y="164"/>
                  </a:lnTo>
                  <a:lnTo>
                    <a:pt x="432" y="162"/>
                  </a:lnTo>
                  <a:lnTo>
                    <a:pt x="430" y="162"/>
                  </a:lnTo>
                  <a:lnTo>
                    <a:pt x="429" y="164"/>
                  </a:lnTo>
                  <a:lnTo>
                    <a:pt x="428" y="164"/>
                  </a:lnTo>
                  <a:lnTo>
                    <a:pt x="428" y="165"/>
                  </a:lnTo>
                  <a:lnTo>
                    <a:pt x="428" y="167"/>
                  </a:lnTo>
                  <a:lnTo>
                    <a:pt x="426" y="168"/>
                  </a:lnTo>
                  <a:lnTo>
                    <a:pt x="425" y="169"/>
                  </a:lnTo>
                  <a:lnTo>
                    <a:pt x="422" y="171"/>
                  </a:lnTo>
                  <a:lnTo>
                    <a:pt x="420" y="172"/>
                  </a:lnTo>
                  <a:lnTo>
                    <a:pt x="420" y="174"/>
                  </a:lnTo>
                  <a:lnTo>
                    <a:pt x="419" y="174"/>
                  </a:lnTo>
                  <a:lnTo>
                    <a:pt x="418" y="174"/>
                  </a:lnTo>
                  <a:lnTo>
                    <a:pt x="416" y="177"/>
                  </a:lnTo>
                  <a:lnTo>
                    <a:pt x="415" y="178"/>
                  </a:lnTo>
                  <a:lnTo>
                    <a:pt x="413" y="178"/>
                  </a:lnTo>
                  <a:lnTo>
                    <a:pt x="412" y="178"/>
                  </a:lnTo>
                  <a:lnTo>
                    <a:pt x="410" y="177"/>
                  </a:lnTo>
                  <a:lnTo>
                    <a:pt x="409" y="177"/>
                  </a:lnTo>
                  <a:lnTo>
                    <a:pt x="408" y="177"/>
                  </a:lnTo>
                  <a:lnTo>
                    <a:pt x="405" y="177"/>
                  </a:lnTo>
                  <a:lnTo>
                    <a:pt x="399" y="175"/>
                  </a:lnTo>
                  <a:lnTo>
                    <a:pt x="398" y="174"/>
                  </a:lnTo>
                  <a:lnTo>
                    <a:pt x="396" y="172"/>
                  </a:lnTo>
                  <a:lnTo>
                    <a:pt x="395" y="171"/>
                  </a:lnTo>
                  <a:lnTo>
                    <a:pt x="392" y="171"/>
                  </a:lnTo>
                  <a:lnTo>
                    <a:pt x="389" y="171"/>
                  </a:lnTo>
                  <a:lnTo>
                    <a:pt x="388" y="171"/>
                  </a:lnTo>
                  <a:lnTo>
                    <a:pt x="386" y="171"/>
                  </a:lnTo>
                  <a:lnTo>
                    <a:pt x="383" y="172"/>
                  </a:lnTo>
                  <a:lnTo>
                    <a:pt x="383" y="174"/>
                  </a:lnTo>
                  <a:lnTo>
                    <a:pt x="382" y="177"/>
                  </a:lnTo>
                  <a:lnTo>
                    <a:pt x="381" y="179"/>
                  </a:lnTo>
                  <a:lnTo>
                    <a:pt x="381" y="182"/>
                  </a:lnTo>
                  <a:lnTo>
                    <a:pt x="379" y="184"/>
                  </a:lnTo>
                  <a:lnTo>
                    <a:pt x="378" y="185"/>
                  </a:lnTo>
                  <a:lnTo>
                    <a:pt x="378" y="187"/>
                  </a:lnTo>
                  <a:lnTo>
                    <a:pt x="379" y="187"/>
                  </a:lnTo>
                  <a:lnTo>
                    <a:pt x="379" y="188"/>
                  </a:lnTo>
                  <a:lnTo>
                    <a:pt x="381" y="191"/>
                  </a:lnTo>
                  <a:lnTo>
                    <a:pt x="382" y="192"/>
                  </a:lnTo>
                  <a:lnTo>
                    <a:pt x="383" y="194"/>
                  </a:lnTo>
                  <a:lnTo>
                    <a:pt x="385" y="197"/>
                  </a:lnTo>
                  <a:lnTo>
                    <a:pt x="386" y="197"/>
                  </a:lnTo>
                  <a:lnTo>
                    <a:pt x="386" y="198"/>
                  </a:lnTo>
                  <a:lnTo>
                    <a:pt x="386" y="199"/>
                  </a:lnTo>
                  <a:lnTo>
                    <a:pt x="386" y="201"/>
                  </a:lnTo>
                  <a:lnTo>
                    <a:pt x="386" y="201"/>
                  </a:lnTo>
                  <a:lnTo>
                    <a:pt x="385" y="202"/>
                  </a:lnTo>
                  <a:lnTo>
                    <a:pt x="383" y="202"/>
                  </a:lnTo>
                  <a:lnTo>
                    <a:pt x="382" y="204"/>
                  </a:lnTo>
                  <a:lnTo>
                    <a:pt x="381" y="205"/>
                  </a:lnTo>
                  <a:lnTo>
                    <a:pt x="381" y="205"/>
                  </a:lnTo>
                  <a:lnTo>
                    <a:pt x="379" y="207"/>
                  </a:lnTo>
                  <a:lnTo>
                    <a:pt x="375" y="208"/>
                  </a:lnTo>
                  <a:lnTo>
                    <a:pt x="373" y="208"/>
                  </a:lnTo>
                  <a:lnTo>
                    <a:pt x="372" y="209"/>
                  </a:lnTo>
                  <a:lnTo>
                    <a:pt x="371" y="211"/>
                  </a:lnTo>
                  <a:lnTo>
                    <a:pt x="369" y="212"/>
                  </a:lnTo>
                  <a:lnTo>
                    <a:pt x="368" y="214"/>
                  </a:lnTo>
                  <a:lnTo>
                    <a:pt x="368" y="215"/>
                  </a:lnTo>
                  <a:lnTo>
                    <a:pt x="366" y="217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2" y="221"/>
                  </a:lnTo>
                  <a:lnTo>
                    <a:pt x="362" y="221"/>
                  </a:lnTo>
                  <a:lnTo>
                    <a:pt x="361" y="222"/>
                  </a:lnTo>
                  <a:lnTo>
                    <a:pt x="359" y="222"/>
                  </a:lnTo>
                  <a:lnTo>
                    <a:pt x="356" y="224"/>
                  </a:lnTo>
                  <a:lnTo>
                    <a:pt x="353" y="225"/>
                  </a:lnTo>
                  <a:lnTo>
                    <a:pt x="351" y="226"/>
                  </a:lnTo>
                  <a:lnTo>
                    <a:pt x="349" y="226"/>
                  </a:lnTo>
                  <a:lnTo>
                    <a:pt x="346" y="228"/>
                  </a:lnTo>
                  <a:lnTo>
                    <a:pt x="345" y="228"/>
                  </a:lnTo>
                  <a:lnTo>
                    <a:pt x="342" y="228"/>
                  </a:lnTo>
                  <a:lnTo>
                    <a:pt x="338" y="229"/>
                  </a:lnTo>
                  <a:lnTo>
                    <a:pt x="335" y="229"/>
                  </a:lnTo>
                  <a:lnTo>
                    <a:pt x="332" y="229"/>
                  </a:lnTo>
                  <a:lnTo>
                    <a:pt x="329" y="228"/>
                  </a:lnTo>
                  <a:lnTo>
                    <a:pt x="326" y="228"/>
                  </a:lnTo>
                  <a:lnTo>
                    <a:pt x="325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2" y="231"/>
                  </a:lnTo>
                  <a:lnTo>
                    <a:pt x="309" y="231"/>
                  </a:lnTo>
                  <a:lnTo>
                    <a:pt x="306" y="231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1" y="234"/>
                  </a:lnTo>
                  <a:lnTo>
                    <a:pt x="301" y="234"/>
                  </a:lnTo>
                  <a:lnTo>
                    <a:pt x="296" y="235"/>
                  </a:lnTo>
                  <a:lnTo>
                    <a:pt x="289" y="238"/>
                  </a:lnTo>
                  <a:lnTo>
                    <a:pt x="285" y="241"/>
                  </a:lnTo>
                  <a:lnTo>
                    <a:pt x="284" y="241"/>
                  </a:lnTo>
                  <a:lnTo>
                    <a:pt x="281" y="244"/>
                  </a:lnTo>
                  <a:lnTo>
                    <a:pt x="279" y="244"/>
                  </a:lnTo>
                  <a:lnTo>
                    <a:pt x="278" y="245"/>
                  </a:lnTo>
                  <a:lnTo>
                    <a:pt x="276" y="246"/>
                  </a:lnTo>
                  <a:lnTo>
                    <a:pt x="275" y="246"/>
                  </a:lnTo>
                  <a:lnTo>
                    <a:pt x="274" y="245"/>
                  </a:lnTo>
                  <a:lnTo>
                    <a:pt x="272" y="245"/>
                  </a:lnTo>
                  <a:lnTo>
                    <a:pt x="268" y="245"/>
                  </a:lnTo>
                  <a:lnTo>
                    <a:pt x="268" y="241"/>
                  </a:lnTo>
                  <a:lnTo>
                    <a:pt x="265" y="241"/>
                  </a:lnTo>
                  <a:lnTo>
                    <a:pt x="259" y="242"/>
                  </a:lnTo>
                  <a:lnTo>
                    <a:pt x="255" y="244"/>
                  </a:lnTo>
                  <a:lnTo>
                    <a:pt x="251" y="241"/>
                  </a:lnTo>
                  <a:lnTo>
                    <a:pt x="248" y="239"/>
                  </a:lnTo>
                  <a:lnTo>
                    <a:pt x="245" y="238"/>
                  </a:lnTo>
                  <a:lnTo>
                    <a:pt x="241" y="236"/>
                  </a:lnTo>
                  <a:lnTo>
                    <a:pt x="236" y="236"/>
                  </a:lnTo>
                  <a:lnTo>
                    <a:pt x="231" y="235"/>
                  </a:lnTo>
                  <a:lnTo>
                    <a:pt x="228" y="234"/>
                  </a:lnTo>
                  <a:lnTo>
                    <a:pt x="225" y="232"/>
                  </a:lnTo>
                  <a:lnTo>
                    <a:pt x="224" y="228"/>
                  </a:lnTo>
                  <a:lnTo>
                    <a:pt x="222" y="228"/>
                  </a:lnTo>
                  <a:lnTo>
                    <a:pt x="221" y="226"/>
                  </a:lnTo>
                  <a:lnTo>
                    <a:pt x="219" y="226"/>
                  </a:lnTo>
                  <a:lnTo>
                    <a:pt x="217" y="226"/>
                  </a:lnTo>
                  <a:lnTo>
                    <a:pt x="214" y="226"/>
                  </a:lnTo>
                  <a:lnTo>
                    <a:pt x="208" y="225"/>
                  </a:lnTo>
                  <a:lnTo>
                    <a:pt x="204" y="225"/>
                  </a:lnTo>
                  <a:lnTo>
                    <a:pt x="197" y="224"/>
                  </a:lnTo>
                  <a:lnTo>
                    <a:pt x="195" y="224"/>
                  </a:lnTo>
                  <a:lnTo>
                    <a:pt x="192" y="225"/>
                  </a:lnTo>
                  <a:lnTo>
                    <a:pt x="187" y="225"/>
                  </a:lnTo>
                  <a:lnTo>
                    <a:pt x="179" y="225"/>
                  </a:lnTo>
                  <a:lnTo>
                    <a:pt x="175" y="224"/>
                  </a:lnTo>
                  <a:lnTo>
                    <a:pt x="168" y="224"/>
                  </a:lnTo>
                  <a:lnTo>
                    <a:pt x="159" y="222"/>
                  </a:lnTo>
                  <a:lnTo>
                    <a:pt x="151" y="221"/>
                  </a:lnTo>
                  <a:lnTo>
                    <a:pt x="145" y="222"/>
                  </a:lnTo>
                  <a:lnTo>
                    <a:pt x="142" y="222"/>
                  </a:lnTo>
                  <a:lnTo>
                    <a:pt x="138" y="222"/>
                  </a:lnTo>
                  <a:lnTo>
                    <a:pt x="137" y="222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34" y="217"/>
                  </a:lnTo>
                  <a:lnTo>
                    <a:pt x="132" y="214"/>
                  </a:lnTo>
                  <a:lnTo>
                    <a:pt x="131" y="212"/>
                  </a:lnTo>
                  <a:lnTo>
                    <a:pt x="129" y="211"/>
                  </a:lnTo>
                  <a:lnTo>
                    <a:pt x="129" y="208"/>
                  </a:lnTo>
                  <a:lnTo>
                    <a:pt x="127" y="202"/>
                  </a:lnTo>
                  <a:lnTo>
                    <a:pt x="125" y="198"/>
                  </a:lnTo>
                  <a:lnTo>
                    <a:pt x="125" y="197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1" y="194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21" y="189"/>
                  </a:lnTo>
                  <a:lnTo>
                    <a:pt x="121" y="188"/>
                  </a:lnTo>
                  <a:lnTo>
                    <a:pt x="121" y="188"/>
                  </a:lnTo>
                  <a:lnTo>
                    <a:pt x="117" y="188"/>
                  </a:lnTo>
                  <a:lnTo>
                    <a:pt x="114" y="188"/>
                  </a:lnTo>
                  <a:lnTo>
                    <a:pt x="111" y="187"/>
                  </a:lnTo>
                  <a:lnTo>
                    <a:pt x="108" y="184"/>
                  </a:lnTo>
                  <a:lnTo>
                    <a:pt x="105" y="182"/>
                  </a:lnTo>
                  <a:lnTo>
                    <a:pt x="102" y="179"/>
                  </a:lnTo>
                  <a:lnTo>
                    <a:pt x="100" y="179"/>
                  </a:lnTo>
                  <a:lnTo>
                    <a:pt x="98" y="178"/>
                  </a:lnTo>
                  <a:lnTo>
                    <a:pt x="95" y="175"/>
                  </a:lnTo>
                  <a:lnTo>
                    <a:pt x="94" y="174"/>
                  </a:lnTo>
                  <a:lnTo>
                    <a:pt x="92" y="174"/>
                  </a:lnTo>
                  <a:lnTo>
                    <a:pt x="88" y="172"/>
                  </a:lnTo>
                  <a:lnTo>
                    <a:pt x="82" y="171"/>
                  </a:lnTo>
                  <a:lnTo>
                    <a:pt x="80" y="171"/>
                  </a:lnTo>
                  <a:lnTo>
                    <a:pt x="77" y="172"/>
                  </a:lnTo>
                  <a:lnTo>
                    <a:pt x="74" y="172"/>
                  </a:lnTo>
                  <a:lnTo>
                    <a:pt x="71" y="171"/>
                  </a:lnTo>
                  <a:lnTo>
                    <a:pt x="68" y="171"/>
                  </a:lnTo>
                  <a:lnTo>
                    <a:pt x="65" y="171"/>
                  </a:lnTo>
                  <a:lnTo>
                    <a:pt x="64" y="171"/>
                  </a:lnTo>
                  <a:lnTo>
                    <a:pt x="61" y="171"/>
                  </a:lnTo>
                  <a:lnTo>
                    <a:pt x="60" y="169"/>
                  </a:lnTo>
                  <a:lnTo>
                    <a:pt x="58" y="169"/>
                  </a:lnTo>
                  <a:lnTo>
                    <a:pt x="57" y="169"/>
                  </a:lnTo>
                  <a:lnTo>
                    <a:pt x="55" y="169"/>
                  </a:lnTo>
                  <a:lnTo>
                    <a:pt x="54" y="168"/>
                  </a:lnTo>
                  <a:lnTo>
                    <a:pt x="52" y="167"/>
                  </a:lnTo>
                  <a:lnTo>
                    <a:pt x="51" y="167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7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7" y="161"/>
                  </a:lnTo>
                  <a:lnTo>
                    <a:pt x="47" y="159"/>
                  </a:lnTo>
                  <a:lnTo>
                    <a:pt x="47" y="158"/>
                  </a:lnTo>
                  <a:lnTo>
                    <a:pt x="47" y="155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1"/>
                  </a:lnTo>
                  <a:lnTo>
                    <a:pt x="51" y="149"/>
                  </a:lnTo>
                  <a:lnTo>
                    <a:pt x="51" y="148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1" y="141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1" y="132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48" y="127"/>
                  </a:lnTo>
                  <a:lnTo>
                    <a:pt x="47" y="127"/>
                  </a:lnTo>
                  <a:lnTo>
                    <a:pt x="45" y="124"/>
                  </a:lnTo>
                  <a:lnTo>
                    <a:pt x="44" y="121"/>
                  </a:lnTo>
                  <a:lnTo>
                    <a:pt x="44" y="119"/>
                  </a:lnTo>
                  <a:lnTo>
                    <a:pt x="42" y="118"/>
                  </a:lnTo>
                  <a:lnTo>
                    <a:pt x="42" y="117"/>
                  </a:lnTo>
                  <a:lnTo>
                    <a:pt x="42" y="114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1"/>
                  </a:lnTo>
                  <a:lnTo>
                    <a:pt x="41" y="109"/>
                  </a:lnTo>
                  <a:lnTo>
                    <a:pt x="38" y="109"/>
                  </a:lnTo>
                  <a:lnTo>
                    <a:pt x="37" y="108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4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0" y="105"/>
                  </a:lnTo>
                  <a:lnTo>
                    <a:pt x="28" y="102"/>
                  </a:lnTo>
                  <a:lnTo>
                    <a:pt x="27" y="102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0" y="102"/>
                  </a:lnTo>
                  <a:lnTo>
                    <a:pt x="20" y="101"/>
                  </a:lnTo>
                  <a:lnTo>
                    <a:pt x="18" y="101"/>
                  </a:lnTo>
                  <a:lnTo>
                    <a:pt x="17" y="99"/>
                  </a:lnTo>
                  <a:lnTo>
                    <a:pt x="14" y="98"/>
                  </a:lnTo>
                  <a:lnTo>
                    <a:pt x="13" y="97"/>
                  </a:lnTo>
                  <a:lnTo>
                    <a:pt x="13" y="95"/>
                  </a:lnTo>
                  <a:lnTo>
                    <a:pt x="11" y="94"/>
                  </a:lnTo>
                  <a:lnTo>
                    <a:pt x="10" y="92"/>
                  </a:lnTo>
                  <a:lnTo>
                    <a:pt x="8" y="91"/>
                  </a:lnTo>
                  <a:lnTo>
                    <a:pt x="5" y="89"/>
                  </a:lnTo>
                  <a:lnTo>
                    <a:pt x="4" y="89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3" y="84"/>
                  </a:lnTo>
                  <a:lnTo>
                    <a:pt x="1" y="84"/>
                  </a:lnTo>
                  <a:lnTo>
                    <a:pt x="1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1" y="75"/>
                  </a:lnTo>
                  <a:lnTo>
                    <a:pt x="1" y="74"/>
                  </a:lnTo>
                  <a:lnTo>
                    <a:pt x="1" y="74"/>
                  </a:lnTo>
                  <a:lnTo>
                    <a:pt x="3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5" y="72"/>
                  </a:lnTo>
                  <a:lnTo>
                    <a:pt x="5" y="71"/>
                  </a:lnTo>
                  <a:lnTo>
                    <a:pt x="5" y="69"/>
                  </a:lnTo>
                  <a:lnTo>
                    <a:pt x="7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1" y="67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3" y="65"/>
                  </a:lnTo>
                  <a:lnTo>
                    <a:pt x="23" y="64"/>
                  </a:lnTo>
                  <a:lnTo>
                    <a:pt x="24" y="62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7" y="62"/>
                  </a:lnTo>
                  <a:lnTo>
                    <a:pt x="28" y="61"/>
                  </a:lnTo>
                  <a:lnTo>
                    <a:pt x="30" y="61"/>
                  </a:lnTo>
                  <a:lnTo>
                    <a:pt x="30" y="59"/>
                  </a:lnTo>
                  <a:lnTo>
                    <a:pt x="30" y="58"/>
                  </a:lnTo>
                  <a:lnTo>
                    <a:pt x="30" y="57"/>
                  </a:lnTo>
                  <a:lnTo>
                    <a:pt x="31" y="55"/>
                  </a:lnTo>
                  <a:lnTo>
                    <a:pt x="34" y="55"/>
                  </a:lnTo>
                  <a:lnTo>
                    <a:pt x="35" y="54"/>
                  </a:lnTo>
                  <a:lnTo>
                    <a:pt x="35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4" y="48"/>
                  </a:lnTo>
                  <a:lnTo>
                    <a:pt x="45" y="48"/>
                  </a:lnTo>
                  <a:lnTo>
                    <a:pt x="47" y="47"/>
                  </a:lnTo>
                  <a:lnTo>
                    <a:pt x="48" y="47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5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8" y="42"/>
                  </a:lnTo>
                  <a:lnTo>
                    <a:pt x="58" y="41"/>
                  </a:lnTo>
                  <a:lnTo>
                    <a:pt x="60" y="39"/>
                  </a:lnTo>
                  <a:lnTo>
                    <a:pt x="61" y="39"/>
                  </a:lnTo>
                  <a:lnTo>
                    <a:pt x="61" y="38"/>
                  </a:lnTo>
                  <a:lnTo>
                    <a:pt x="62" y="37"/>
                  </a:lnTo>
                  <a:lnTo>
                    <a:pt x="64" y="37"/>
                  </a:lnTo>
                  <a:lnTo>
                    <a:pt x="67" y="37"/>
                  </a:lnTo>
                  <a:lnTo>
                    <a:pt x="70" y="37"/>
                  </a:lnTo>
                  <a:lnTo>
                    <a:pt x="71" y="37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2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5" y="34"/>
                  </a:lnTo>
                  <a:lnTo>
                    <a:pt x="77" y="35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80" y="35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4" y="37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8" y="38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7" y="39"/>
                  </a:lnTo>
                  <a:lnTo>
                    <a:pt x="100" y="39"/>
                  </a:lnTo>
                  <a:lnTo>
                    <a:pt x="101" y="39"/>
                  </a:lnTo>
                  <a:lnTo>
                    <a:pt x="104" y="39"/>
                  </a:lnTo>
                  <a:lnTo>
                    <a:pt x="104" y="41"/>
                  </a:lnTo>
                  <a:lnTo>
                    <a:pt x="105" y="44"/>
                  </a:lnTo>
                  <a:lnTo>
                    <a:pt x="105" y="47"/>
                  </a:lnTo>
                  <a:lnTo>
                    <a:pt x="105" y="48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10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5" y="54"/>
                  </a:lnTo>
                  <a:lnTo>
                    <a:pt x="117" y="55"/>
                  </a:lnTo>
                  <a:lnTo>
                    <a:pt x="118" y="55"/>
                  </a:lnTo>
                  <a:lnTo>
                    <a:pt x="118" y="55"/>
                  </a:lnTo>
                  <a:lnTo>
                    <a:pt x="121" y="55"/>
                  </a:lnTo>
                  <a:lnTo>
                    <a:pt x="122" y="55"/>
                  </a:lnTo>
                  <a:lnTo>
                    <a:pt x="122" y="55"/>
                  </a:lnTo>
                  <a:lnTo>
                    <a:pt x="124" y="55"/>
                  </a:lnTo>
                  <a:lnTo>
                    <a:pt x="125" y="55"/>
                  </a:lnTo>
                  <a:lnTo>
                    <a:pt x="127" y="54"/>
                  </a:lnTo>
                  <a:lnTo>
                    <a:pt x="128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31" y="55"/>
                  </a:lnTo>
                  <a:lnTo>
                    <a:pt x="131" y="54"/>
                  </a:lnTo>
                  <a:lnTo>
                    <a:pt x="132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5" y="55"/>
                  </a:lnTo>
                  <a:lnTo>
                    <a:pt x="137" y="57"/>
                  </a:lnTo>
                  <a:lnTo>
                    <a:pt x="138" y="57"/>
                  </a:lnTo>
                  <a:lnTo>
                    <a:pt x="139" y="55"/>
                  </a:lnTo>
                  <a:lnTo>
                    <a:pt x="139" y="55"/>
                  </a:lnTo>
                  <a:lnTo>
                    <a:pt x="141" y="57"/>
                  </a:lnTo>
                  <a:lnTo>
                    <a:pt x="141" y="57"/>
                  </a:lnTo>
                  <a:lnTo>
                    <a:pt x="142" y="57"/>
                  </a:lnTo>
                  <a:lnTo>
                    <a:pt x="142" y="55"/>
                  </a:lnTo>
                  <a:lnTo>
                    <a:pt x="148" y="57"/>
                  </a:lnTo>
                  <a:lnTo>
                    <a:pt x="148" y="58"/>
                  </a:lnTo>
                  <a:lnTo>
                    <a:pt x="149" y="58"/>
                  </a:lnTo>
                  <a:lnTo>
                    <a:pt x="149" y="59"/>
                  </a:lnTo>
                  <a:lnTo>
                    <a:pt x="151" y="61"/>
                  </a:lnTo>
                  <a:lnTo>
                    <a:pt x="154" y="59"/>
                  </a:lnTo>
                  <a:lnTo>
                    <a:pt x="154" y="59"/>
                  </a:lnTo>
                  <a:lnTo>
                    <a:pt x="157" y="58"/>
                  </a:lnTo>
                  <a:lnTo>
                    <a:pt x="157" y="55"/>
                  </a:lnTo>
                  <a:lnTo>
                    <a:pt x="158" y="55"/>
                  </a:lnTo>
                  <a:lnTo>
                    <a:pt x="159" y="55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2" y="54"/>
                  </a:lnTo>
                  <a:lnTo>
                    <a:pt x="164" y="54"/>
                  </a:lnTo>
                  <a:lnTo>
                    <a:pt x="165" y="52"/>
                  </a:lnTo>
                  <a:lnTo>
                    <a:pt x="165" y="51"/>
                  </a:lnTo>
                  <a:lnTo>
                    <a:pt x="167" y="49"/>
                  </a:lnTo>
                  <a:lnTo>
                    <a:pt x="167" y="48"/>
                  </a:lnTo>
                  <a:lnTo>
                    <a:pt x="168" y="47"/>
                  </a:lnTo>
                  <a:lnTo>
                    <a:pt x="168" y="42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67" y="39"/>
                  </a:lnTo>
                  <a:lnTo>
                    <a:pt x="167" y="39"/>
                  </a:lnTo>
                  <a:lnTo>
                    <a:pt x="165" y="38"/>
                  </a:lnTo>
                  <a:lnTo>
                    <a:pt x="164" y="38"/>
                  </a:lnTo>
                  <a:lnTo>
                    <a:pt x="164" y="37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2" y="32"/>
                  </a:lnTo>
                  <a:lnTo>
                    <a:pt x="162" y="31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1" y="27"/>
                  </a:lnTo>
                  <a:lnTo>
                    <a:pt x="162" y="24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1"/>
                  </a:lnTo>
                  <a:lnTo>
                    <a:pt x="162" y="19"/>
                  </a:lnTo>
                  <a:lnTo>
                    <a:pt x="164" y="19"/>
                  </a:lnTo>
                  <a:lnTo>
                    <a:pt x="164" y="17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5"/>
                  </a:lnTo>
                  <a:lnTo>
                    <a:pt x="168" y="14"/>
                  </a:lnTo>
                  <a:lnTo>
                    <a:pt x="168" y="12"/>
                  </a:lnTo>
                  <a:lnTo>
                    <a:pt x="168" y="11"/>
                  </a:lnTo>
                  <a:lnTo>
                    <a:pt x="169" y="9"/>
                  </a:lnTo>
                  <a:lnTo>
                    <a:pt x="174" y="8"/>
                  </a:lnTo>
                  <a:lnTo>
                    <a:pt x="175" y="5"/>
                  </a:lnTo>
                  <a:lnTo>
                    <a:pt x="177" y="4"/>
                  </a:lnTo>
                  <a:lnTo>
                    <a:pt x="177" y="1"/>
                  </a:lnTo>
                  <a:lnTo>
                    <a:pt x="178" y="0"/>
                  </a:lnTo>
                  <a:lnTo>
                    <a:pt x="179" y="0"/>
                  </a:lnTo>
                  <a:lnTo>
                    <a:pt x="181" y="2"/>
                  </a:lnTo>
                  <a:lnTo>
                    <a:pt x="181" y="2"/>
                  </a:lnTo>
                  <a:lnTo>
                    <a:pt x="182" y="2"/>
                  </a:lnTo>
                  <a:lnTo>
                    <a:pt x="187" y="5"/>
                  </a:lnTo>
                  <a:lnTo>
                    <a:pt x="188" y="5"/>
                  </a:lnTo>
                  <a:lnTo>
                    <a:pt x="189" y="5"/>
                  </a:lnTo>
                  <a:lnTo>
                    <a:pt x="191" y="7"/>
                  </a:lnTo>
                  <a:lnTo>
                    <a:pt x="192" y="7"/>
                  </a:lnTo>
                  <a:lnTo>
                    <a:pt x="194" y="9"/>
                  </a:lnTo>
                  <a:lnTo>
                    <a:pt x="197" y="9"/>
                  </a:lnTo>
                  <a:lnTo>
                    <a:pt x="199" y="9"/>
                  </a:lnTo>
                  <a:lnTo>
                    <a:pt x="204" y="9"/>
                  </a:lnTo>
                  <a:lnTo>
                    <a:pt x="204" y="11"/>
                  </a:lnTo>
                  <a:lnTo>
                    <a:pt x="207" y="11"/>
                  </a:lnTo>
                  <a:lnTo>
                    <a:pt x="211" y="12"/>
                  </a:lnTo>
                  <a:lnTo>
                    <a:pt x="214" y="14"/>
                  </a:lnTo>
                  <a:lnTo>
                    <a:pt x="215" y="15"/>
                  </a:lnTo>
                  <a:lnTo>
                    <a:pt x="217" y="17"/>
                  </a:lnTo>
                  <a:lnTo>
                    <a:pt x="218" y="17"/>
                  </a:lnTo>
                  <a:lnTo>
                    <a:pt x="219" y="17"/>
                  </a:lnTo>
                  <a:lnTo>
                    <a:pt x="221" y="17"/>
                  </a:lnTo>
                  <a:lnTo>
                    <a:pt x="225" y="18"/>
                  </a:lnTo>
                  <a:lnTo>
                    <a:pt x="228" y="18"/>
                  </a:lnTo>
                  <a:lnTo>
                    <a:pt x="229" y="19"/>
                  </a:lnTo>
                  <a:lnTo>
                    <a:pt x="231" y="21"/>
                  </a:lnTo>
                  <a:lnTo>
                    <a:pt x="231" y="22"/>
                  </a:lnTo>
                  <a:lnTo>
                    <a:pt x="229" y="22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31"/>
                  </a:lnTo>
                  <a:lnTo>
                    <a:pt x="231" y="32"/>
                  </a:lnTo>
                  <a:lnTo>
                    <a:pt x="231" y="34"/>
                  </a:lnTo>
                  <a:lnTo>
                    <a:pt x="232" y="34"/>
                  </a:lnTo>
                  <a:lnTo>
                    <a:pt x="232" y="35"/>
                  </a:lnTo>
                  <a:lnTo>
                    <a:pt x="232" y="37"/>
                  </a:lnTo>
                  <a:lnTo>
                    <a:pt x="232" y="38"/>
                  </a:lnTo>
                  <a:lnTo>
                    <a:pt x="232" y="39"/>
                  </a:lnTo>
                  <a:lnTo>
                    <a:pt x="234" y="39"/>
                  </a:lnTo>
                  <a:lnTo>
                    <a:pt x="234" y="41"/>
                  </a:lnTo>
                  <a:lnTo>
                    <a:pt x="235" y="41"/>
                  </a:lnTo>
                  <a:lnTo>
                    <a:pt x="236" y="42"/>
                  </a:lnTo>
                  <a:lnTo>
                    <a:pt x="239" y="44"/>
                  </a:lnTo>
                  <a:lnTo>
                    <a:pt x="239" y="44"/>
                  </a:lnTo>
                  <a:lnTo>
                    <a:pt x="241" y="45"/>
                  </a:lnTo>
                  <a:lnTo>
                    <a:pt x="245" y="47"/>
                  </a:lnTo>
                  <a:lnTo>
                    <a:pt x="246" y="47"/>
                  </a:lnTo>
                  <a:lnTo>
                    <a:pt x="248" y="47"/>
                  </a:lnTo>
                  <a:lnTo>
                    <a:pt x="248" y="48"/>
                  </a:lnTo>
                  <a:lnTo>
                    <a:pt x="251" y="49"/>
                  </a:lnTo>
                  <a:lnTo>
                    <a:pt x="252" y="49"/>
                  </a:lnTo>
                  <a:lnTo>
                    <a:pt x="254" y="49"/>
                  </a:lnTo>
                  <a:lnTo>
                    <a:pt x="255" y="49"/>
                  </a:lnTo>
                  <a:lnTo>
                    <a:pt x="256" y="49"/>
                  </a:lnTo>
                  <a:lnTo>
                    <a:pt x="258" y="49"/>
                  </a:lnTo>
                  <a:lnTo>
                    <a:pt x="259" y="49"/>
                  </a:lnTo>
                  <a:lnTo>
                    <a:pt x="261" y="49"/>
                  </a:lnTo>
                  <a:lnTo>
                    <a:pt x="262" y="49"/>
                  </a:lnTo>
                  <a:lnTo>
                    <a:pt x="264" y="48"/>
                  </a:lnTo>
                  <a:lnTo>
                    <a:pt x="265" y="47"/>
                  </a:lnTo>
                  <a:lnTo>
                    <a:pt x="268" y="47"/>
                  </a:lnTo>
                  <a:lnTo>
                    <a:pt x="269" y="45"/>
                  </a:lnTo>
                  <a:lnTo>
                    <a:pt x="271" y="45"/>
                  </a:lnTo>
                  <a:lnTo>
                    <a:pt x="275" y="44"/>
                  </a:lnTo>
                  <a:lnTo>
                    <a:pt x="278" y="44"/>
                  </a:lnTo>
                  <a:lnTo>
                    <a:pt x="279" y="42"/>
                  </a:lnTo>
                  <a:lnTo>
                    <a:pt x="281" y="42"/>
                  </a:lnTo>
                  <a:lnTo>
                    <a:pt x="282" y="42"/>
                  </a:lnTo>
                  <a:lnTo>
                    <a:pt x="285" y="42"/>
                  </a:lnTo>
                  <a:lnTo>
                    <a:pt x="286" y="44"/>
                  </a:lnTo>
                  <a:lnTo>
                    <a:pt x="289" y="44"/>
                  </a:lnTo>
                  <a:lnTo>
                    <a:pt x="292" y="44"/>
                  </a:lnTo>
                  <a:lnTo>
                    <a:pt x="294" y="45"/>
                  </a:lnTo>
                  <a:lnTo>
                    <a:pt x="295" y="47"/>
                  </a:lnTo>
                  <a:lnTo>
                    <a:pt x="298" y="45"/>
                  </a:lnTo>
                  <a:lnTo>
                    <a:pt x="301" y="45"/>
                  </a:lnTo>
                  <a:lnTo>
                    <a:pt x="304" y="45"/>
                  </a:lnTo>
                  <a:lnTo>
                    <a:pt x="305" y="48"/>
                  </a:lnTo>
                  <a:lnTo>
                    <a:pt x="306" y="48"/>
                  </a:lnTo>
                  <a:lnTo>
                    <a:pt x="308" y="51"/>
                  </a:lnTo>
                  <a:lnTo>
                    <a:pt x="311" y="52"/>
                  </a:lnTo>
                  <a:lnTo>
                    <a:pt x="312" y="54"/>
                  </a:lnTo>
                  <a:lnTo>
                    <a:pt x="313" y="54"/>
                  </a:lnTo>
                  <a:lnTo>
                    <a:pt x="318" y="54"/>
                  </a:lnTo>
                  <a:lnTo>
                    <a:pt x="321" y="55"/>
                  </a:lnTo>
                  <a:lnTo>
                    <a:pt x="322" y="55"/>
                  </a:lnTo>
                  <a:lnTo>
                    <a:pt x="323" y="55"/>
                  </a:lnTo>
                  <a:lnTo>
                    <a:pt x="322" y="58"/>
                  </a:lnTo>
                  <a:lnTo>
                    <a:pt x="322" y="59"/>
                  </a:lnTo>
                  <a:lnTo>
                    <a:pt x="322" y="61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5" y="64"/>
                  </a:lnTo>
                  <a:lnTo>
                    <a:pt x="325" y="64"/>
                  </a:lnTo>
                  <a:lnTo>
                    <a:pt x="328" y="65"/>
                  </a:lnTo>
                  <a:lnTo>
                    <a:pt x="331" y="68"/>
                  </a:lnTo>
                  <a:lnTo>
                    <a:pt x="332" y="69"/>
                  </a:lnTo>
                  <a:lnTo>
                    <a:pt x="333" y="71"/>
                  </a:lnTo>
                  <a:lnTo>
                    <a:pt x="335" y="69"/>
                  </a:lnTo>
                  <a:lnTo>
                    <a:pt x="339" y="69"/>
                  </a:lnTo>
                  <a:lnTo>
                    <a:pt x="343" y="69"/>
                  </a:lnTo>
                  <a:lnTo>
                    <a:pt x="348" y="71"/>
                  </a:lnTo>
                  <a:lnTo>
                    <a:pt x="348" y="72"/>
                  </a:lnTo>
                  <a:lnTo>
                    <a:pt x="352" y="72"/>
                  </a:lnTo>
                  <a:lnTo>
                    <a:pt x="356" y="74"/>
                  </a:lnTo>
                  <a:lnTo>
                    <a:pt x="359" y="74"/>
                  </a:lnTo>
                  <a:lnTo>
                    <a:pt x="361" y="72"/>
                  </a:lnTo>
                  <a:lnTo>
                    <a:pt x="362" y="72"/>
                  </a:lnTo>
                  <a:lnTo>
                    <a:pt x="365" y="74"/>
                  </a:lnTo>
                  <a:lnTo>
                    <a:pt x="366" y="75"/>
                  </a:lnTo>
                  <a:lnTo>
                    <a:pt x="368" y="75"/>
                  </a:lnTo>
                  <a:lnTo>
                    <a:pt x="369" y="74"/>
                  </a:lnTo>
                  <a:lnTo>
                    <a:pt x="375" y="71"/>
                  </a:lnTo>
                  <a:lnTo>
                    <a:pt x="378" y="69"/>
                  </a:lnTo>
                  <a:lnTo>
                    <a:pt x="379" y="69"/>
                  </a:lnTo>
                  <a:lnTo>
                    <a:pt x="381" y="69"/>
                  </a:lnTo>
                  <a:lnTo>
                    <a:pt x="381" y="69"/>
                  </a:lnTo>
                  <a:lnTo>
                    <a:pt x="383" y="68"/>
                  </a:lnTo>
                  <a:lnTo>
                    <a:pt x="385" y="68"/>
                  </a:lnTo>
                  <a:lnTo>
                    <a:pt x="386" y="68"/>
                  </a:lnTo>
                  <a:lnTo>
                    <a:pt x="389" y="68"/>
                  </a:lnTo>
                  <a:lnTo>
                    <a:pt x="393" y="65"/>
                  </a:lnTo>
                  <a:lnTo>
                    <a:pt x="396" y="65"/>
                  </a:lnTo>
                  <a:lnTo>
                    <a:pt x="399" y="65"/>
                  </a:lnTo>
                  <a:lnTo>
                    <a:pt x="401" y="65"/>
                  </a:lnTo>
                  <a:lnTo>
                    <a:pt x="402" y="64"/>
                  </a:lnTo>
                  <a:lnTo>
                    <a:pt x="405" y="64"/>
                  </a:lnTo>
                  <a:lnTo>
                    <a:pt x="405" y="61"/>
                  </a:lnTo>
                  <a:lnTo>
                    <a:pt x="406" y="58"/>
                  </a:lnTo>
                  <a:lnTo>
                    <a:pt x="409" y="57"/>
                  </a:lnTo>
                  <a:lnTo>
                    <a:pt x="410" y="55"/>
                  </a:lnTo>
                  <a:lnTo>
                    <a:pt x="413" y="54"/>
                  </a:lnTo>
                  <a:lnTo>
                    <a:pt x="416" y="52"/>
                  </a:lnTo>
                  <a:lnTo>
                    <a:pt x="418" y="51"/>
                  </a:lnTo>
                  <a:lnTo>
                    <a:pt x="420" y="48"/>
                  </a:lnTo>
                  <a:lnTo>
                    <a:pt x="423" y="47"/>
                  </a:lnTo>
                  <a:lnTo>
                    <a:pt x="425" y="47"/>
                  </a:lnTo>
                  <a:lnTo>
                    <a:pt x="426" y="47"/>
                  </a:lnTo>
                  <a:lnTo>
                    <a:pt x="429" y="48"/>
                  </a:lnTo>
                  <a:lnTo>
                    <a:pt x="430" y="48"/>
                  </a:lnTo>
                  <a:lnTo>
                    <a:pt x="432" y="48"/>
                  </a:lnTo>
                  <a:lnTo>
                    <a:pt x="433" y="49"/>
                  </a:lnTo>
                  <a:lnTo>
                    <a:pt x="436" y="49"/>
                  </a:lnTo>
                  <a:lnTo>
                    <a:pt x="438" y="52"/>
                  </a:lnTo>
                  <a:lnTo>
                    <a:pt x="440" y="55"/>
                  </a:lnTo>
                  <a:lnTo>
                    <a:pt x="442" y="55"/>
                  </a:lnTo>
                  <a:lnTo>
                    <a:pt x="443" y="57"/>
                  </a:lnTo>
                  <a:lnTo>
                    <a:pt x="445" y="57"/>
                  </a:lnTo>
                  <a:lnTo>
                    <a:pt x="448" y="57"/>
                  </a:lnTo>
                  <a:lnTo>
                    <a:pt x="449" y="57"/>
                  </a:lnTo>
                  <a:lnTo>
                    <a:pt x="450" y="55"/>
                  </a:lnTo>
                  <a:lnTo>
                    <a:pt x="455" y="54"/>
                  </a:lnTo>
                  <a:lnTo>
                    <a:pt x="455" y="54"/>
                  </a:lnTo>
                  <a:lnTo>
                    <a:pt x="458" y="54"/>
                  </a:lnTo>
                  <a:lnTo>
                    <a:pt x="460" y="55"/>
                  </a:lnTo>
                  <a:lnTo>
                    <a:pt x="462" y="57"/>
                  </a:lnTo>
                  <a:lnTo>
                    <a:pt x="463" y="5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0" name="Google Shape;270;p3"/>
            <p:cNvSpPr/>
            <p:nvPr/>
          </p:nvSpPr>
          <p:spPr>
            <a:xfrm>
              <a:off x="3759976" y="4089176"/>
              <a:ext cx="138156" cy="134346"/>
            </a:xfrm>
            <a:custGeom>
              <a:rect b="b" l="l" r="r" t="t"/>
              <a:pathLst>
                <a:path extrusionOk="0" h="214" w="197">
                  <a:moveTo>
                    <a:pt x="197" y="41"/>
                  </a:moveTo>
                  <a:lnTo>
                    <a:pt x="191" y="41"/>
                  </a:lnTo>
                  <a:lnTo>
                    <a:pt x="182" y="41"/>
                  </a:lnTo>
                  <a:lnTo>
                    <a:pt x="178" y="41"/>
                  </a:lnTo>
                  <a:lnTo>
                    <a:pt x="172" y="41"/>
                  </a:lnTo>
                  <a:lnTo>
                    <a:pt x="168" y="41"/>
                  </a:lnTo>
                  <a:lnTo>
                    <a:pt x="168" y="44"/>
                  </a:lnTo>
                  <a:lnTo>
                    <a:pt x="168" y="48"/>
                  </a:lnTo>
                  <a:lnTo>
                    <a:pt x="170" y="53"/>
                  </a:lnTo>
                  <a:lnTo>
                    <a:pt x="170" y="58"/>
                  </a:lnTo>
                  <a:lnTo>
                    <a:pt x="170" y="63"/>
                  </a:lnTo>
                  <a:lnTo>
                    <a:pt x="171" y="67"/>
                  </a:lnTo>
                  <a:lnTo>
                    <a:pt x="171" y="71"/>
                  </a:lnTo>
                  <a:lnTo>
                    <a:pt x="171" y="76"/>
                  </a:lnTo>
                  <a:lnTo>
                    <a:pt x="172" y="80"/>
                  </a:lnTo>
                  <a:lnTo>
                    <a:pt x="172" y="84"/>
                  </a:lnTo>
                  <a:lnTo>
                    <a:pt x="172" y="88"/>
                  </a:lnTo>
                  <a:lnTo>
                    <a:pt x="174" y="93"/>
                  </a:lnTo>
                  <a:lnTo>
                    <a:pt x="174" y="97"/>
                  </a:lnTo>
                  <a:lnTo>
                    <a:pt x="174" y="101"/>
                  </a:lnTo>
                  <a:lnTo>
                    <a:pt x="175" y="106"/>
                  </a:lnTo>
                  <a:lnTo>
                    <a:pt x="175" y="110"/>
                  </a:lnTo>
                  <a:lnTo>
                    <a:pt x="175" y="114"/>
                  </a:lnTo>
                  <a:lnTo>
                    <a:pt x="177" y="118"/>
                  </a:lnTo>
                  <a:lnTo>
                    <a:pt x="177" y="121"/>
                  </a:lnTo>
                  <a:lnTo>
                    <a:pt x="177" y="125"/>
                  </a:lnTo>
                  <a:lnTo>
                    <a:pt x="177" y="130"/>
                  </a:lnTo>
                  <a:lnTo>
                    <a:pt x="178" y="134"/>
                  </a:lnTo>
                  <a:lnTo>
                    <a:pt x="178" y="138"/>
                  </a:lnTo>
                  <a:lnTo>
                    <a:pt x="178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1" y="160"/>
                  </a:lnTo>
                  <a:lnTo>
                    <a:pt x="181" y="164"/>
                  </a:lnTo>
                  <a:lnTo>
                    <a:pt x="181" y="168"/>
                  </a:lnTo>
                  <a:lnTo>
                    <a:pt x="182" y="173"/>
                  </a:lnTo>
                  <a:lnTo>
                    <a:pt x="182" y="177"/>
                  </a:lnTo>
                  <a:lnTo>
                    <a:pt x="182" y="180"/>
                  </a:lnTo>
                  <a:lnTo>
                    <a:pt x="184" y="184"/>
                  </a:lnTo>
                  <a:lnTo>
                    <a:pt x="185" y="187"/>
                  </a:lnTo>
                  <a:lnTo>
                    <a:pt x="188" y="190"/>
                  </a:lnTo>
                  <a:lnTo>
                    <a:pt x="187" y="193"/>
                  </a:lnTo>
                  <a:lnTo>
                    <a:pt x="187" y="197"/>
                  </a:lnTo>
                  <a:lnTo>
                    <a:pt x="185" y="203"/>
                  </a:lnTo>
                  <a:lnTo>
                    <a:pt x="182" y="203"/>
                  </a:lnTo>
                  <a:lnTo>
                    <a:pt x="178" y="203"/>
                  </a:lnTo>
                  <a:lnTo>
                    <a:pt x="175" y="203"/>
                  </a:lnTo>
                  <a:lnTo>
                    <a:pt x="172" y="203"/>
                  </a:lnTo>
                  <a:lnTo>
                    <a:pt x="168" y="203"/>
                  </a:lnTo>
                  <a:lnTo>
                    <a:pt x="165" y="203"/>
                  </a:lnTo>
                  <a:lnTo>
                    <a:pt x="162" y="203"/>
                  </a:lnTo>
                  <a:lnTo>
                    <a:pt x="160" y="203"/>
                  </a:lnTo>
                  <a:lnTo>
                    <a:pt x="155" y="203"/>
                  </a:lnTo>
                  <a:lnTo>
                    <a:pt x="152" y="203"/>
                  </a:lnTo>
                  <a:lnTo>
                    <a:pt x="150" y="203"/>
                  </a:lnTo>
                  <a:lnTo>
                    <a:pt x="145" y="203"/>
                  </a:lnTo>
                  <a:lnTo>
                    <a:pt x="142" y="203"/>
                  </a:lnTo>
                  <a:lnTo>
                    <a:pt x="140" y="203"/>
                  </a:lnTo>
                  <a:lnTo>
                    <a:pt x="137" y="203"/>
                  </a:lnTo>
                  <a:lnTo>
                    <a:pt x="132" y="203"/>
                  </a:lnTo>
                  <a:lnTo>
                    <a:pt x="130" y="203"/>
                  </a:lnTo>
                  <a:lnTo>
                    <a:pt x="127" y="203"/>
                  </a:lnTo>
                  <a:lnTo>
                    <a:pt x="124" y="203"/>
                  </a:lnTo>
                  <a:lnTo>
                    <a:pt x="124" y="201"/>
                  </a:lnTo>
                  <a:lnTo>
                    <a:pt x="124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1"/>
                  </a:lnTo>
                  <a:lnTo>
                    <a:pt x="122" y="203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17" y="204"/>
                  </a:lnTo>
                  <a:lnTo>
                    <a:pt x="114" y="204"/>
                  </a:lnTo>
                  <a:lnTo>
                    <a:pt x="111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07" y="203"/>
                  </a:lnTo>
                  <a:lnTo>
                    <a:pt x="105" y="203"/>
                  </a:lnTo>
                  <a:lnTo>
                    <a:pt x="104" y="203"/>
                  </a:lnTo>
                  <a:lnTo>
                    <a:pt x="102" y="204"/>
                  </a:lnTo>
                  <a:lnTo>
                    <a:pt x="101" y="204"/>
                  </a:lnTo>
                  <a:lnTo>
                    <a:pt x="100" y="205"/>
                  </a:lnTo>
                  <a:lnTo>
                    <a:pt x="100" y="208"/>
                  </a:lnTo>
                  <a:lnTo>
                    <a:pt x="98" y="208"/>
                  </a:lnTo>
                  <a:lnTo>
                    <a:pt x="97" y="207"/>
                  </a:lnTo>
                  <a:lnTo>
                    <a:pt x="94" y="204"/>
                  </a:lnTo>
                  <a:lnTo>
                    <a:pt x="91" y="201"/>
                  </a:lnTo>
                  <a:lnTo>
                    <a:pt x="90" y="200"/>
                  </a:lnTo>
                  <a:lnTo>
                    <a:pt x="90" y="200"/>
                  </a:lnTo>
                  <a:lnTo>
                    <a:pt x="88" y="201"/>
                  </a:lnTo>
                  <a:lnTo>
                    <a:pt x="87" y="203"/>
                  </a:lnTo>
                  <a:lnTo>
                    <a:pt x="85" y="204"/>
                  </a:lnTo>
                  <a:lnTo>
                    <a:pt x="84" y="204"/>
                  </a:lnTo>
                  <a:lnTo>
                    <a:pt x="84" y="207"/>
                  </a:lnTo>
                  <a:lnTo>
                    <a:pt x="84" y="208"/>
                  </a:lnTo>
                  <a:lnTo>
                    <a:pt x="84" y="210"/>
                  </a:lnTo>
                  <a:lnTo>
                    <a:pt x="83" y="213"/>
                  </a:lnTo>
                  <a:lnTo>
                    <a:pt x="81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77" y="214"/>
                  </a:lnTo>
                  <a:lnTo>
                    <a:pt x="77" y="214"/>
                  </a:lnTo>
                  <a:lnTo>
                    <a:pt x="75" y="213"/>
                  </a:lnTo>
                  <a:lnTo>
                    <a:pt x="74" y="211"/>
                  </a:lnTo>
                  <a:lnTo>
                    <a:pt x="73" y="210"/>
                  </a:lnTo>
                  <a:lnTo>
                    <a:pt x="71" y="208"/>
                  </a:lnTo>
                  <a:lnTo>
                    <a:pt x="70" y="208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3"/>
                  </a:lnTo>
                  <a:lnTo>
                    <a:pt x="65" y="203"/>
                  </a:lnTo>
                  <a:lnTo>
                    <a:pt x="64" y="203"/>
                  </a:lnTo>
                  <a:lnTo>
                    <a:pt x="64" y="203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3" y="200"/>
                  </a:lnTo>
                  <a:lnTo>
                    <a:pt x="63" y="200"/>
                  </a:lnTo>
                  <a:lnTo>
                    <a:pt x="61" y="198"/>
                  </a:lnTo>
                  <a:lnTo>
                    <a:pt x="61" y="197"/>
                  </a:lnTo>
                  <a:lnTo>
                    <a:pt x="60" y="194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57" y="191"/>
                  </a:lnTo>
                  <a:lnTo>
                    <a:pt x="57" y="191"/>
                  </a:lnTo>
                  <a:lnTo>
                    <a:pt x="55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3" y="191"/>
                  </a:lnTo>
                  <a:lnTo>
                    <a:pt x="53" y="191"/>
                  </a:lnTo>
                  <a:lnTo>
                    <a:pt x="51" y="191"/>
                  </a:lnTo>
                  <a:lnTo>
                    <a:pt x="50" y="191"/>
                  </a:lnTo>
                  <a:lnTo>
                    <a:pt x="50" y="190"/>
                  </a:lnTo>
                  <a:lnTo>
                    <a:pt x="50" y="188"/>
                  </a:lnTo>
                  <a:lnTo>
                    <a:pt x="48" y="187"/>
                  </a:lnTo>
                  <a:lnTo>
                    <a:pt x="44" y="184"/>
                  </a:lnTo>
                  <a:lnTo>
                    <a:pt x="41" y="183"/>
                  </a:lnTo>
                  <a:lnTo>
                    <a:pt x="37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31" y="183"/>
                  </a:lnTo>
                  <a:lnTo>
                    <a:pt x="31" y="184"/>
                  </a:lnTo>
                  <a:lnTo>
                    <a:pt x="30" y="184"/>
                  </a:lnTo>
                  <a:lnTo>
                    <a:pt x="27" y="184"/>
                  </a:lnTo>
                  <a:lnTo>
                    <a:pt x="25" y="184"/>
                  </a:lnTo>
                  <a:lnTo>
                    <a:pt x="23" y="185"/>
                  </a:lnTo>
                  <a:lnTo>
                    <a:pt x="21" y="185"/>
                  </a:lnTo>
                  <a:lnTo>
                    <a:pt x="18" y="185"/>
                  </a:lnTo>
                  <a:lnTo>
                    <a:pt x="15" y="185"/>
                  </a:lnTo>
                  <a:lnTo>
                    <a:pt x="15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3" y="187"/>
                  </a:lnTo>
                  <a:lnTo>
                    <a:pt x="11" y="188"/>
                  </a:lnTo>
                  <a:lnTo>
                    <a:pt x="11" y="190"/>
                  </a:lnTo>
                  <a:lnTo>
                    <a:pt x="10" y="190"/>
                  </a:lnTo>
                  <a:lnTo>
                    <a:pt x="10" y="193"/>
                  </a:lnTo>
                  <a:lnTo>
                    <a:pt x="10" y="195"/>
                  </a:lnTo>
                  <a:lnTo>
                    <a:pt x="8" y="197"/>
                  </a:lnTo>
                  <a:lnTo>
                    <a:pt x="8" y="190"/>
                  </a:lnTo>
                  <a:lnTo>
                    <a:pt x="10" y="187"/>
                  </a:lnTo>
                  <a:lnTo>
                    <a:pt x="10" y="184"/>
                  </a:lnTo>
                  <a:lnTo>
                    <a:pt x="11" y="178"/>
                  </a:lnTo>
                  <a:lnTo>
                    <a:pt x="14" y="174"/>
                  </a:lnTo>
                  <a:lnTo>
                    <a:pt x="15" y="168"/>
                  </a:lnTo>
                  <a:lnTo>
                    <a:pt x="17" y="163"/>
                  </a:lnTo>
                  <a:lnTo>
                    <a:pt x="17" y="157"/>
                  </a:lnTo>
                  <a:lnTo>
                    <a:pt x="15" y="151"/>
                  </a:lnTo>
                  <a:lnTo>
                    <a:pt x="15" y="148"/>
                  </a:lnTo>
                  <a:lnTo>
                    <a:pt x="14" y="144"/>
                  </a:lnTo>
                  <a:lnTo>
                    <a:pt x="13" y="141"/>
                  </a:lnTo>
                  <a:lnTo>
                    <a:pt x="10" y="138"/>
                  </a:lnTo>
                  <a:lnTo>
                    <a:pt x="8" y="137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3" y="135"/>
                  </a:lnTo>
                  <a:lnTo>
                    <a:pt x="10" y="135"/>
                  </a:lnTo>
                  <a:lnTo>
                    <a:pt x="13" y="130"/>
                  </a:lnTo>
                  <a:lnTo>
                    <a:pt x="14" y="127"/>
                  </a:lnTo>
                  <a:lnTo>
                    <a:pt x="13" y="124"/>
                  </a:lnTo>
                  <a:lnTo>
                    <a:pt x="14" y="123"/>
                  </a:lnTo>
                  <a:lnTo>
                    <a:pt x="11" y="120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8" y="114"/>
                  </a:lnTo>
                  <a:lnTo>
                    <a:pt x="8" y="116"/>
                  </a:lnTo>
                  <a:lnTo>
                    <a:pt x="8" y="117"/>
                  </a:lnTo>
                  <a:lnTo>
                    <a:pt x="7" y="116"/>
                  </a:lnTo>
                  <a:lnTo>
                    <a:pt x="5" y="113"/>
                  </a:lnTo>
                  <a:lnTo>
                    <a:pt x="3" y="108"/>
                  </a:lnTo>
                  <a:lnTo>
                    <a:pt x="3" y="108"/>
                  </a:lnTo>
                  <a:lnTo>
                    <a:pt x="1" y="108"/>
                  </a:lnTo>
                  <a:lnTo>
                    <a:pt x="1" y="110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10"/>
                  </a:lnTo>
                  <a:lnTo>
                    <a:pt x="1" y="107"/>
                  </a:lnTo>
                  <a:lnTo>
                    <a:pt x="1" y="104"/>
                  </a:lnTo>
                  <a:lnTo>
                    <a:pt x="4" y="104"/>
                  </a:lnTo>
                  <a:lnTo>
                    <a:pt x="7" y="104"/>
                  </a:lnTo>
                  <a:lnTo>
                    <a:pt x="11" y="104"/>
                  </a:lnTo>
                  <a:lnTo>
                    <a:pt x="15" y="104"/>
                  </a:lnTo>
                  <a:lnTo>
                    <a:pt x="18" y="104"/>
                  </a:lnTo>
                  <a:lnTo>
                    <a:pt x="23" y="104"/>
                  </a:lnTo>
                  <a:lnTo>
                    <a:pt x="25" y="104"/>
                  </a:lnTo>
                  <a:lnTo>
                    <a:pt x="30" y="104"/>
                  </a:lnTo>
                  <a:lnTo>
                    <a:pt x="33" y="104"/>
                  </a:lnTo>
                  <a:lnTo>
                    <a:pt x="37" y="104"/>
                  </a:lnTo>
                  <a:lnTo>
                    <a:pt x="41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51" y="104"/>
                  </a:lnTo>
                  <a:lnTo>
                    <a:pt x="55" y="104"/>
                  </a:lnTo>
                  <a:lnTo>
                    <a:pt x="58" y="104"/>
                  </a:lnTo>
                  <a:lnTo>
                    <a:pt x="63" y="104"/>
                  </a:lnTo>
                  <a:lnTo>
                    <a:pt x="65" y="104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4" y="97"/>
                  </a:lnTo>
                  <a:lnTo>
                    <a:pt x="64" y="96"/>
                  </a:lnTo>
                  <a:lnTo>
                    <a:pt x="64" y="93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4" y="86"/>
                  </a:lnTo>
                  <a:lnTo>
                    <a:pt x="64" y="84"/>
                  </a:lnTo>
                  <a:lnTo>
                    <a:pt x="64" y="83"/>
                  </a:lnTo>
                  <a:lnTo>
                    <a:pt x="63" y="81"/>
                  </a:lnTo>
                  <a:lnTo>
                    <a:pt x="63" y="80"/>
                  </a:lnTo>
                  <a:lnTo>
                    <a:pt x="63" y="78"/>
                  </a:lnTo>
                  <a:lnTo>
                    <a:pt x="64" y="77"/>
                  </a:lnTo>
                  <a:lnTo>
                    <a:pt x="65" y="76"/>
                  </a:lnTo>
                  <a:lnTo>
                    <a:pt x="67" y="74"/>
                  </a:lnTo>
                  <a:lnTo>
                    <a:pt x="70" y="73"/>
                  </a:lnTo>
                  <a:lnTo>
                    <a:pt x="71" y="71"/>
                  </a:lnTo>
                  <a:lnTo>
                    <a:pt x="73" y="70"/>
                  </a:lnTo>
                  <a:lnTo>
                    <a:pt x="75" y="70"/>
                  </a:lnTo>
                  <a:lnTo>
                    <a:pt x="78" y="68"/>
                  </a:lnTo>
                  <a:lnTo>
                    <a:pt x="80" y="68"/>
                  </a:lnTo>
                  <a:lnTo>
                    <a:pt x="81" y="67"/>
                  </a:lnTo>
                  <a:lnTo>
                    <a:pt x="81" y="66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1" y="58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1"/>
                  </a:lnTo>
                  <a:lnTo>
                    <a:pt x="81" y="48"/>
                  </a:lnTo>
                  <a:lnTo>
                    <a:pt x="81" y="47"/>
                  </a:lnTo>
                  <a:lnTo>
                    <a:pt x="81" y="44"/>
                  </a:lnTo>
                  <a:lnTo>
                    <a:pt x="81" y="41"/>
                  </a:lnTo>
                  <a:lnTo>
                    <a:pt x="81" y="40"/>
                  </a:lnTo>
                  <a:lnTo>
                    <a:pt x="81" y="37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0"/>
                  </a:lnTo>
                  <a:lnTo>
                    <a:pt x="81" y="27"/>
                  </a:lnTo>
                  <a:lnTo>
                    <a:pt x="81" y="26"/>
                  </a:lnTo>
                  <a:lnTo>
                    <a:pt x="81" y="23"/>
                  </a:lnTo>
                  <a:lnTo>
                    <a:pt x="84" y="23"/>
                  </a:lnTo>
                  <a:lnTo>
                    <a:pt x="87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5" y="23"/>
                  </a:lnTo>
                  <a:lnTo>
                    <a:pt x="98" y="23"/>
                  </a:lnTo>
                  <a:lnTo>
                    <a:pt x="101" y="23"/>
                  </a:lnTo>
                  <a:lnTo>
                    <a:pt x="104" y="23"/>
                  </a:lnTo>
                  <a:lnTo>
                    <a:pt x="107" y="23"/>
                  </a:lnTo>
                  <a:lnTo>
                    <a:pt x="110" y="23"/>
                  </a:lnTo>
                  <a:lnTo>
                    <a:pt x="114" y="23"/>
                  </a:lnTo>
                  <a:lnTo>
                    <a:pt x="117" y="23"/>
                  </a:lnTo>
                  <a:lnTo>
                    <a:pt x="120" y="23"/>
                  </a:lnTo>
                  <a:lnTo>
                    <a:pt x="122" y="23"/>
                  </a:lnTo>
                  <a:lnTo>
                    <a:pt x="125" y="23"/>
                  </a:lnTo>
                  <a:lnTo>
                    <a:pt x="128" y="23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4" y="18"/>
                  </a:lnTo>
                  <a:lnTo>
                    <a:pt x="134" y="14"/>
                  </a:lnTo>
                  <a:lnTo>
                    <a:pt x="134" y="10"/>
                  </a:lnTo>
                  <a:lnTo>
                    <a:pt x="134" y="7"/>
                  </a:lnTo>
                  <a:lnTo>
                    <a:pt x="134" y="3"/>
                  </a:lnTo>
                  <a:lnTo>
                    <a:pt x="134" y="0"/>
                  </a:lnTo>
                  <a:lnTo>
                    <a:pt x="137" y="1"/>
                  </a:lnTo>
                  <a:lnTo>
                    <a:pt x="141" y="4"/>
                  </a:lnTo>
                  <a:lnTo>
                    <a:pt x="144" y="6"/>
                  </a:lnTo>
                  <a:lnTo>
                    <a:pt x="147" y="8"/>
                  </a:lnTo>
                  <a:lnTo>
                    <a:pt x="150" y="10"/>
                  </a:lnTo>
                  <a:lnTo>
                    <a:pt x="152" y="11"/>
                  </a:lnTo>
                  <a:lnTo>
                    <a:pt x="155" y="14"/>
                  </a:lnTo>
                  <a:lnTo>
                    <a:pt x="158" y="16"/>
                  </a:lnTo>
                  <a:lnTo>
                    <a:pt x="161" y="18"/>
                  </a:lnTo>
                  <a:lnTo>
                    <a:pt x="164" y="20"/>
                  </a:lnTo>
                  <a:lnTo>
                    <a:pt x="168" y="21"/>
                  </a:lnTo>
                  <a:lnTo>
                    <a:pt x="171" y="24"/>
                  </a:lnTo>
                  <a:lnTo>
                    <a:pt x="174" y="26"/>
                  </a:lnTo>
                  <a:lnTo>
                    <a:pt x="177" y="27"/>
                  </a:lnTo>
                  <a:lnTo>
                    <a:pt x="180" y="30"/>
                  </a:lnTo>
                  <a:lnTo>
                    <a:pt x="182" y="31"/>
                  </a:lnTo>
                  <a:lnTo>
                    <a:pt x="185" y="33"/>
                  </a:lnTo>
                  <a:lnTo>
                    <a:pt x="189" y="36"/>
                  </a:lnTo>
                  <a:lnTo>
                    <a:pt x="192" y="38"/>
                  </a:lnTo>
                  <a:lnTo>
                    <a:pt x="197" y="41"/>
                  </a:lnTo>
                  <a:close/>
                  <a:moveTo>
                    <a:pt x="11" y="131"/>
                  </a:moveTo>
                  <a:lnTo>
                    <a:pt x="10" y="134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0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1" name="Google Shape;271;p3"/>
            <p:cNvSpPr/>
            <p:nvPr/>
          </p:nvSpPr>
          <p:spPr>
            <a:xfrm>
              <a:off x="4110625" y="3984964"/>
              <a:ext cx="4208" cy="3767"/>
            </a:xfrm>
            <a:custGeom>
              <a:rect b="b" l="l" r="r" t="t"/>
              <a:pathLst>
                <a:path extrusionOk="0" h="6" w="6">
                  <a:moveTo>
                    <a:pt x="2" y="2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2"/>
                  </a:lnTo>
                  <a:close/>
                  <a:moveTo>
                    <a:pt x="6" y="6"/>
                  </a:moveTo>
                  <a:lnTo>
                    <a:pt x="6" y="6"/>
                  </a:lnTo>
                  <a:lnTo>
                    <a:pt x="5" y="6"/>
                  </a:lnTo>
                  <a:lnTo>
                    <a:pt x="3" y="5"/>
                  </a:lnTo>
                  <a:lnTo>
                    <a:pt x="3" y="3"/>
                  </a:lnTo>
                  <a:lnTo>
                    <a:pt x="5" y="3"/>
                  </a:lnTo>
                  <a:lnTo>
                    <a:pt x="6" y="5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2" name="Google Shape;272;p3"/>
            <p:cNvSpPr/>
            <p:nvPr/>
          </p:nvSpPr>
          <p:spPr>
            <a:xfrm>
              <a:off x="4318911" y="4467102"/>
              <a:ext cx="35766" cy="79729"/>
            </a:xfrm>
            <a:custGeom>
              <a:rect b="b" l="l" r="r" t="t"/>
              <a:pathLst>
                <a:path extrusionOk="0" h="127" w="51">
                  <a:moveTo>
                    <a:pt x="36" y="36"/>
                  </a:moveTo>
                  <a:lnTo>
                    <a:pt x="34" y="36"/>
                  </a:lnTo>
                  <a:lnTo>
                    <a:pt x="32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6"/>
                  </a:lnTo>
                  <a:lnTo>
                    <a:pt x="27" y="49"/>
                  </a:lnTo>
                  <a:lnTo>
                    <a:pt x="29" y="52"/>
                  </a:lnTo>
                  <a:lnTo>
                    <a:pt x="29" y="53"/>
                  </a:lnTo>
                  <a:lnTo>
                    <a:pt x="29" y="57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2" y="66"/>
                  </a:lnTo>
                  <a:lnTo>
                    <a:pt x="34" y="67"/>
                  </a:lnTo>
                  <a:lnTo>
                    <a:pt x="36" y="67"/>
                  </a:lnTo>
                  <a:lnTo>
                    <a:pt x="37" y="69"/>
                  </a:lnTo>
                  <a:lnTo>
                    <a:pt x="40" y="73"/>
                  </a:lnTo>
                  <a:lnTo>
                    <a:pt x="43" y="76"/>
                  </a:lnTo>
                  <a:lnTo>
                    <a:pt x="44" y="79"/>
                  </a:lnTo>
                  <a:lnTo>
                    <a:pt x="47" y="83"/>
                  </a:lnTo>
                  <a:lnTo>
                    <a:pt x="50" y="86"/>
                  </a:lnTo>
                  <a:lnTo>
                    <a:pt x="50" y="89"/>
                  </a:lnTo>
                  <a:lnTo>
                    <a:pt x="51" y="90"/>
                  </a:lnTo>
                  <a:lnTo>
                    <a:pt x="50" y="92"/>
                  </a:lnTo>
                  <a:lnTo>
                    <a:pt x="50" y="96"/>
                  </a:lnTo>
                  <a:lnTo>
                    <a:pt x="50" y="99"/>
                  </a:lnTo>
                  <a:lnTo>
                    <a:pt x="50" y="103"/>
                  </a:lnTo>
                  <a:lnTo>
                    <a:pt x="50" y="107"/>
                  </a:lnTo>
                  <a:lnTo>
                    <a:pt x="49" y="109"/>
                  </a:lnTo>
                  <a:lnTo>
                    <a:pt x="49" y="110"/>
                  </a:lnTo>
                  <a:lnTo>
                    <a:pt x="46" y="110"/>
                  </a:lnTo>
                  <a:lnTo>
                    <a:pt x="43" y="110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0" y="115"/>
                  </a:lnTo>
                  <a:lnTo>
                    <a:pt x="40" y="116"/>
                  </a:lnTo>
                  <a:lnTo>
                    <a:pt x="40" y="117"/>
                  </a:lnTo>
                  <a:lnTo>
                    <a:pt x="40" y="117"/>
                  </a:lnTo>
                  <a:lnTo>
                    <a:pt x="40" y="119"/>
                  </a:lnTo>
                  <a:lnTo>
                    <a:pt x="42" y="122"/>
                  </a:lnTo>
                  <a:lnTo>
                    <a:pt x="42" y="126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9" y="127"/>
                  </a:lnTo>
                  <a:lnTo>
                    <a:pt x="39" y="126"/>
                  </a:lnTo>
                  <a:lnTo>
                    <a:pt x="37" y="126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9" y="123"/>
                  </a:lnTo>
                  <a:lnTo>
                    <a:pt x="39" y="122"/>
                  </a:lnTo>
                  <a:lnTo>
                    <a:pt x="37" y="122"/>
                  </a:lnTo>
                  <a:lnTo>
                    <a:pt x="36" y="120"/>
                  </a:lnTo>
                  <a:lnTo>
                    <a:pt x="33" y="117"/>
                  </a:lnTo>
                  <a:lnTo>
                    <a:pt x="30" y="116"/>
                  </a:lnTo>
                  <a:lnTo>
                    <a:pt x="29" y="113"/>
                  </a:lnTo>
                  <a:lnTo>
                    <a:pt x="27" y="113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0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6" y="107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6" y="105"/>
                  </a:lnTo>
                  <a:lnTo>
                    <a:pt x="26" y="103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30" y="92"/>
                  </a:lnTo>
                  <a:lnTo>
                    <a:pt x="30" y="90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2"/>
                  </a:lnTo>
                  <a:lnTo>
                    <a:pt x="26" y="82"/>
                  </a:lnTo>
                  <a:lnTo>
                    <a:pt x="24" y="82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0" y="83"/>
                  </a:lnTo>
                  <a:lnTo>
                    <a:pt x="17" y="83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3" y="82"/>
                  </a:lnTo>
                  <a:lnTo>
                    <a:pt x="12" y="80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7" y="75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3" y="66"/>
                  </a:lnTo>
                  <a:lnTo>
                    <a:pt x="3" y="65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9" y="52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5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0" y="30"/>
                  </a:lnTo>
                  <a:lnTo>
                    <a:pt x="12" y="29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4" y="17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2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3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9" y="9"/>
                  </a:lnTo>
                  <a:lnTo>
                    <a:pt x="29" y="10"/>
                  </a:lnTo>
                  <a:lnTo>
                    <a:pt x="29" y="12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2" y="23"/>
                  </a:lnTo>
                  <a:lnTo>
                    <a:pt x="32" y="25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6" y="33"/>
                  </a:lnTo>
                  <a:lnTo>
                    <a:pt x="36" y="35"/>
                  </a:lnTo>
                  <a:lnTo>
                    <a:pt x="36" y="36"/>
                  </a:lnTo>
                  <a:close/>
                  <a:moveTo>
                    <a:pt x="32" y="43"/>
                  </a:move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3"/>
                  </a:lnTo>
                  <a:close/>
                  <a:moveTo>
                    <a:pt x="33" y="45"/>
                  </a:moveTo>
                  <a:lnTo>
                    <a:pt x="32" y="45"/>
                  </a:lnTo>
                  <a:lnTo>
                    <a:pt x="32" y="45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3" name="Google Shape;273;p3"/>
            <p:cNvSpPr/>
            <p:nvPr/>
          </p:nvSpPr>
          <p:spPr>
            <a:xfrm>
              <a:off x="2622471" y="4026398"/>
              <a:ext cx="356259" cy="199635"/>
            </a:xfrm>
            <a:custGeom>
              <a:rect b="b" l="l" r="r" t="t"/>
              <a:pathLst>
                <a:path extrusionOk="0" h="318" w="508">
                  <a:moveTo>
                    <a:pt x="339" y="124"/>
                  </a:moveTo>
                  <a:lnTo>
                    <a:pt x="339" y="127"/>
                  </a:lnTo>
                  <a:lnTo>
                    <a:pt x="338" y="130"/>
                  </a:lnTo>
                  <a:lnTo>
                    <a:pt x="335" y="137"/>
                  </a:lnTo>
                  <a:lnTo>
                    <a:pt x="334" y="140"/>
                  </a:lnTo>
                  <a:lnTo>
                    <a:pt x="331" y="151"/>
                  </a:lnTo>
                  <a:lnTo>
                    <a:pt x="331" y="158"/>
                  </a:lnTo>
                  <a:lnTo>
                    <a:pt x="331" y="161"/>
                  </a:lnTo>
                  <a:lnTo>
                    <a:pt x="331" y="163"/>
                  </a:lnTo>
                  <a:lnTo>
                    <a:pt x="331" y="163"/>
                  </a:lnTo>
                  <a:lnTo>
                    <a:pt x="329" y="170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9" y="180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8" y="184"/>
                  </a:lnTo>
                  <a:lnTo>
                    <a:pt x="329" y="188"/>
                  </a:lnTo>
                  <a:lnTo>
                    <a:pt x="329" y="191"/>
                  </a:lnTo>
                  <a:lnTo>
                    <a:pt x="332" y="196"/>
                  </a:lnTo>
                  <a:lnTo>
                    <a:pt x="334" y="198"/>
                  </a:lnTo>
                  <a:lnTo>
                    <a:pt x="337" y="200"/>
                  </a:lnTo>
                  <a:lnTo>
                    <a:pt x="337" y="200"/>
                  </a:lnTo>
                  <a:lnTo>
                    <a:pt x="337" y="203"/>
                  </a:lnTo>
                  <a:lnTo>
                    <a:pt x="337" y="204"/>
                  </a:lnTo>
                  <a:lnTo>
                    <a:pt x="335" y="206"/>
                  </a:lnTo>
                  <a:lnTo>
                    <a:pt x="335" y="204"/>
                  </a:lnTo>
                  <a:lnTo>
                    <a:pt x="335" y="201"/>
                  </a:lnTo>
                  <a:lnTo>
                    <a:pt x="337" y="201"/>
                  </a:lnTo>
                  <a:lnTo>
                    <a:pt x="337" y="200"/>
                  </a:lnTo>
                  <a:lnTo>
                    <a:pt x="335" y="200"/>
                  </a:lnTo>
                  <a:lnTo>
                    <a:pt x="332" y="197"/>
                  </a:lnTo>
                  <a:lnTo>
                    <a:pt x="329" y="193"/>
                  </a:lnTo>
                  <a:lnTo>
                    <a:pt x="332" y="200"/>
                  </a:lnTo>
                  <a:lnTo>
                    <a:pt x="332" y="201"/>
                  </a:lnTo>
                  <a:lnTo>
                    <a:pt x="334" y="201"/>
                  </a:lnTo>
                  <a:lnTo>
                    <a:pt x="334" y="201"/>
                  </a:lnTo>
                  <a:lnTo>
                    <a:pt x="334" y="203"/>
                  </a:lnTo>
                  <a:lnTo>
                    <a:pt x="334" y="203"/>
                  </a:lnTo>
                  <a:lnTo>
                    <a:pt x="337" y="208"/>
                  </a:lnTo>
                  <a:lnTo>
                    <a:pt x="339" y="213"/>
                  </a:lnTo>
                  <a:lnTo>
                    <a:pt x="339" y="214"/>
                  </a:lnTo>
                  <a:lnTo>
                    <a:pt x="341" y="217"/>
                  </a:lnTo>
                  <a:lnTo>
                    <a:pt x="347" y="224"/>
                  </a:lnTo>
                  <a:lnTo>
                    <a:pt x="351" y="228"/>
                  </a:lnTo>
                  <a:lnTo>
                    <a:pt x="352" y="234"/>
                  </a:lnTo>
                  <a:lnTo>
                    <a:pt x="354" y="235"/>
                  </a:lnTo>
                  <a:lnTo>
                    <a:pt x="354" y="238"/>
                  </a:lnTo>
                  <a:lnTo>
                    <a:pt x="357" y="240"/>
                  </a:lnTo>
                  <a:lnTo>
                    <a:pt x="357" y="243"/>
                  </a:lnTo>
                  <a:lnTo>
                    <a:pt x="358" y="243"/>
                  </a:lnTo>
                  <a:lnTo>
                    <a:pt x="359" y="245"/>
                  </a:lnTo>
                  <a:lnTo>
                    <a:pt x="362" y="247"/>
                  </a:lnTo>
                  <a:lnTo>
                    <a:pt x="361" y="247"/>
                  </a:lnTo>
                  <a:lnTo>
                    <a:pt x="359" y="247"/>
                  </a:lnTo>
                  <a:lnTo>
                    <a:pt x="359" y="247"/>
                  </a:lnTo>
                  <a:lnTo>
                    <a:pt x="361" y="248"/>
                  </a:lnTo>
                  <a:lnTo>
                    <a:pt x="364" y="248"/>
                  </a:lnTo>
                  <a:lnTo>
                    <a:pt x="365" y="248"/>
                  </a:lnTo>
                  <a:lnTo>
                    <a:pt x="364" y="248"/>
                  </a:lnTo>
                  <a:lnTo>
                    <a:pt x="362" y="247"/>
                  </a:lnTo>
                  <a:lnTo>
                    <a:pt x="362" y="247"/>
                  </a:lnTo>
                  <a:lnTo>
                    <a:pt x="365" y="248"/>
                  </a:lnTo>
                  <a:lnTo>
                    <a:pt x="371" y="248"/>
                  </a:lnTo>
                  <a:lnTo>
                    <a:pt x="374" y="251"/>
                  </a:lnTo>
                  <a:lnTo>
                    <a:pt x="378" y="251"/>
                  </a:lnTo>
                  <a:lnTo>
                    <a:pt x="379" y="254"/>
                  </a:lnTo>
                  <a:lnTo>
                    <a:pt x="381" y="257"/>
                  </a:lnTo>
                  <a:lnTo>
                    <a:pt x="382" y="258"/>
                  </a:lnTo>
                  <a:lnTo>
                    <a:pt x="384" y="258"/>
                  </a:lnTo>
                  <a:lnTo>
                    <a:pt x="386" y="257"/>
                  </a:lnTo>
                  <a:lnTo>
                    <a:pt x="392" y="255"/>
                  </a:lnTo>
                  <a:lnTo>
                    <a:pt x="394" y="254"/>
                  </a:lnTo>
                  <a:lnTo>
                    <a:pt x="398" y="253"/>
                  </a:lnTo>
                  <a:lnTo>
                    <a:pt x="402" y="253"/>
                  </a:lnTo>
                  <a:lnTo>
                    <a:pt x="404" y="254"/>
                  </a:lnTo>
                  <a:lnTo>
                    <a:pt x="408" y="253"/>
                  </a:lnTo>
                  <a:lnTo>
                    <a:pt x="409" y="251"/>
                  </a:lnTo>
                  <a:lnTo>
                    <a:pt x="411" y="251"/>
                  </a:lnTo>
                  <a:lnTo>
                    <a:pt x="411" y="250"/>
                  </a:lnTo>
                  <a:lnTo>
                    <a:pt x="415" y="250"/>
                  </a:lnTo>
                  <a:lnTo>
                    <a:pt x="415" y="250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2" y="248"/>
                  </a:lnTo>
                  <a:lnTo>
                    <a:pt x="424" y="250"/>
                  </a:lnTo>
                  <a:lnTo>
                    <a:pt x="424" y="250"/>
                  </a:lnTo>
                  <a:lnTo>
                    <a:pt x="424" y="251"/>
                  </a:lnTo>
                  <a:lnTo>
                    <a:pt x="424" y="251"/>
                  </a:lnTo>
                  <a:lnTo>
                    <a:pt x="425" y="253"/>
                  </a:lnTo>
                  <a:lnTo>
                    <a:pt x="428" y="253"/>
                  </a:lnTo>
                  <a:lnTo>
                    <a:pt x="429" y="253"/>
                  </a:lnTo>
                  <a:lnTo>
                    <a:pt x="431" y="251"/>
                  </a:lnTo>
                  <a:lnTo>
                    <a:pt x="434" y="250"/>
                  </a:lnTo>
                  <a:lnTo>
                    <a:pt x="434" y="248"/>
                  </a:lnTo>
                  <a:lnTo>
                    <a:pt x="434" y="247"/>
                  </a:lnTo>
                  <a:lnTo>
                    <a:pt x="432" y="247"/>
                  </a:lnTo>
                  <a:lnTo>
                    <a:pt x="432" y="247"/>
                  </a:lnTo>
                  <a:lnTo>
                    <a:pt x="432" y="245"/>
                  </a:lnTo>
                  <a:lnTo>
                    <a:pt x="432" y="245"/>
                  </a:lnTo>
                  <a:lnTo>
                    <a:pt x="431" y="247"/>
                  </a:lnTo>
                  <a:lnTo>
                    <a:pt x="431" y="247"/>
                  </a:lnTo>
                  <a:lnTo>
                    <a:pt x="431" y="245"/>
                  </a:lnTo>
                  <a:lnTo>
                    <a:pt x="431" y="245"/>
                  </a:lnTo>
                  <a:lnTo>
                    <a:pt x="436" y="243"/>
                  </a:lnTo>
                  <a:lnTo>
                    <a:pt x="438" y="243"/>
                  </a:lnTo>
                  <a:lnTo>
                    <a:pt x="439" y="241"/>
                  </a:lnTo>
                  <a:lnTo>
                    <a:pt x="442" y="238"/>
                  </a:lnTo>
                  <a:lnTo>
                    <a:pt x="444" y="231"/>
                  </a:lnTo>
                  <a:lnTo>
                    <a:pt x="444" y="230"/>
                  </a:lnTo>
                  <a:lnTo>
                    <a:pt x="446" y="228"/>
                  </a:lnTo>
                  <a:lnTo>
                    <a:pt x="446" y="228"/>
                  </a:lnTo>
                  <a:lnTo>
                    <a:pt x="446" y="227"/>
                  </a:lnTo>
                  <a:lnTo>
                    <a:pt x="446" y="223"/>
                  </a:lnTo>
                  <a:lnTo>
                    <a:pt x="446" y="220"/>
                  </a:lnTo>
                  <a:lnTo>
                    <a:pt x="446" y="217"/>
                  </a:lnTo>
                  <a:lnTo>
                    <a:pt x="446" y="214"/>
                  </a:lnTo>
                  <a:lnTo>
                    <a:pt x="448" y="214"/>
                  </a:lnTo>
                  <a:lnTo>
                    <a:pt x="448" y="210"/>
                  </a:lnTo>
                  <a:lnTo>
                    <a:pt x="451" y="208"/>
                  </a:lnTo>
                  <a:lnTo>
                    <a:pt x="456" y="206"/>
                  </a:lnTo>
                  <a:lnTo>
                    <a:pt x="456" y="206"/>
                  </a:lnTo>
                  <a:lnTo>
                    <a:pt x="472" y="203"/>
                  </a:lnTo>
                  <a:lnTo>
                    <a:pt x="475" y="203"/>
                  </a:lnTo>
                  <a:lnTo>
                    <a:pt x="476" y="201"/>
                  </a:lnTo>
                  <a:lnTo>
                    <a:pt x="479" y="200"/>
                  </a:lnTo>
                  <a:lnTo>
                    <a:pt x="482" y="200"/>
                  </a:lnTo>
                  <a:lnTo>
                    <a:pt x="483" y="200"/>
                  </a:lnTo>
                  <a:lnTo>
                    <a:pt x="483" y="200"/>
                  </a:lnTo>
                  <a:lnTo>
                    <a:pt x="483" y="200"/>
                  </a:lnTo>
                  <a:lnTo>
                    <a:pt x="483" y="200"/>
                  </a:lnTo>
                  <a:lnTo>
                    <a:pt x="486" y="200"/>
                  </a:lnTo>
                  <a:lnTo>
                    <a:pt x="489" y="200"/>
                  </a:lnTo>
                  <a:lnTo>
                    <a:pt x="491" y="201"/>
                  </a:lnTo>
                  <a:lnTo>
                    <a:pt x="495" y="201"/>
                  </a:lnTo>
                  <a:lnTo>
                    <a:pt x="498" y="203"/>
                  </a:lnTo>
                  <a:lnTo>
                    <a:pt x="499" y="203"/>
                  </a:lnTo>
                  <a:lnTo>
                    <a:pt x="499" y="201"/>
                  </a:lnTo>
                  <a:lnTo>
                    <a:pt x="499" y="201"/>
                  </a:lnTo>
                  <a:lnTo>
                    <a:pt x="499" y="200"/>
                  </a:lnTo>
                  <a:lnTo>
                    <a:pt x="499" y="201"/>
                  </a:lnTo>
                  <a:lnTo>
                    <a:pt x="498" y="201"/>
                  </a:lnTo>
                  <a:lnTo>
                    <a:pt x="498" y="201"/>
                  </a:lnTo>
                  <a:lnTo>
                    <a:pt x="496" y="200"/>
                  </a:lnTo>
                  <a:lnTo>
                    <a:pt x="496" y="200"/>
                  </a:lnTo>
                  <a:lnTo>
                    <a:pt x="498" y="200"/>
                  </a:lnTo>
                  <a:lnTo>
                    <a:pt x="499" y="200"/>
                  </a:lnTo>
                  <a:lnTo>
                    <a:pt x="501" y="200"/>
                  </a:lnTo>
                  <a:lnTo>
                    <a:pt x="502" y="200"/>
                  </a:lnTo>
                  <a:lnTo>
                    <a:pt x="503" y="201"/>
                  </a:lnTo>
                  <a:lnTo>
                    <a:pt x="505" y="203"/>
                  </a:lnTo>
                  <a:lnTo>
                    <a:pt x="505" y="206"/>
                  </a:lnTo>
                  <a:lnTo>
                    <a:pt x="505" y="207"/>
                  </a:lnTo>
                  <a:lnTo>
                    <a:pt x="506" y="207"/>
                  </a:lnTo>
                  <a:lnTo>
                    <a:pt x="505" y="210"/>
                  </a:lnTo>
                  <a:lnTo>
                    <a:pt x="505" y="211"/>
                  </a:lnTo>
                  <a:lnTo>
                    <a:pt x="503" y="214"/>
                  </a:lnTo>
                  <a:lnTo>
                    <a:pt x="501" y="216"/>
                  </a:lnTo>
                  <a:lnTo>
                    <a:pt x="499" y="218"/>
                  </a:lnTo>
                  <a:lnTo>
                    <a:pt x="495" y="223"/>
                  </a:lnTo>
                  <a:lnTo>
                    <a:pt x="495" y="225"/>
                  </a:lnTo>
                  <a:lnTo>
                    <a:pt x="495" y="227"/>
                  </a:lnTo>
                  <a:lnTo>
                    <a:pt x="495" y="228"/>
                  </a:lnTo>
                  <a:lnTo>
                    <a:pt x="495" y="230"/>
                  </a:lnTo>
                  <a:lnTo>
                    <a:pt x="495" y="230"/>
                  </a:lnTo>
                  <a:lnTo>
                    <a:pt x="493" y="230"/>
                  </a:lnTo>
                  <a:lnTo>
                    <a:pt x="493" y="231"/>
                  </a:lnTo>
                  <a:lnTo>
                    <a:pt x="491" y="233"/>
                  </a:lnTo>
                  <a:lnTo>
                    <a:pt x="491" y="234"/>
                  </a:lnTo>
                  <a:lnTo>
                    <a:pt x="492" y="234"/>
                  </a:lnTo>
                  <a:lnTo>
                    <a:pt x="493" y="234"/>
                  </a:lnTo>
                  <a:lnTo>
                    <a:pt x="493" y="234"/>
                  </a:lnTo>
                  <a:lnTo>
                    <a:pt x="495" y="234"/>
                  </a:lnTo>
                  <a:lnTo>
                    <a:pt x="495" y="234"/>
                  </a:lnTo>
                  <a:lnTo>
                    <a:pt x="495" y="235"/>
                  </a:lnTo>
                  <a:lnTo>
                    <a:pt x="495" y="237"/>
                  </a:lnTo>
                  <a:lnTo>
                    <a:pt x="493" y="237"/>
                  </a:lnTo>
                  <a:lnTo>
                    <a:pt x="493" y="237"/>
                  </a:lnTo>
                  <a:lnTo>
                    <a:pt x="492" y="237"/>
                  </a:lnTo>
                  <a:lnTo>
                    <a:pt x="492" y="238"/>
                  </a:lnTo>
                  <a:lnTo>
                    <a:pt x="492" y="240"/>
                  </a:lnTo>
                  <a:lnTo>
                    <a:pt x="492" y="240"/>
                  </a:lnTo>
                  <a:lnTo>
                    <a:pt x="493" y="238"/>
                  </a:lnTo>
                  <a:lnTo>
                    <a:pt x="493" y="238"/>
                  </a:lnTo>
                  <a:lnTo>
                    <a:pt x="493" y="238"/>
                  </a:lnTo>
                  <a:lnTo>
                    <a:pt x="492" y="243"/>
                  </a:lnTo>
                  <a:lnTo>
                    <a:pt x="492" y="247"/>
                  </a:lnTo>
                  <a:lnTo>
                    <a:pt x="491" y="250"/>
                  </a:lnTo>
                  <a:lnTo>
                    <a:pt x="491" y="253"/>
                  </a:lnTo>
                  <a:lnTo>
                    <a:pt x="489" y="254"/>
                  </a:lnTo>
                  <a:lnTo>
                    <a:pt x="489" y="255"/>
                  </a:lnTo>
                  <a:lnTo>
                    <a:pt x="488" y="255"/>
                  </a:lnTo>
                  <a:lnTo>
                    <a:pt x="486" y="253"/>
                  </a:lnTo>
                  <a:lnTo>
                    <a:pt x="485" y="253"/>
                  </a:lnTo>
                  <a:lnTo>
                    <a:pt x="485" y="251"/>
                  </a:lnTo>
                  <a:lnTo>
                    <a:pt x="486" y="248"/>
                  </a:lnTo>
                  <a:lnTo>
                    <a:pt x="486" y="247"/>
                  </a:lnTo>
                  <a:lnTo>
                    <a:pt x="485" y="247"/>
                  </a:lnTo>
                  <a:lnTo>
                    <a:pt x="483" y="247"/>
                  </a:lnTo>
                  <a:lnTo>
                    <a:pt x="483" y="248"/>
                  </a:lnTo>
                  <a:lnTo>
                    <a:pt x="483" y="250"/>
                  </a:lnTo>
                  <a:lnTo>
                    <a:pt x="482" y="253"/>
                  </a:lnTo>
                  <a:lnTo>
                    <a:pt x="482" y="253"/>
                  </a:lnTo>
                  <a:lnTo>
                    <a:pt x="481" y="253"/>
                  </a:lnTo>
                  <a:lnTo>
                    <a:pt x="479" y="253"/>
                  </a:lnTo>
                  <a:lnTo>
                    <a:pt x="478" y="253"/>
                  </a:lnTo>
                  <a:lnTo>
                    <a:pt x="476" y="255"/>
                  </a:lnTo>
                  <a:lnTo>
                    <a:pt x="475" y="260"/>
                  </a:lnTo>
                  <a:lnTo>
                    <a:pt x="473" y="261"/>
                  </a:lnTo>
                  <a:lnTo>
                    <a:pt x="472" y="261"/>
                  </a:lnTo>
                  <a:lnTo>
                    <a:pt x="472" y="263"/>
                  </a:lnTo>
                  <a:lnTo>
                    <a:pt x="471" y="261"/>
                  </a:lnTo>
                  <a:lnTo>
                    <a:pt x="469" y="261"/>
                  </a:lnTo>
                  <a:lnTo>
                    <a:pt x="468" y="261"/>
                  </a:lnTo>
                  <a:lnTo>
                    <a:pt x="468" y="263"/>
                  </a:lnTo>
                  <a:lnTo>
                    <a:pt x="468" y="264"/>
                  </a:lnTo>
                  <a:lnTo>
                    <a:pt x="464" y="264"/>
                  </a:lnTo>
                  <a:lnTo>
                    <a:pt x="458" y="264"/>
                  </a:lnTo>
                  <a:lnTo>
                    <a:pt x="451" y="264"/>
                  </a:lnTo>
                  <a:lnTo>
                    <a:pt x="444" y="264"/>
                  </a:lnTo>
                  <a:lnTo>
                    <a:pt x="438" y="264"/>
                  </a:lnTo>
                  <a:lnTo>
                    <a:pt x="438" y="267"/>
                  </a:lnTo>
                  <a:lnTo>
                    <a:pt x="438" y="270"/>
                  </a:lnTo>
                  <a:lnTo>
                    <a:pt x="438" y="273"/>
                  </a:lnTo>
                  <a:lnTo>
                    <a:pt x="435" y="273"/>
                  </a:lnTo>
                  <a:lnTo>
                    <a:pt x="432" y="273"/>
                  </a:lnTo>
                  <a:lnTo>
                    <a:pt x="432" y="274"/>
                  </a:lnTo>
                  <a:lnTo>
                    <a:pt x="434" y="274"/>
                  </a:lnTo>
                  <a:lnTo>
                    <a:pt x="435" y="275"/>
                  </a:lnTo>
                  <a:lnTo>
                    <a:pt x="436" y="278"/>
                  </a:lnTo>
                  <a:lnTo>
                    <a:pt x="438" y="280"/>
                  </a:lnTo>
                  <a:lnTo>
                    <a:pt x="441" y="281"/>
                  </a:lnTo>
                  <a:lnTo>
                    <a:pt x="442" y="283"/>
                  </a:lnTo>
                  <a:lnTo>
                    <a:pt x="444" y="284"/>
                  </a:lnTo>
                  <a:lnTo>
                    <a:pt x="444" y="284"/>
                  </a:lnTo>
                  <a:lnTo>
                    <a:pt x="444" y="285"/>
                  </a:lnTo>
                  <a:lnTo>
                    <a:pt x="445" y="285"/>
                  </a:lnTo>
                  <a:lnTo>
                    <a:pt x="446" y="287"/>
                  </a:lnTo>
                  <a:lnTo>
                    <a:pt x="448" y="287"/>
                  </a:lnTo>
                  <a:lnTo>
                    <a:pt x="448" y="288"/>
                  </a:lnTo>
                  <a:lnTo>
                    <a:pt x="446" y="290"/>
                  </a:lnTo>
                  <a:lnTo>
                    <a:pt x="446" y="291"/>
                  </a:lnTo>
                  <a:lnTo>
                    <a:pt x="446" y="293"/>
                  </a:lnTo>
                  <a:lnTo>
                    <a:pt x="446" y="293"/>
                  </a:lnTo>
                  <a:lnTo>
                    <a:pt x="444" y="293"/>
                  </a:lnTo>
                  <a:lnTo>
                    <a:pt x="438" y="293"/>
                  </a:lnTo>
                  <a:lnTo>
                    <a:pt x="435" y="293"/>
                  </a:lnTo>
                  <a:lnTo>
                    <a:pt x="431" y="293"/>
                  </a:lnTo>
                  <a:lnTo>
                    <a:pt x="426" y="293"/>
                  </a:lnTo>
                  <a:lnTo>
                    <a:pt x="425" y="295"/>
                  </a:lnTo>
                  <a:lnTo>
                    <a:pt x="422" y="298"/>
                  </a:lnTo>
                  <a:lnTo>
                    <a:pt x="421" y="303"/>
                  </a:lnTo>
                  <a:lnTo>
                    <a:pt x="419" y="305"/>
                  </a:lnTo>
                  <a:lnTo>
                    <a:pt x="419" y="305"/>
                  </a:lnTo>
                  <a:lnTo>
                    <a:pt x="419" y="307"/>
                  </a:lnTo>
                  <a:lnTo>
                    <a:pt x="421" y="310"/>
                  </a:lnTo>
                  <a:lnTo>
                    <a:pt x="421" y="310"/>
                  </a:lnTo>
                  <a:lnTo>
                    <a:pt x="419" y="310"/>
                  </a:lnTo>
                  <a:lnTo>
                    <a:pt x="419" y="311"/>
                  </a:lnTo>
                  <a:lnTo>
                    <a:pt x="419" y="313"/>
                  </a:lnTo>
                  <a:lnTo>
                    <a:pt x="419" y="314"/>
                  </a:lnTo>
                  <a:lnTo>
                    <a:pt x="419" y="314"/>
                  </a:lnTo>
                  <a:lnTo>
                    <a:pt x="419" y="315"/>
                  </a:lnTo>
                  <a:lnTo>
                    <a:pt x="419" y="317"/>
                  </a:lnTo>
                  <a:lnTo>
                    <a:pt x="419" y="317"/>
                  </a:lnTo>
                  <a:lnTo>
                    <a:pt x="418" y="318"/>
                  </a:lnTo>
                  <a:lnTo>
                    <a:pt x="418" y="317"/>
                  </a:lnTo>
                  <a:lnTo>
                    <a:pt x="414" y="313"/>
                  </a:lnTo>
                  <a:lnTo>
                    <a:pt x="409" y="308"/>
                  </a:lnTo>
                  <a:lnTo>
                    <a:pt x="408" y="307"/>
                  </a:lnTo>
                  <a:lnTo>
                    <a:pt x="406" y="305"/>
                  </a:lnTo>
                  <a:lnTo>
                    <a:pt x="404" y="303"/>
                  </a:lnTo>
                  <a:lnTo>
                    <a:pt x="398" y="298"/>
                  </a:lnTo>
                  <a:lnTo>
                    <a:pt x="395" y="295"/>
                  </a:lnTo>
                  <a:lnTo>
                    <a:pt x="391" y="293"/>
                  </a:lnTo>
                  <a:lnTo>
                    <a:pt x="389" y="291"/>
                  </a:lnTo>
                  <a:lnTo>
                    <a:pt x="386" y="291"/>
                  </a:lnTo>
                  <a:lnTo>
                    <a:pt x="385" y="290"/>
                  </a:lnTo>
                  <a:lnTo>
                    <a:pt x="384" y="290"/>
                  </a:lnTo>
                  <a:lnTo>
                    <a:pt x="384" y="290"/>
                  </a:lnTo>
                  <a:lnTo>
                    <a:pt x="384" y="290"/>
                  </a:lnTo>
                  <a:lnTo>
                    <a:pt x="384" y="291"/>
                  </a:lnTo>
                  <a:lnTo>
                    <a:pt x="385" y="291"/>
                  </a:lnTo>
                  <a:lnTo>
                    <a:pt x="386" y="291"/>
                  </a:lnTo>
                  <a:lnTo>
                    <a:pt x="386" y="291"/>
                  </a:lnTo>
                  <a:lnTo>
                    <a:pt x="389" y="293"/>
                  </a:lnTo>
                  <a:lnTo>
                    <a:pt x="391" y="294"/>
                  </a:lnTo>
                  <a:lnTo>
                    <a:pt x="382" y="291"/>
                  </a:lnTo>
                  <a:lnTo>
                    <a:pt x="379" y="291"/>
                  </a:lnTo>
                  <a:lnTo>
                    <a:pt x="379" y="290"/>
                  </a:lnTo>
                  <a:lnTo>
                    <a:pt x="381" y="288"/>
                  </a:lnTo>
                  <a:lnTo>
                    <a:pt x="381" y="288"/>
                  </a:lnTo>
                  <a:lnTo>
                    <a:pt x="379" y="288"/>
                  </a:lnTo>
                  <a:lnTo>
                    <a:pt x="378" y="290"/>
                  </a:lnTo>
                  <a:lnTo>
                    <a:pt x="378" y="290"/>
                  </a:lnTo>
                  <a:lnTo>
                    <a:pt x="378" y="288"/>
                  </a:lnTo>
                  <a:lnTo>
                    <a:pt x="378" y="288"/>
                  </a:lnTo>
                  <a:lnTo>
                    <a:pt x="376" y="287"/>
                  </a:lnTo>
                  <a:lnTo>
                    <a:pt x="375" y="287"/>
                  </a:lnTo>
                  <a:lnTo>
                    <a:pt x="375" y="287"/>
                  </a:lnTo>
                  <a:lnTo>
                    <a:pt x="374" y="288"/>
                  </a:lnTo>
                  <a:lnTo>
                    <a:pt x="374" y="290"/>
                  </a:lnTo>
                  <a:lnTo>
                    <a:pt x="376" y="290"/>
                  </a:lnTo>
                  <a:lnTo>
                    <a:pt x="378" y="290"/>
                  </a:lnTo>
                  <a:lnTo>
                    <a:pt x="378" y="290"/>
                  </a:lnTo>
                  <a:lnTo>
                    <a:pt x="375" y="290"/>
                  </a:lnTo>
                  <a:lnTo>
                    <a:pt x="372" y="291"/>
                  </a:lnTo>
                  <a:lnTo>
                    <a:pt x="367" y="294"/>
                  </a:lnTo>
                  <a:lnTo>
                    <a:pt x="362" y="295"/>
                  </a:lnTo>
                  <a:lnTo>
                    <a:pt x="355" y="298"/>
                  </a:lnTo>
                  <a:lnTo>
                    <a:pt x="352" y="300"/>
                  </a:lnTo>
                  <a:lnTo>
                    <a:pt x="349" y="300"/>
                  </a:lnTo>
                  <a:lnTo>
                    <a:pt x="345" y="298"/>
                  </a:lnTo>
                  <a:lnTo>
                    <a:pt x="339" y="295"/>
                  </a:lnTo>
                  <a:lnTo>
                    <a:pt x="329" y="294"/>
                  </a:lnTo>
                  <a:lnTo>
                    <a:pt x="324" y="291"/>
                  </a:lnTo>
                  <a:lnTo>
                    <a:pt x="318" y="288"/>
                  </a:lnTo>
                  <a:lnTo>
                    <a:pt x="314" y="285"/>
                  </a:lnTo>
                  <a:lnTo>
                    <a:pt x="311" y="285"/>
                  </a:lnTo>
                  <a:lnTo>
                    <a:pt x="309" y="284"/>
                  </a:lnTo>
                  <a:lnTo>
                    <a:pt x="305" y="283"/>
                  </a:lnTo>
                  <a:lnTo>
                    <a:pt x="299" y="283"/>
                  </a:lnTo>
                  <a:lnTo>
                    <a:pt x="294" y="278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1" y="274"/>
                  </a:lnTo>
                  <a:lnTo>
                    <a:pt x="278" y="273"/>
                  </a:lnTo>
                  <a:lnTo>
                    <a:pt x="275" y="271"/>
                  </a:lnTo>
                  <a:lnTo>
                    <a:pt x="272" y="268"/>
                  </a:lnTo>
                  <a:lnTo>
                    <a:pt x="271" y="267"/>
                  </a:lnTo>
                  <a:lnTo>
                    <a:pt x="268" y="267"/>
                  </a:lnTo>
                  <a:lnTo>
                    <a:pt x="265" y="263"/>
                  </a:lnTo>
                  <a:lnTo>
                    <a:pt x="264" y="261"/>
                  </a:lnTo>
                  <a:lnTo>
                    <a:pt x="264" y="261"/>
                  </a:lnTo>
                  <a:lnTo>
                    <a:pt x="262" y="261"/>
                  </a:lnTo>
                  <a:lnTo>
                    <a:pt x="258" y="261"/>
                  </a:lnTo>
                  <a:lnTo>
                    <a:pt x="254" y="260"/>
                  </a:lnTo>
                  <a:lnTo>
                    <a:pt x="251" y="260"/>
                  </a:lnTo>
                  <a:lnTo>
                    <a:pt x="245" y="257"/>
                  </a:lnTo>
                  <a:lnTo>
                    <a:pt x="240" y="255"/>
                  </a:lnTo>
                  <a:lnTo>
                    <a:pt x="237" y="253"/>
                  </a:lnTo>
                  <a:lnTo>
                    <a:pt x="235" y="250"/>
                  </a:lnTo>
                  <a:lnTo>
                    <a:pt x="231" y="247"/>
                  </a:lnTo>
                  <a:lnTo>
                    <a:pt x="230" y="245"/>
                  </a:lnTo>
                  <a:lnTo>
                    <a:pt x="225" y="244"/>
                  </a:lnTo>
                  <a:lnTo>
                    <a:pt x="224" y="243"/>
                  </a:lnTo>
                  <a:lnTo>
                    <a:pt x="221" y="241"/>
                  </a:lnTo>
                  <a:lnTo>
                    <a:pt x="215" y="238"/>
                  </a:lnTo>
                  <a:lnTo>
                    <a:pt x="214" y="237"/>
                  </a:lnTo>
                  <a:lnTo>
                    <a:pt x="212" y="234"/>
                  </a:lnTo>
                  <a:lnTo>
                    <a:pt x="210" y="231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5" y="223"/>
                  </a:lnTo>
                  <a:lnTo>
                    <a:pt x="204" y="221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5" y="218"/>
                  </a:lnTo>
                  <a:lnTo>
                    <a:pt x="208" y="218"/>
                  </a:lnTo>
                  <a:lnTo>
                    <a:pt x="210" y="217"/>
                  </a:lnTo>
                  <a:lnTo>
                    <a:pt x="210" y="216"/>
                  </a:lnTo>
                  <a:lnTo>
                    <a:pt x="210" y="216"/>
                  </a:lnTo>
                  <a:lnTo>
                    <a:pt x="208" y="214"/>
                  </a:lnTo>
                  <a:lnTo>
                    <a:pt x="207" y="214"/>
                  </a:lnTo>
                  <a:lnTo>
                    <a:pt x="207" y="214"/>
                  </a:lnTo>
                  <a:lnTo>
                    <a:pt x="205" y="213"/>
                  </a:lnTo>
                  <a:lnTo>
                    <a:pt x="207" y="213"/>
                  </a:lnTo>
                  <a:lnTo>
                    <a:pt x="208" y="211"/>
                  </a:lnTo>
                  <a:lnTo>
                    <a:pt x="210" y="210"/>
                  </a:lnTo>
                  <a:lnTo>
                    <a:pt x="210" y="208"/>
                  </a:lnTo>
                  <a:lnTo>
                    <a:pt x="211" y="206"/>
                  </a:lnTo>
                  <a:lnTo>
                    <a:pt x="210" y="203"/>
                  </a:lnTo>
                  <a:lnTo>
                    <a:pt x="211" y="201"/>
                  </a:lnTo>
                  <a:lnTo>
                    <a:pt x="207" y="200"/>
                  </a:lnTo>
                  <a:lnTo>
                    <a:pt x="207" y="198"/>
                  </a:lnTo>
                  <a:lnTo>
                    <a:pt x="205" y="196"/>
                  </a:lnTo>
                  <a:lnTo>
                    <a:pt x="204" y="193"/>
                  </a:lnTo>
                  <a:lnTo>
                    <a:pt x="204" y="187"/>
                  </a:lnTo>
                  <a:lnTo>
                    <a:pt x="201" y="181"/>
                  </a:lnTo>
                  <a:lnTo>
                    <a:pt x="198" y="180"/>
                  </a:lnTo>
                  <a:lnTo>
                    <a:pt x="198" y="178"/>
                  </a:lnTo>
                  <a:lnTo>
                    <a:pt x="194" y="174"/>
                  </a:lnTo>
                  <a:lnTo>
                    <a:pt x="191" y="173"/>
                  </a:lnTo>
                  <a:lnTo>
                    <a:pt x="188" y="167"/>
                  </a:lnTo>
                  <a:lnTo>
                    <a:pt x="187" y="166"/>
                  </a:lnTo>
                  <a:lnTo>
                    <a:pt x="183" y="160"/>
                  </a:lnTo>
                  <a:lnTo>
                    <a:pt x="181" y="158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0"/>
                  </a:lnTo>
                  <a:lnTo>
                    <a:pt x="173" y="150"/>
                  </a:lnTo>
                  <a:lnTo>
                    <a:pt x="173" y="150"/>
                  </a:lnTo>
                  <a:lnTo>
                    <a:pt x="171" y="150"/>
                  </a:lnTo>
                  <a:lnTo>
                    <a:pt x="171" y="148"/>
                  </a:lnTo>
                  <a:lnTo>
                    <a:pt x="168" y="148"/>
                  </a:lnTo>
                  <a:lnTo>
                    <a:pt x="167" y="147"/>
                  </a:lnTo>
                  <a:lnTo>
                    <a:pt x="165" y="146"/>
                  </a:lnTo>
                  <a:lnTo>
                    <a:pt x="165" y="144"/>
                  </a:lnTo>
                  <a:lnTo>
                    <a:pt x="163" y="141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3" y="140"/>
                  </a:lnTo>
                  <a:lnTo>
                    <a:pt x="164" y="140"/>
                  </a:lnTo>
                  <a:lnTo>
                    <a:pt x="164" y="140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4" y="138"/>
                  </a:lnTo>
                  <a:lnTo>
                    <a:pt x="160" y="137"/>
                  </a:lnTo>
                  <a:lnTo>
                    <a:pt x="158" y="136"/>
                  </a:lnTo>
                  <a:lnTo>
                    <a:pt x="155" y="134"/>
                  </a:lnTo>
                  <a:lnTo>
                    <a:pt x="154" y="133"/>
                  </a:lnTo>
                  <a:lnTo>
                    <a:pt x="154" y="131"/>
                  </a:lnTo>
                  <a:lnTo>
                    <a:pt x="153" y="131"/>
                  </a:lnTo>
                  <a:lnTo>
                    <a:pt x="151" y="131"/>
                  </a:lnTo>
                  <a:lnTo>
                    <a:pt x="150" y="133"/>
                  </a:lnTo>
                  <a:lnTo>
                    <a:pt x="148" y="131"/>
                  </a:lnTo>
                  <a:lnTo>
                    <a:pt x="148" y="131"/>
                  </a:lnTo>
                  <a:lnTo>
                    <a:pt x="150" y="130"/>
                  </a:lnTo>
                  <a:lnTo>
                    <a:pt x="151" y="128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0" y="130"/>
                  </a:lnTo>
                  <a:lnTo>
                    <a:pt x="148" y="130"/>
                  </a:lnTo>
                  <a:lnTo>
                    <a:pt x="147" y="130"/>
                  </a:lnTo>
                  <a:lnTo>
                    <a:pt x="145" y="130"/>
                  </a:lnTo>
                  <a:lnTo>
                    <a:pt x="145" y="130"/>
                  </a:lnTo>
                  <a:lnTo>
                    <a:pt x="144" y="128"/>
                  </a:lnTo>
                  <a:lnTo>
                    <a:pt x="143" y="123"/>
                  </a:lnTo>
                  <a:lnTo>
                    <a:pt x="144" y="120"/>
                  </a:lnTo>
                  <a:lnTo>
                    <a:pt x="145" y="118"/>
                  </a:lnTo>
                  <a:lnTo>
                    <a:pt x="147" y="117"/>
                  </a:lnTo>
                  <a:lnTo>
                    <a:pt x="147" y="118"/>
                  </a:lnTo>
                  <a:lnTo>
                    <a:pt x="148" y="118"/>
                  </a:lnTo>
                  <a:lnTo>
                    <a:pt x="148" y="117"/>
                  </a:lnTo>
                  <a:lnTo>
                    <a:pt x="147" y="117"/>
                  </a:lnTo>
                  <a:lnTo>
                    <a:pt x="145" y="116"/>
                  </a:lnTo>
                  <a:lnTo>
                    <a:pt x="145" y="116"/>
                  </a:lnTo>
                  <a:lnTo>
                    <a:pt x="145" y="113"/>
                  </a:lnTo>
                  <a:lnTo>
                    <a:pt x="143" y="110"/>
                  </a:lnTo>
                  <a:lnTo>
                    <a:pt x="140" y="110"/>
                  </a:lnTo>
                  <a:lnTo>
                    <a:pt x="138" y="110"/>
                  </a:lnTo>
                  <a:lnTo>
                    <a:pt x="137" y="110"/>
                  </a:lnTo>
                  <a:lnTo>
                    <a:pt x="135" y="107"/>
                  </a:lnTo>
                  <a:lnTo>
                    <a:pt x="135" y="106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0" y="103"/>
                  </a:lnTo>
                  <a:lnTo>
                    <a:pt x="128" y="101"/>
                  </a:lnTo>
                  <a:lnTo>
                    <a:pt x="127" y="100"/>
                  </a:lnTo>
                  <a:lnTo>
                    <a:pt x="125" y="98"/>
                  </a:lnTo>
                  <a:lnTo>
                    <a:pt x="125" y="97"/>
                  </a:lnTo>
                  <a:lnTo>
                    <a:pt x="124" y="96"/>
                  </a:lnTo>
                  <a:lnTo>
                    <a:pt x="124" y="93"/>
                  </a:lnTo>
                  <a:lnTo>
                    <a:pt x="124" y="91"/>
                  </a:lnTo>
                  <a:lnTo>
                    <a:pt x="125" y="90"/>
                  </a:lnTo>
                  <a:lnTo>
                    <a:pt x="121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18" y="88"/>
                  </a:lnTo>
                  <a:lnTo>
                    <a:pt x="115" y="88"/>
                  </a:lnTo>
                  <a:lnTo>
                    <a:pt x="114" y="86"/>
                  </a:lnTo>
                  <a:lnTo>
                    <a:pt x="110" y="80"/>
                  </a:lnTo>
                  <a:lnTo>
                    <a:pt x="107" y="78"/>
                  </a:lnTo>
                  <a:lnTo>
                    <a:pt x="105" y="77"/>
                  </a:lnTo>
                  <a:lnTo>
                    <a:pt x="104" y="76"/>
                  </a:lnTo>
                  <a:lnTo>
                    <a:pt x="104" y="74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1" y="71"/>
                  </a:lnTo>
                  <a:lnTo>
                    <a:pt x="100" y="68"/>
                  </a:lnTo>
                  <a:lnTo>
                    <a:pt x="98" y="67"/>
                  </a:lnTo>
                  <a:lnTo>
                    <a:pt x="98" y="64"/>
                  </a:lnTo>
                  <a:lnTo>
                    <a:pt x="97" y="63"/>
                  </a:lnTo>
                  <a:lnTo>
                    <a:pt x="95" y="63"/>
                  </a:lnTo>
                  <a:lnTo>
                    <a:pt x="95" y="61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3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0" y="51"/>
                  </a:lnTo>
                  <a:lnTo>
                    <a:pt x="90" y="48"/>
                  </a:lnTo>
                  <a:lnTo>
                    <a:pt x="88" y="46"/>
                  </a:lnTo>
                  <a:lnTo>
                    <a:pt x="87" y="41"/>
                  </a:lnTo>
                  <a:lnTo>
                    <a:pt x="86" y="38"/>
                  </a:lnTo>
                  <a:lnTo>
                    <a:pt x="84" y="36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6" y="30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78" y="27"/>
                  </a:lnTo>
                  <a:lnTo>
                    <a:pt x="76" y="26"/>
                  </a:lnTo>
                  <a:lnTo>
                    <a:pt x="76" y="23"/>
                  </a:lnTo>
                  <a:lnTo>
                    <a:pt x="74" y="23"/>
                  </a:lnTo>
                  <a:lnTo>
                    <a:pt x="74" y="21"/>
                  </a:lnTo>
                  <a:lnTo>
                    <a:pt x="71" y="20"/>
                  </a:lnTo>
                  <a:lnTo>
                    <a:pt x="70" y="21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7" y="23"/>
                  </a:lnTo>
                  <a:lnTo>
                    <a:pt x="66" y="21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7"/>
                  </a:lnTo>
                  <a:lnTo>
                    <a:pt x="57" y="20"/>
                  </a:lnTo>
                  <a:lnTo>
                    <a:pt x="57" y="23"/>
                  </a:lnTo>
                  <a:lnTo>
                    <a:pt x="56" y="30"/>
                  </a:lnTo>
                  <a:lnTo>
                    <a:pt x="57" y="31"/>
                  </a:lnTo>
                  <a:lnTo>
                    <a:pt x="57" y="33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60" y="41"/>
                  </a:lnTo>
                  <a:lnTo>
                    <a:pt x="60" y="46"/>
                  </a:lnTo>
                  <a:lnTo>
                    <a:pt x="60" y="47"/>
                  </a:lnTo>
                  <a:lnTo>
                    <a:pt x="61" y="50"/>
                  </a:lnTo>
                  <a:lnTo>
                    <a:pt x="64" y="53"/>
                  </a:lnTo>
                  <a:lnTo>
                    <a:pt x="64" y="54"/>
                  </a:lnTo>
                  <a:lnTo>
                    <a:pt x="67" y="56"/>
                  </a:lnTo>
                  <a:lnTo>
                    <a:pt x="68" y="58"/>
                  </a:lnTo>
                  <a:lnTo>
                    <a:pt x="73" y="61"/>
                  </a:lnTo>
                  <a:lnTo>
                    <a:pt x="74" y="63"/>
                  </a:lnTo>
                  <a:lnTo>
                    <a:pt x="77" y="67"/>
                  </a:lnTo>
                  <a:lnTo>
                    <a:pt x="77" y="68"/>
                  </a:lnTo>
                  <a:lnTo>
                    <a:pt x="78" y="70"/>
                  </a:lnTo>
                  <a:lnTo>
                    <a:pt x="80" y="70"/>
                  </a:lnTo>
                  <a:lnTo>
                    <a:pt x="81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4" y="78"/>
                  </a:lnTo>
                  <a:lnTo>
                    <a:pt x="86" y="78"/>
                  </a:lnTo>
                  <a:lnTo>
                    <a:pt x="87" y="78"/>
                  </a:lnTo>
                  <a:lnTo>
                    <a:pt x="88" y="80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90" y="83"/>
                  </a:lnTo>
                  <a:lnTo>
                    <a:pt x="88" y="86"/>
                  </a:lnTo>
                  <a:lnTo>
                    <a:pt x="90" y="87"/>
                  </a:lnTo>
                  <a:lnTo>
                    <a:pt x="90" y="88"/>
                  </a:lnTo>
                  <a:lnTo>
                    <a:pt x="90" y="90"/>
                  </a:lnTo>
                  <a:lnTo>
                    <a:pt x="93" y="93"/>
                  </a:lnTo>
                  <a:lnTo>
                    <a:pt x="97" y="96"/>
                  </a:lnTo>
                  <a:lnTo>
                    <a:pt x="97" y="98"/>
                  </a:lnTo>
                  <a:lnTo>
                    <a:pt x="98" y="101"/>
                  </a:lnTo>
                  <a:lnTo>
                    <a:pt x="100" y="103"/>
                  </a:lnTo>
                  <a:lnTo>
                    <a:pt x="101" y="104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4" y="108"/>
                  </a:lnTo>
                  <a:lnTo>
                    <a:pt x="104" y="111"/>
                  </a:lnTo>
                  <a:lnTo>
                    <a:pt x="105" y="113"/>
                  </a:lnTo>
                  <a:lnTo>
                    <a:pt x="107" y="113"/>
                  </a:lnTo>
                  <a:lnTo>
                    <a:pt x="107" y="113"/>
                  </a:lnTo>
                  <a:lnTo>
                    <a:pt x="105" y="111"/>
                  </a:lnTo>
                  <a:lnTo>
                    <a:pt x="105" y="110"/>
                  </a:lnTo>
                  <a:lnTo>
                    <a:pt x="104" y="107"/>
                  </a:lnTo>
                  <a:lnTo>
                    <a:pt x="105" y="107"/>
                  </a:lnTo>
                  <a:lnTo>
                    <a:pt x="108" y="110"/>
                  </a:lnTo>
                  <a:lnTo>
                    <a:pt x="110" y="113"/>
                  </a:lnTo>
                  <a:lnTo>
                    <a:pt x="110" y="114"/>
                  </a:lnTo>
                  <a:lnTo>
                    <a:pt x="110" y="116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3" y="121"/>
                  </a:lnTo>
                  <a:lnTo>
                    <a:pt x="113" y="124"/>
                  </a:lnTo>
                  <a:lnTo>
                    <a:pt x="113" y="127"/>
                  </a:lnTo>
                  <a:lnTo>
                    <a:pt x="115" y="130"/>
                  </a:lnTo>
                  <a:lnTo>
                    <a:pt x="117" y="131"/>
                  </a:lnTo>
                  <a:lnTo>
                    <a:pt x="118" y="133"/>
                  </a:lnTo>
                  <a:lnTo>
                    <a:pt x="120" y="138"/>
                  </a:lnTo>
                  <a:lnTo>
                    <a:pt x="121" y="141"/>
                  </a:lnTo>
                  <a:lnTo>
                    <a:pt x="123" y="143"/>
                  </a:lnTo>
                  <a:lnTo>
                    <a:pt x="123" y="144"/>
                  </a:lnTo>
                  <a:lnTo>
                    <a:pt x="123" y="147"/>
                  </a:lnTo>
                  <a:lnTo>
                    <a:pt x="123" y="148"/>
                  </a:lnTo>
                  <a:lnTo>
                    <a:pt x="124" y="153"/>
                  </a:lnTo>
                  <a:lnTo>
                    <a:pt x="125" y="154"/>
                  </a:lnTo>
                  <a:lnTo>
                    <a:pt x="127" y="156"/>
                  </a:lnTo>
                  <a:lnTo>
                    <a:pt x="127" y="156"/>
                  </a:lnTo>
                  <a:lnTo>
                    <a:pt x="127" y="156"/>
                  </a:lnTo>
                  <a:lnTo>
                    <a:pt x="128" y="157"/>
                  </a:lnTo>
                  <a:lnTo>
                    <a:pt x="128" y="156"/>
                  </a:lnTo>
                  <a:lnTo>
                    <a:pt x="130" y="154"/>
                  </a:lnTo>
                  <a:lnTo>
                    <a:pt x="128" y="154"/>
                  </a:lnTo>
                  <a:lnTo>
                    <a:pt x="128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5" y="157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8" y="161"/>
                  </a:lnTo>
                  <a:lnTo>
                    <a:pt x="140" y="164"/>
                  </a:lnTo>
                  <a:lnTo>
                    <a:pt x="141" y="166"/>
                  </a:lnTo>
                  <a:lnTo>
                    <a:pt x="143" y="167"/>
                  </a:lnTo>
                  <a:lnTo>
                    <a:pt x="143" y="168"/>
                  </a:lnTo>
                  <a:lnTo>
                    <a:pt x="143" y="171"/>
                  </a:lnTo>
                  <a:lnTo>
                    <a:pt x="143" y="173"/>
                  </a:lnTo>
                  <a:lnTo>
                    <a:pt x="140" y="174"/>
                  </a:lnTo>
                  <a:lnTo>
                    <a:pt x="138" y="176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4" y="177"/>
                  </a:lnTo>
                  <a:lnTo>
                    <a:pt x="133" y="176"/>
                  </a:lnTo>
                  <a:lnTo>
                    <a:pt x="131" y="170"/>
                  </a:lnTo>
                  <a:lnTo>
                    <a:pt x="130" y="168"/>
                  </a:lnTo>
                  <a:lnTo>
                    <a:pt x="130" y="167"/>
                  </a:lnTo>
                  <a:lnTo>
                    <a:pt x="128" y="166"/>
                  </a:lnTo>
                  <a:lnTo>
                    <a:pt x="124" y="163"/>
                  </a:lnTo>
                  <a:lnTo>
                    <a:pt x="121" y="160"/>
                  </a:lnTo>
                  <a:lnTo>
                    <a:pt x="120" y="158"/>
                  </a:lnTo>
                  <a:lnTo>
                    <a:pt x="117" y="156"/>
                  </a:lnTo>
                  <a:lnTo>
                    <a:pt x="111" y="153"/>
                  </a:lnTo>
                  <a:lnTo>
                    <a:pt x="108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8"/>
                  </a:lnTo>
                  <a:lnTo>
                    <a:pt x="104" y="148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1" y="143"/>
                  </a:lnTo>
                  <a:lnTo>
                    <a:pt x="100" y="141"/>
                  </a:lnTo>
                  <a:lnTo>
                    <a:pt x="100" y="140"/>
                  </a:lnTo>
                  <a:lnTo>
                    <a:pt x="101" y="136"/>
                  </a:lnTo>
                  <a:lnTo>
                    <a:pt x="101" y="131"/>
                  </a:lnTo>
                  <a:lnTo>
                    <a:pt x="101" y="130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27"/>
                  </a:lnTo>
                  <a:lnTo>
                    <a:pt x="100" y="124"/>
                  </a:lnTo>
                  <a:lnTo>
                    <a:pt x="95" y="118"/>
                  </a:lnTo>
                  <a:lnTo>
                    <a:pt x="94" y="118"/>
                  </a:lnTo>
                  <a:lnTo>
                    <a:pt x="91" y="117"/>
                  </a:lnTo>
                  <a:lnTo>
                    <a:pt x="86" y="113"/>
                  </a:lnTo>
                  <a:lnTo>
                    <a:pt x="84" y="110"/>
                  </a:lnTo>
                  <a:lnTo>
                    <a:pt x="84" y="108"/>
                  </a:lnTo>
                  <a:lnTo>
                    <a:pt x="84" y="106"/>
                  </a:lnTo>
                  <a:lnTo>
                    <a:pt x="83" y="107"/>
                  </a:lnTo>
                  <a:lnTo>
                    <a:pt x="81" y="108"/>
                  </a:lnTo>
                  <a:lnTo>
                    <a:pt x="78" y="108"/>
                  </a:lnTo>
                  <a:lnTo>
                    <a:pt x="77" y="110"/>
                  </a:lnTo>
                  <a:lnTo>
                    <a:pt x="74" y="108"/>
                  </a:lnTo>
                  <a:lnTo>
                    <a:pt x="74" y="107"/>
                  </a:lnTo>
                  <a:lnTo>
                    <a:pt x="73" y="106"/>
                  </a:lnTo>
                  <a:lnTo>
                    <a:pt x="71" y="106"/>
                  </a:lnTo>
                  <a:lnTo>
                    <a:pt x="70" y="106"/>
                  </a:lnTo>
                  <a:lnTo>
                    <a:pt x="68" y="103"/>
                  </a:lnTo>
                  <a:lnTo>
                    <a:pt x="67" y="103"/>
                  </a:lnTo>
                  <a:lnTo>
                    <a:pt x="64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1" y="98"/>
                  </a:lnTo>
                  <a:lnTo>
                    <a:pt x="61" y="97"/>
                  </a:lnTo>
                  <a:lnTo>
                    <a:pt x="58" y="96"/>
                  </a:lnTo>
                  <a:lnTo>
                    <a:pt x="56" y="93"/>
                  </a:lnTo>
                  <a:lnTo>
                    <a:pt x="54" y="91"/>
                  </a:lnTo>
                  <a:lnTo>
                    <a:pt x="53" y="91"/>
                  </a:lnTo>
                  <a:lnTo>
                    <a:pt x="53" y="90"/>
                  </a:lnTo>
                  <a:lnTo>
                    <a:pt x="57" y="90"/>
                  </a:lnTo>
                  <a:lnTo>
                    <a:pt x="61" y="91"/>
                  </a:lnTo>
                  <a:lnTo>
                    <a:pt x="63" y="91"/>
                  </a:lnTo>
                  <a:lnTo>
                    <a:pt x="64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3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68" y="91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7"/>
                  </a:lnTo>
                  <a:lnTo>
                    <a:pt x="68" y="83"/>
                  </a:lnTo>
                  <a:lnTo>
                    <a:pt x="68" y="80"/>
                  </a:lnTo>
                  <a:lnTo>
                    <a:pt x="67" y="76"/>
                  </a:lnTo>
                  <a:lnTo>
                    <a:pt x="66" y="74"/>
                  </a:lnTo>
                  <a:lnTo>
                    <a:pt x="60" y="67"/>
                  </a:lnTo>
                  <a:lnTo>
                    <a:pt x="56" y="64"/>
                  </a:lnTo>
                  <a:lnTo>
                    <a:pt x="56" y="63"/>
                  </a:lnTo>
                  <a:lnTo>
                    <a:pt x="54" y="61"/>
                  </a:lnTo>
                  <a:lnTo>
                    <a:pt x="51" y="61"/>
                  </a:lnTo>
                  <a:lnTo>
                    <a:pt x="48" y="60"/>
                  </a:lnTo>
                  <a:lnTo>
                    <a:pt x="44" y="57"/>
                  </a:lnTo>
                  <a:lnTo>
                    <a:pt x="43" y="56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48"/>
                  </a:lnTo>
                  <a:lnTo>
                    <a:pt x="41" y="46"/>
                  </a:lnTo>
                  <a:lnTo>
                    <a:pt x="40" y="44"/>
                  </a:lnTo>
                  <a:lnTo>
                    <a:pt x="38" y="43"/>
                  </a:lnTo>
                  <a:lnTo>
                    <a:pt x="37" y="40"/>
                  </a:lnTo>
                  <a:lnTo>
                    <a:pt x="37" y="37"/>
                  </a:lnTo>
                  <a:lnTo>
                    <a:pt x="37" y="36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28"/>
                  </a:lnTo>
                  <a:lnTo>
                    <a:pt x="30" y="26"/>
                  </a:lnTo>
                  <a:lnTo>
                    <a:pt x="28" y="23"/>
                  </a:lnTo>
                  <a:lnTo>
                    <a:pt x="27" y="21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6"/>
                  </a:lnTo>
                  <a:lnTo>
                    <a:pt x="24" y="13"/>
                  </a:lnTo>
                  <a:lnTo>
                    <a:pt x="23" y="10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8" y="3"/>
                  </a:lnTo>
                  <a:lnTo>
                    <a:pt x="34" y="3"/>
                  </a:lnTo>
                  <a:lnTo>
                    <a:pt x="38" y="1"/>
                  </a:lnTo>
                  <a:lnTo>
                    <a:pt x="43" y="1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7" y="3"/>
                  </a:lnTo>
                  <a:lnTo>
                    <a:pt x="57" y="4"/>
                  </a:lnTo>
                  <a:lnTo>
                    <a:pt x="64" y="7"/>
                  </a:lnTo>
                  <a:lnTo>
                    <a:pt x="71" y="10"/>
                  </a:lnTo>
                  <a:lnTo>
                    <a:pt x="80" y="13"/>
                  </a:lnTo>
                  <a:lnTo>
                    <a:pt x="87" y="16"/>
                  </a:lnTo>
                  <a:lnTo>
                    <a:pt x="94" y="17"/>
                  </a:lnTo>
                  <a:lnTo>
                    <a:pt x="103" y="20"/>
                  </a:lnTo>
                  <a:lnTo>
                    <a:pt x="110" y="23"/>
                  </a:lnTo>
                  <a:lnTo>
                    <a:pt x="117" y="26"/>
                  </a:lnTo>
                  <a:lnTo>
                    <a:pt x="123" y="26"/>
                  </a:lnTo>
                  <a:lnTo>
                    <a:pt x="128" y="26"/>
                  </a:lnTo>
                  <a:lnTo>
                    <a:pt x="134" y="26"/>
                  </a:lnTo>
                  <a:lnTo>
                    <a:pt x="140" y="26"/>
                  </a:lnTo>
                  <a:lnTo>
                    <a:pt x="145" y="26"/>
                  </a:lnTo>
                  <a:lnTo>
                    <a:pt x="151" y="26"/>
                  </a:lnTo>
                  <a:lnTo>
                    <a:pt x="157" y="26"/>
                  </a:lnTo>
                  <a:lnTo>
                    <a:pt x="163" y="26"/>
                  </a:lnTo>
                  <a:lnTo>
                    <a:pt x="163" y="24"/>
                  </a:lnTo>
                  <a:lnTo>
                    <a:pt x="163" y="21"/>
                  </a:lnTo>
                  <a:lnTo>
                    <a:pt x="163" y="20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70" y="17"/>
                  </a:lnTo>
                  <a:lnTo>
                    <a:pt x="173" y="17"/>
                  </a:lnTo>
                  <a:lnTo>
                    <a:pt x="177" y="17"/>
                  </a:lnTo>
                  <a:lnTo>
                    <a:pt x="180" y="17"/>
                  </a:lnTo>
                  <a:lnTo>
                    <a:pt x="184" y="17"/>
                  </a:lnTo>
                  <a:lnTo>
                    <a:pt x="187" y="17"/>
                  </a:lnTo>
                  <a:lnTo>
                    <a:pt x="191" y="17"/>
                  </a:lnTo>
                  <a:lnTo>
                    <a:pt x="191" y="17"/>
                  </a:lnTo>
                  <a:lnTo>
                    <a:pt x="191" y="18"/>
                  </a:lnTo>
                  <a:lnTo>
                    <a:pt x="192" y="20"/>
                  </a:lnTo>
                  <a:lnTo>
                    <a:pt x="194" y="21"/>
                  </a:lnTo>
                  <a:lnTo>
                    <a:pt x="195" y="24"/>
                  </a:lnTo>
                  <a:lnTo>
                    <a:pt x="198" y="24"/>
                  </a:lnTo>
                  <a:lnTo>
                    <a:pt x="201" y="27"/>
                  </a:lnTo>
                  <a:lnTo>
                    <a:pt x="205" y="33"/>
                  </a:lnTo>
                  <a:lnTo>
                    <a:pt x="210" y="36"/>
                  </a:lnTo>
                  <a:lnTo>
                    <a:pt x="212" y="37"/>
                  </a:lnTo>
                  <a:lnTo>
                    <a:pt x="214" y="38"/>
                  </a:lnTo>
                  <a:lnTo>
                    <a:pt x="215" y="40"/>
                  </a:lnTo>
                  <a:lnTo>
                    <a:pt x="217" y="43"/>
                  </a:lnTo>
                  <a:lnTo>
                    <a:pt x="220" y="48"/>
                  </a:lnTo>
                  <a:lnTo>
                    <a:pt x="220" y="51"/>
                  </a:lnTo>
                  <a:lnTo>
                    <a:pt x="220" y="53"/>
                  </a:lnTo>
                  <a:lnTo>
                    <a:pt x="222" y="57"/>
                  </a:lnTo>
                  <a:lnTo>
                    <a:pt x="224" y="58"/>
                  </a:lnTo>
                  <a:lnTo>
                    <a:pt x="225" y="58"/>
                  </a:lnTo>
                  <a:lnTo>
                    <a:pt x="227" y="60"/>
                  </a:lnTo>
                  <a:lnTo>
                    <a:pt x="228" y="61"/>
                  </a:lnTo>
                  <a:lnTo>
                    <a:pt x="230" y="63"/>
                  </a:lnTo>
                  <a:lnTo>
                    <a:pt x="232" y="64"/>
                  </a:lnTo>
                  <a:lnTo>
                    <a:pt x="235" y="66"/>
                  </a:lnTo>
                  <a:lnTo>
                    <a:pt x="240" y="67"/>
                  </a:lnTo>
                  <a:lnTo>
                    <a:pt x="242" y="68"/>
                  </a:lnTo>
                  <a:lnTo>
                    <a:pt x="244" y="68"/>
                  </a:lnTo>
                  <a:lnTo>
                    <a:pt x="244" y="68"/>
                  </a:lnTo>
                  <a:lnTo>
                    <a:pt x="245" y="67"/>
                  </a:lnTo>
                  <a:lnTo>
                    <a:pt x="247" y="66"/>
                  </a:lnTo>
                  <a:lnTo>
                    <a:pt x="248" y="66"/>
                  </a:lnTo>
                  <a:lnTo>
                    <a:pt x="248" y="64"/>
                  </a:lnTo>
                  <a:lnTo>
                    <a:pt x="248" y="63"/>
                  </a:lnTo>
                  <a:lnTo>
                    <a:pt x="248" y="61"/>
                  </a:lnTo>
                  <a:lnTo>
                    <a:pt x="250" y="57"/>
                  </a:lnTo>
                  <a:lnTo>
                    <a:pt x="252" y="56"/>
                  </a:lnTo>
                  <a:lnTo>
                    <a:pt x="254" y="54"/>
                  </a:lnTo>
                  <a:lnTo>
                    <a:pt x="255" y="54"/>
                  </a:lnTo>
                  <a:lnTo>
                    <a:pt x="257" y="53"/>
                  </a:lnTo>
                  <a:lnTo>
                    <a:pt x="258" y="53"/>
                  </a:lnTo>
                  <a:lnTo>
                    <a:pt x="260" y="54"/>
                  </a:lnTo>
                  <a:lnTo>
                    <a:pt x="262" y="54"/>
                  </a:lnTo>
                  <a:lnTo>
                    <a:pt x="267" y="54"/>
                  </a:lnTo>
                  <a:lnTo>
                    <a:pt x="268" y="54"/>
                  </a:lnTo>
                  <a:lnTo>
                    <a:pt x="270" y="54"/>
                  </a:lnTo>
                  <a:lnTo>
                    <a:pt x="270" y="54"/>
                  </a:lnTo>
                  <a:lnTo>
                    <a:pt x="270" y="54"/>
                  </a:lnTo>
                  <a:lnTo>
                    <a:pt x="270" y="54"/>
                  </a:lnTo>
                  <a:lnTo>
                    <a:pt x="271" y="54"/>
                  </a:lnTo>
                  <a:lnTo>
                    <a:pt x="272" y="56"/>
                  </a:lnTo>
                  <a:lnTo>
                    <a:pt x="274" y="57"/>
                  </a:lnTo>
                  <a:lnTo>
                    <a:pt x="278" y="60"/>
                  </a:lnTo>
                  <a:lnTo>
                    <a:pt x="278" y="60"/>
                  </a:lnTo>
                  <a:lnTo>
                    <a:pt x="278" y="61"/>
                  </a:lnTo>
                  <a:lnTo>
                    <a:pt x="279" y="63"/>
                  </a:lnTo>
                  <a:lnTo>
                    <a:pt x="282" y="66"/>
                  </a:lnTo>
                  <a:lnTo>
                    <a:pt x="284" y="67"/>
                  </a:lnTo>
                  <a:lnTo>
                    <a:pt x="284" y="70"/>
                  </a:lnTo>
                  <a:lnTo>
                    <a:pt x="285" y="73"/>
                  </a:lnTo>
                  <a:lnTo>
                    <a:pt x="288" y="76"/>
                  </a:lnTo>
                  <a:lnTo>
                    <a:pt x="288" y="78"/>
                  </a:lnTo>
                  <a:lnTo>
                    <a:pt x="288" y="78"/>
                  </a:lnTo>
                  <a:lnTo>
                    <a:pt x="288" y="80"/>
                  </a:lnTo>
                  <a:lnTo>
                    <a:pt x="289" y="81"/>
                  </a:lnTo>
                  <a:lnTo>
                    <a:pt x="291" y="83"/>
                  </a:lnTo>
                  <a:lnTo>
                    <a:pt x="292" y="84"/>
                  </a:lnTo>
                  <a:lnTo>
                    <a:pt x="294" y="86"/>
                  </a:lnTo>
                  <a:lnTo>
                    <a:pt x="295" y="90"/>
                  </a:lnTo>
                  <a:lnTo>
                    <a:pt x="298" y="91"/>
                  </a:lnTo>
                  <a:lnTo>
                    <a:pt x="301" y="94"/>
                  </a:lnTo>
                  <a:lnTo>
                    <a:pt x="302" y="96"/>
                  </a:lnTo>
                  <a:lnTo>
                    <a:pt x="302" y="97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100"/>
                  </a:lnTo>
                  <a:lnTo>
                    <a:pt x="302" y="101"/>
                  </a:lnTo>
                  <a:lnTo>
                    <a:pt x="302" y="103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05" y="107"/>
                  </a:lnTo>
                  <a:lnTo>
                    <a:pt x="307" y="110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8" y="116"/>
                  </a:lnTo>
                  <a:lnTo>
                    <a:pt x="309" y="116"/>
                  </a:lnTo>
                  <a:lnTo>
                    <a:pt x="312" y="116"/>
                  </a:lnTo>
                  <a:lnTo>
                    <a:pt x="314" y="117"/>
                  </a:lnTo>
                  <a:lnTo>
                    <a:pt x="315" y="118"/>
                  </a:lnTo>
                  <a:lnTo>
                    <a:pt x="317" y="118"/>
                  </a:lnTo>
                  <a:lnTo>
                    <a:pt x="318" y="118"/>
                  </a:lnTo>
                  <a:lnTo>
                    <a:pt x="319" y="120"/>
                  </a:lnTo>
                  <a:lnTo>
                    <a:pt x="322" y="121"/>
                  </a:lnTo>
                  <a:lnTo>
                    <a:pt x="325" y="121"/>
                  </a:lnTo>
                  <a:lnTo>
                    <a:pt x="329" y="123"/>
                  </a:lnTo>
                  <a:lnTo>
                    <a:pt x="332" y="123"/>
                  </a:lnTo>
                  <a:lnTo>
                    <a:pt x="335" y="124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4"/>
                  </a:lnTo>
                  <a:lnTo>
                    <a:pt x="338" y="124"/>
                  </a:lnTo>
                  <a:lnTo>
                    <a:pt x="339" y="124"/>
                  </a:lnTo>
                  <a:close/>
                  <a:moveTo>
                    <a:pt x="58" y="18"/>
                  </a:moveTo>
                  <a:lnTo>
                    <a:pt x="58" y="18"/>
                  </a:lnTo>
                  <a:lnTo>
                    <a:pt x="57" y="18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close/>
                  <a:moveTo>
                    <a:pt x="84" y="68"/>
                  </a:moveTo>
                  <a:lnTo>
                    <a:pt x="83" y="68"/>
                  </a:lnTo>
                  <a:lnTo>
                    <a:pt x="81" y="67"/>
                  </a:lnTo>
                  <a:lnTo>
                    <a:pt x="78" y="63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7" y="58"/>
                  </a:lnTo>
                  <a:lnTo>
                    <a:pt x="78" y="58"/>
                  </a:lnTo>
                  <a:lnTo>
                    <a:pt x="80" y="60"/>
                  </a:lnTo>
                  <a:lnTo>
                    <a:pt x="80" y="61"/>
                  </a:lnTo>
                  <a:lnTo>
                    <a:pt x="80" y="63"/>
                  </a:lnTo>
                  <a:lnTo>
                    <a:pt x="83" y="63"/>
                  </a:lnTo>
                  <a:lnTo>
                    <a:pt x="83" y="67"/>
                  </a:lnTo>
                  <a:lnTo>
                    <a:pt x="84" y="68"/>
                  </a:lnTo>
                  <a:close/>
                  <a:moveTo>
                    <a:pt x="98" y="68"/>
                  </a:moveTo>
                  <a:lnTo>
                    <a:pt x="97" y="73"/>
                  </a:lnTo>
                  <a:lnTo>
                    <a:pt x="97" y="73"/>
                  </a:lnTo>
                  <a:lnTo>
                    <a:pt x="94" y="71"/>
                  </a:lnTo>
                  <a:lnTo>
                    <a:pt x="94" y="71"/>
                  </a:lnTo>
                  <a:lnTo>
                    <a:pt x="94" y="66"/>
                  </a:lnTo>
                  <a:lnTo>
                    <a:pt x="95" y="66"/>
                  </a:lnTo>
                  <a:lnTo>
                    <a:pt x="97" y="64"/>
                  </a:lnTo>
                  <a:lnTo>
                    <a:pt x="98" y="66"/>
                  </a:lnTo>
                  <a:lnTo>
                    <a:pt x="98" y="67"/>
                  </a:lnTo>
                  <a:lnTo>
                    <a:pt x="98" y="68"/>
                  </a:lnTo>
                  <a:close/>
                  <a:moveTo>
                    <a:pt x="1" y="70"/>
                  </a:moveTo>
                  <a:lnTo>
                    <a:pt x="1" y="71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6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1" y="70"/>
                  </a:lnTo>
                  <a:close/>
                  <a:moveTo>
                    <a:pt x="51" y="86"/>
                  </a:moveTo>
                  <a:lnTo>
                    <a:pt x="51" y="87"/>
                  </a:lnTo>
                  <a:lnTo>
                    <a:pt x="48" y="86"/>
                  </a:lnTo>
                  <a:lnTo>
                    <a:pt x="50" y="83"/>
                  </a:lnTo>
                  <a:lnTo>
                    <a:pt x="50" y="81"/>
                  </a:lnTo>
                  <a:lnTo>
                    <a:pt x="50" y="80"/>
                  </a:lnTo>
                  <a:lnTo>
                    <a:pt x="51" y="81"/>
                  </a:lnTo>
                  <a:lnTo>
                    <a:pt x="51" y="84"/>
                  </a:lnTo>
                  <a:lnTo>
                    <a:pt x="51" y="86"/>
                  </a:lnTo>
                  <a:close/>
                  <a:moveTo>
                    <a:pt x="117" y="123"/>
                  </a:moveTo>
                  <a:lnTo>
                    <a:pt x="117" y="123"/>
                  </a:lnTo>
                  <a:lnTo>
                    <a:pt x="117" y="123"/>
                  </a:lnTo>
                  <a:lnTo>
                    <a:pt x="115" y="123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7" y="121"/>
                  </a:lnTo>
                  <a:lnTo>
                    <a:pt x="117" y="123"/>
                  </a:lnTo>
                  <a:close/>
                  <a:moveTo>
                    <a:pt x="101" y="148"/>
                  </a:moveTo>
                  <a:lnTo>
                    <a:pt x="101" y="148"/>
                  </a:lnTo>
                  <a:lnTo>
                    <a:pt x="100" y="147"/>
                  </a:lnTo>
                  <a:lnTo>
                    <a:pt x="100" y="146"/>
                  </a:lnTo>
                  <a:lnTo>
                    <a:pt x="98" y="144"/>
                  </a:lnTo>
                  <a:lnTo>
                    <a:pt x="97" y="144"/>
                  </a:lnTo>
                  <a:lnTo>
                    <a:pt x="98" y="141"/>
                  </a:lnTo>
                  <a:lnTo>
                    <a:pt x="100" y="136"/>
                  </a:lnTo>
                  <a:lnTo>
                    <a:pt x="100" y="137"/>
                  </a:lnTo>
                  <a:lnTo>
                    <a:pt x="98" y="143"/>
                  </a:lnTo>
                  <a:lnTo>
                    <a:pt x="98" y="143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100" y="147"/>
                  </a:lnTo>
                  <a:lnTo>
                    <a:pt x="101" y="148"/>
                  </a:lnTo>
                  <a:lnTo>
                    <a:pt x="101" y="148"/>
                  </a:lnTo>
                  <a:close/>
                  <a:moveTo>
                    <a:pt x="125" y="140"/>
                  </a:moveTo>
                  <a:lnTo>
                    <a:pt x="125" y="143"/>
                  </a:lnTo>
                  <a:lnTo>
                    <a:pt x="124" y="143"/>
                  </a:lnTo>
                  <a:lnTo>
                    <a:pt x="124" y="141"/>
                  </a:lnTo>
                  <a:lnTo>
                    <a:pt x="123" y="140"/>
                  </a:lnTo>
                  <a:lnTo>
                    <a:pt x="123" y="138"/>
                  </a:lnTo>
                  <a:lnTo>
                    <a:pt x="123" y="138"/>
                  </a:lnTo>
                  <a:lnTo>
                    <a:pt x="124" y="140"/>
                  </a:lnTo>
                  <a:lnTo>
                    <a:pt x="125" y="140"/>
                  </a:lnTo>
                  <a:close/>
                  <a:moveTo>
                    <a:pt x="107" y="151"/>
                  </a:moveTo>
                  <a:lnTo>
                    <a:pt x="107" y="153"/>
                  </a:lnTo>
                  <a:lnTo>
                    <a:pt x="101" y="148"/>
                  </a:lnTo>
                  <a:lnTo>
                    <a:pt x="103" y="148"/>
                  </a:lnTo>
                  <a:lnTo>
                    <a:pt x="104" y="148"/>
                  </a:lnTo>
                  <a:lnTo>
                    <a:pt x="107" y="151"/>
                  </a:lnTo>
                  <a:close/>
                  <a:moveTo>
                    <a:pt x="137" y="156"/>
                  </a:moveTo>
                  <a:lnTo>
                    <a:pt x="137" y="156"/>
                  </a:lnTo>
                  <a:lnTo>
                    <a:pt x="135" y="154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7" y="156"/>
                  </a:lnTo>
                  <a:lnTo>
                    <a:pt x="137" y="156"/>
                  </a:lnTo>
                  <a:lnTo>
                    <a:pt x="137" y="156"/>
                  </a:lnTo>
                  <a:close/>
                  <a:moveTo>
                    <a:pt x="190" y="200"/>
                  </a:moveTo>
                  <a:lnTo>
                    <a:pt x="190" y="201"/>
                  </a:lnTo>
                  <a:lnTo>
                    <a:pt x="188" y="200"/>
                  </a:lnTo>
                  <a:lnTo>
                    <a:pt x="188" y="200"/>
                  </a:lnTo>
                  <a:lnTo>
                    <a:pt x="188" y="198"/>
                  </a:lnTo>
                  <a:lnTo>
                    <a:pt x="188" y="197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190" y="200"/>
                  </a:lnTo>
                  <a:close/>
                  <a:moveTo>
                    <a:pt x="506" y="206"/>
                  </a:moveTo>
                  <a:lnTo>
                    <a:pt x="508" y="207"/>
                  </a:lnTo>
                  <a:lnTo>
                    <a:pt x="506" y="207"/>
                  </a:lnTo>
                  <a:lnTo>
                    <a:pt x="506" y="206"/>
                  </a:lnTo>
                  <a:lnTo>
                    <a:pt x="506" y="206"/>
                  </a:lnTo>
                  <a:lnTo>
                    <a:pt x="506" y="206"/>
                  </a:lnTo>
                  <a:lnTo>
                    <a:pt x="506" y="206"/>
                  </a:lnTo>
                  <a:lnTo>
                    <a:pt x="506" y="206"/>
                  </a:lnTo>
                  <a:close/>
                  <a:moveTo>
                    <a:pt x="503" y="221"/>
                  </a:moveTo>
                  <a:lnTo>
                    <a:pt x="502" y="223"/>
                  </a:lnTo>
                  <a:lnTo>
                    <a:pt x="502" y="220"/>
                  </a:lnTo>
                  <a:lnTo>
                    <a:pt x="502" y="218"/>
                  </a:lnTo>
                  <a:lnTo>
                    <a:pt x="503" y="217"/>
                  </a:lnTo>
                  <a:lnTo>
                    <a:pt x="505" y="217"/>
                  </a:lnTo>
                  <a:lnTo>
                    <a:pt x="506" y="217"/>
                  </a:lnTo>
                  <a:lnTo>
                    <a:pt x="506" y="217"/>
                  </a:lnTo>
                  <a:lnTo>
                    <a:pt x="505" y="218"/>
                  </a:lnTo>
                  <a:lnTo>
                    <a:pt x="503" y="221"/>
                  </a:lnTo>
                  <a:close/>
                  <a:moveTo>
                    <a:pt x="120" y="248"/>
                  </a:moveTo>
                  <a:lnTo>
                    <a:pt x="118" y="248"/>
                  </a:lnTo>
                  <a:lnTo>
                    <a:pt x="117" y="247"/>
                  </a:lnTo>
                  <a:lnTo>
                    <a:pt x="117" y="247"/>
                  </a:lnTo>
                  <a:lnTo>
                    <a:pt x="118" y="245"/>
                  </a:lnTo>
                  <a:lnTo>
                    <a:pt x="118" y="247"/>
                  </a:lnTo>
                  <a:lnTo>
                    <a:pt x="120" y="248"/>
                  </a:lnTo>
                  <a:close/>
                  <a:moveTo>
                    <a:pt x="428" y="250"/>
                  </a:moveTo>
                  <a:lnTo>
                    <a:pt x="425" y="250"/>
                  </a:lnTo>
                  <a:lnTo>
                    <a:pt x="425" y="250"/>
                  </a:lnTo>
                  <a:lnTo>
                    <a:pt x="429" y="247"/>
                  </a:lnTo>
                  <a:lnTo>
                    <a:pt x="429" y="247"/>
                  </a:lnTo>
                  <a:lnTo>
                    <a:pt x="429" y="248"/>
                  </a:lnTo>
                  <a:lnTo>
                    <a:pt x="428" y="248"/>
                  </a:lnTo>
                  <a:lnTo>
                    <a:pt x="428" y="25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4" name="Google Shape;274;p3"/>
            <p:cNvSpPr/>
            <p:nvPr/>
          </p:nvSpPr>
          <p:spPr>
            <a:xfrm>
              <a:off x="5070001" y="4298856"/>
              <a:ext cx="221610" cy="65290"/>
            </a:xfrm>
            <a:custGeom>
              <a:rect b="b" l="l" r="r" t="t"/>
              <a:pathLst>
                <a:path extrusionOk="0" h="104" w="316">
                  <a:moveTo>
                    <a:pt x="281" y="4"/>
                  </a:moveTo>
                  <a:lnTo>
                    <a:pt x="280" y="4"/>
                  </a:lnTo>
                  <a:lnTo>
                    <a:pt x="280" y="3"/>
                  </a:lnTo>
                  <a:lnTo>
                    <a:pt x="280" y="1"/>
                  </a:lnTo>
                  <a:lnTo>
                    <a:pt x="281" y="1"/>
                  </a:lnTo>
                  <a:lnTo>
                    <a:pt x="283" y="0"/>
                  </a:lnTo>
                  <a:lnTo>
                    <a:pt x="283" y="1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1" y="4"/>
                  </a:lnTo>
                  <a:close/>
                  <a:moveTo>
                    <a:pt x="289" y="51"/>
                  </a:moveTo>
                  <a:lnTo>
                    <a:pt x="287" y="51"/>
                  </a:lnTo>
                  <a:lnTo>
                    <a:pt x="286" y="51"/>
                  </a:lnTo>
                  <a:lnTo>
                    <a:pt x="283" y="50"/>
                  </a:lnTo>
                  <a:lnTo>
                    <a:pt x="280" y="48"/>
                  </a:lnTo>
                  <a:lnTo>
                    <a:pt x="276" y="48"/>
                  </a:lnTo>
                  <a:lnTo>
                    <a:pt x="274" y="48"/>
                  </a:lnTo>
                  <a:lnTo>
                    <a:pt x="273" y="48"/>
                  </a:lnTo>
                  <a:lnTo>
                    <a:pt x="273" y="48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70" y="50"/>
                  </a:lnTo>
                  <a:lnTo>
                    <a:pt x="269" y="48"/>
                  </a:lnTo>
                  <a:lnTo>
                    <a:pt x="269" y="48"/>
                  </a:lnTo>
                  <a:lnTo>
                    <a:pt x="267" y="48"/>
                  </a:lnTo>
                  <a:lnTo>
                    <a:pt x="266" y="48"/>
                  </a:lnTo>
                  <a:lnTo>
                    <a:pt x="263" y="50"/>
                  </a:lnTo>
                  <a:lnTo>
                    <a:pt x="261" y="48"/>
                  </a:lnTo>
                  <a:lnTo>
                    <a:pt x="260" y="48"/>
                  </a:lnTo>
                  <a:lnTo>
                    <a:pt x="260" y="48"/>
                  </a:lnTo>
                  <a:lnTo>
                    <a:pt x="260" y="50"/>
                  </a:lnTo>
                  <a:lnTo>
                    <a:pt x="257" y="51"/>
                  </a:lnTo>
                  <a:lnTo>
                    <a:pt x="257" y="53"/>
                  </a:lnTo>
                  <a:lnTo>
                    <a:pt x="256" y="54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6" y="60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6" y="64"/>
                  </a:lnTo>
                  <a:lnTo>
                    <a:pt x="256" y="64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8"/>
                  </a:lnTo>
                  <a:lnTo>
                    <a:pt x="254" y="70"/>
                  </a:lnTo>
                  <a:lnTo>
                    <a:pt x="253" y="70"/>
                  </a:lnTo>
                  <a:lnTo>
                    <a:pt x="251" y="70"/>
                  </a:lnTo>
                  <a:lnTo>
                    <a:pt x="251" y="70"/>
                  </a:lnTo>
                  <a:lnTo>
                    <a:pt x="250" y="71"/>
                  </a:lnTo>
                  <a:lnTo>
                    <a:pt x="249" y="71"/>
                  </a:lnTo>
                  <a:lnTo>
                    <a:pt x="249" y="73"/>
                  </a:lnTo>
                  <a:lnTo>
                    <a:pt x="249" y="74"/>
                  </a:lnTo>
                  <a:lnTo>
                    <a:pt x="249" y="74"/>
                  </a:lnTo>
                  <a:lnTo>
                    <a:pt x="249" y="74"/>
                  </a:lnTo>
                  <a:lnTo>
                    <a:pt x="249" y="76"/>
                  </a:lnTo>
                  <a:lnTo>
                    <a:pt x="249" y="76"/>
                  </a:lnTo>
                  <a:lnTo>
                    <a:pt x="249" y="77"/>
                  </a:lnTo>
                  <a:lnTo>
                    <a:pt x="250" y="77"/>
                  </a:lnTo>
                  <a:lnTo>
                    <a:pt x="250" y="78"/>
                  </a:lnTo>
                  <a:lnTo>
                    <a:pt x="249" y="78"/>
                  </a:lnTo>
                  <a:lnTo>
                    <a:pt x="249" y="78"/>
                  </a:lnTo>
                  <a:lnTo>
                    <a:pt x="246" y="80"/>
                  </a:lnTo>
                  <a:lnTo>
                    <a:pt x="244" y="81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3" y="84"/>
                  </a:lnTo>
                  <a:lnTo>
                    <a:pt x="243" y="86"/>
                  </a:lnTo>
                  <a:lnTo>
                    <a:pt x="244" y="86"/>
                  </a:lnTo>
                  <a:lnTo>
                    <a:pt x="244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3" y="88"/>
                  </a:lnTo>
                  <a:lnTo>
                    <a:pt x="241" y="88"/>
                  </a:lnTo>
                  <a:lnTo>
                    <a:pt x="241" y="88"/>
                  </a:lnTo>
                  <a:lnTo>
                    <a:pt x="241" y="91"/>
                  </a:lnTo>
                  <a:lnTo>
                    <a:pt x="241" y="93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39" y="96"/>
                  </a:lnTo>
                  <a:lnTo>
                    <a:pt x="237" y="94"/>
                  </a:lnTo>
                  <a:lnTo>
                    <a:pt x="236" y="94"/>
                  </a:lnTo>
                  <a:lnTo>
                    <a:pt x="233" y="96"/>
                  </a:lnTo>
                  <a:lnTo>
                    <a:pt x="231" y="94"/>
                  </a:lnTo>
                  <a:lnTo>
                    <a:pt x="229" y="96"/>
                  </a:lnTo>
                  <a:lnTo>
                    <a:pt x="229" y="96"/>
                  </a:lnTo>
                  <a:lnTo>
                    <a:pt x="227" y="97"/>
                  </a:lnTo>
                  <a:lnTo>
                    <a:pt x="226" y="98"/>
                  </a:lnTo>
                  <a:lnTo>
                    <a:pt x="224" y="98"/>
                  </a:lnTo>
                  <a:lnTo>
                    <a:pt x="223" y="97"/>
                  </a:lnTo>
                  <a:lnTo>
                    <a:pt x="221" y="97"/>
                  </a:lnTo>
                  <a:lnTo>
                    <a:pt x="220" y="97"/>
                  </a:lnTo>
                  <a:lnTo>
                    <a:pt x="217" y="96"/>
                  </a:lnTo>
                  <a:lnTo>
                    <a:pt x="216" y="96"/>
                  </a:lnTo>
                  <a:lnTo>
                    <a:pt x="214" y="96"/>
                  </a:lnTo>
                  <a:lnTo>
                    <a:pt x="214" y="94"/>
                  </a:lnTo>
                  <a:lnTo>
                    <a:pt x="214" y="94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06" y="93"/>
                  </a:lnTo>
                  <a:lnTo>
                    <a:pt x="204" y="94"/>
                  </a:lnTo>
                  <a:lnTo>
                    <a:pt x="203" y="94"/>
                  </a:lnTo>
                  <a:lnTo>
                    <a:pt x="202" y="96"/>
                  </a:lnTo>
                  <a:lnTo>
                    <a:pt x="202" y="97"/>
                  </a:lnTo>
                  <a:lnTo>
                    <a:pt x="202" y="98"/>
                  </a:lnTo>
                  <a:lnTo>
                    <a:pt x="200" y="100"/>
                  </a:lnTo>
                  <a:lnTo>
                    <a:pt x="197" y="100"/>
                  </a:lnTo>
                  <a:lnTo>
                    <a:pt x="196" y="101"/>
                  </a:lnTo>
                  <a:lnTo>
                    <a:pt x="196" y="103"/>
                  </a:lnTo>
                  <a:lnTo>
                    <a:pt x="194" y="101"/>
                  </a:lnTo>
                  <a:lnTo>
                    <a:pt x="193" y="101"/>
                  </a:lnTo>
                  <a:lnTo>
                    <a:pt x="192" y="103"/>
                  </a:lnTo>
                  <a:lnTo>
                    <a:pt x="190" y="103"/>
                  </a:lnTo>
                  <a:lnTo>
                    <a:pt x="187" y="101"/>
                  </a:lnTo>
                  <a:lnTo>
                    <a:pt x="184" y="101"/>
                  </a:lnTo>
                  <a:lnTo>
                    <a:pt x="183" y="101"/>
                  </a:lnTo>
                  <a:lnTo>
                    <a:pt x="182" y="101"/>
                  </a:lnTo>
                  <a:lnTo>
                    <a:pt x="177" y="104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3" y="103"/>
                  </a:lnTo>
                  <a:lnTo>
                    <a:pt x="172" y="103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97"/>
                  </a:lnTo>
                  <a:lnTo>
                    <a:pt x="166" y="97"/>
                  </a:lnTo>
                  <a:lnTo>
                    <a:pt x="164" y="96"/>
                  </a:lnTo>
                  <a:lnTo>
                    <a:pt x="164" y="96"/>
                  </a:lnTo>
                  <a:lnTo>
                    <a:pt x="163" y="94"/>
                  </a:lnTo>
                  <a:lnTo>
                    <a:pt x="162" y="93"/>
                  </a:lnTo>
                  <a:lnTo>
                    <a:pt x="162" y="90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59" y="88"/>
                  </a:lnTo>
                  <a:lnTo>
                    <a:pt x="160" y="86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4" y="90"/>
                  </a:lnTo>
                  <a:lnTo>
                    <a:pt x="166" y="91"/>
                  </a:lnTo>
                  <a:lnTo>
                    <a:pt x="169" y="91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7" y="93"/>
                  </a:lnTo>
                  <a:lnTo>
                    <a:pt x="179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6" y="96"/>
                  </a:lnTo>
                  <a:lnTo>
                    <a:pt x="184" y="96"/>
                  </a:lnTo>
                  <a:lnTo>
                    <a:pt x="184" y="94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84" y="91"/>
                  </a:lnTo>
                  <a:lnTo>
                    <a:pt x="186" y="90"/>
                  </a:lnTo>
                  <a:lnTo>
                    <a:pt x="186" y="88"/>
                  </a:lnTo>
                  <a:lnTo>
                    <a:pt x="186" y="87"/>
                  </a:lnTo>
                  <a:lnTo>
                    <a:pt x="187" y="86"/>
                  </a:lnTo>
                  <a:lnTo>
                    <a:pt x="187" y="84"/>
                  </a:lnTo>
                  <a:lnTo>
                    <a:pt x="186" y="83"/>
                  </a:lnTo>
                  <a:lnTo>
                    <a:pt x="186" y="81"/>
                  </a:lnTo>
                  <a:lnTo>
                    <a:pt x="186" y="80"/>
                  </a:lnTo>
                  <a:lnTo>
                    <a:pt x="187" y="80"/>
                  </a:lnTo>
                  <a:lnTo>
                    <a:pt x="187" y="80"/>
                  </a:lnTo>
                  <a:lnTo>
                    <a:pt x="189" y="80"/>
                  </a:lnTo>
                  <a:lnTo>
                    <a:pt x="189" y="80"/>
                  </a:lnTo>
                  <a:lnTo>
                    <a:pt x="190" y="80"/>
                  </a:lnTo>
                  <a:lnTo>
                    <a:pt x="190" y="80"/>
                  </a:lnTo>
                  <a:lnTo>
                    <a:pt x="190" y="78"/>
                  </a:lnTo>
                  <a:lnTo>
                    <a:pt x="190" y="76"/>
                  </a:lnTo>
                  <a:lnTo>
                    <a:pt x="192" y="74"/>
                  </a:lnTo>
                  <a:lnTo>
                    <a:pt x="193" y="73"/>
                  </a:lnTo>
                  <a:lnTo>
                    <a:pt x="194" y="73"/>
                  </a:lnTo>
                  <a:lnTo>
                    <a:pt x="200" y="71"/>
                  </a:lnTo>
                  <a:lnTo>
                    <a:pt x="210" y="68"/>
                  </a:lnTo>
                  <a:lnTo>
                    <a:pt x="213" y="68"/>
                  </a:lnTo>
                  <a:lnTo>
                    <a:pt x="214" y="67"/>
                  </a:lnTo>
                  <a:lnTo>
                    <a:pt x="216" y="67"/>
                  </a:lnTo>
                  <a:lnTo>
                    <a:pt x="217" y="64"/>
                  </a:lnTo>
                  <a:lnTo>
                    <a:pt x="220" y="61"/>
                  </a:lnTo>
                  <a:lnTo>
                    <a:pt x="221" y="58"/>
                  </a:lnTo>
                  <a:lnTo>
                    <a:pt x="226" y="54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6"/>
                  </a:lnTo>
                  <a:lnTo>
                    <a:pt x="231" y="46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33" y="46"/>
                  </a:lnTo>
                  <a:lnTo>
                    <a:pt x="233" y="46"/>
                  </a:lnTo>
                  <a:lnTo>
                    <a:pt x="234" y="47"/>
                  </a:lnTo>
                  <a:lnTo>
                    <a:pt x="234" y="47"/>
                  </a:lnTo>
                  <a:lnTo>
                    <a:pt x="236" y="48"/>
                  </a:lnTo>
                  <a:lnTo>
                    <a:pt x="236" y="50"/>
                  </a:lnTo>
                  <a:lnTo>
                    <a:pt x="236" y="50"/>
                  </a:lnTo>
                  <a:lnTo>
                    <a:pt x="237" y="50"/>
                  </a:lnTo>
                  <a:lnTo>
                    <a:pt x="239" y="51"/>
                  </a:lnTo>
                  <a:lnTo>
                    <a:pt x="239" y="53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41" y="54"/>
                  </a:lnTo>
                  <a:lnTo>
                    <a:pt x="243" y="53"/>
                  </a:lnTo>
                  <a:lnTo>
                    <a:pt x="243" y="51"/>
                  </a:lnTo>
                  <a:lnTo>
                    <a:pt x="244" y="50"/>
                  </a:lnTo>
                  <a:lnTo>
                    <a:pt x="243" y="50"/>
                  </a:lnTo>
                  <a:lnTo>
                    <a:pt x="244" y="48"/>
                  </a:lnTo>
                  <a:lnTo>
                    <a:pt x="244" y="48"/>
                  </a:lnTo>
                  <a:lnTo>
                    <a:pt x="244" y="47"/>
                  </a:lnTo>
                  <a:lnTo>
                    <a:pt x="243" y="47"/>
                  </a:lnTo>
                  <a:lnTo>
                    <a:pt x="243" y="46"/>
                  </a:lnTo>
                  <a:lnTo>
                    <a:pt x="243" y="44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4" y="41"/>
                  </a:lnTo>
                  <a:lnTo>
                    <a:pt x="246" y="41"/>
                  </a:lnTo>
                  <a:lnTo>
                    <a:pt x="247" y="40"/>
                  </a:lnTo>
                  <a:lnTo>
                    <a:pt x="247" y="41"/>
                  </a:lnTo>
                  <a:lnTo>
                    <a:pt x="247" y="43"/>
                  </a:lnTo>
                  <a:lnTo>
                    <a:pt x="247" y="46"/>
                  </a:lnTo>
                  <a:lnTo>
                    <a:pt x="249" y="48"/>
                  </a:lnTo>
                  <a:lnTo>
                    <a:pt x="250" y="48"/>
                  </a:lnTo>
                  <a:lnTo>
                    <a:pt x="251" y="48"/>
                  </a:lnTo>
                  <a:lnTo>
                    <a:pt x="251" y="48"/>
                  </a:lnTo>
                  <a:lnTo>
                    <a:pt x="251" y="48"/>
                  </a:lnTo>
                  <a:lnTo>
                    <a:pt x="251" y="48"/>
                  </a:lnTo>
                  <a:lnTo>
                    <a:pt x="251" y="47"/>
                  </a:lnTo>
                  <a:lnTo>
                    <a:pt x="251" y="44"/>
                  </a:lnTo>
                  <a:lnTo>
                    <a:pt x="250" y="43"/>
                  </a:lnTo>
                  <a:lnTo>
                    <a:pt x="250" y="40"/>
                  </a:lnTo>
                  <a:lnTo>
                    <a:pt x="249" y="40"/>
                  </a:lnTo>
                  <a:lnTo>
                    <a:pt x="253" y="40"/>
                  </a:lnTo>
                  <a:lnTo>
                    <a:pt x="254" y="38"/>
                  </a:lnTo>
                  <a:lnTo>
                    <a:pt x="256" y="37"/>
                  </a:lnTo>
                  <a:lnTo>
                    <a:pt x="256" y="37"/>
                  </a:lnTo>
                  <a:lnTo>
                    <a:pt x="256" y="36"/>
                  </a:lnTo>
                  <a:lnTo>
                    <a:pt x="254" y="34"/>
                  </a:lnTo>
                  <a:lnTo>
                    <a:pt x="254" y="33"/>
                  </a:lnTo>
                  <a:lnTo>
                    <a:pt x="253" y="31"/>
                  </a:lnTo>
                  <a:lnTo>
                    <a:pt x="256" y="30"/>
                  </a:lnTo>
                  <a:lnTo>
                    <a:pt x="257" y="28"/>
                  </a:lnTo>
                  <a:lnTo>
                    <a:pt x="257" y="30"/>
                  </a:lnTo>
                  <a:lnTo>
                    <a:pt x="257" y="30"/>
                  </a:lnTo>
                  <a:lnTo>
                    <a:pt x="259" y="30"/>
                  </a:lnTo>
                  <a:lnTo>
                    <a:pt x="260" y="30"/>
                  </a:lnTo>
                  <a:lnTo>
                    <a:pt x="261" y="28"/>
                  </a:lnTo>
                  <a:lnTo>
                    <a:pt x="261" y="27"/>
                  </a:lnTo>
                  <a:lnTo>
                    <a:pt x="264" y="24"/>
                  </a:lnTo>
                  <a:lnTo>
                    <a:pt x="264" y="23"/>
                  </a:lnTo>
                  <a:lnTo>
                    <a:pt x="266" y="20"/>
                  </a:lnTo>
                  <a:lnTo>
                    <a:pt x="271" y="14"/>
                  </a:lnTo>
                  <a:lnTo>
                    <a:pt x="271" y="13"/>
                  </a:lnTo>
                  <a:lnTo>
                    <a:pt x="274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7" y="8"/>
                  </a:lnTo>
                  <a:lnTo>
                    <a:pt x="276" y="10"/>
                  </a:lnTo>
                  <a:lnTo>
                    <a:pt x="276" y="11"/>
                  </a:lnTo>
                  <a:lnTo>
                    <a:pt x="276" y="13"/>
                  </a:lnTo>
                  <a:lnTo>
                    <a:pt x="276" y="13"/>
                  </a:lnTo>
                  <a:lnTo>
                    <a:pt x="277" y="11"/>
                  </a:lnTo>
                  <a:lnTo>
                    <a:pt x="279" y="10"/>
                  </a:lnTo>
                  <a:lnTo>
                    <a:pt x="280" y="7"/>
                  </a:lnTo>
                  <a:lnTo>
                    <a:pt x="281" y="7"/>
                  </a:lnTo>
                  <a:lnTo>
                    <a:pt x="283" y="7"/>
                  </a:lnTo>
                  <a:lnTo>
                    <a:pt x="283" y="7"/>
                  </a:lnTo>
                  <a:lnTo>
                    <a:pt x="283" y="8"/>
                  </a:lnTo>
                  <a:lnTo>
                    <a:pt x="283" y="10"/>
                  </a:lnTo>
                  <a:lnTo>
                    <a:pt x="284" y="11"/>
                  </a:lnTo>
                  <a:lnTo>
                    <a:pt x="284" y="13"/>
                  </a:lnTo>
                  <a:lnTo>
                    <a:pt x="287" y="13"/>
                  </a:lnTo>
                  <a:lnTo>
                    <a:pt x="289" y="14"/>
                  </a:lnTo>
                  <a:lnTo>
                    <a:pt x="289" y="14"/>
                  </a:lnTo>
                  <a:lnTo>
                    <a:pt x="290" y="16"/>
                  </a:lnTo>
                  <a:lnTo>
                    <a:pt x="290" y="17"/>
                  </a:lnTo>
                  <a:lnTo>
                    <a:pt x="290" y="18"/>
                  </a:lnTo>
                  <a:lnTo>
                    <a:pt x="289" y="20"/>
                  </a:lnTo>
                  <a:lnTo>
                    <a:pt x="290" y="21"/>
                  </a:lnTo>
                  <a:lnTo>
                    <a:pt x="289" y="23"/>
                  </a:lnTo>
                  <a:lnTo>
                    <a:pt x="289" y="23"/>
                  </a:lnTo>
                  <a:lnTo>
                    <a:pt x="287" y="24"/>
                  </a:lnTo>
                  <a:lnTo>
                    <a:pt x="291" y="23"/>
                  </a:lnTo>
                  <a:lnTo>
                    <a:pt x="293" y="23"/>
                  </a:lnTo>
                  <a:lnTo>
                    <a:pt x="294" y="21"/>
                  </a:lnTo>
                  <a:lnTo>
                    <a:pt x="296" y="23"/>
                  </a:lnTo>
                  <a:lnTo>
                    <a:pt x="297" y="24"/>
                  </a:lnTo>
                  <a:lnTo>
                    <a:pt x="296" y="26"/>
                  </a:lnTo>
                  <a:lnTo>
                    <a:pt x="294" y="26"/>
                  </a:lnTo>
                  <a:lnTo>
                    <a:pt x="294" y="26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7" y="26"/>
                  </a:lnTo>
                  <a:lnTo>
                    <a:pt x="299" y="26"/>
                  </a:lnTo>
                  <a:lnTo>
                    <a:pt x="300" y="26"/>
                  </a:lnTo>
                  <a:lnTo>
                    <a:pt x="300" y="26"/>
                  </a:lnTo>
                  <a:lnTo>
                    <a:pt x="303" y="26"/>
                  </a:lnTo>
                  <a:lnTo>
                    <a:pt x="303" y="27"/>
                  </a:lnTo>
                  <a:lnTo>
                    <a:pt x="304" y="27"/>
                  </a:lnTo>
                  <a:lnTo>
                    <a:pt x="304" y="28"/>
                  </a:lnTo>
                  <a:lnTo>
                    <a:pt x="306" y="30"/>
                  </a:lnTo>
                  <a:lnTo>
                    <a:pt x="310" y="31"/>
                  </a:lnTo>
                  <a:lnTo>
                    <a:pt x="311" y="31"/>
                  </a:lnTo>
                  <a:lnTo>
                    <a:pt x="311" y="31"/>
                  </a:lnTo>
                  <a:lnTo>
                    <a:pt x="314" y="31"/>
                  </a:lnTo>
                  <a:lnTo>
                    <a:pt x="314" y="31"/>
                  </a:lnTo>
                  <a:lnTo>
                    <a:pt x="316" y="33"/>
                  </a:lnTo>
                  <a:lnTo>
                    <a:pt x="316" y="33"/>
                  </a:lnTo>
                  <a:lnTo>
                    <a:pt x="316" y="34"/>
                  </a:lnTo>
                  <a:lnTo>
                    <a:pt x="314" y="36"/>
                  </a:lnTo>
                  <a:lnTo>
                    <a:pt x="314" y="36"/>
                  </a:lnTo>
                  <a:lnTo>
                    <a:pt x="313" y="37"/>
                  </a:lnTo>
                  <a:lnTo>
                    <a:pt x="310" y="38"/>
                  </a:lnTo>
                  <a:lnTo>
                    <a:pt x="306" y="38"/>
                  </a:lnTo>
                  <a:lnTo>
                    <a:pt x="304" y="38"/>
                  </a:lnTo>
                  <a:lnTo>
                    <a:pt x="301" y="38"/>
                  </a:lnTo>
                  <a:lnTo>
                    <a:pt x="300" y="38"/>
                  </a:lnTo>
                  <a:lnTo>
                    <a:pt x="299" y="38"/>
                  </a:lnTo>
                  <a:lnTo>
                    <a:pt x="299" y="41"/>
                  </a:lnTo>
                  <a:lnTo>
                    <a:pt x="300" y="44"/>
                  </a:lnTo>
                  <a:lnTo>
                    <a:pt x="304" y="46"/>
                  </a:lnTo>
                  <a:lnTo>
                    <a:pt x="304" y="47"/>
                  </a:lnTo>
                  <a:lnTo>
                    <a:pt x="304" y="48"/>
                  </a:lnTo>
                  <a:lnTo>
                    <a:pt x="304" y="48"/>
                  </a:lnTo>
                  <a:lnTo>
                    <a:pt x="303" y="48"/>
                  </a:lnTo>
                  <a:lnTo>
                    <a:pt x="301" y="48"/>
                  </a:lnTo>
                  <a:lnTo>
                    <a:pt x="299" y="50"/>
                  </a:lnTo>
                  <a:lnTo>
                    <a:pt x="297" y="50"/>
                  </a:lnTo>
                  <a:lnTo>
                    <a:pt x="296" y="50"/>
                  </a:lnTo>
                  <a:lnTo>
                    <a:pt x="293" y="50"/>
                  </a:lnTo>
                  <a:lnTo>
                    <a:pt x="291" y="48"/>
                  </a:lnTo>
                  <a:lnTo>
                    <a:pt x="290" y="48"/>
                  </a:lnTo>
                  <a:lnTo>
                    <a:pt x="289" y="50"/>
                  </a:lnTo>
                  <a:lnTo>
                    <a:pt x="289" y="51"/>
                  </a:lnTo>
                  <a:lnTo>
                    <a:pt x="289" y="51"/>
                  </a:lnTo>
                  <a:close/>
                  <a:moveTo>
                    <a:pt x="40" y="18"/>
                  </a:moveTo>
                  <a:lnTo>
                    <a:pt x="43" y="18"/>
                  </a:lnTo>
                  <a:lnTo>
                    <a:pt x="45" y="20"/>
                  </a:lnTo>
                  <a:lnTo>
                    <a:pt x="47" y="24"/>
                  </a:lnTo>
                  <a:lnTo>
                    <a:pt x="52" y="28"/>
                  </a:lnTo>
                  <a:lnTo>
                    <a:pt x="53" y="30"/>
                  </a:lnTo>
                  <a:lnTo>
                    <a:pt x="55" y="30"/>
                  </a:lnTo>
                  <a:lnTo>
                    <a:pt x="56" y="31"/>
                  </a:lnTo>
                  <a:lnTo>
                    <a:pt x="57" y="34"/>
                  </a:lnTo>
                  <a:lnTo>
                    <a:pt x="62" y="41"/>
                  </a:lnTo>
                  <a:lnTo>
                    <a:pt x="62" y="44"/>
                  </a:lnTo>
                  <a:lnTo>
                    <a:pt x="62" y="48"/>
                  </a:lnTo>
                  <a:lnTo>
                    <a:pt x="62" y="54"/>
                  </a:lnTo>
                  <a:lnTo>
                    <a:pt x="60" y="58"/>
                  </a:lnTo>
                  <a:lnTo>
                    <a:pt x="60" y="60"/>
                  </a:lnTo>
                  <a:lnTo>
                    <a:pt x="62" y="61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71"/>
                  </a:lnTo>
                  <a:lnTo>
                    <a:pt x="63" y="73"/>
                  </a:lnTo>
                  <a:lnTo>
                    <a:pt x="63" y="74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70" y="81"/>
                  </a:lnTo>
                  <a:lnTo>
                    <a:pt x="75" y="90"/>
                  </a:lnTo>
                  <a:lnTo>
                    <a:pt x="76" y="94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2" y="96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70" y="94"/>
                  </a:lnTo>
                  <a:lnTo>
                    <a:pt x="69" y="96"/>
                  </a:lnTo>
                  <a:lnTo>
                    <a:pt x="67" y="94"/>
                  </a:lnTo>
                  <a:lnTo>
                    <a:pt x="66" y="96"/>
                  </a:lnTo>
                  <a:lnTo>
                    <a:pt x="63" y="97"/>
                  </a:lnTo>
                  <a:lnTo>
                    <a:pt x="62" y="97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3"/>
                  </a:lnTo>
                  <a:lnTo>
                    <a:pt x="53" y="90"/>
                  </a:lnTo>
                  <a:lnTo>
                    <a:pt x="50" y="88"/>
                  </a:lnTo>
                  <a:lnTo>
                    <a:pt x="47" y="86"/>
                  </a:lnTo>
                  <a:lnTo>
                    <a:pt x="40" y="83"/>
                  </a:lnTo>
                  <a:lnTo>
                    <a:pt x="37" y="78"/>
                  </a:lnTo>
                  <a:lnTo>
                    <a:pt x="35" y="77"/>
                  </a:lnTo>
                  <a:lnTo>
                    <a:pt x="30" y="76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8" y="71"/>
                  </a:lnTo>
                  <a:lnTo>
                    <a:pt x="29" y="70"/>
                  </a:lnTo>
                  <a:lnTo>
                    <a:pt x="28" y="68"/>
                  </a:lnTo>
                  <a:lnTo>
                    <a:pt x="28" y="66"/>
                  </a:lnTo>
                  <a:lnTo>
                    <a:pt x="25" y="63"/>
                  </a:lnTo>
                  <a:lnTo>
                    <a:pt x="23" y="60"/>
                  </a:lnTo>
                  <a:lnTo>
                    <a:pt x="20" y="58"/>
                  </a:lnTo>
                  <a:lnTo>
                    <a:pt x="19" y="57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8" y="51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5" y="37"/>
                  </a:lnTo>
                  <a:lnTo>
                    <a:pt x="12" y="28"/>
                  </a:lnTo>
                  <a:lnTo>
                    <a:pt x="13" y="26"/>
                  </a:lnTo>
                  <a:lnTo>
                    <a:pt x="12" y="23"/>
                  </a:lnTo>
                  <a:lnTo>
                    <a:pt x="10" y="20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4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20"/>
                  </a:lnTo>
                  <a:lnTo>
                    <a:pt x="25" y="21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2" y="26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9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6" y="26"/>
                  </a:lnTo>
                  <a:lnTo>
                    <a:pt x="37" y="24"/>
                  </a:lnTo>
                  <a:lnTo>
                    <a:pt x="37" y="23"/>
                  </a:lnTo>
                  <a:lnTo>
                    <a:pt x="39" y="21"/>
                  </a:lnTo>
                  <a:lnTo>
                    <a:pt x="40" y="20"/>
                  </a:lnTo>
                  <a:lnTo>
                    <a:pt x="40" y="18"/>
                  </a:lnTo>
                  <a:close/>
                  <a:moveTo>
                    <a:pt x="5" y="14"/>
                  </a:move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4"/>
                  </a:lnTo>
                  <a:close/>
                  <a:moveTo>
                    <a:pt x="12" y="34"/>
                  </a:moveTo>
                  <a:lnTo>
                    <a:pt x="10" y="34"/>
                  </a:lnTo>
                  <a:lnTo>
                    <a:pt x="10" y="34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4"/>
                  </a:lnTo>
                  <a:close/>
                  <a:moveTo>
                    <a:pt x="293" y="51"/>
                  </a:moveTo>
                  <a:lnTo>
                    <a:pt x="291" y="51"/>
                  </a:lnTo>
                  <a:lnTo>
                    <a:pt x="290" y="51"/>
                  </a:lnTo>
                  <a:lnTo>
                    <a:pt x="290" y="51"/>
                  </a:lnTo>
                  <a:lnTo>
                    <a:pt x="290" y="50"/>
                  </a:lnTo>
                  <a:lnTo>
                    <a:pt x="290" y="50"/>
                  </a:lnTo>
                  <a:lnTo>
                    <a:pt x="291" y="50"/>
                  </a:lnTo>
                  <a:lnTo>
                    <a:pt x="293" y="51"/>
                  </a:lnTo>
                  <a:close/>
                  <a:moveTo>
                    <a:pt x="28" y="70"/>
                  </a:moveTo>
                  <a:lnTo>
                    <a:pt x="28" y="71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0"/>
                  </a:lnTo>
                  <a:close/>
                  <a:moveTo>
                    <a:pt x="75" y="74"/>
                  </a:moveTo>
                  <a:lnTo>
                    <a:pt x="73" y="74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75" y="74"/>
                  </a:lnTo>
                  <a:lnTo>
                    <a:pt x="75" y="74"/>
                  </a:lnTo>
                  <a:close/>
                  <a:moveTo>
                    <a:pt x="189" y="80"/>
                  </a:moveTo>
                  <a:lnTo>
                    <a:pt x="189" y="80"/>
                  </a:lnTo>
                  <a:lnTo>
                    <a:pt x="187" y="78"/>
                  </a:lnTo>
                  <a:lnTo>
                    <a:pt x="187" y="74"/>
                  </a:lnTo>
                  <a:lnTo>
                    <a:pt x="189" y="74"/>
                  </a:lnTo>
                  <a:lnTo>
                    <a:pt x="189" y="74"/>
                  </a:lnTo>
                  <a:lnTo>
                    <a:pt x="189" y="74"/>
                  </a:lnTo>
                  <a:lnTo>
                    <a:pt x="189" y="77"/>
                  </a:lnTo>
                  <a:lnTo>
                    <a:pt x="189" y="78"/>
                  </a:lnTo>
                  <a:lnTo>
                    <a:pt x="189" y="8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5" name="Google Shape;275;p3"/>
            <p:cNvSpPr/>
            <p:nvPr/>
          </p:nvSpPr>
          <p:spPr>
            <a:xfrm>
              <a:off x="4290859" y="4477775"/>
              <a:ext cx="119221" cy="173897"/>
            </a:xfrm>
            <a:custGeom>
              <a:rect b="b" l="l" r="r" t="t"/>
              <a:pathLst>
                <a:path extrusionOk="0" h="277" w="170">
                  <a:moveTo>
                    <a:pt x="43" y="277"/>
                  </a:moveTo>
                  <a:lnTo>
                    <a:pt x="42" y="277"/>
                  </a:lnTo>
                  <a:lnTo>
                    <a:pt x="39" y="277"/>
                  </a:lnTo>
                  <a:lnTo>
                    <a:pt x="36" y="277"/>
                  </a:lnTo>
                  <a:lnTo>
                    <a:pt x="34" y="277"/>
                  </a:lnTo>
                  <a:lnTo>
                    <a:pt x="32" y="277"/>
                  </a:lnTo>
                  <a:lnTo>
                    <a:pt x="30" y="277"/>
                  </a:lnTo>
                  <a:lnTo>
                    <a:pt x="30" y="272"/>
                  </a:lnTo>
                  <a:lnTo>
                    <a:pt x="30" y="270"/>
                  </a:lnTo>
                  <a:lnTo>
                    <a:pt x="30" y="269"/>
                  </a:lnTo>
                  <a:lnTo>
                    <a:pt x="29" y="267"/>
                  </a:lnTo>
                  <a:lnTo>
                    <a:pt x="30" y="266"/>
                  </a:lnTo>
                  <a:lnTo>
                    <a:pt x="30" y="265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27" y="262"/>
                  </a:lnTo>
                  <a:lnTo>
                    <a:pt x="27" y="260"/>
                  </a:lnTo>
                  <a:lnTo>
                    <a:pt x="27" y="257"/>
                  </a:lnTo>
                  <a:lnTo>
                    <a:pt x="29" y="256"/>
                  </a:lnTo>
                  <a:lnTo>
                    <a:pt x="29" y="250"/>
                  </a:lnTo>
                  <a:lnTo>
                    <a:pt x="29" y="249"/>
                  </a:lnTo>
                  <a:lnTo>
                    <a:pt x="29" y="246"/>
                  </a:lnTo>
                  <a:lnTo>
                    <a:pt x="29" y="242"/>
                  </a:lnTo>
                  <a:lnTo>
                    <a:pt x="29" y="237"/>
                  </a:lnTo>
                  <a:lnTo>
                    <a:pt x="29" y="235"/>
                  </a:lnTo>
                  <a:lnTo>
                    <a:pt x="29" y="233"/>
                  </a:lnTo>
                  <a:lnTo>
                    <a:pt x="27" y="233"/>
                  </a:lnTo>
                  <a:lnTo>
                    <a:pt x="27" y="230"/>
                  </a:lnTo>
                  <a:lnTo>
                    <a:pt x="26" y="227"/>
                  </a:lnTo>
                  <a:lnTo>
                    <a:pt x="26" y="225"/>
                  </a:lnTo>
                  <a:lnTo>
                    <a:pt x="24" y="223"/>
                  </a:lnTo>
                  <a:lnTo>
                    <a:pt x="24" y="222"/>
                  </a:lnTo>
                  <a:lnTo>
                    <a:pt x="23" y="222"/>
                  </a:lnTo>
                  <a:lnTo>
                    <a:pt x="23" y="219"/>
                  </a:lnTo>
                  <a:lnTo>
                    <a:pt x="22" y="217"/>
                  </a:lnTo>
                  <a:lnTo>
                    <a:pt x="22" y="217"/>
                  </a:lnTo>
                  <a:lnTo>
                    <a:pt x="22" y="215"/>
                  </a:lnTo>
                  <a:lnTo>
                    <a:pt x="20" y="210"/>
                  </a:lnTo>
                  <a:lnTo>
                    <a:pt x="19" y="206"/>
                  </a:lnTo>
                  <a:lnTo>
                    <a:pt x="19" y="203"/>
                  </a:lnTo>
                  <a:lnTo>
                    <a:pt x="17" y="200"/>
                  </a:lnTo>
                  <a:lnTo>
                    <a:pt x="17" y="200"/>
                  </a:lnTo>
                  <a:lnTo>
                    <a:pt x="17" y="199"/>
                  </a:lnTo>
                  <a:lnTo>
                    <a:pt x="20" y="197"/>
                  </a:lnTo>
                  <a:lnTo>
                    <a:pt x="22" y="195"/>
                  </a:lnTo>
                  <a:lnTo>
                    <a:pt x="24" y="192"/>
                  </a:lnTo>
                  <a:lnTo>
                    <a:pt x="27" y="189"/>
                  </a:lnTo>
                  <a:lnTo>
                    <a:pt x="29" y="187"/>
                  </a:lnTo>
                  <a:lnTo>
                    <a:pt x="32" y="185"/>
                  </a:lnTo>
                  <a:lnTo>
                    <a:pt x="34" y="180"/>
                  </a:lnTo>
                  <a:lnTo>
                    <a:pt x="36" y="180"/>
                  </a:lnTo>
                  <a:lnTo>
                    <a:pt x="36" y="180"/>
                  </a:lnTo>
                  <a:lnTo>
                    <a:pt x="34" y="177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40" y="167"/>
                  </a:lnTo>
                  <a:lnTo>
                    <a:pt x="42" y="165"/>
                  </a:lnTo>
                  <a:lnTo>
                    <a:pt x="43" y="162"/>
                  </a:lnTo>
                  <a:lnTo>
                    <a:pt x="44" y="157"/>
                  </a:lnTo>
                  <a:lnTo>
                    <a:pt x="44" y="157"/>
                  </a:lnTo>
                  <a:lnTo>
                    <a:pt x="44" y="156"/>
                  </a:lnTo>
                  <a:lnTo>
                    <a:pt x="44" y="155"/>
                  </a:lnTo>
                  <a:lnTo>
                    <a:pt x="43" y="152"/>
                  </a:lnTo>
                  <a:lnTo>
                    <a:pt x="42" y="150"/>
                  </a:lnTo>
                  <a:lnTo>
                    <a:pt x="42" y="147"/>
                  </a:lnTo>
                  <a:lnTo>
                    <a:pt x="42" y="145"/>
                  </a:lnTo>
                  <a:lnTo>
                    <a:pt x="43" y="143"/>
                  </a:lnTo>
                  <a:lnTo>
                    <a:pt x="43" y="143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4" y="133"/>
                  </a:lnTo>
                  <a:lnTo>
                    <a:pt x="44" y="130"/>
                  </a:lnTo>
                  <a:lnTo>
                    <a:pt x="44" y="129"/>
                  </a:lnTo>
                  <a:lnTo>
                    <a:pt x="44" y="129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0"/>
                  </a:lnTo>
                  <a:lnTo>
                    <a:pt x="44" y="115"/>
                  </a:lnTo>
                  <a:lnTo>
                    <a:pt x="44" y="112"/>
                  </a:lnTo>
                  <a:lnTo>
                    <a:pt x="43" y="109"/>
                  </a:lnTo>
                  <a:lnTo>
                    <a:pt x="43" y="106"/>
                  </a:lnTo>
                  <a:lnTo>
                    <a:pt x="44" y="105"/>
                  </a:lnTo>
                  <a:lnTo>
                    <a:pt x="44" y="103"/>
                  </a:lnTo>
                  <a:lnTo>
                    <a:pt x="43" y="103"/>
                  </a:lnTo>
                  <a:lnTo>
                    <a:pt x="42" y="103"/>
                  </a:lnTo>
                  <a:lnTo>
                    <a:pt x="40" y="102"/>
                  </a:lnTo>
                  <a:lnTo>
                    <a:pt x="39" y="100"/>
                  </a:lnTo>
                  <a:lnTo>
                    <a:pt x="36" y="99"/>
                  </a:lnTo>
                  <a:lnTo>
                    <a:pt x="33" y="99"/>
                  </a:lnTo>
                  <a:lnTo>
                    <a:pt x="27" y="98"/>
                  </a:lnTo>
                  <a:lnTo>
                    <a:pt x="24" y="95"/>
                  </a:lnTo>
                  <a:lnTo>
                    <a:pt x="20" y="95"/>
                  </a:lnTo>
                  <a:lnTo>
                    <a:pt x="20" y="93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7" y="90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3" y="88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3" y="80"/>
                  </a:lnTo>
                  <a:lnTo>
                    <a:pt x="2" y="79"/>
                  </a:lnTo>
                  <a:lnTo>
                    <a:pt x="0" y="78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4" y="73"/>
                  </a:lnTo>
                  <a:lnTo>
                    <a:pt x="6" y="72"/>
                  </a:lnTo>
                  <a:lnTo>
                    <a:pt x="7" y="72"/>
                  </a:lnTo>
                  <a:lnTo>
                    <a:pt x="12" y="70"/>
                  </a:lnTo>
                  <a:lnTo>
                    <a:pt x="14" y="69"/>
                  </a:lnTo>
                  <a:lnTo>
                    <a:pt x="19" y="69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4" y="66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2" y="63"/>
                  </a:lnTo>
                  <a:lnTo>
                    <a:pt x="33" y="63"/>
                  </a:lnTo>
                  <a:lnTo>
                    <a:pt x="37" y="62"/>
                  </a:lnTo>
                  <a:lnTo>
                    <a:pt x="43" y="60"/>
                  </a:lnTo>
                  <a:lnTo>
                    <a:pt x="44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52" y="63"/>
                  </a:lnTo>
                  <a:lnTo>
                    <a:pt x="53" y="65"/>
                  </a:lnTo>
                  <a:lnTo>
                    <a:pt x="54" y="68"/>
                  </a:lnTo>
                  <a:lnTo>
                    <a:pt x="56" y="68"/>
                  </a:lnTo>
                  <a:lnTo>
                    <a:pt x="56" y="66"/>
                  </a:lnTo>
                  <a:lnTo>
                    <a:pt x="57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3" y="66"/>
                  </a:lnTo>
                  <a:lnTo>
                    <a:pt x="64" y="65"/>
                  </a:lnTo>
                  <a:lnTo>
                    <a:pt x="66" y="65"/>
                  </a:lnTo>
                  <a:lnTo>
                    <a:pt x="67" y="65"/>
                  </a:lnTo>
                  <a:lnTo>
                    <a:pt x="69" y="68"/>
                  </a:lnTo>
                  <a:lnTo>
                    <a:pt x="69" y="70"/>
                  </a:lnTo>
                  <a:lnTo>
                    <a:pt x="70" y="73"/>
                  </a:lnTo>
                  <a:lnTo>
                    <a:pt x="70" y="75"/>
                  </a:lnTo>
                  <a:lnTo>
                    <a:pt x="70" y="78"/>
                  </a:lnTo>
                  <a:lnTo>
                    <a:pt x="70" y="79"/>
                  </a:lnTo>
                  <a:lnTo>
                    <a:pt x="67" y="82"/>
                  </a:lnTo>
                  <a:lnTo>
                    <a:pt x="67" y="83"/>
                  </a:lnTo>
                  <a:lnTo>
                    <a:pt x="67" y="86"/>
                  </a:lnTo>
                  <a:lnTo>
                    <a:pt x="66" y="88"/>
                  </a:lnTo>
                  <a:lnTo>
                    <a:pt x="64" y="88"/>
                  </a:lnTo>
                  <a:lnTo>
                    <a:pt x="64" y="89"/>
                  </a:lnTo>
                  <a:lnTo>
                    <a:pt x="66" y="90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3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67" y="96"/>
                  </a:lnTo>
                  <a:lnTo>
                    <a:pt x="69" y="96"/>
                  </a:lnTo>
                  <a:lnTo>
                    <a:pt x="70" y="98"/>
                  </a:lnTo>
                  <a:lnTo>
                    <a:pt x="73" y="100"/>
                  </a:lnTo>
                  <a:lnTo>
                    <a:pt x="76" y="103"/>
                  </a:lnTo>
                  <a:lnTo>
                    <a:pt x="77" y="105"/>
                  </a:lnTo>
                  <a:lnTo>
                    <a:pt x="79" y="105"/>
                  </a:lnTo>
                  <a:lnTo>
                    <a:pt x="79" y="106"/>
                  </a:lnTo>
                  <a:lnTo>
                    <a:pt x="79" y="108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9" y="109"/>
                  </a:lnTo>
                  <a:lnTo>
                    <a:pt x="79" y="110"/>
                  </a:lnTo>
                  <a:lnTo>
                    <a:pt x="80" y="110"/>
                  </a:lnTo>
                  <a:lnTo>
                    <a:pt x="82" y="110"/>
                  </a:lnTo>
                  <a:lnTo>
                    <a:pt x="82" y="109"/>
                  </a:lnTo>
                  <a:lnTo>
                    <a:pt x="82" y="105"/>
                  </a:lnTo>
                  <a:lnTo>
                    <a:pt x="80" y="102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99"/>
                  </a:lnTo>
                  <a:lnTo>
                    <a:pt x="80" y="98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3" y="93"/>
                  </a:lnTo>
                  <a:lnTo>
                    <a:pt x="86" y="93"/>
                  </a:lnTo>
                  <a:lnTo>
                    <a:pt x="89" y="93"/>
                  </a:lnTo>
                  <a:lnTo>
                    <a:pt x="89" y="92"/>
                  </a:lnTo>
                  <a:lnTo>
                    <a:pt x="90" y="90"/>
                  </a:lnTo>
                  <a:lnTo>
                    <a:pt x="90" y="86"/>
                  </a:lnTo>
                  <a:lnTo>
                    <a:pt x="90" y="82"/>
                  </a:lnTo>
                  <a:lnTo>
                    <a:pt x="90" y="79"/>
                  </a:lnTo>
                  <a:lnTo>
                    <a:pt x="90" y="75"/>
                  </a:lnTo>
                  <a:lnTo>
                    <a:pt x="91" y="73"/>
                  </a:lnTo>
                  <a:lnTo>
                    <a:pt x="90" y="72"/>
                  </a:lnTo>
                  <a:lnTo>
                    <a:pt x="90" y="69"/>
                  </a:lnTo>
                  <a:lnTo>
                    <a:pt x="87" y="66"/>
                  </a:lnTo>
                  <a:lnTo>
                    <a:pt x="84" y="62"/>
                  </a:lnTo>
                  <a:lnTo>
                    <a:pt x="83" y="59"/>
                  </a:lnTo>
                  <a:lnTo>
                    <a:pt x="82" y="56"/>
                  </a:lnTo>
                  <a:lnTo>
                    <a:pt x="77" y="52"/>
                  </a:lnTo>
                  <a:lnTo>
                    <a:pt x="76" y="50"/>
                  </a:lnTo>
                  <a:lnTo>
                    <a:pt x="74" y="50"/>
                  </a:lnTo>
                  <a:lnTo>
                    <a:pt x="72" y="49"/>
                  </a:lnTo>
                  <a:lnTo>
                    <a:pt x="70" y="49"/>
                  </a:lnTo>
                  <a:lnTo>
                    <a:pt x="70" y="48"/>
                  </a:lnTo>
                  <a:lnTo>
                    <a:pt x="70" y="45"/>
                  </a:lnTo>
                  <a:lnTo>
                    <a:pt x="70" y="43"/>
                  </a:lnTo>
                  <a:lnTo>
                    <a:pt x="69" y="40"/>
                  </a:lnTo>
                  <a:lnTo>
                    <a:pt x="69" y="36"/>
                  </a:lnTo>
                  <a:lnTo>
                    <a:pt x="69" y="35"/>
                  </a:lnTo>
                  <a:lnTo>
                    <a:pt x="67" y="32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70" y="23"/>
                  </a:lnTo>
                  <a:lnTo>
                    <a:pt x="70" y="20"/>
                  </a:lnTo>
                  <a:lnTo>
                    <a:pt x="70" y="19"/>
                  </a:lnTo>
                  <a:lnTo>
                    <a:pt x="72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80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9" y="18"/>
                  </a:lnTo>
                  <a:lnTo>
                    <a:pt x="90" y="16"/>
                  </a:lnTo>
                  <a:lnTo>
                    <a:pt x="91" y="16"/>
                  </a:lnTo>
                  <a:lnTo>
                    <a:pt x="94" y="18"/>
                  </a:lnTo>
                  <a:lnTo>
                    <a:pt x="96" y="19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101" y="20"/>
                  </a:lnTo>
                  <a:lnTo>
                    <a:pt x="104" y="20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9" y="19"/>
                  </a:lnTo>
                  <a:lnTo>
                    <a:pt x="110" y="19"/>
                  </a:lnTo>
                  <a:lnTo>
                    <a:pt x="110" y="19"/>
                  </a:lnTo>
                  <a:lnTo>
                    <a:pt x="113" y="20"/>
                  </a:lnTo>
                  <a:lnTo>
                    <a:pt x="114" y="20"/>
                  </a:lnTo>
                  <a:lnTo>
                    <a:pt x="117" y="20"/>
                  </a:lnTo>
                  <a:lnTo>
                    <a:pt x="120" y="19"/>
                  </a:lnTo>
                  <a:lnTo>
                    <a:pt x="123" y="18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7" y="13"/>
                  </a:lnTo>
                  <a:lnTo>
                    <a:pt x="130" y="15"/>
                  </a:lnTo>
                  <a:lnTo>
                    <a:pt x="133" y="16"/>
                  </a:lnTo>
                  <a:lnTo>
                    <a:pt x="134" y="15"/>
                  </a:lnTo>
                  <a:lnTo>
                    <a:pt x="137" y="13"/>
                  </a:lnTo>
                  <a:lnTo>
                    <a:pt x="141" y="12"/>
                  </a:lnTo>
                  <a:lnTo>
                    <a:pt x="144" y="12"/>
                  </a:lnTo>
                  <a:lnTo>
                    <a:pt x="146" y="10"/>
                  </a:lnTo>
                  <a:lnTo>
                    <a:pt x="149" y="9"/>
                  </a:lnTo>
                  <a:lnTo>
                    <a:pt x="150" y="9"/>
                  </a:lnTo>
                  <a:lnTo>
                    <a:pt x="151" y="9"/>
                  </a:lnTo>
                  <a:lnTo>
                    <a:pt x="154" y="8"/>
                  </a:lnTo>
                  <a:lnTo>
                    <a:pt x="157" y="6"/>
                  </a:lnTo>
                  <a:lnTo>
                    <a:pt x="160" y="5"/>
                  </a:lnTo>
                  <a:lnTo>
                    <a:pt x="163" y="2"/>
                  </a:lnTo>
                  <a:lnTo>
                    <a:pt x="164" y="0"/>
                  </a:lnTo>
                  <a:lnTo>
                    <a:pt x="166" y="2"/>
                  </a:lnTo>
                  <a:lnTo>
                    <a:pt x="167" y="3"/>
                  </a:lnTo>
                  <a:lnTo>
                    <a:pt x="166" y="5"/>
                  </a:lnTo>
                  <a:lnTo>
                    <a:pt x="164" y="5"/>
                  </a:lnTo>
                  <a:lnTo>
                    <a:pt x="167" y="6"/>
                  </a:lnTo>
                  <a:lnTo>
                    <a:pt x="166" y="8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10"/>
                  </a:lnTo>
                  <a:lnTo>
                    <a:pt x="164" y="12"/>
                  </a:lnTo>
                  <a:lnTo>
                    <a:pt x="164" y="13"/>
                  </a:lnTo>
                  <a:lnTo>
                    <a:pt x="163" y="15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3"/>
                  </a:lnTo>
                  <a:lnTo>
                    <a:pt x="166" y="25"/>
                  </a:lnTo>
                  <a:lnTo>
                    <a:pt x="166" y="25"/>
                  </a:lnTo>
                  <a:lnTo>
                    <a:pt x="166" y="28"/>
                  </a:lnTo>
                  <a:lnTo>
                    <a:pt x="166" y="30"/>
                  </a:lnTo>
                  <a:lnTo>
                    <a:pt x="166" y="32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39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5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6" y="50"/>
                  </a:lnTo>
                  <a:lnTo>
                    <a:pt x="166" y="52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3"/>
                  </a:lnTo>
                  <a:lnTo>
                    <a:pt x="167" y="65"/>
                  </a:lnTo>
                  <a:lnTo>
                    <a:pt x="167" y="66"/>
                  </a:lnTo>
                  <a:lnTo>
                    <a:pt x="167" y="68"/>
                  </a:lnTo>
                  <a:lnTo>
                    <a:pt x="169" y="65"/>
                  </a:lnTo>
                  <a:lnTo>
                    <a:pt x="170" y="65"/>
                  </a:lnTo>
                  <a:lnTo>
                    <a:pt x="170" y="66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70" y="69"/>
                  </a:lnTo>
                  <a:lnTo>
                    <a:pt x="170" y="70"/>
                  </a:lnTo>
                  <a:lnTo>
                    <a:pt x="170" y="70"/>
                  </a:lnTo>
                  <a:lnTo>
                    <a:pt x="170" y="72"/>
                  </a:lnTo>
                  <a:lnTo>
                    <a:pt x="169" y="73"/>
                  </a:lnTo>
                  <a:lnTo>
                    <a:pt x="169" y="75"/>
                  </a:lnTo>
                  <a:lnTo>
                    <a:pt x="169" y="76"/>
                  </a:lnTo>
                  <a:lnTo>
                    <a:pt x="167" y="76"/>
                  </a:lnTo>
                  <a:lnTo>
                    <a:pt x="167" y="76"/>
                  </a:lnTo>
                  <a:lnTo>
                    <a:pt x="167" y="78"/>
                  </a:lnTo>
                  <a:lnTo>
                    <a:pt x="167" y="79"/>
                  </a:lnTo>
                  <a:lnTo>
                    <a:pt x="166" y="82"/>
                  </a:lnTo>
                  <a:lnTo>
                    <a:pt x="161" y="88"/>
                  </a:lnTo>
                  <a:lnTo>
                    <a:pt x="160" y="89"/>
                  </a:lnTo>
                  <a:lnTo>
                    <a:pt x="159" y="90"/>
                  </a:lnTo>
                  <a:lnTo>
                    <a:pt x="159" y="92"/>
                  </a:lnTo>
                  <a:lnTo>
                    <a:pt x="159" y="92"/>
                  </a:lnTo>
                  <a:lnTo>
                    <a:pt x="157" y="95"/>
                  </a:lnTo>
                  <a:lnTo>
                    <a:pt x="154" y="95"/>
                  </a:lnTo>
                  <a:lnTo>
                    <a:pt x="154" y="96"/>
                  </a:lnTo>
                  <a:lnTo>
                    <a:pt x="154" y="98"/>
                  </a:lnTo>
                  <a:lnTo>
                    <a:pt x="153" y="99"/>
                  </a:lnTo>
                  <a:lnTo>
                    <a:pt x="151" y="100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3" y="108"/>
                  </a:lnTo>
                  <a:lnTo>
                    <a:pt x="140" y="108"/>
                  </a:lnTo>
                  <a:lnTo>
                    <a:pt x="139" y="109"/>
                  </a:lnTo>
                  <a:lnTo>
                    <a:pt x="137" y="109"/>
                  </a:lnTo>
                  <a:lnTo>
                    <a:pt x="136" y="109"/>
                  </a:lnTo>
                  <a:lnTo>
                    <a:pt x="136" y="109"/>
                  </a:lnTo>
                  <a:lnTo>
                    <a:pt x="136" y="109"/>
                  </a:lnTo>
                  <a:lnTo>
                    <a:pt x="131" y="110"/>
                  </a:lnTo>
                  <a:lnTo>
                    <a:pt x="127" y="112"/>
                  </a:lnTo>
                  <a:lnTo>
                    <a:pt x="126" y="112"/>
                  </a:lnTo>
                  <a:lnTo>
                    <a:pt x="126" y="113"/>
                  </a:lnTo>
                  <a:lnTo>
                    <a:pt x="123" y="115"/>
                  </a:lnTo>
                  <a:lnTo>
                    <a:pt x="117" y="118"/>
                  </a:lnTo>
                  <a:lnTo>
                    <a:pt x="113" y="120"/>
                  </a:lnTo>
                  <a:lnTo>
                    <a:pt x="110" y="123"/>
                  </a:lnTo>
                  <a:lnTo>
                    <a:pt x="109" y="123"/>
                  </a:lnTo>
                  <a:lnTo>
                    <a:pt x="109" y="125"/>
                  </a:lnTo>
                  <a:lnTo>
                    <a:pt x="107" y="126"/>
                  </a:lnTo>
                  <a:lnTo>
                    <a:pt x="107" y="126"/>
                  </a:lnTo>
                  <a:lnTo>
                    <a:pt x="104" y="129"/>
                  </a:lnTo>
                  <a:lnTo>
                    <a:pt x="101" y="133"/>
                  </a:lnTo>
                  <a:lnTo>
                    <a:pt x="101" y="135"/>
                  </a:lnTo>
                  <a:lnTo>
                    <a:pt x="100" y="136"/>
                  </a:lnTo>
                  <a:lnTo>
                    <a:pt x="100" y="138"/>
                  </a:lnTo>
                  <a:lnTo>
                    <a:pt x="99" y="138"/>
                  </a:lnTo>
                  <a:lnTo>
                    <a:pt x="97" y="136"/>
                  </a:lnTo>
                  <a:lnTo>
                    <a:pt x="97" y="139"/>
                  </a:lnTo>
                  <a:lnTo>
                    <a:pt x="96" y="139"/>
                  </a:lnTo>
                  <a:lnTo>
                    <a:pt x="94" y="139"/>
                  </a:lnTo>
                  <a:lnTo>
                    <a:pt x="93" y="140"/>
                  </a:lnTo>
                  <a:lnTo>
                    <a:pt x="90" y="140"/>
                  </a:lnTo>
                  <a:lnTo>
                    <a:pt x="87" y="143"/>
                  </a:lnTo>
                  <a:lnTo>
                    <a:pt x="83" y="149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4" y="155"/>
                  </a:lnTo>
                  <a:lnTo>
                    <a:pt x="73" y="153"/>
                  </a:lnTo>
                  <a:lnTo>
                    <a:pt x="72" y="153"/>
                  </a:lnTo>
                  <a:lnTo>
                    <a:pt x="73" y="155"/>
                  </a:lnTo>
                  <a:lnTo>
                    <a:pt x="73" y="155"/>
                  </a:lnTo>
                  <a:lnTo>
                    <a:pt x="73" y="157"/>
                  </a:lnTo>
                  <a:lnTo>
                    <a:pt x="73" y="159"/>
                  </a:lnTo>
                  <a:lnTo>
                    <a:pt x="72" y="165"/>
                  </a:lnTo>
                  <a:lnTo>
                    <a:pt x="72" y="166"/>
                  </a:lnTo>
                  <a:lnTo>
                    <a:pt x="73" y="167"/>
                  </a:lnTo>
                  <a:lnTo>
                    <a:pt x="74" y="169"/>
                  </a:lnTo>
                  <a:lnTo>
                    <a:pt x="77" y="172"/>
                  </a:lnTo>
                  <a:lnTo>
                    <a:pt x="79" y="179"/>
                  </a:lnTo>
                  <a:lnTo>
                    <a:pt x="79" y="182"/>
                  </a:lnTo>
                  <a:lnTo>
                    <a:pt x="82" y="186"/>
                  </a:lnTo>
                  <a:lnTo>
                    <a:pt x="82" y="187"/>
                  </a:lnTo>
                  <a:lnTo>
                    <a:pt x="82" y="193"/>
                  </a:lnTo>
                  <a:lnTo>
                    <a:pt x="82" y="196"/>
                  </a:lnTo>
                  <a:lnTo>
                    <a:pt x="82" y="199"/>
                  </a:lnTo>
                  <a:lnTo>
                    <a:pt x="83" y="200"/>
                  </a:lnTo>
                  <a:lnTo>
                    <a:pt x="83" y="199"/>
                  </a:lnTo>
                  <a:lnTo>
                    <a:pt x="83" y="197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4" y="195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6" y="199"/>
                  </a:lnTo>
                  <a:lnTo>
                    <a:pt x="84" y="203"/>
                  </a:lnTo>
                  <a:lnTo>
                    <a:pt x="84" y="206"/>
                  </a:lnTo>
                  <a:lnTo>
                    <a:pt x="86" y="209"/>
                  </a:lnTo>
                  <a:lnTo>
                    <a:pt x="84" y="213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3" y="225"/>
                  </a:lnTo>
                  <a:lnTo>
                    <a:pt x="84" y="225"/>
                  </a:lnTo>
                  <a:lnTo>
                    <a:pt x="84" y="223"/>
                  </a:lnTo>
                  <a:lnTo>
                    <a:pt x="86" y="223"/>
                  </a:lnTo>
                  <a:lnTo>
                    <a:pt x="86" y="223"/>
                  </a:lnTo>
                  <a:lnTo>
                    <a:pt x="84" y="227"/>
                  </a:lnTo>
                  <a:lnTo>
                    <a:pt x="84" y="230"/>
                  </a:lnTo>
                  <a:lnTo>
                    <a:pt x="82" y="235"/>
                  </a:lnTo>
                  <a:lnTo>
                    <a:pt x="80" y="236"/>
                  </a:lnTo>
                  <a:lnTo>
                    <a:pt x="77" y="237"/>
                  </a:lnTo>
                  <a:lnTo>
                    <a:pt x="70" y="242"/>
                  </a:lnTo>
                  <a:lnTo>
                    <a:pt x="59" y="246"/>
                  </a:lnTo>
                  <a:lnTo>
                    <a:pt x="53" y="247"/>
                  </a:lnTo>
                  <a:lnTo>
                    <a:pt x="50" y="249"/>
                  </a:lnTo>
                  <a:lnTo>
                    <a:pt x="44" y="253"/>
                  </a:lnTo>
                  <a:lnTo>
                    <a:pt x="42" y="256"/>
                  </a:lnTo>
                  <a:lnTo>
                    <a:pt x="40" y="259"/>
                  </a:lnTo>
                  <a:lnTo>
                    <a:pt x="39" y="260"/>
                  </a:lnTo>
                  <a:lnTo>
                    <a:pt x="39" y="262"/>
                  </a:lnTo>
                  <a:lnTo>
                    <a:pt x="39" y="263"/>
                  </a:lnTo>
                  <a:lnTo>
                    <a:pt x="40" y="265"/>
                  </a:lnTo>
                  <a:lnTo>
                    <a:pt x="42" y="266"/>
                  </a:lnTo>
                  <a:lnTo>
                    <a:pt x="42" y="266"/>
                  </a:lnTo>
                  <a:lnTo>
                    <a:pt x="43" y="267"/>
                  </a:lnTo>
                  <a:lnTo>
                    <a:pt x="43" y="265"/>
                  </a:lnTo>
                  <a:lnTo>
                    <a:pt x="43" y="263"/>
                  </a:lnTo>
                  <a:lnTo>
                    <a:pt x="44" y="263"/>
                  </a:lnTo>
                  <a:lnTo>
                    <a:pt x="44" y="266"/>
                  </a:lnTo>
                  <a:lnTo>
                    <a:pt x="43" y="277"/>
                  </a:lnTo>
                  <a:lnTo>
                    <a:pt x="43" y="277"/>
                  </a:lnTo>
                  <a:close/>
                  <a:moveTo>
                    <a:pt x="73" y="28"/>
                  </a:moveTo>
                  <a:lnTo>
                    <a:pt x="73" y="28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3" y="28"/>
                  </a:lnTo>
                  <a:close/>
                  <a:moveTo>
                    <a:pt x="72" y="26"/>
                  </a:move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2" y="2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6" name="Google Shape;276;p3"/>
            <p:cNvSpPr/>
            <p:nvPr/>
          </p:nvSpPr>
          <p:spPr>
            <a:xfrm>
              <a:off x="4083275" y="4545575"/>
              <a:ext cx="151480" cy="129952"/>
            </a:xfrm>
            <a:custGeom>
              <a:rect b="b" l="l" r="r" t="t"/>
              <a:pathLst>
                <a:path extrusionOk="0" h="207" w="216">
                  <a:moveTo>
                    <a:pt x="186" y="11"/>
                  </a:moveTo>
                  <a:lnTo>
                    <a:pt x="191" y="10"/>
                  </a:lnTo>
                  <a:lnTo>
                    <a:pt x="194" y="10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8"/>
                  </a:lnTo>
                  <a:lnTo>
                    <a:pt x="208" y="8"/>
                  </a:lnTo>
                  <a:lnTo>
                    <a:pt x="212" y="8"/>
                  </a:lnTo>
                  <a:lnTo>
                    <a:pt x="212" y="10"/>
                  </a:lnTo>
                  <a:lnTo>
                    <a:pt x="213" y="11"/>
                  </a:lnTo>
                  <a:lnTo>
                    <a:pt x="216" y="12"/>
                  </a:lnTo>
                  <a:lnTo>
                    <a:pt x="216" y="12"/>
                  </a:lnTo>
                  <a:lnTo>
                    <a:pt x="211" y="14"/>
                  </a:lnTo>
                  <a:lnTo>
                    <a:pt x="209" y="14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2" y="17"/>
                  </a:lnTo>
                  <a:lnTo>
                    <a:pt x="201" y="17"/>
                  </a:lnTo>
                  <a:lnTo>
                    <a:pt x="199" y="18"/>
                  </a:lnTo>
                  <a:lnTo>
                    <a:pt x="196" y="20"/>
                  </a:lnTo>
                  <a:lnTo>
                    <a:pt x="195" y="21"/>
                  </a:lnTo>
                  <a:lnTo>
                    <a:pt x="195" y="21"/>
                  </a:lnTo>
                  <a:lnTo>
                    <a:pt x="192" y="2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2"/>
                  </a:lnTo>
                  <a:lnTo>
                    <a:pt x="188" y="21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76" y="18"/>
                  </a:lnTo>
                  <a:lnTo>
                    <a:pt x="172" y="18"/>
                  </a:lnTo>
                  <a:lnTo>
                    <a:pt x="165" y="20"/>
                  </a:lnTo>
                  <a:lnTo>
                    <a:pt x="156" y="21"/>
                  </a:lnTo>
                  <a:lnTo>
                    <a:pt x="152" y="21"/>
                  </a:lnTo>
                  <a:lnTo>
                    <a:pt x="148" y="22"/>
                  </a:lnTo>
                  <a:lnTo>
                    <a:pt x="148" y="25"/>
                  </a:lnTo>
                  <a:lnTo>
                    <a:pt x="148" y="32"/>
                  </a:lnTo>
                  <a:lnTo>
                    <a:pt x="148" y="39"/>
                  </a:lnTo>
                  <a:lnTo>
                    <a:pt x="148" y="45"/>
                  </a:lnTo>
                  <a:lnTo>
                    <a:pt x="148" y="52"/>
                  </a:lnTo>
                  <a:lnTo>
                    <a:pt x="148" y="59"/>
                  </a:lnTo>
                  <a:lnTo>
                    <a:pt x="148" y="67"/>
                  </a:lnTo>
                  <a:lnTo>
                    <a:pt x="148" y="74"/>
                  </a:lnTo>
                  <a:lnTo>
                    <a:pt x="148" y="81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6" y="84"/>
                  </a:lnTo>
                  <a:lnTo>
                    <a:pt x="141" y="84"/>
                  </a:lnTo>
                  <a:lnTo>
                    <a:pt x="136" y="84"/>
                  </a:lnTo>
                  <a:lnTo>
                    <a:pt x="132" y="84"/>
                  </a:lnTo>
                  <a:lnTo>
                    <a:pt x="132" y="88"/>
                  </a:lnTo>
                  <a:lnTo>
                    <a:pt x="132" y="94"/>
                  </a:lnTo>
                  <a:lnTo>
                    <a:pt x="132" y="98"/>
                  </a:lnTo>
                  <a:lnTo>
                    <a:pt x="132" y="104"/>
                  </a:lnTo>
                  <a:lnTo>
                    <a:pt x="132" y="108"/>
                  </a:lnTo>
                  <a:lnTo>
                    <a:pt x="132" y="114"/>
                  </a:lnTo>
                  <a:lnTo>
                    <a:pt x="132" y="118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2"/>
                  </a:lnTo>
                  <a:lnTo>
                    <a:pt x="132" y="139"/>
                  </a:lnTo>
                  <a:lnTo>
                    <a:pt x="132" y="148"/>
                  </a:lnTo>
                  <a:lnTo>
                    <a:pt x="132" y="155"/>
                  </a:lnTo>
                  <a:lnTo>
                    <a:pt x="132" y="164"/>
                  </a:lnTo>
                  <a:lnTo>
                    <a:pt x="132" y="171"/>
                  </a:lnTo>
                  <a:lnTo>
                    <a:pt x="132" y="179"/>
                  </a:lnTo>
                  <a:lnTo>
                    <a:pt x="132" y="188"/>
                  </a:lnTo>
                  <a:lnTo>
                    <a:pt x="132" y="195"/>
                  </a:lnTo>
                  <a:lnTo>
                    <a:pt x="132" y="198"/>
                  </a:lnTo>
                  <a:lnTo>
                    <a:pt x="131" y="198"/>
                  </a:lnTo>
                  <a:lnTo>
                    <a:pt x="128" y="199"/>
                  </a:lnTo>
                  <a:lnTo>
                    <a:pt x="125" y="201"/>
                  </a:lnTo>
                  <a:lnTo>
                    <a:pt x="125" y="202"/>
                  </a:lnTo>
                  <a:lnTo>
                    <a:pt x="124" y="202"/>
                  </a:lnTo>
                  <a:lnTo>
                    <a:pt x="122" y="204"/>
                  </a:lnTo>
                  <a:lnTo>
                    <a:pt x="121" y="204"/>
                  </a:lnTo>
                  <a:lnTo>
                    <a:pt x="121" y="205"/>
                  </a:lnTo>
                  <a:lnTo>
                    <a:pt x="121" y="207"/>
                  </a:lnTo>
                  <a:lnTo>
                    <a:pt x="119" y="207"/>
                  </a:lnTo>
                  <a:lnTo>
                    <a:pt x="116" y="207"/>
                  </a:lnTo>
                  <a:lnTo>
                    <a:pt x="114" y="205"/>
                  </a:lnTo>
                  <a:lnTo>
                    <a:pt x="111" y="205"/>
                  </a:lnTo>
                  <a:lnTo>
                    <a:pt x="105" y="207"/>
                  </a:lnTo>
                  <a:lnTo>
                    <a:pt x="102" y="205"/>
                  </a:lnTo>
                  <a:lnTo>
                    <a:pt x="101" y="205"/>
                  </a:lnTo>
                  <a:lnTo>
                    <a:pt x="98" y="204"/>
                  </a:lnTo>
                  <a:lnTo>
                    <a:pt x="97" y="204"/>
                  </a:lnTo>
                  <a:lnTo>
                    <a:pt x="95" y="204"/>
                  </a:lnTo>
                  <a:lnTo>
                    <a:pt x="92" y="202"/>
                  </a:lnTo>
                  <a:lnTo>
                    <a:pt x="91" y="201"/>
                  </a:lnTo>
                  <a:lnTo>
                    <a:pt x="91" y="199"/>
                  </a:lnTo>
                  <a:lnTo>
                    <a:pt x="91" y="199"/>
                  </a:lnTo>
                  <a:lnTo>
                    <a:pt x="89" y="198"/>
                  </a:lnTo>
                  <a:lnTo>
                    <a:pt x="91" y="198"/>
                  </a:lnTo>
                  <a:lnTo>
                    <a:pt x="91" y="197"/>
                  </a:lnTo>
                  <a:lnTo>
                    <a:pt x="91" y="195"/>
                  </a:lnTo>
                  <a:lnTo>
                    <a:pt x="89" y="194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88" y="192"/>
                  </a:lnTo>
                  <a:lnTo>
                    <a:pt x="87" y="191"/>
                  </a:lnTo>
                  <a:lnTo>
                    <a:pt x="85" y="191"/>
                  </a:lnTo>
                  <a:lnTo>
                    <a:pt x="84" y="191"/>
                  </a:lnTo>
                  <a:lnTo>
                    <a:pt x="82" y="192"/>
                  </a:lnTo>
                  <a:lnTo>
                    <a:pt x="82" y="194"/>
                  </a:lnTo>
                  <a:lnTo>
                    <a:pt x="82" y="195"/>
                  </a:lnTo>
                  <a:lnTo>
                    <a:pt x="81" y="197"/>
                  </a:lnTo>
                  <a:lnTo>
                    <a:pt x="81" y="197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8" y="198"/>
                  </a:lnTo>
                  <a:lnTo>
                    <a:pt x="77" y="201"/>
                  </a:lnTo>
                  <a:lnTo>
                    <a:pt x="75" y="201"/>
                  </a:lnTo>
                  <a:lnTo>
                    <a:pt x="74" y="199"/>
                  </a:lnTo>
                  <a:lnTo>
                    <a:pt x="68" y="194"/>
                  </a:lnTo>
                  <a:lnTo>
                    <a:pt x="67" y="192"/>
                  </a:lnTo>
                  <a:lnTo>
                    <a:pt x="64" y="189"/>
                  </a:lnTo>
                  <a:lnTo>
                    <a:pt x="58" y="179"/>
                  </a:lnTo>
                  <a:lnTo>
                    <a:pt x="57" y="177"/>
                  </a:lnTo>
                  <a:lnTo>
                    <a:pt x="57" y="172"/>
                  </a:lnTo>
                  <a:lnTo>
                    <a:pt x="55" y="168"/>
                  </a:lnTo>
                  <a:lnTo>
                    <a:pt x="55" y="167"/>
                  </a:lnTo>
                  <a:lnTo>
                    <a:pt x="55" y="165"/>
                  </a:lnTo>
                  <a:lnTo>
                    <a:pt x="55" y="164"/>
                  </a:lnTo>
                  <a:lnTo>
                    <a:pt x="54" y="162"/>
                  </a:lnTo>
                  <a:lnTo>
                    <a:pt x="52" y="159"/>
                  </a:lnTo>
                  <a:lnTo>
                    <a:pt x="51" y="154"/>
                  </a:lnTo>
                  <a:lnTo>
                    <a:pt x="49" y="149"/>
                  </a:lnTo>
                  <a:lnTo>
                    <a:pt x="51" y="145"/>
                  </a:lnTo>
                  <a:lnTo>
                    <a:pt x="49" y="142"/>
                  </a:lnTo>
                  <a:lnTo>
                    <a:pt x="49" y="141"/>
                  </a:lnTo>
                  <a:lnTo>
                    <a:pt x="49" y="137"/>
                  </a:lnTo>
                  <a:lnTo>
                    <a:pt x="49" y="132"/>
                  </a:lnTo>
                  <a:lnTo>
                    <a:pt x="47" y="128"/>
                  </a:lnTo>
                  <a:lnTo>
                    <a:pt x="45" y="122"/>
                  </a:lnTo>
                  <a:lnTo>
                    <a:pt x="44" y="119"/>
                  </a:lnTo>
                  <a:lnTo>
                    <a:pt x="45" y="112"/>
                  </a:lnTo>
                  <a:lnTo>
                    <a:pt x="44" y="109"/>
                  </a:lnTo>
                  <a:lnTo>
                    <a:pt x="44" y="107"/>
                  </a:lnTo>
                  <a:lnTo>
                    <a:pt x="44" y="102"/>
                  </a:lnTo>
                  <a:lnTo>
                    <a:pt x="42" y="101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5" y="99"/>
                  </a:lnTo>
                  <a:lnTo>
                    <a:pt x="45" y="98"/>
                  </a:lnTo>
                  <a:lnTo>
                    <a:pt x="45" y="97"/>
                  </a:lnTo>
                  <a:lnTo>
                    <a:pt x="44" y="92"/>
                  </a:lnTo>
                  <a:lnTo>
                    <a:pt x="42" y="88"/>
                  </a:lnTo>
                  <a:lnTo>
                    <a:pt x="37" y="81"/>
                  </a:lnTo>
                  <a:lnTo>
                    <a:pt x="35" y="78"/>
                  </a:lnTo>
                  <a:lnTo>
                    <a:pt x="34" y="75"/>
                  </a:lnTo>
                  <a:lnTo>
                    <a:pt x="28" y="65"/>
                  </a:lnTo>
                  <a:lnTo>
                    <a:pt x="25" y="59"/>
                  </a:lnTo>
                  <a:lnTo>
                    <a:pt x="24" y="54"/>
                  </a:lnTo>
                  <a:lnTo>
                    <a:pt x="21" y="51"/>
                  </a:lnTo>
                  <a:lnTo>
                    <a:pt x="12" y="32"/>
                  </a:lnTo>
                  <a:lnTo>
                    <a:pt x="9" y="30"/>
                  </a:lnTo>
                  <a:lnTo>
                    <a:pt x="7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1" y="12"/>
                  </a:lnTo>
                  <a:lnTo>
                    <a:pt x="0" y="8"/>
                  </a:lnTo>
                  <a:lnTo>
                    <a:pt x="1" y="4"/>
                  </a:lnTo>
                  <a:lnTo>
                    <a:pt x="2" y="4"/>
                  </a:lnTo>
                  <a:lnTo>
                    <a:pt x="5" y="2"/>
                  </a:lnTo>
                  <a:lnTo>
                    <a:pt x="7" y="2"/>
                  </a:lnTo>
                  <a:lnTo>
                    <a:pt x="8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4" y="4"/>
                  </a:lnTo>
                  <a:lnTo>
                    <a:pt x="15" y="2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1"/>
                  </a:lnTo>
                  <a:lnTo>
                    <a:pt x="29" y="2"/>
                  </a:lnTo>
                  <a:lnTo>
                    <a:pt x="32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41" y="7"/>
                  </a:lnTo>
                  <a:lnTo>
                    <a:pt x="44" y="7"/>
                  </a:lnTo>
                  <a:lnTo>
                    <a:pt x="47" y="7"/>
                  </a:lnTo>
                  <a:lnTo>
                    <a:pt x="52" y="7"/>
                  </a:lnTo>
                  <a:lnTo>
                    <a:pt x="58" y="7"/>
                  </a:lnTo>
                  <a:lnTo>
                    <a:pt x="65" y="7"/>
                  </a:lnTo>
                  <a:lnTo>
                    <a:pt x="71" y="7"/>
                  </a:lnTo>
                  <a:lnTo>
                    <a:pt x="77" y="7"/>
                  </a:lnTo>
                  <a:lnTo>
                    <a:pt x="84" y="7"/>
                  </a:lnTo>
                  <a:lnTo>
                    <a:pt x="89" y="7"/>
                  </a:lnTo>
                  <a:lnTo>
                    <a:pt x="95" y="7"/>
                  </a:lnTo>
                  <a:lnTo>
                    <a:pt x="98" y="7"/>
                  </a:lnTo>
                  <a:lnTo>
                    <a:pt x="102" y="7"/>
                  </a:lnTo>
                  <a:lnTo>
                    <a:pt x="106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9" y="10"/>
                  </a:lnTo>
                  <a:lnTo>
                    <a:pt x="112" y="11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8" y="14"/>
                  </a:lnTo>
                  <a:lnTo>
                    <a:pt x="119" y="14"/>
                  </a:lnTo>
                  <a:lnTo>
                    <a:pt x="122" y="14"/>
                  </a:lnTo>
                  <a:lnTo>
                    <a:pt x="126" y="14"/>
                  </a:lnTo>
                  <a:lnTo>
                    <a:pt x="131" y="14"/>
                  </a:lnTo>
                  <a:lnTo>
                    <a:pt x="135" y="14"/>
                  </a:lnTo>
                  <a:lnTo>
                    <a:pt x="139" y="15"/>
                  </a:lnTo>
                  <a:lnTo>
                    <a:pt x="141" y="15"/>
                  </a:lnTo>
                  <a:lnTo>
                    <a:pt x="142" y="17"/>
                  </a:lnTo>
                  <a:lnTo>
                    <a:pt x="145" y="17"/>
                  </a:lnTo>
                  <a:lnTo>
                    <a:pt x="148" y="17"/>
                  </a:lnTo>
                  <a:lnTo>
                    <a:pt x="151" y="15"/>
                  </a:lnTo>
                  <a:lnTo>
                    <a:pt x="154" y="15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61" y="15"/>
                  </a:lnTo>
                  <a:lnTo>
                    <a:pt x="164" y="15"/>
                  </a:lnTo>
                  <a:lnTo>
                    <a:pt x="169" y="14"/>
                  </a:lnTo>
                  <a:lnTo>
                    <a:pt x="175" y="12"/>
                  </a:lnTo>
                  <a:lnTo>
                    <a:pt x="182" y="11"/>
                  </a:lnTo>
                  <a:lnTo>
                    <a:pt x="186" y="1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7" name="Google Shape;277;p3"/>
            <p:cNvSpPr/>
            <p:nvPr/>
          </p:nvSpPr>
          <p:spPr>
            <a:xfrm>
              <a:off x="5747455" y="4567548"/>
              <a:ext cx="91870" cy="37667"/>
            </a:xfrm>
            <a:custGeom>
              <a:rect b="b" l="l" r="r" t="t"/>
              <a:pathLst>
                <a:path extrusionOk="0" h="60" w="131">
                  <a:moveTo>
                    <a:pt x="0" y="3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  <a:moveTo>
                    <a:pt x="69" y="19"/>
                  </a:moveTo>
                  <a:lnTo>
                    <a:pt x="70" y="20"/>
                  </a:lnTo>
                  <a:lnTo>
                    <a:pt x="73" y="20"/>
                  </a:lnTo>
                  <a:lnTo>
                    <a:pt x="74" y="22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4" y="29"/>
                  </a:lnTo>
                  <a:lnTo>
                    <a:pt x="86" y="29"/>
                  </a:lnTo>
                  <a:lnTo>
                    <a:pt x="87" y="30"/>
                  </a:lnTo>
                  <a:lnTo>
                    <a:pt x="87" y="32"/>
                  </a:lnTo>
                  <a:lnTo>
                    <a:pt x="89" y="32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91" y="34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6" y="39"/>
                  </a:lnTo>
                  <a:lnTo>
                    <a:pt x="97" y="40"/>
                  </a:lnTo>
                  <a:lnTo>
                    <a:pt x="99" y="40"/>
                  </a:lnTo>
                  <a:lnTo>
                    <a:pt x="103" y="43"/>
                  </a:lnTo>
                  <a:lnTo>
                    <a:pt x="106" y="46"/>
                  </a:lnTo>
                  <a:lnTo>
                    <a:pt x="107" y="47"/>
                  </a:lnTo>
                  <a:lnTo>
                    <a:pt x="109" y="49"/>
                  </a:lnTo>
                  <a:lnTo>
                    <a:pt x="111" y="50"/>
                  </a:lnTo>
                  <a:lnTo>
                    <a:pt x="113" y="50"/>
                  </a:lnTo>
                  <a:lnTo>
                    <a:pt x="114" y="53"/>
                  </a:lnTo>
                  <a:lnTo>
                    <a:pt x="113" y="54"/>
                  </a:lnTo>
                  <a:lnTo>
                    <a:pt x="111" y="56"/>
                  </a:lnTo>
                  <a:lnTo>
                    <a:pt x="111" y="56"/>
                  </a:lnTo>
                  <a:lnTo>
                    <a:pt x="110" y="56"/>
                  </a:lnTo>
                  <a:lnTo>
                    <a:pt x="107" y="54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4" y="53"/>
                  </a:lnTo>
                  <a:lnTo>
                    <a:pt x="104" y="53"/>
                  </a:lnTo>
                  <a:lnTo>
                    <a:pt x="103" y="52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0" y="49"/>
                  </a:lnTo>
                  <a:lnTo>
                    <a:pt x="99" y="49"/>
                  </a:lnTo>
                  <a:lnTo>
                    <a:pt x="97" y="47"/>
                  </a:lnTo>
                  <a:lnTo>
                    <a:pt x="94" y="47"/>
                  </a:lnTo>
                  <a:lnTo>
                    <a:pt x="93" y="46"/>
                  </a:lnTo>
                  <a:lnTo>
                    <a:pt x="91" y="44"/>
                  </a:lnTo>
                  <a:lnTo>
                    <a:pt x="89" y="43"/>
                  </a:lnTo>
                  <a:lnTo>
                    <a:pt x="87" y="42"/>
                  </a:lnTo>
                  <a:lnTo>
                    <a:pt x="86" y="42"/>
                  </a:lnTo>
                  <a:lnTo>
                    <a:pt x="81" y="37"/>
                  </a:lnTo>
                  <a:lnTo>
                    <a:pt x="80" y="37"/>
                  </a:lnTo>
                  <a:lnTo>
                    <a:pt x="79" y="36"/>
                  </a:lnTo>
                  <a:lnTo>
                    <a:pt x="76" y="32"/>
                  </a:lnTo>
                  <a:lnTo>
                    <a:pt x="74" y="30"/>
                  </a:lnTo>
                  <a:lnTo>
                    <a:pt x="73" y="29"/>
                  </a:lnTo>
                  <a:lnTo>
                    <a:pt x="71" y="27"/>
                  </a:lnTo>
                  <a:lnTo>
                    <a:pt x="70" y="26"/>
                  </a:lnTo>
                  <a:lnTo>
                    <a:pt x="69" y="23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7" y="17"/>
                  </a:lnTo>
                  <a:lnTo>
                    <a:pt x="69" y="19"/>
                  </a:lnTo>
                  <a:close/>
                  <a:moveTo>
                    <a:pt x="106" y="27"/>
                  </a:moveTo>
                  <a:lnTo>
                    <a:pt x="106" y="27"/>
                  </a:lnTo>
                  <a:lnTo>
                    <a:pt x="107" y="26"/>
                  </a:lnTo>
                  <a:lnTo>
                    <a:pt x="107" y="24"/>
                  </a:lnTo>
                  <a:lnTo>
                    <a:pt x="107" y="23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9" y="23"/>
                  </a:lnTo>
                  <a:lnTo>
                    <a:pt x="107" y="23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6" y="27"/>
                  </a:lnTo>
                  <a:close/>
                  <a:moveTo>
                    <a:pt x="120" y="34"/>
                  </a:moveTo>
                  <a:lnTo>
                    <a:pt x="118" y="34"/>
                  </a:lnTo>
                  <a:lnTo>
                    <a:pt x="118" y="33"/>
                  </a:lnTo>
                  <a:lnTo>
                    <a:pt x="116" y="33"/>
                  </a:lnTo>
                  <a:lnTo>
                    <a:pt x="114" y="32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17" y="29"/>
                  </a:lnTo>
                  <a:lnTo>
                    <a:pt x="116" y="29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7" y="26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18" y="30"/>
                  </a:lnTo>
                  <a:lnTo>
                    <a:pt x="120" y="32"/>
                  </a:lnTo>
                  <a:lnTo>
                    <a:pt x="120" y="33"/>
                  </a:lnTo>
                  <a:lnTo>
                    <a:pt x="120" y="33"/>
                  </a:lnTo>
                  <a:lnTo>
                    <a:pt x="120" y="34"/>
                  </a:lnTo>
                  <a:close/>
                  <a:moveTo>
                    <a:pt x="130" y="39"/>
                  </a:moveTo>
                  <a:lnTo>
                    <a:pt x="130" y="40"/>
                  </a:lnTo>
                  <a:lnTo>
                    <a:pt x="131" y="40"/>
                  </a:lnTo>
                  <a:lnTo>
                    <a:pt x="131" y="43"/>
                  </a:lnTo>
                  <a:lnTo>
                    <a:pt x="130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39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30" y="39"/>
                  </a:lnTo>
                  <a:close/>
                  <a:moveTo>
                    <a:pt x="123" y="60"/>
                  </a:moveTo>
                  <a:lnTo>
                    <a:pt x="121" y="60"/>
                  </a:lnTo>
                  <a:lnTo>
                    <a:pt x="121" y="60"/>
                  </a:lnTo>
                  <a:lnTo>
                    <a:pt x="121" y="60"/>
                  </a:lnTo>
                  <a:lnTo>
                    <a:pt x="120" y="60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3" y="6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8" name="Google Shape;278;p3"/>
            <p:cNvSpPr/>
            <p:nvPr/>
          </p:nvSpPr>
          <p:spPr>
            <a:xfrm>
              <a:off x="3954236" y="4131237"/>
              <a:ext cx="176727" cy="123674"/>
            </a:xfrm>
            <a:custGeom>
              <a:rect b="b" l="l" r="r" t="t"/>
              <a:pathLst>
                <a:path extrusionOk="0" h="197" w="252">
                  <a:moveTo>
                    <a:pt x="236" y="9"/>
                  </a:moveTo>
                  <a:lnTo>
                    <a:pt x="238" y="19"/>
                  </a:lnTo>
                  <a:lnTo>
                    <a:pt x="239" y="27"/>
                  </a:lnTo>
                  <a:lnTo>
                    <a:pt x="239" y="33"/>
                  </a:lnTo>
                  <a:lnTo>
                    <a:pt x="239" y="34"/>
                  </a:lnTo>
                  <a:lnTo>
                    <a:pt x="241" y="34"/>
                  </a:lnTo>
                  <a:lnTo>
                    <a:pt x="241" y="36"/>
                  </a:lnTo>
                  <a:lnTo>
                    <a:pt x="246" y="44"/>
                  </a:lnTo>
                  <a:lnTo>
                    <a:pt x="245" y="46"/>
                  </a:lnTo>
                  <a:lnTo>
                    <a:pt x="246" y="47"/>
                  </a:lnTo>
                  <a:lnTo>
                    <a:pt x="248" y="49"/>
                  </a:lnTo>
                  <a:lnTo>
                    <a:pt x="252" y="53"/>
                  </a:lnTo>
                  <a:lnTo>
                    <a:pt x="252" y="54"/>
                  </a:lnTo>
                  <a:lnTo>
                    <a:pt x="252" y="54"/>
                  </a:lnTo>
                  <a:lnTo>
                    <a:pt x="249" y="60"/>
                  </a:lnTo>
                  <a:lnTo>
                    <a:pt x="248" y="61"/>
                  </a:lnTo>
                  <a:lnTo>
                    <a:pt x="248" y="68"/>
                  </a:lnTo>
                  <a:lnTo>
                    <a:pt x="248" y="73"/>
                  </a:lnTo>
                  <a:lnTo>
                    <a:pt x="246" y="80"/>
                  </a:lnTo>
                  <a:lnTo>
                    <a:pt x="246" y="88"/>
                  </a:lnTo>
                  <a:lnTo>
                    <a:pt x="245" y="94"/>
                  </a:lnTo>
                  <a:lnTo>
                    <a:pt x="245" y="103"/>
                  </a:lnTo>
                  <a:lnTo>
                    <a:pt x="245" y="111"/>
                  </a:lnTo>
                  <a:lnTo>
                    <a:pt x="241" y="117"/>
                  </a:lnTo>
                  <a:lnTo>
                    <a:pt x="232" y="124"/>
                  </a:lnTo>
                  <a:lnTo>
                    <a:pt x="226" y="131"/>
                  </a:lnTo>
                  <a:lnTo>
                    <a:pt x="223" y="136"/>
                  </a:lnTo>
                  <a:lnTo>
                    <a:pt x="218" y="144"/>
                  </a:lnTo>
                  <a:lnTo>
                    <a:pt x="215" y="150"/>
                  </a:lnTo>
                  <a:lnTo>
                    <a:pt x="213" y="153"/>
                  </a:lnTo>
                  <a:lnTo>
                    <a:pt x="212" y="154"/>
                  </a:lnTo>
                  <a:lnTo>
                    <a:pt x="212" y="157"/>
                  </a:lnTo>
                  <a:lnTo>
                    <a:pt x="215" y="164"/>
                  </a:lnTo>
                  <a:lnTo>
                    <a:pt x="212" y="164"/>
                  </a:lnTo>
                  <a:lnTo>
                    <a:pt x="209" y="166"/>
                  </a:lnTo>
                  <a:lnTo>
                    <a:pt x="208" y="167"/>
                  </a:lnTo>
                  <a:lnTo>
                    <a:pt x="205" y="167"/>
                  </a:lnTo>
                  <a:lnTo>
                    <a:pt x="202" y="168"/>
                  </a:lnTo>
                  <a:lnTo>
                    <a:pt x="201" y="170"/>
                  </a:lnTo>
                  <a:lnTo>
                    <a:pt x="199" y="171"/>
                  </a:lnTo>
                  <a:lnTo>
                    <a:pt x="196" y="173"/>
                  </a:lnTo>
                  <a:lnTo>
                    <a:pt x="196" y="174"/>
                  </a:lnTo>
                  <a:lnTo>
                    <a:pt x="193" y="176"/>
                  </a:lnTo>
                  <a:lnTo>
                    <a:pt x="191" y="174"/>
                  </a:lnTo>
                  <a:lnTo>
                    <a:pt x="188" y="173"/>
                  </a:lnTo>
                  <a:lnTo>
                    <a:pt x="184" y="171"/>
                  </a:lnTo>
                  <a:lnTo>
                    <a:pt x="181" y="171"/>
                  </a:lnTo>
                  <a:lnTo>
                    <a:pt x="179" y="170"/>
                  </a:lnTo>
                  <a:lnTo>
                    <a:pt x="172" y="170"/>
                  </a:lnTo>
                  <a:lnTo>
                    <a:pt x="164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8" y="173"/>
                  </a:lnTo>
                  <a:lnTo>
                    <a:pt x="155" y="174"/>
                  </a:lnTo>
                  <a:lnTo>
                    <a:pt x="151" y="180"/>
                  </a:lnTo>
                  <a:lnTo>
                    <a:pt x="144" y="178"/>
                  </a:lnTo>
                  <a:lnTo>
                    <a:pt x="139" y="178"/>
                  </a:lnTo>
                  <a:lnTo>
                    <a:pt x="136" y="177"/>
                  </a:lnTo>
                  <a:lnTo>
                    <a:pt x="132" y="176"/>
                  </a:lnTo>
                  <a:lnTo>
                    <a:pt x="126" y="171"/>
                  </a:lnTo>
                  <a:lnTo>
                    <a:pt x="124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14" y="174"/>
                  </a:lnTo>
                  <a:lnTo>
                    <a:pt x="112" y="174"/>
                  </a:lnTo>
                  <a:lnTo>
                    <a:pt x="111" y="174"/>
                  </a:lnTo>
                  <a:lnTo>
                    <a:pt x="111" y="176"/>
                  </a:lnTo>
                  <a:lnTo>
                    <a:pt x="109" y="176"/>
                  </a:lnTo>
                  <a:lnTo>
                    <a:pt x="108" y="176"/>
                  </a:lnTo>
                  <a:lnTo>
                    <a:pt x="108" y="176"/>
                  </a:lnTo>
                  <a:lnTo>
                    <a:pt x="106" y="176"/>
                  </a:lnTo>
                  <a:lnTo>
                    <a:pt x="105" y="174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1" y="168"/>
                  </a:lnTo>
                  <a:lnTo>
                    <a:pt x="98" y="167"/>
                  </a:lnTo>
                  <a:lnTo>
                    <a:pt x="98" y="166"/>
                  </a:lnTo>
                  <a:lnTo>
                    <a:pt x="96" y="166"/>
                  </a:lnTo>
                  <a:lnTo>
                    <a:pt x="95" y="166"/>
                  </a:lnTo>
                  <a:lnTo>
                    <a:pt x="89" y="164"/>
                  </a:lnTo>
                  <a:lnTo>
                    <a:pt x="84" y="161"/>
                  </a:lnTo>
                  <a:lnTo>
                    <a:pt x="84" y="163"/>
                  </a:lnTo>
                  <a:lnTo>
                    <a:pt x="82" y="163"/>
                  </a:lnTo>
                  <a:lnTo>
                    <a:pt x="81" y="164"/>
                  </a:lnTo>
                  <a:lnTo>
                    <a:pt x="78" y="164"/>
                  </a:lnTo>
                  <a:lnTo>
                    <a:pt x="75" y="164"/>
                  </a:lnTo>
                  <a:lnTo>
                    <a:pt x="74" y="164"/>
                  </a:lnTo>
                  <a:lnTo>
                    <a:pt x="71" y="164"/>
                  </a:lnTo>
                  <a:lnTo>
                    <a:pt x="69" y="164"/>
                  </a:lnTo>
                  <a:lnTo>
                    <a:pt x="67" y="166"/>
                  </a:lnTo>
                  <a:lnTo>
                    <a:pt x="64" y="168"/>
                  </a:lnTo>
                  <a:lnTo>
                    <a:pt x="64" y="168"/>
                  </a:lnTo>
                  <a:lnTo>
                    <a:pt x="62" y="168"/>
                  </a:lnTo>
                  <a:lnTo>
                    <a:pt x="62" y="176"/>
                  </a:lnTo>
                  <a:lnTo>
                    <a:pt x="61" y="177"/>
                  </a:lnTo>
                  <a:lnTo>
                    <a:pt x="59" y="180"/>
                  </a:lnTo>
                  <a:lnTo>
                    <a:pt x="57" y="183"/>
                  </a:lnTo>
                  <a:lnTo>
                    <a:pt x="55" y="184"/>
                  </a:lnTo>
                  <a:lnTo>
                    <a:pt x="55" y="186"/>
                  </a:lnTo>
                  <a:lnTo>
                    <a:pt x="55" y="190"/>
                  </a:lnTo>
                  <a:lnTo>
                    <a:pt x="55" y="191"/>
                  </a:lnTo>
                  <a:lnTo>
                    <a:pt x="55" y="193"/>
                  </a:lnTo>
                  <a:lnTo>
                    <a:pt x="54" y="194"/>
                  </a:lnTo>
                  <a:lnTo>
                    <a:pt x="54" y="194"/>
                  </a:lnTo>
                  <a:lnTo>
                    <a:pt x="54" y="196"/>
                  </a:lnTo>
                  <a:lnTo>
                    <a:pt x="55" y="196"/>
                  </a:lnTo>
                  <a:lnTo>
                    <a:pt x="55" y="197"/>
                  </a:lnTo>
                  <a:lnTo>
                    <a:pt x="55" y="197"/>
                  </a:lnTo>
                  <a:lnTo>
                    <a:pt x="54" y="197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1" y="194"/>
                  </a:lnTo>
                  <a:lnTo>
                    <a:pt x="49" y="194"/>
                  </a:lnTo>
                  <a:lnTo>
                    <a:pt x="48" y="193"/>
                  </a:lnTo>
                  <a:lnTo>
                    <a:pt x="47" y="191"/>
                  </a:lnTo>
                  <a:lnTo>
                    <a:pt x="42" y="187"/>
                  </a:lnTo>
                  <a:lnTo>
                    <a:pt x="42" y="187"/>
                  </a:lnTo>
                  <a:lnTo>
                    <a:pt x="41" y="186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38" y="187"/>
                  </a:lnTo>
                  <a:lnTo>
                    <a:pt x="37" y="188"/>
                  </a:lnTo>
                  <a:lnTo>
                    <a:pt x="34" y="188"/>
                  </a:lnTo>
                  <a:lnTo>
                    <a:pt x="34" y="190"/>
                  </a:lnTo>
                  <a:lnTo>
                    <a:pt x="35" y="193"/>
                  </a:lnTo>
                  <a:lnTo>
                    <a:pt x="35" y="194"/>
                  </a:lnTo>
                  <a:lnTo>
                    <a:pt x="34" y="193"/>
                  </a:lnTo>
                  <a:lnTo>
                    <a:pt x="31" y="190"/>
                  </a:lnTo>
                  <a:lnTo>
                    <a:pt x="29" y="188"/>
                  </a:lnTo>
                  <a:lnTo>
                    <a:pt x="29" y="187"/>
                  </a:lnTo>
                  <a:lnTo>
                    <a:pt x="29" y="187"/>
                  </a:lnTo>
                  <a:lnTo>
                    <a:pt x="29" y="187"/>
                  </a:lnTo>
                  <a:lnTo>
                    <a:pt x="29" y="186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2" y="184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9" y="181"/>
                  </a:lnTo>
                  <a:lnTo>
                    <a:pt x="28" y="181"/>
                  </a:lnTo>
                  <a:lnTo>
                    <a:pt x="28" y="181"/>
                  </a:lnTo>
                  <a:lnTo>
                    <a:pt x="25" y="183"/>
                  </a:lnTo>
                  <a:lnTo>
                    <a:pt x="25" y="183"/>
                  </a:lnTo>
                  <a:lnTo>
                    <a:pt x="24" y="183"/>
                  </a:lnTo>
                  <a:lnTo>
                    <a:pt x="21" y="183"/>
                  </a:lnTo>
                  <a:lnTo>
                    <a:pt x="21" y="181"/>
                  </a:lnTo>
                  <a:lnTo>
                    <a:pt x="17" y="178"/>
                  </a:lnTo>
                  <a:lnTo>
                    <a:pt x="14" y="176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2" y="170"/>
                  </a:lnTo>
                  <a:lnTo>
                    <a:pt x="14" y="171"/>
                  </a:lnTo>
                  <a:lnTo>
                    <a:pt x="15" y="171"/>
                  </a:lnTo>
                  <a:lnTo>
                    <a:pt x="15" y="170"/>
                  </a:lnTo>
                  <a:lnTo>
                    <a:pt x="14" y="170"/>
                  </a:lnTo>
                  <a:lnTo>
                    <a:pt x="12" y="168"/>
                  </a:lnTo>
                  <a:lnTo>
                    <a:pt x="12" y="167"/>
                  </a:lnTo>
                  <a:lnTo>
                    <a:pt x="11" y="167"/>
                  </a:lnTo>
                  <a:lnTo>
                    <a:pt x="11" y="166"/>
                  </a:lnTo>
                  <a:lnTo>
                    <a:pt x="9" y="166"/>
                  </a:lnTo>
                  <a:lnTo>
                    <a:pt x="9" y="166"/>
                  </a:lnTo>
                  <a:lnTo>
                    <a:pt x="8" y="166"/>
                  </a:lnTo>
                  <a:lnTo>
                    <a:pt x="7" y="166"/>
                  </a:lnTo>
                  <a:lnTo>
                    <a:pt x="7" y="164"/>
                  </a:lnTo>
                  <a:lnTo>
                    <a:pt x="5" y="163"/>
                  </a:lnTo>
                  <a:lnTo>
                    <a:pt x="4" y="160"/>
                  </a:lnTo>
                  <a:lnTo>
                    <a:pt x="2" y="158"/>
                  </a:lnTo>
                  <a:lnTo>
                    <a:pt x="2" y="157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1" y="153"/>
                  </a:lnTo>
                  <a:lnTo>
                    <a:pt x="0" y="151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1" y="144"/>
                  </a:lnTo>
                  <a:lnTo>
                    <a:pt x="4" y="144"/>
                  </a:lnTo>
                  <a:lnTo>
                    <a:pt x="8" y="144"/>
                  </a:lnTo>
                  <a:lnTo>
                    <a:pt x="11" y="144"/>
                  </a:lnTo>
                  <a:lnTo>
                    <a:pt x="12" y="144"/>
                  </a:lnTo>
                  <a:lnTo>
                    <a:pt x="14" y="141"/>
                  </a:lnTo>
                  <a:lnTo>
                    <a:pt x="17" y="138"/>
                  </a:lnTo>
                  <a:lnTo>
                    <a:pt x="21" y="138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5" y="138"/>
                  </a:lnTo>
                  <a:lnTo>
                    <a:pt x="39" y="138"/>
                  </a:lnTo>
                  <a:lnTo>
                    <a:pt x="44" y="137"/>
                  </a:lnTo>
                  <a:lnTo>
                    <a:pt x="45" y="137"/>
                  </a:lnTo>
                  <a:lnTo>
                    <a:pt x="45" y="137"/>
                  </a:lnTo>
                  <a:lnTo>
                    <a:pt x="45" y="136"/>
                  </a:lnTo>
                  <a:lnTo>
                    <a:pt x="49" y="137"/>
                  </a:lnTo>
                  <a:lnTo>
                    <a:pt x="52" y="137"/>
                  </a:lnTo>
                  <a:lnTo>
                    <a:pt x="52" y="136"/>
                  </a:lnTo>
                  <a:lnTo>
                    <a:pt x="55" y="133"/>
                  </a:lnTo>
                  <a:lnTo>
                    <a:pt x="58" y="133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9" y="126"/>
                  </a:lnTo>
                  <a:lnTo>
                    <a:pt x="61" y="124"/>
                  </a:lnTo>
                  <a:lnTo>
                    <a:pt x="62" y="121"/>
                  </a:lnTo>
                  <a:lnTo>
                    <a:pt x="64" y="117"/>
                  </a:lnTo>
                  <a:lnTo>
                    <a:pt x="64" y="114"/>
                  </a:lnTo>
                  <a:lnTo>
                    <a:pt x="64" y="111"/>
                  </a:lnTo>
                  <a:lnTo>
                    <a:pt x="64" y="110"/>
                  </a:lnTo>
                  <a:lnTo>
                    <a:pt x="64" y="106"/>
                  </a:lnTo>
                  <a:lnTo>
                    <a:pt x="64" y="100"/>
                  </a:lnTo>
                  <a:lnTo>
                    <a:pt x="64" y="97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4" y="81"/>
                  </a:lnTo>
                  <a:lnTo>
                    <a:pt x="64" y="77"/>
                  </a:lnTo>
                  <a:lnTo>
                    <a:pt x="64" y="74"/>
                  </a:lnTo>
                  <a:lnTo>
                    <a:pt x="68" y="74"/>
                  </a:lnTo>
                  <a:lnTo>
                    <a:pt x="71" y="73"/>
                  </a:lnTo>
                  <a:lnTo>
                    <a:pt x="77" y="71"/>
                  </a:lnTo>
                  <a:lnTo>
                    <a:pt x="82" y="71"/>
                  </a:lnTo>
                  <a:lnTo>
                    <a:pt x="88" y="70"/>
                  </a:lnTo>
                  <a:lnTo>
                    <a:pt x="89" y="68"/>
                  </a:lnTo>
                  <a:lnTo>
                    <a:pt x="95" y="64"/>
                  </a:lnTo>
                  <a:lnTo>
                    <a:pt x="96" y="63"/>
                  </a:lnTo>
                  <a:lnTo>
                    <a:pt x="101" y="58"/>
                  </a:lnTo>
                  <a:lnTo>
                    <a:pt x="104" y="56"/>
                  </a:lnTo>
                  <a:lnTo>
                    <a:pt x="108" y="51"/>
                  </a:lnTo>
                  <a:lnTo>
                    <a:pt x="112" y="49"/>
                  </a:lnTo>
                  <a:lnTo>
                    <a:pt x="116" y="46"/>
                  </a:lnTo>
                  <a:lnTo>
                    <a:pt x="122" y="41"/>
                  </a:lnTo>
                  <a:lnTo>
                    <a:pt x="129" y="36"/>
                  </a:lnTo>
                  <a:lnTo>
                    <a:pt x="138" y="31"/>
                  </a:lnTo>
                  <a:lnTo>
                    <a:pt x="146" y="26"/>
                  </a:lnTo>
                  <a:lnTo>
                    <a:pt x="155" y="20"/>
                  </a:lnTo>
                  <a:lnTo>
                    <a:pt x="164" y="16"/>
                  </a:lnTo>
                  <a:lnTo>
                    <a:pt x="172" y="10"/>
                  </a:lnTo>
                  <a:lnTo>
                    <a:pt x="179" y="4"/>
                  </a:lnTo>
                  <a:lnTo>
                    <a:pt x="188" y="0"/>
                  </a:lnTo>
                  <a:lnTo>
                    <a:pt x="196" y="1"/>
                  </a:lnTo>
                  <a:lnTo>
                    <a:pt x="205" y="3"/>
                  </a:lnTo>
                  <a:lnTo>
                    <a:pt x="212" y="6"/>
                  </a:lnTo>
                  <a:lnTo>
                    <a:pt x="213" y="6"/>
                  </a:lnTo>
                  <a:lnTo>
                    <a:pt x="218" y="10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5" y="16"/>
                  </a:lnTo>
                  <a:lnTo>
                    <a:pt x="229" y="13"/>
                  </a:lnTo>
                  <a:lnTo>
                    <a:pt x="236" y="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9" name="Google Shape;279;p3"/>
            <p:cNvSpPr/>
            <p:nvPr/>
          </p:nvSpPr>
          <p:spPr>
            <a:xfrm>
              <a:off x="3981586" y="4232311"/>
              <a:ext cx="134649" cy="97934"/>
            </a:xfrm>
            <a:custGeom>
              <a:rect b="b" l="l" r="r" t="t"/>
              <a:pathLst>
                <a:path extrusionOk="0" h="156" w="192">
                  <a:moveTo>
                    <a:pt x="176" y="3"/>
                  </a:moveTo>
                  <a:lnTo>
                    <a:pt x="177" y="7"/>
                  </a:lnTo>
                  <a:lnTo>
                    <a:pt x="180" y="10"/>
                  </a:lnTo>
                  <a:lnTo>
                    <a:pt x="183" y="15"/>
                  </a:lnTo>
                  <a:lnTo>
                    <a:pt x="184" y="22"/>
                  </a:lnTo>
                  <a:lnTo>
                    <a:pt x="184" y="23"/>
                  </a:lnTo>
                  <a:lnTo>
                    <a:pt x="184" y="23"/>
                  </a:lnTo>
                  <a:lnTo>
                    <a:pt x="184" y="25"/>
                  </a:lnTo>
                  <a:lnTo>
                    <a:pt x="184" y="25"/>
                  </a:lnTo>
                  <a:lnTo>
                    <a:pt x="186" y="26"/>
                  </a:lnTo>
                  <a:lnTo>
                    <a:pt x="189" y="26"/>
                  </a:lnTo>
                  <a:lnTo>
                    <a:pt x="190" y="26"/>
                  </a:lnTo>
                  <a:lnTo>
                    <a:pt x="190" y="27"/>
                  </a:lnTo>
                  <a:lnTo>
                    <a:pt x="192" y="27"/>
                  </a:lnTo>
                  <a:lnTo>
                    <a:pt x="192" y="29"/>
                  </a:lnTo>
                  <a:lnTo>
                    <a:pt x="192" y="30"/>
                  </a:lnTo>
                  <a:lnTo>
                    <a:pt x="192" y="32"/>
                  </a:lnTo>
                  <a:lnTo>
                    <a:pt x="192" y="35"/>
                  </a:lnTo>
                  <a:lnTo>
                    <a:pt x="190" y="36"/>
                  </a:lnTo>
                  <a:lnTo>
                    <a:pt x="192" y="39"/>
                  </a:lnTo>
                  <a:lnTo>
                    <a:pt x="190" y="39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89" y="42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3" y="43"/>
                  </a:lnTo>
                  <a:lnTo>
                    <a:pt x="182" y="45"/>
                  </a:lnTo>
                  <a:lnTo>
                    <a:pt x="180" y="46"/>
                  </a:lnTo>
                  <a:lnTo>
                    <a:pt x="177" y="50"/>
                  </a:lnTo>
                  <a:lnTo>
                    <a:pt x="174" y="55"/>
                  </a:lnTo>
                  <a:lnTo>
                    <a:pt x="173" y="57"/>
                  </a:lnTo>
                  <a:lnTo>
                    <a:pt x="172" y="62"/>
                  </a:lnTo>
                  <a:lnTo>
                    <a:pt x="170" y="63"/>
                  </a:lnTo>
                  <a:lnTo>
                    <a:pt x="170" y="65"/>
                  </a:lnTo>
                  <a:lnTo>
                    <a:pt x="169" y="66"/>
                  </a:lnTo>
                  <a:lnTo>
                    <a:pt x="169" y="67"/>
                  </a:lnTo>
                  <a:lnTo>
                    <a:pt x="169" y="70"/>
                  </a:lnTo>
                  <a:lnTo>
                    <a:pt x="169" y="72"/>
                  </a:lnTo>
                  <a:lnTo>
                    <a:pt x="169" y="72"/>
                  </a:lnTo>
                  <a:lnTo>
                    <a:pt x="166" y="72"/>
                  </a:lnTo>
                  <a:lnTo>
                    <a:pt x="164" y="73"/>
                  </a:lnTo>
                  <a:lnTo>
                    <a:pt x="163" y="75"/>
                  </a:lnTo>
                  <a:lnTo>
                    <a:pt x="163" y="77"/>
                  </a:lnTo>
                  <a:lnTo>
                    <a:pt x="163" y="80"/>
                  </a:lnTo>
                  <a:lnTo>
                    <a:pt x="163" y="82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0" y="86"/>
                  </a:lnTo>
                  <a:lnTo>
                    <a:pt x="159" y="86"/>
                  </a:lnTo>
                  <a:lnTo>
                    <a:pt x="156" y="86"/>
                  </a:lnTo>
                  <a:lnTo>
                    <a:pt x="154" y="89"/>
                  </a:lnTo>
                  <a:lnTo>
                    <a:pt x="153" y="92"/>
                  </a:lnTo>
                  <a:lnTo>
                    <a:pt x="153" y="93"/>
                  </a:lnTo>
                  <a:lnTo>
                    <a:pt x="152" y="97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3"/>
                  </a:lnTo>
                  <a:lnTo>
                    <a:pt x="147" y="106"/>
                  </a:lnTo>
                  <a:lnTo>
                    <a:pt x="146" y="107"/>
                  </a:lnTo>
                  <a:lnTo>
                    <a:pt x="146" y="107"/>
                  </a:lnTo>
                  <a:lnTo>
                    <a:pt x="146" y="109"/>
                  </a:lnTo>
                  <a:lnTo>
                    <a:pt x="147" y="110"/>
                  </a:lnTo>
                  <a:lnTo>
                    <a:pt x="147" y="110"/>
                  </a:lnTo>
                  <a:lnTo>
                    <a:pt x="146" y="112"/>
                  </a:lnTo>
                  <a:lnTo>
                    <a:pt x="145" y="113"/>
                  </a:lnTo>
                  <a:lnTo>
                    <a:pt x="143" y="114"/>
                  </a:lnTo>
                  <a:lnTo>
                    <a:pt x="143" y="114"/>
                  </a:lnTo>
                  <a:lnTo>
                    <a:pt x="142" y="117"/>
                  </a:lnTo>
                  <a:lnTo>
                    <a:pt x="142" y="117"/>
                  </a:lnTo>
                  <a:lnTo>
                    <a:pt x="142" y="119"/>
                  </a:lnTo>
                  <a:lnTo>
                    <a:pt x="140" y="120"/>
                  </a:lnTo>
                  <a:lnTo>
                    <a:pt x="139" y="120"/>
                  </a:lnTo>
                  <a:lnTo>
                    <a:pt x="137" y="122"/>
                  </a:lnTo>
                  <a:lnTo>
                    <a:pt x="136" y="122"/>
                  </a:lnTo>
                  <a:lnTo>
                    <a:pt x="135" y="122"/>
                  </a:lnTo>
                  <a:lnTo>
                    <a:pt x="135" y="120"/>
                  </a:lnTo>
                  <a:lnTo>
                    <a:pt x="135" y="117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2" y="114"/>
                  </a:lnTo>
                  <a:lnTo>
                    <a:pt x="129" y="113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6" y="112"/>
                  </a:lnTo>
                  <a:lnTo>
                    <a:pt x="126" y="113"/>
                  </a:lnTo>
                  <a:lnTo>
                    <a:pt x="125" y="114"/>
                  </a:lnTo>
                  <a:lnTo>
                    <a:pt x="125" y="114"/>
                  </a:lnTo>
                  <a:lnTo>
                    <a:pt x="122" y="114"/>
                  </a:lnTo>
                  <a:lnTo>
                    <a:pt x="120" y="114"/>
                  </a:lnTo>
                  <a:lnTo>
                    <a:pt x="120" y="113"/>
                  </a:lnTo>
                  <a:lnTo>
                    <a:pt x="120" y="113"/>
                  </a:lnTo>
                  <a:lnTo>
                    <a:pt x="120" y="112"/>
                  </a:lnTo>
                  <a:lnTo>
                    <a:pt x="119" y="113"/>
                  </a:lnTo>
                  <a:lnTo>
                    <a:pt x="116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3" y="117"/>
                  </a:lnTo>
                  <a:lnTo>
                    <a:pt x="112" y="120"/>
                  </a:lnTo>
                  <a:lnTo>
                    <a:pt x="110" y="120"/>
                  </a:lnTo>
                  <a:lnTo>
                    <a:pt x="109" y="122"/>
                  </a:lnTo>
                  <a:lnTo>
                    <a:pt x="109" y="122"/>
                  </a:lnTo>
                  <a:lnTo>
                    <a:pt x="107" y="123"/>
                  </a:lnTo>
                  <a:lnTo>
                    <a:pt x="106" y="126"/>
                  </a:lnTo>
                  <a:lnTo>
                    <a:pt x="103" y="129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100" y="134"/>
                  </a:lnTo>
                  <a:lnTo>
                    <a:pt x="99" y="137"/>
                  </a:lnTo>
                  <a:lnTo>
                    <a:pt x="99" y="142"/>
                  </a:lnTo>
                  <a:lnTo>
                    <a:pt x="97" y="143"/>
                  </a:lnTo>
                  <a:lnTo>
                    <a:pt x="96" y="146"/>
                  </a:lnTo>
                  <a:lnTo>
                    <a:pt x="95" y="147"/>
                  </a:lnTo>
                  <a:lnTo>
                    <a:pt x="95" y="149"/>
                  </a:lnTo>
                  <a:lnTo>
                    <a:pt x="95" y="149"/>
                  </a:lnTo>
                  <a:lnTo>
                    <a:pt x="93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0" y="147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90" y="150"/>
                  </a:lnTo>
                  <a:lnTo>
                    <a:pt x="90" y="152"/>
                  </a:lnTo>
                  <a:lnTo>
                    <a:pt x="86" y="152"/>
                  </a:lnTo>
                  <a:lnTo>
                    <a:pt x="82" y="152"/>
                  </a:lnTo>
                  <a:lnTo>
                    <a:pt x="80" y="152"/>
                  </a:lnTo>
                  <a:lnTo>
                    <a:pt x="79" y="152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3" y="150"/>
                  </a:lnTo>
                  <a:lnTo>
                    <a:pt x="72" y="149"/>
                  </a:lnTo>
                  <a:lnTo>
                    <a:pt x="70" y="149"/>
                  </a:lnTo>
                  <a:lnTo>
                    <a:pt x="70" y="149"/>
                  </a:lnTo>
                  <a:lnTo>
                    <a:pt x="72" y="150"/>
                  </a:lnTo>
                  <a:lnTo>
                    <a:pt x="72" y="152"/>
                  </a:lnTo>
                  <a:lnTo>
                    <a:pt x="70" y="154"/>
                  </a:lnTo>
                  <a:lnTo>
                    <a:pt x="69" y="154"/>
                  </a:lnTo>
                  <a:lnTo>
                    <a:pt x="67" y="153"/>
                  </a:lnTo>
                  <a:lnTo>
                    <a:pt x="67" y="152"/>
                  </a:lnTo>
                  <a:lnTo>
                    <a:pt x="66" y="150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6" y="150"/>
                  </a:lnTo>
                  <a:lnTo>
                    <a:pt x="66" y="150"/>
                  </a:lnTo>
                  <a:lnTo>
                    <a:pt x="66" y="153"/>
                  </a:lnTo>
                  <a:lnTo>
                    <a:pt x="67" y="154"/>
                  </a:lnTo>
                  <a:lnTo>
                    <a:pt x="66" y="154"/>
                  </a:lnTo>
                  <a:lnTo>
                    <a:pt x="65" y="154"/>
                  </a:lnTo>
                  <a:lnTo>
                    <a:pt x="63" y="154"/>
                  </a:lnTo>
                  <a:lnTo>
                    <a:pt x="63" y="154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2" y="154"/>
                  </a:lnTo>
                  <a:lnTo>
                    <a:pt x="62" y="154"/>
                  </a:lnTo>
                  <a:lnTo>
                    <a:pt x="60" y="154"/>
                  </a:lnTo>
                  <a:lnTo>
                    <a:pt x="59" y="156"/>
                  </a:lnTo>
                  <a:lnTo>
                    <a:pt x="57" y="156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57" y="153"/>
                  </a:lnTo>
                  <a:lnTo>
                    <a:pt x="57" y="154"/>
                  </a:lnTo>
                  <a:lnTo>
                    <a:pt x="56" y="156"/>
                  </a:lnTo>
                  <a:lnTo>
                    <a:pt x="56" y="156"/>
                  </a:lnTo>
                  <a:lnTo>
                    <a:pt x="55" y="156"/>
                  </a:lnTo>
                  <a:lnTo>
                    <a:pt x="53" y="154"/>
                  </a:lnTo>
                  <a:lnTo>
                    <a:pt x="52" y="154"/>
                  </a:lnTo>
                  <a:lnTo>
                    <a:pt x="50" y="153"/>
                  </a:lnTo>
                  <a:lnTo>
                    <a:pt x="48" y="150"/>
                  </a:lnTo>
                  <a:lnTo>
                    <a:pt x="46" y="149"/>
                  </a:lnTo>
                  <a:lnTo>
                    <a:pt x="45" y="147"/>
                  </a:lnTo>
                  <a:lnTo>
                    <a:pt x="45" y="144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3" y="140"/>
                  </a:lnTo>
                  <a:lnTo>
                    <a:pt x="43" y="139"/>
                  </a:lnTo>
                  <a:lnTo>
                    <a:pt x="45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7"/>
                  </a:lnTo>
                  <a:lnTo>
                    <a:pt x="43" y="137"/>
                  </a:lnTo>
                  <a:lnTo>
                    <a:pt x="42" y="136"/>
                  </a:lnTo>
                  <a:lnTo>
                    <a:pt x="40" y="136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3" y="134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3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0" y="134"/>
                  </a:lnTo>
                  <a:lnTo>
                    <a:pt x="39" y="134"/>
                  </a:lnTo>
                  <a:lnTo>
                    <a:pt x="39" y="133"/>
                  </a:lnTo>
                  <a:lnTo>
                    <a:pt x="39" y="132"/>
                  </a:lnTo>
                  <a:lnTo>
                    <a:pt x="38" y="132"/>
                  </a:lnTo>
                  <a:lnTo>
                    <a:pt x="35" y="127"/>
                  </a:lnTo>
                  <a:lnTo>
                    <a:pt x="32" y="124"/>
                  </a:lnTo>
                  <a:lnTo>
                    <a:pt x="29" y="123"/>
                  </a:lnTo>
                  <a:lnTo>
                    <a:pt x="2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5" y="120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3" y="120"/>
                  </a:lnTo>
                  <a:lnTo>
                    <a:pt x="12" y="120"/>
                  </a:lnTo>
                  <a:lnTo>
                    <a:pt x="10" y="122"/>
                  </a:lnTo>
                  <a:lnTo>
                    <a:pt x="2" y="122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6"/>
                  </a:lnTo>
                  <a:lnTo>
                    <a:pt x="0" y="114"/>
                  </a:lnTo>
                  <a:lnTo>
                    <a:pt x="0" y="113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0" y="102"/>
                  </a:lnTo>
                  <a:lnTo>
                    <a:pt x="0" y="100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2" y="86"/>
                  </a:lnTo>
                  <a:lnTo>
                    <a:pt x="0" y="83"/>
                  </a:lnTo>
                  <a:lnTo>
                    <a:pt x="2" y="79"/>
                  </a:lnTo>
                  <a:lnTo>
                    <a:pt x="3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9" y="70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2" y="66"/>
                  </a:lnTo>
                  <a:lnTo>
                    <a:pt x="13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6" y="62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8" y="52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8" y="46"/>
                  </a:lnTo>
                  <a:lnTo>
                    <a:pt x="16" y="46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5" y="37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8" y="22"/>
                  </a:lnTo>
                  <a:lnTo>
                    <a:pt x="20" y="19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8" y="5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9" y="3"/>
                  </a:lnTo>
                  <a:lnTo>
                    <a:pt x="42" y="3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50" y="3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62" y="7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6" y="13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82" y="10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7" y="10"/>
                  </a:lnTo>
                  <a:lnTo>
                    <a:pt x="93" y="15"/>
                  </a:lnTo>
                  <a:lnTo>
                    <a:pt x="97" y="16"/>
                  </a:lnTo>
                  <a:lnTo>
                    <a:pt x="100" y="17"/>
                  </a:lnTo>
                  <a:lnTo>
                    <a:pt x="105" y="17"/>
                  </a:lnTo>
                  <a:lnTo>
                    <a:pt x="112" y="19"/>
                  </a:lnTo>
                  <a:lnTo>
                    <a:pt x="116" y="13"/>
                  </a:lnTo>
                  <a:lnTo>
                    <a:pt x="119" y="12"/>
                  </a:lnTo>
                  <a:lnTo>
                    <a:pt x="120" y="10"/>
                  </a:lnTo>
                  <a:lnTo>
                    <a:pt x="122" y="10"/>
                  </a:lnTo>
                  <a:lnTo>
                    <a:pt x="125" y="10"/>
                  </a:lnTo>
                  <a:lnTo>
                    <a:pt x="133" y="9"/>
                  </a:lnTo>
                  <a:lnTo>
                    <a:pt x="140" y="9"/>
                  </a:lnTo>
                  <a:lnTo>
                    <a:pt x="142" y="10"/>
                  </a:lnTo>
                  <a:lnTo>
                    <a:pt x="145" y="10"/>
                  </a:lnTo>
                  <a:lnTo>
                    <a:pt x="149" y="12"/>
                  </a:lnTo>
                  <a:lnTo>
                    <a:pt x="152" y="13"/>
                  </a:lnTo>
                  <a:lnTo>
                    <a:pt x="154" y="15"/>
                  </a:lnTo>
                  <a:lnTo>
                    <a:pt x="157" y="13"/>
                  </a:lnTo>
                  <a:lnTo>
                    <a:pt x="157" y="12"/>
                  </a:lnTo>
                  <a:lnTo>
                    <a:pt x="160" y="10"/>
                  </a:lnTo>
                  <a:lnTo>
                    <a:pt x="162" y="9"/>
                  </a:lnTo>
                  <a:lnTo>
                    <a:pt x="163" y="7"/>
                  </a:lnTo>
                  <a:lnTo>
                    <a:pt x="166" y="6"/>
                  </a:lnTo>
                  <a:lnTo>
                    <a:pt x="169" y="6"/>
                  </a:lnTo>
                  <a:lnTo>
                    <a:pt x="170" y="5"/>
                  </a:lnTo>
                  <a:lnTo>
                    <a:pt x="173" y="3"/>
                  </a:lnTo>
                  <a:lnTo>
                    <a:pt x="176" y="3"/>
                  </a:lnTo>
                  <a:close/>
                  <a:moveTo>
                    <a:pt x="75" y="153"/>
                  </a:moveTo>
                  <a:lnTo>
                    <a:pt x="73" y="154"/>
                  </a:lnTo>
                  <a:lnTo>
                    <a:pt x="72" y="154"/>
                  </a:lnTo>
                  <a:lnTo>
                    <a:pt x="73" y="152"/>
                  </a:lnTo>
                  <a:lnTo>
                    <a:pt x="73" y="152"/>
                  </a:lnTo>
                  <a:lnTo>
                    <a:pt x="75" y="153"/>
                  </a:lnTo>
                  <a:lnTo>
                    <a:pt x="75" y="15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0" name="Google Shape;280;p3"/>
            <p:cNvSpPr/>
            <p:nvPr/>
          </p:nvSpPr>
          <p:spPr>
            <a:xfrm>
              <a:off x="2967510" y="4221011"/>
              <a:ext cx="49792" cy="43945"/>
            </a:xfrm>
            <a:custGeom>
              <a:rect b="b" l="l" r="r" t="t"/>
              <a:pathLst>
                <a:path extrusionOk="0" h="70" w="71">
                  <a:moveTo>
                    <a:pt x="71" y="1"/>
                  </a:moveTo>
                  <a:lnTo>
                    <a:pt x="71" y="1"/>
                  </a:lnTo>
                  <a:lnTo>
                    <a:pt x="71" y="1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7" y="3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1" y="11"/>
                  </a:lnTo>
                  <a:lnTo>
                    <a:pt x="71" y="13"/>
                  </a:lnTo>
                  <a:lnTo>
                    <a:pt x="70" y="14"/>
                  </a:lnTo>
                  <a:lnTo>
                    <a:pt x="69" y="15"/>
                  </a:lnTo>
                  <a:lnTo>
                    <a:pt x="67" y="17"/>
                  </a:lnTo>
                  <a:lnTo>
                    <a:pt x="67" y="21"/>
                  </a:lnTo>
                  <a:lnTo>
                    <a:pt x="66" y="28"/>
                  </a:lnTo>
                  <a:lnTo>
                    <a:pt x="66" y="34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1"/>
                  </a:lnTo>
                  <a:lnTo>
                    <a:pt x="64" y="40"/>
                  </a:lnTo>
                  <a:lnTo>
                    <a:pt x="66" y="38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3" y="40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3"/>
                  </a:lnTo>
                  <a:lnTo>
                    <a:pt x="64" y="44"/>
                  </a:lnTo>
                  <a:lnTo>
                    <a:pt x="64" y="45"/>
                  </a:lnTo>
                  <a:lnTo>
                    <a:pt x="64" y="45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48"/>
                  </a:lnTo>
                  <a:lnTo>
                    <a:pt x="61" y="48"/>
                  </a:lnTo>
                  <a:lnTo>
                    <a:pt x="61" y="50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3"/>
                  </a:lnTo>
                  <a:lnTo>
                    <a:pt x="63" y="53"/>
                  </a:lnTo>
                  <a:lnTo>
                    <a:pt x="63" y="53"/>
                  </a:lnTo>
                  <a:lnTo>
                    <a:pt x="64" y="54"/>
                  </a:lnTo>
                  <a:lnTo>
                    <a:pt x="64" y="55"/>
                  </a:lnTo>
                  <a:lnTo>
                    <a:pt x="63" y="57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0" y="60"/>
                  </a:lnTo>
                  <a:lnTo>
                    <a:pt x="60" y="61"/>
                  </a:lnTo>
                  <a:lnTo>
                    <a:pt x="61" y="64"/>
                  </a:lnTo>
                  <a:lnTo>
                    <a:pt x="61" y="65"/>
                  </a:lnTo>
                  <a:lnTo>
                    <a:pt x="63" y="67"/>
                  </a:lnTo>
                  <a:lnTo>
                    <a:pt x="64" y="67"/>
                  </a:lnTo>
                  <a:lnTo>
                    <a:pt x="64" y="68"/>
                  </a:lnTo>
                  <a:lnTo>
                    <a:pt x="63" y="70"/>
                  </a:lnTo>
                  <a:lnTo>
                    <a:pt x="61" y="70"/>
                  </a:lnTo>
                  <a:lnTo>
                    <a:pt x="60" y="70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4" y="67"/>
                  </a:lnTo>
                  <a:lnTo>
                    <a:pt x="53" y="65"/>
                  </a:lnTo>
                  <a:lnTo>
                    <a:pt x="51" y="67"/>
                  </a:lnTo>
                  <a:lnTo>
                    <a:pt x="50" y="65"/>
                  </a:lnTo>
                  <a:lnTo>
                    <a:pt x="49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4" y="67"/>
                  </a:lnTo>
                  <a:lnTo>
                    <a:pt x="40" y="65"/>
                  </a:lnTo>
                  <a:lnTo>
                    <a:pt x="36" y="64"/>
                  </a:lnTo>
                  <a:lnTo>
                    <a:pt x="34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30" y="64"/>
                  </a:lnTo>
                  <a:lnTo>
                    <a:pt x="29" y="63"/>
                  </a:lnTo>
                  <a:lnTo>
                    <a:pt x="27" y="60"/>
                  </a:lnTo>
                  <a:lnTo>
                    <a:pt x="19" y="54"/>
                  </a:lnTo>
                  <a:lnTo>
                    <a:pt x="16" y="50"/>
                  </a:lnTo>
                  <a:lnTo>
                    <a:pt x="14" y="47"/>
                  </a:lnTo>
                  <a:lnTo>
                    <a:pt x="13" y="45"/>
                  </a:lnTo>
                  <a:lnTo>
                    <a:pt x="9" y="43"/>
                  </a:lnTo>
                  <a:lnTo>
                    <a:pt x="7" y="41"/>
                  </a:lnTo>
                  <a:lnTo>
                    <a:pt x="3" y="37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9" y="34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3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6" y="15"/>
                  </a:lnTo>
                  <a:lnTo>
                    <a:pt x="27" y="17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4" y="15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5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7" y="5"/>
                  </a:lnTo>
                  <a:lnTo>
                    <a:pt x="49" y="5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6" y="1"/>
                  </a:lnTo>
                  <a:lnTo>
                    <a:pt x="67" y="0"/>
                  </a:lnTo>
                  <a:lnTo>
                    <a:pt x="71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1" name="Google Shape;281;p3"/>
            <p:cNvSpPr/>
            <p:nvPr/>
          </p:nvSpPr>
          <p:spPr>
            <a:xfrm>
              <a:off x="3988599" y="3734478"/>
              <a:ext cx="44182" cy="47084"/>
            </a:xfrm>
            <a:custGeom>
              <a:rect b="b" l="l" r="r" t="t"/>
              <a:pathLst>
                <a:path extrusionOk="0" h="75" w="63">
                  <a:moveTo>
                    <a:pt x="32" y="7"/>
                  </a:moveTo>
                  <a:lnTo>
                    <a:pt x="30" y="7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3" y="7"/>
                  </a:lnTo>
                  <a:lnTo>
                    <a:pt x="32" y="7"/>
                  </a:lnTo>
                  <a:close/>
                  <a:moveTo>
                    <a:pt x="39" y="5"/>
                  </a:move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5"/>
                  </a:lnTo>
                  <a:close/>
                  <a:moveTo>
                    <a:pt x="49" y="2"/>
                  </a:moveTo>
                  <a:lnTo>
                    <a:pt x="47" y="2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9" y="2"/>
                  </a:lnTo>
                  <a:close/>
                  <a:moveTo>
                    <a:pt x="29" y="8"/>
                  </a:moveTo>
                  <a:lnTo>
                    <a:pt x="28" y="8"/>
                  </a:lnTo>
                  <a:lnTo>
                    <a:pt x="26" y="10"/>
                  </a:lnTo>
                  <a:lnTo>
                    <a:pt x="26" y="11"/>
                  </a:lnTo>
                  <a:lnTo>
                    <a:pt x="29" y="8"/>
                  </a:lnTo>
                  <a:close/>
                  <a:moveTo>
                    <a:pt x="56" y="0"/>
                  </a:moveTo>
                  <a:lnTo>
                    <a:pt x="56" y="0"/>
                  </a:lnTo>
                  <a:lnTo>
                    <a:pt x="55" y="1"/>
                  </a:lnTo>
                  <a:lnTo>
                    <a:pt x="53" y="1"/>
                  </a:lnTo>
                  <a:lnTo>
                    <a:pt x="55" y="1"/>
                  </a:lnTo>
                  <a:lnTo>
                    <a:pt x="56" y="0"/>
                  </a:lnTo>
                  <a:close/>
                  <a:moveTo>
                    <a:pt x="12" y="58"/>
                  </a:moveTo>
                  <a:lnTo>
                    <a:pt x="9" y="59"/>
                  </a:lnTo>
                  <a:lnTo>
                    <a:pt x="8" y="59"/>
                  </a:lnTo>
                  <a:lnTo>
                    <a:pt x="5" y="58"/>
                  </a:lnTo>
                  <a:lnTo>
                    <a:pt x="2" y="58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5" y="61"/>
                  </a:lnTo>
                  <a:lnTo>
                    <a:pt x="6" y="61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9" y="64"/>
                  </a:lnTo>
                  <a:lnTo>
                    <a:pt x="10" y="64"/>
                  </a:lnTo>
                  <a:lnTo>
                    <a:pt x="12" y="62"/>
                  </a:lnTo>
                  <a:lnTo>
                    <a:pt x="15" y="61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3" y="59"/>
                  </a:lnTo>
                  <a:lnTo>
                    <a:pt x="12" y="58"/>
                  </a:lnTo>
                  <a:close/>
                  <a:moveTo>
                    <a:pt x="63" y="10"/>
                  </a:moveTo>
                  <a:lnTo>
                    <a:pt x="60" y="8"/>
                  </a:lnTo>
                  <a:lnTo>
                    <a:pt x="59" y="8"/>
                  </a:lnTo>
                  <a:lnTo>
                    <a:pt x="57" y="7"/>
                  </a:lnTo>
                  <a:lnTo>
                    <a:pt x="56" y="5"/>
                  </a:lnTo>
                  <a:lnTo>
                    <a:pt x="52" y="5"/>
                  </a:lnTo>
                  <a:lnTo>
                    <a:pt x="49" y="5"/>
                  </a:lnTo>
                  <a:lnTo>
                    <a:pt x="45" y="5"/>
                  </a:lnTo>
                  <a:lnTo>
                    <a:pt x="42" y="7"/>
                  </a:lnTo>
                  <a:lnTo>
                    <a:pt x="36" y="10"/>
                  </a:lnTo>
                  <a:lnTo>
                    <a:pt x="35" y="11"/>
                  </a:lnTo>
                  <a:lnTo>
                    <a:pt x="33" y="14"/>
                  </a:lnTo>
                  <a:lnTo>
                    <a:pt x="29" y="18"/>
                  </a:lnTo>
                  <a:lnTo>
                    <a:pt x="26" y="20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3" y="20"/>
                  </a:lnTo>
                  <a:lnTo>
                    <a:pt x="22" y="21"/>
                  </a:lnTo>
                  <a:lnTo>
                    <a:pt x="20" y="31"/>
                  </a:lnTo>
                  <a:lnTo>
                    <a:pt x="19" y="35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2" y="45"/>
                  </a:lnTo>
                  <a:lnTo>
                    <a:pt x="10" y="47"/>
                  </a:lnTo>
                  <a:lnTo>
                    <a:pt x="10" y="48"/>
                  </a:lnTo>
                  <a:lnTo>
                    <a:pt x="13" y="51"/>
                  </a:lnTo>
                  <a:lnTo>
                    <a:pt x="13" y="52"/>
                  </a:lnTo>
                  <a:lnTo>
                    <a:pt x="15" y="52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3" y="57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5" y="54"/>
                  </a:lnTo>
                  <a:lnTo>
                    <a:pt x="3" y="54"/>
                  </a:lnTo>
                  <a:lnTo>
                    <a:pt x="3" y="55"/>
                  </a:lnTo>
                  <a:lnTo>
                    <a:pt x="3" y="57"/>
                  </a:lnTo>
                  <a:lnTo>
                    <a:pt x="5" y="57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57"/>
                  </a:lnTo>
                  <a:lnTo>
                    <a:pt x="13" y="58"/>
                  </a:lnTo>
                  <a:lnTo>
                    <a:pt x="15" y="58"/>
                  </a:lnTo>
                  <a:lnTo>
                    <a:pt x="16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20" y="57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3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6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9" y="58"/>
                  </a:lnTo>
                  <a:lnTo>
                    <a:pt x="29" y="59"/>
                  </a:lnTo>
                  <a:lnTo>
                    <a:pt x="30" y="61"/>
                  </a:lnTo>
                  <a:lnTo>
                    <a:pt x="32" y="62"/>
                  </a:lnTo>
                  <a:lnTo>
                    <a:pt x="35" y="61"/>
                  </a:lnTo>
                  <a:lnTo>
                    <a:pt x="35" y="61"/>
                  </a:lnTo>
                  <a:lnTo>
                    <a:pt x="36" y="61"/>
                  </a:lnTo>
                  <a:lnTo>
                    <a:pt x="36" y="62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39" y="69"/>
                  </a:lnTo>
                  <a:lnTo>
                    <a:pt x="39" y="69"/>
                  </a:lnTo>
                  <a:lnTo>
                    <a:pt x="39" y="69"/>
                  </a:lnTo>
                  <a:lnTo>
                    <a:pt x="39" y="71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40" y="74"/>
                  </a:lnTo>
                  <a:lnTo>
                    <a:pt x="42" y="75"/>
                  </a:lnTo>
                  <a:lnTo>
                    <a:pt x="43" y="75"/>
                  </a:lnTo>
                  <a:lnTo>
                    <a:pt x="45" y="71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2" y="69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3" y="67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2"/>
                  </a:lnTo>
                  <a:lnTo>
                    <a:pt x="46" y="59"/>
                  </a:lnTo>
                  <a:lnTo>
                    <a:pt x="46" y="58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3" y="49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6" y="45"/>
                  </a:lnTo>
                  <a:lnTo>
                    <a:pt x="47" y="47"/>
                  </a:lnTo>
                  <a:lnTo>
                    <a:pt x="49" y="48"/>
                  </a:lnTo>
                  <a:lnTo>
                    <a:pt x="49" y="47"/>
                  </a:lnTo>
                  <a:lnTo>
                    <a:pt x="50" y="47"/>
                  </a:lnTo>
                  <a:lnTo>
                    <a:pt x="52" y="47"/>
                  </a:lnTo>
                  <a:lnTo>
                    <a:pt x="55" y="45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5" y="42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6" y="41"/>
                  </a:lnTo>
                  <a:lnTo>
                    <a:pt x="56" y="40"/>
                  </a:lnTo>
                  <a:lnTo>
                    <a:pt x="57" y="40"/>
                  </a:lnTo>
                  <a:lnTo>
                    <a:pt x="59" y="38"/>
                  </a:lnTo>
                  <a:lnTo>
                    <a:pt x="60" y="35"/>
                  </a:lnTo>
                  <a:lnTo>
                    <a:pt x="60" y="34"/>
                  </a:lnTo>
                  <a:lnTo>
                    <a:pt x="60" y="32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6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4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3" y="17"/>
                  </a:lnTo>
                  <a:lnTo>
                    <a:pt x="63" y="11"/>
                  </a:lnTo>
                  <a:lnTo>
                    <a:pt x="63" y="10"/>
                  </a:lnTo>
                  <a:close/>
                  <a:moveTo>
                    <a:pt x="8" y="51"/>
                  </a:moveTo>
                  <a:lnTo>
                    <a:pt x="9" y="51"/>
                  </a:lnTo>
                  <a:lnTo>
                    <a:pt x="10" y="52"/>
                  </a:lnTo>
                  <a:lnTo>
                    <a:pt x="13" y="52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0" y="49"/>
                  </a:lnTo>
                  <a:lnTo>
                    <a:pt x="8" y="49"/>
                  </a:lnTo>
                  <a:lnTo>
                    <a:pt x="6" y="49"/>
                  </a:lnTo>
                  <a:lnTo>
                    <a:pt x="6" y="51"/>
                  </a:lnTo>
                  <a:lnTo>
                    <a:pt x="8" y="51"/>
                  </a:lnTo>
                  <a:close/>
                  <a:moveTo>
                    <a:pt x="25" y="17"/>
                  </a:moveTo>
                  <a:lnTo>
                    <a:pt x="26" y="15"/>
                  </a:lnTo>
                  <a:lnTo>
                    <a:pt x="26" y="12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3" y="17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2" name="Google Shape;282;p3"/>
            <p:cNvSpPr/>
            <p:nvPr/>
          </p:nvSpPr>
          <p:spPr>
            <a:xfrm>
              <a:off x="4006132" y="3341485"/>
              <a:ext cx="293143" cy="313892"/>
            </a:xfrm>
            <a:custGeom>
              <a:rect b="b" l="l" r="r" t="t"/>
              <a:pathLst>
                <a:path extrusionOk="0" h="500" w="418">
                  <a:moveTo>
                    <a:pt x="332" y="0"/>
                  </a:moveTo>
                  <a:lnTo>
                    <a:pt x="336" y="2"/>
                  </a:lnTo>
                  <a:lnTo>
                    <a:pt x="338" y="2"/>
                  </a:lnTo>
                  <a:lnTo>
                    <a:pt x="341" y="6"/>
                  </a:lnTo>
                  <a:lnTo>
                    <a:pt x="341" y="6"/>
                  </a:lnTo>
                  <a:lnTo>
                    <a:pt x="341" y="7"/>
                  </a:lnTo>
                  <a:lnTo>
                    <a:pt x="339" y="9"/>
                  </a:lnTo>
                  <a:lnTo>
                    <a:pt x="335" y="9"/>
                  </a:lnTo>
                  <a:lnTo>
                    <a:pt x="335" y="9"/>
                  </a:lnTo>
                  <a:lnTo>
                    <a:pt x="332" y="9"/>
                  </a:lnTo>
                  <a:lnTo>
                    <a:pt x="331" y="6"/>
                  </a:lnTo>
                  <a:lnTo>
                    <a:pt x="328" y="6"/>
                  </a:lnTo>
                  <a:lnTo>
                    <a:pt x="328" y="5"/>
                  </a:lnTo>
                  <a:lnTo>
                    <a:pt x="329" y="3"/>
                  </a:lnTo>
                  <a:lnTo>
                    <a:pt x="332" y="0"/>
                  </a:lnTo>
                  <a:close/>
                  <a:moveTo>
                    <a:pt x="416" y="66"/>
                  </a:moveTo>
                  <a:lnTo>
                    <a:pt x="418" y="72"/>
                  </a:lnTo>
                  <a:lnTo>
                    <a:pt x="418" y="73"/>
                  </a:lnTo>
                  <a:lnTo>
                    <a:pt x="418" y="76"/>
                  </a:lnTo>
                  <a:lnTo>
                    <a:pt x="416" y="76"/>
                  </a:lnTo>
                  <a:lnTo>
                    <a:pt x="415" y="77"/>
                  </a:lnTo>
                  <a:lnTo>
                    <a:pt x="412" y="77"/>
                  </a:lnTo>
                  <a:lnTo>
                    <a:pt x="409" y="74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5" y="73"/>
                  </a:lnTo>
                  <a:lnTo>
                    <a:pt x="406" y="74"/>
                  </a:lnTo>
                  <a:lnTo>
                    <a:pt x="406" y="76"/>
                  </a:lnTo>
                  <a:lnTo>
                    <a:pt x="405" y="79"/>
                  </a:lnTo>
                  <a:lnTo>
                    <a:pt x="405" y="80"/>
                  </a:lnTo>
                  <a:lnTo>
                    <a:pt x="405" y="82"/>
                  </a:lnTo>
                  <a:lnTo>
                    <a:pt x="403" y="83"/>
                  </a:lnTo>
                  <a:lnTo>
                    <a:pt x="401" y="84"/>
                  </a:lnTo>
                  <a:lnTo>
                    <a:pt x="393" y="87"/>
                  </a:lnTo>
                  <a:lnTo>
                    <a:pt x="392" y="89"/>
                  </a:lnTo>
                  <a:lnTo>
                    <a:pt x="391" y="96"/>
                  </a:lnTo>
                  <a:lnTo>
                    <a:pt x="389" y="97"/>
                  </a:lnTo>
                  <a:lnTo>
                    <a:pt x="389" y="99"/>
                  </a:lnTo>
                  <a:lnTo>
                    <a:pt x="386" y="100"/>
                  </a:lnTo>
                  <a:lnTo>
                    <a:pt x="385" y="99"/>
                  </a:lnTo>
                  <a:lnTo>
                    <a:pt x="383" y="96"/>
                  </a:lnTo>
                  <a:lnTo>
                    <a:pt x="385" y="93"/>
                  </a:lnTo>
                  <a:lnTo>
                    <a:pt x="388" y="87"/>
                  </a:lnTo>
                  <a:lnTo>
                    <a:pt x="391" y="84"/>
                  </a:lnTo>
                  <a:lnTo>
                    <a:pt x="391" y="83"/>
                  </a:lnTo>
                  <a:lnTo>
                    <a:pt x="392" y="80"/>
                  </a:lnTo>
                  <a:lnTo>
                    <a:pt x="389" y="70"/>
                  </a:lnTo>
                  <a:lnTo>
                    <a:pt x="383" y="67"/>
                  </a:lnTo>
                  <a:lnTo>
                    <a:pt x="378" y="63"/>
                  </a:lnTo>
                  <a:lnTo>
                    <a:pt x="375" y="62"/>
                  </a:lnTo>
                  <a:lnTo>
                    <a:pt x="372" y="56"/>
                  </a:lnTo>
                  <a:lnTo>
                    <a:pt x="369" y="52"/>
                  </a:lnTo>
                  <a:lnTo>
                    <a:pt x="366" y="52"/>
                  </a:lnTo>
                  <a:lnTo>
                    <a:pt x="365" y="53"/>
                  </a:lnTo>
                  <a:lnTo>
                    <a:pt x="361" y="57"/>
                  </a:lnTo>
                  <a:lnTo>
                    <a:pt x="358" y="59"/>
                  </a:lnTo>
                  <a:lnTo>
                    <a:pt x="356" y="60"/>
                  </a:lnTo>
                  <a:lnTo>
                    <a:pt x="356" y="60"/>
                  </a:lnTo>
                  <a:lnTo>
                    <a:pt x="353" y="59"/>
                  </a:lnTo>
                  <a:lnTo>
                    <a:pt x="351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3" y="66"/>
                  </a:lnTo>
                  <a:lnTo>
                    <a:pt x="341" y="69"/>
                  </a:lnTo>
                  <a:lnTo>
                    <a:pt x="341" y="70"/>
                  </a:lnTo>
                  <a:lnTo>
                    <a:pt x="339" y="72"/>
                  </a:lnTo>
                  <a:lnTo>
                    <a:pt x="338" y="74"/>
                  </a:lnTo>
                  <a:lnTo>
                    <a:pt x="336" y="84"/>
                  </a:lnTo>
                  <a:lnTo>
                    <a:pt x="335" y="89"/>
                  </a:lnTo>
                  <a:lnTo>
                    <a:pt x="335" y="90"/>
                  </a:lnTo>
                  <a:lnTo>
                    <a:pt x="335" y="97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2" y="106"/>
                  </a:lnTo>
                  <a:lnTo>
                    <a:pt x="331" y="106"/>
                  </a:lnTo>
                  <a:lnTo>
                    <a:pt x="328" y="107"/>
                  </a:lnTo>
                  <a:lnTo>
                    <a:pt x="326" y="109"/>
                  </a:lnTo>
                  <a:lnTo>
                    <a:pt x="325" y="112"/>
                  </a:lnTo>
                  <a:lnTo>
                    <a:pt x="323" y="117"/>
                  </a:lnTo>
                  <a:lnTo>
                    <a:pt x="322" y="119"/>
                  </a:lnTo>
                  <a:lnTo>
                    <a:pt x="319" y="119"/>
                  </a:lnTo>
                  <a:lnTo>
                    <a:pt x="318" y="116"/>
                  </a:lnTo>
                  <a:lnTo>
                    <a:pt x="315" y="114"/>
                  </a:lnTo>
                  <a:lnTo>
                    <a:pt x="312" y="114"/>
                  </a:lnTo>
                  <a:lnTo>
                    <a:pt x="309" y="112"/>
                  </a:lnTo>
                  <a:lnTo>
                    <a:pt x="306" y="110"/>
                  </a:lnTo>
                  <a:lnTo>
                    <a:pt x="305" y="110"/>
                  </a:lnTo>
                  <a:lnTo>
                    <a:pt x="304" y="112"/>
                  </a:lnTo>
                  <a:lnTo>
                    <a:pt x="302" y="113"/>
                  </a:lnTo>
                  <a:lnTo>
                    <a:pt x="298" y="116"/>
                  </a:lnTo>
                  <a:lnTo>
                    <a:pt x="296" y="116"/>
                  </a:lnTo>
                  <a:lnTo>
                    <a:pt x="294" y="117"/>
                  </a:lnTo>
                  <a:lnTo>
                    <a:pt x="292" y="116"/>
                  </a:lnTo>
                  <a:lnTo>
                    <a:pt x="288" y="114"/>
                  </a:lnTo>
                  <a:lnTo>
                    <a:pt x="282" y="113"/>
                  </a:lnTo>
                  <a:lnTo>
                    <a:pt x="281" y="113"/>
                  </a:lnTo>
                  <a:lnTo>
                    <a:pt x="281" y="112"/>
                  </a:lnTo>
                  <a:lnTo>
                    <a:pt x="279" y="107"/>
                  </a:lnTo>
                  <a:lnTo>
                    <a:pt x="276" y="102"/>
                  </a:lnTo>
                  <a:lnTo>
                    <a:pt x="275" y="99"/>
                  </a:lnTo>
                  <a:lnTo>
                    <a:pt x="272" y="94"/>
                  </a:lnTo>
                  <a:lnTo>
                    <a:pt x="269" y="89"/>
                  </a:lnTo>
                  <a:lnTo>
                    <a:pt x="268" y="89"/>
                  </a:lnTo>
                  <a:lnTo>
                    <a:pt x="266" y="89"/>
                  </a:lnTo>
                  <a:lnTo>
                    <a:pt x="264" y="89"/>
                  </a:lnTo>
                  <a:lnTo>
                    <a:pt x="261" y="90"/>
                  </a:lnTo>
                  <a:lnTo>
                    <a:pt x="259" y="92"/>
                  </a:lnTo>
                  <a:lnTo>
                    <a:pt x="259" y="93"/>
                  </a:lnTo>
                  <a:lnTo>
                    <a:pt x="261" y="97"/>
                  </a:lnTo>
                  <a:lnTo>
                    <a:pt x="261" y="99"/>
                  </a:lnTo>
                  <a:lnTo>
                    <a:pt x="259" y="99"/>
                  </a:lnTo>
                  <a:lnTo>
                    <a:pt x="256" y="97"/>
                  </a:lnTo>
                  <a:lnTo>
                    <a:pt x="254" y="97"/>
                  </a:lnTo>
                  <a:lnTo>
                    <a:pt x="252" y="99"/>
                  </a:lnTo>
                  <a:lnTo>
                    <a:pt x="251" y="100"/>
                  </a:lnTo>
                  <a:lnTo>
                    <a:pt x="245" y="100"/>
                  </a:lnTo>
                  <a:lnTo>
                    <a:pt x="246" y="104"/>
                  </a:lnTo>
                  <a:lnTo>
                    <a:pt x="248" y="106"/>
                  </a:lnTo>
                  <a:lnTo>
                    <a:pt x="248" y="107"/>
                  </a:lnTo>
                  <a:lnTo>
                    <a:pt x="248" y="112"/>
                  </a:lnTo>
                  <a:lnTo>
                    <a:pt x="246" y="116"/>
                  </a:lnTo>
                  <a:lnTo>
                    <a:pt x="245" y="119"/>
                  </a:lnTo>
                  <a:lnTo>
                    <a:pt x="242" y="122"/>
                  </a:lnTo>
                  <a:lnTo>
                    <a:pt x="246" y="124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1" y="129"/>
                  </a:lnTo>
                  <a:lnTo>
                    <a:pt x="238" y="127"/>
                  </a:lnTo>
                  <a:lnTo>
                    <a:pt x="231" y="124"/>
                  </a:lnTo>
                  <a:lnTo>
                    <a:pt x="228" y="123"/>
                  </a:lnTo>
                  <a:lnTo>
                    <a:pt x="225" y="123"/>
                  </a:lnTo>
                  <a:lnTo>
                    <a:pt x="224" y="123"/>
                  </a:lnTo>
                  <a:lnTo>
                    <a:pt x="216" y="120"/>
                  </a:lnTo>
                  <a:lnTo>
                    <a:pt x="215" y="120"/>
                  </a:lnTo>
                  <a:lnTo>
                    <a:pt x="214" y="122"/>
                  </a:lnTo>
                  <a:lnTo>
                    <a:pt x="214" y="124"/>
                  </a:lnTo>
                  <a:lnTo>
                    <a:pt x="214" y="132"/>
                  </a:lnTo>
                  <a:lnTo>
                    <a:pt x="214" y="136"/>
                  </a:lnTo>
                  <a:lnTo>
                    <a:pt x="212" y="139"/>
                  </a:lnTo>
                  <a:lnTo>
                    <a:pt x="212" y="142"/>
                  </a:lnTo>
                  <a:lnTo>
                    <a:pt x="209" y="146"/>
                  </a:lnTo>
                  <a:lnTo>
                    <a:pt x="204" y="143"/>
                  </a:lnTo>
                  <a:lnTo>
                    <a:pt x="199" y="140"/>
                  </a:lnTo>
                  <a:lnTo>
                    <a:pt x="198" y="143"/>
                  </a:lnTo>
                  <a:lnTo>
                    <a:pt x="191" y="149"/>
                  </a:lnTo>
                  <a:lnTo>
                    <a:pt x="188" y="160"/>
                  </a:lnTo>
                  <a:lnTo>
                    <a:pt x="188" y="160"/>
                  </a:lnTo>
                  <a:lnTo>
                    <a:pt x="187" y="163"/>
                  </a:lnTo>
                  <a:lnTo>
                    <a:pt x="184" y="164"/>
                  </a:lnTo>
                  <a:lnTo>
                    <a:pt x="182" y="166"/>
                  </a:lnTo>
                  <a:lnTo>
                    <a:pt x="181" y="169"/>
                  </a:lnTo>
                  <a:lnTo>
                    <a:pt x="184" y="173"/>
                  </a:lnTo>
                  <a:lnTo>
                    <a:pt x="184" y="176"/>
                  </a:lnTo>
                  <a:lnTo>
                    <a:pt x="185" y="180"/>
                  </a:lnTo>
                  <a:lnTo>
                    <a:pt x="185" y="183"/>
                  </a:lnTo>
                  <a:lnTo>
                    <a:pt x="185" y="184"/>
                  </a:lnTo>
                  <a:lnTo>
                    <a:pt x="182" y="187"/>
                  </a:lnTo>
                  <a:lnTo>
                    <a:pt x="177" y="196"/>
                  </a:lnTo>
                  <a:lnTo>
                    <a:pt x="171" y="204"/>
                  </a:lnTo>
                  <a:lnTo>
                    <a:pt x="169" y="207"/>
                  </a:lnTo>
                  <a:lnTo>
                    <a:pt x="171" y="214"/>
                  </a:lnTo>
                  <a:lnTo>
                    <a:pt x="168" y="217"/>
                  </a:lnTo>
                  <a:lnTo>
                    <a:pt x="165" y="219"/>
                  </a:lnTo>
                  <a:lnTo>
                    <a:pt x="164" y="220"/>
                  </a:lnTo>
                  <a:lnTo>
                    <a:pt x="161" y="220"/>
                  </a:lnTo>
                  <a:lnTo>
                    <a:pt x="155" y="222"/>
                  </a:lnTo>
                  <a:lnTo>
                    <a:pt x="157" y="229"/>
                  </a:lnTo>
                  <a:lnTo>
                    <a:pt x="157" y="233"/>
                  </a:lnTo>
                  <a:lnTo>
                    <a:pt x="157" y="234"/>
                  </a:lnTo>
                  <a:lnTo>
                    <a:pt x="157" y="237"/>
                  </a:lnTo>
                  <a:lnTo>
                    <a:pt x="155" y="240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2" y="259"/>
                  </a:lnTo>
                  <a:lnTo>
                    <a:pt x="148" y="267"/>
                  </a:lnTo>
                  <a:lnTo>
                    <a:pt x="145" y="273"/>
                  </a:lnTo>
                  <a:lnTo>
                    <a:pt x="141" y="281"/>
                  </a:lnTo>
                  <a:lnTo>
                    <a:pt x="145" y="283"/>
                  </a:lnTo>
                  <a:lnTo>
                    <a:pt x="148" y="286"/>
                  </a:lnTo>
                  <a:lnTo>
                    <a:pt x="148" y="289"/>
                  </a:lnTo>
                  <a:lnTo>
                    <a:pt x="149" y="293"/>
                  </a:lnTo>
                  <a:lnTo>
                    <a:pt x="149" y="296"/>
                  </a:lnTo>
                  <a:lnTo>
                    <a:pt x="148" y="299"/>
                  </a:lnTo>
                  <a:lnTo>
                    <a:pt x="147" y="301"/>
                  </a:lnTo>
                  <a:lnTo>
                    <a:pt x="147" y="301"/>
                  </a:lnTo>
                  <a:lnTo>
                    <a:pt x="141" y="301"/>
                  </a:lnTo>
                  <a:lnTo>
                    <a:pt x="135" y="300"/>
                  </a:lnTo>
                  <a:lnTo>
                    <a:pt x="134" y="300"/>
                  </a:lnTo>
                  <a:lnTo>
                    <a:pt x="131" y="300"/>
                  </a:lnTo>
                  <a:lnTo>
                    <a:pt x="127" y="303"/>
                  </a:lnTo>
                  <a:lnTo>
                    <a:pt x="125" y="304"/>
                  </a:lnTo>
                  <a:lnTo>
                    <a:pt x="125" y="304"/>
                  </a:lnTo>
                  <a:lnTo>
                    <a:pt x="122" y="309"/>
                  </a:lnTo>
                  <a:lnTo>
                    <a:pt x="119" y="314"/>
                  </a:lnTo>
                  <a:lnTo>
                    <a:pt x="117" y="317"/>
                  </a:lnTo>
                  <a:lnTo>
                    <a:pt x="118" y="321"/>
                  </a:lnTo>
                  <a:lnTo>
                    <a:pt x="115" y="329"/>
                  </a:lnTo>
                  <a:lnTo>
                    <a:pt x="117" y="336"/>
                  </a:lnTo>
                  <a:lnTo>
                    <a:pt x="117" y="336"/>
                  </a:lnTo>
                  <a:lnTo>
                    <a:pt x="118" y="339"/>
                  </a:lnTo>
                  <a:lnTo>
                    <a:pt x="117" y="340"/>
                  </a:lnTo>
                  <a:lnTo>
                    <a:pt x="117" y="341"/>
                  </a:lnTo>
                  <a:lnTo>
                    <a:pt x="117" y="344"/>
                  </a:lnTo>
                  <a:lnTo>
                    <a:pt x="117" y="349"/>
                  </a:lnTo>
                  <a:lnTo>
                    <a:pt x="117" y="350"/>
                  </a:lnTo>
                  <a:lnTo>
                    <a:pt x="117" y="353"/>
                  </a:lnTo>
                  <a:lnTo>
                    <a:pt x="119" y="363"/>
                  </a:lnTo>
                  <a:lnTo>
                    <a:pt x="119" y="366"/>
                  </a:lnTo>
                  <a:lnTo>
                    <a:pt x="119" y="367"/>
                  </a:lnTo>
                  <a:lnTo>
                    <a:pt x="118" y="374"/>
                  </a:lnTo>
                  <a:lnTo>
                    <a:pt x="117" y="383"/>
                  </a:lnTo>
                  <a:lnTo>
                    <a:pt x="119" y="384"/>
                  </a:lnTo>
                  <a:lnTo>
                    <a:pt x="122" y="387"/>
                  </a:lnTo>
                  <a:lnTo>
                    <a:pt x="124" y="389"/>
                  </a:lnTo>
                  <a:lnTo>
                    <a:pt x="127" y="391"/>
                  </a:lnTo>
                  <a:lnTo>
                    <a:pt x="128" y="394"/>
                  </a:lnTo>
                  <a:lnTo>
                    <a:pt x="128" y="397"/>
                  </a:lnTo>
                  <a:lnTo>
                    <a:pt x="128" y="399"/>
                  </a:lnTo>
                  <a:lnTo>
                    <a:pt x="127" y="401"/>
                  </a:lnTo>
                  <a:lnTo>
                    <a:pt x="127" y="403"/>
                  </a:lnTo>
                  <a:lnTo>
                    <a:pt x="125" y="404"/>
                  </a:lnTo>
                  <a:lnTo>
                    <a:pt x="125" y="406"/>
                  </a:lnTo>
                  <a:lnTo>
                    <a:pt x="122" y="406"/>
                  </a:lnTo>
                  <a:lnTo>
                    <a:pt x="119" y="406"/>
                  </a:lnTo>
                  <a:lnTo>
                    <a:pt x="119" y="407"/>
                  </a:lnTo>
                  <a:lnTo>
                    <a:pt x="119" y="410"/>
                  </a:lnTo>
                  <a:lnTo>
                    <a:pt x="122" y="417"/>
                  </a:lnTo>
                  <a:lnTo>
                    <a:pt x="124" y="421"/>
                  </a:lnTo>
                  <a:lnTo>
                    <a:pt x="124" y="424"/>
                  </a:lnTo>
                  <a:lnTo>
                    <a:pt x="124" y="427"/>
                  </a:lnTo>
                  <a:lnTo>
                    <a:pt x="122" y="429"/>
                  </a:lnTo>
                  <a:lnTo>
                    <a:pt x="122" y="431"/>
                  </a:lnTo>
                  <a:lnTo>
                    <a:pt x="122" y="436"/>
                  </a:lnTo>
                  <a:lnTo>
                    <a:pt x="121" y="437"/>
                  </a:lnTo>
                  <a:lnTo>
                    <a:pt x="119" y="440"/>
                  </a:lnTo>
                  <a:lnTo>
                    <a:pt x="117" y="441"/>
                  </a:lnTo>
                  <a:lnTo>
                    <a:pt x="115" y="443"/>
                  </a:lnTo>
                  <a:lnTo>
                    <a:pt x="114" y="443"/>
                  </a:lnTo>
                  <a:lnTo>
                    <a:pt x="114" y="443"/>
                  </a:lnTo>
                  <a:lnTo>
                    <a:pt x="112" y="446"/>
                  </a:lnTo>
                  <a:lnTo>
                    <a:pt x="112" y="449"/>
                  </a:lnTo>
                  <a:lnTo>
                    <a:pt x="110" y="451"/>
                  </a:lnTo>
                  <a:lnTo>
                    <a:pt x="110" y="453"/>
                  </a:lnTo>
                  <a:lnTo>
                    <a:pt x="111" y="457"/>
                  </a:lnTo>
                  <a:lnTo>
                    <a:pt x="111" y="461"/>
                  </a:lnTo>
                  <a:lnTo>
                    <a:pt x="111" y="466"/>
                  </a:lnTo>
                  <a:lnTo>
                    <a:pt x="110" y="470"/>
                  </a:lnTo>
                  <a:lnTo>
                    <a:pt x="110" y="473"/>
                  </a:lnTo>
                  <a:lnTo>
                    <a:pt x="107" y="474"/>
                  </a:lnTo>
                  <a:lnTo>
                    <a:pt x="107" y="473"/>
                  </a:lnTo>
                  <a:lnTo>
                    <a:pt x="105" y="470"/>
                  </a:lnTo>
                  <a:lnTo>
                    <a:pt x="105" y="468"/>
                  </a:lnTo>
                  <a:lnTo>
                    <a:pt x="104" y="467"/>
                  </a:lnTo>
                  <a:lnTo>
                    <a:pt x="101" y="466"/>
                  </a:lnTo>
                  <a:lnTo>
                    <a:pt x="100" y="46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95" y="464"/>
                  </a:lnTo>
                  <a:lnTo>
                    <a:pt x="94" y="461"/>
                  </a:lnTo>
                  <a:lnTo>
                    <a:pt x="92" y="459"/>
                  </a:lnTo>
                  <a:lnTo>
                    <a:pt x="92" y="457"/>
                  </a:lnTo>
                  <a:lnTo>
                    <a:pt x="92" y="451"/>
                  </a:lnTo>
                  <a:lnTo>
                    <a:pt x="92" y="449"/>
                  </a:lnTo>
                  <a:lnTo>
                    <a:pt x="92" y="447"/>
                  </a:lnTo>
                  <a:lnTo>
                    <a:pt x="91" y="449"/>
                  </a:lnTo>
                  <a:lnTo>
                    <a:pt x="91" y="453"/>
                  </a:lnTo>
                  <a:lnTo>
                    <a:pt x="91" y="454"/>
                  </a:lnTo>
                  <a:lnTo>
                    <a:pt x="90" y="454"/>
                  </a:lnTo>
                  <a:lnTo>
                    <a:pt x="90" y="456"/>
                  </a:lnTo>
                  <a:lnTo>
                    <a:pt x="90" y="457"/>
                  </a:lnTo>
                  <a:lnTo>
                    <a:pt x="90" y="459"/>
                  </a:lnTo>
                  <a:lnTo>
                    <a:pt x="90" y="461"/>
                  </a:lnTo>
                  <a:lnTo>
                    <a:pt x="87" y="468"/>
                  </a:lnTo>
                  <a:lnTo>
                    <a:pt x="85" y="470"/>
                  </a:lnTo>
                  <a:lnTo>
                    <a:pt x="85" y="470"/>
                  </a:lnTo>
                  <a:lnTo>
                    <a:pt x="84" y="470"/>
                  </a:lnTo>
                  <a:lnTo>
                    <a:pt x="82" y="471"/>
                  </a:lnTo>
                  <a:lnTo>
                    <a:pt x="80" y="471"/>
                  </a:lnTo>
                  <a:lnTo>
                    <a:pt x="80" y="470"/>
                  </a:lnTo>
                  <a:lnTo>
                    <a:pt x="77" y="467"/>
                  </a:lnTo>
                  <a:lnTo>
                    <a:pt x="75" y="467"/>
                  </a:lnTo>
                  <a:lnTo>
                    <a:pt x="77" y="468"/>
                  </a:lnTo>
                  <a:lnTo>
                    <a:pt x="78" y="470"/>
                  </a:lnTo>
                  <a:lnTo>
                    <a:pt x="77" y="471"/>
                  </a:lnTo>
                  <a:lnTo>
                    <a:pt x="77" y="473"/>
                  </a:lnTo>
                  <a:lnTo>
                    <a:pt x="75" y="473"/>
                  </a:lnTo>
                  <a:lnTo>
                    <a:pt x="71" y="476"/>
                  </a:lnTo>
                  <a:lnTo>
                    <a:pt x="72" y="477"/>
                  </a:lnTo>
                  <a:lnTo>
                    <a:pt x="71" y="478"/>
                  </a:lnTo>
                  <a:lnTo>
                    <a:pt x="71" y="478"/>
                  </a:lnTo>
                  <a:lnTo>
                    <a:pt x="70" y="480"/>
                  </a:lnTo>
                  <a:lnTo>
                    <a:pt x="70" y="480"/>
                  </a:lnTo>
                  <a:lnTo>
                    <a:pt x="65" y="484"/>
                  </a:lnTo>
                  <a:lnTo>
                    <a:pt x="58" y="491"/>
                  </a:lnTo>
                  <a:lnTo>
                    <a:pt x="55" y="494"/>
                  </a:lnTo>
                  <a:lnTo>
                    <a:pt x="52" y="497"/>
                  </a:lnTo>
                  <a:lnTo>
                    <a:pt x="51" y="497"/>
                  </a:lnTo>
                  <a:lnTo>
                    <a:pt x="48" y="498"/>
                  </a:lnTo>
                  <a:lnTo>
                    <a:pt x="42" y="500"/>
                  </a:lnTo>
                  <a:lnTo>
                    <a:pt x="38" y="500"/>
                  </a:lnTo>
                  <a:lnTo>
                    <a:pt x="34" y="500"/>
                  </a:lnTo>
                  <a:lnTo>
                    <a:pt x="32" y="498"/>
                  </a:lnTo>
                  <a:lnTo>
                    <a:pt x="32" y="498"/>
                  </a:lnTo>
                  <a:lnTo>
                    <a:pt x="32" y="497"/>
                  </a:lnTo>
                  <a:lnTo>
                    <a:pt x="32" y="497"/>
                  </a:lnTo>
                  <a:lnTo>
                    <a:pt x="32" y="497"/>
                  </a:lnTo>
                  <a:lnTo>
                    <a:pt x="31" y="497"/>
                  </a:lnTo>
                  <a:lnTo>
                    <a:pt x="31" y="497"/>
                  </a:lnTo>
                  <a:lnTo>
                    <a:pt x="31" y="498"/>
                  </a:lnTo>
                  <a:lnTo>
                    <a:pt x="30" y="498"/>
                  </a:lnTo>
                  <a:lnTo>
                    <a:pt x="28" y="498"/>
                  </a:lnTo>
                  <a:lnTo>
                    <a:pt x="27" y="497"/>
                  </a:lnTo>
                  <a:lnTo>
                    <a:pt x="28" y="496"/>
                  </a:lnTo>
                  <a:lnTo>
                    <a:pt x="30" y="494"/>
                  </a:lnTo>
                  <a:lnTo>
                    <a:pt x="30" y="494"/>
                  </a:lnTo>
                  <a:lnTo>
                    <a:pt x="30" y="493"/>
                  </a:lnTo>
                  <a:lnTo>
                    <a:pt x="28" y="493"/>
                  </a:lnTo>
                  <a:lnTo>
                    <a:pt x="27" y="493"/>
                  </a:lnTo>
                  <a:lnTo>
                    <a:pt x="25" y="493"/>
                  </a:lnTo>
                  <a:lnTo>
                    <a:pt x="20" y="490"/>
                  </a:lnTo>
                  <a:lnTo>
                    <a:pt x="18" y="488"/>
                  </a:lnTo>
                  <a:lnTo>
                    <a:pt x="14" y="486"/>
                  </a:lnTo>
                  <a:lnTo>
                    <a:pt x="11" y="483"/>
                  </a:lnTo>
                  <a:lnTo>
                    <a:pt x="11" y="478"/>
                  </a:lnTo>
                  <a:lnTo>
                    <a:pt x="11" y="476"/>
                  </a:lnTo>
                  <a:lnTo>
                    <a:pt x="11" y="471"/>
                  </a:lnTo>
                  <a:lnTo>
                    <a:pt x="13" y="470"/>
                  </a:lnTo>
                  <a:lnTo>
                    <a:pt x="17" y="471"/>
                  </a:lnTo>
                  <a:lnTo>
                    <a:pt x="20" y="474"/>
                  </a:lnTo>
                  <a:lnTo>
                    <a:pt x="21" y="474"/>
                  </a:lnTo>
                  <a:lnTo>
                    <a:pt x="22" y="473"/>
                  </a:lnTo>
                  <a:lnTo>
                    <a:pt x="24" y="470"/>
                  </a:lnTo>
                  <a:lnTo>
                    <a:pt x="24" y="470"/>
                  </a:lnTo>
                  <a:lnTo>
                    <a:pt x="20" y="471"/>
                  </a:lnTo>
                  <a:lnTo>
                    <a:pt x="18" y="471"/>
                  </a:lnTo>
                  <a:lnTo>
                    <a:pt x="17" y="468"/>
                  </a:lnTo>
                  <a:lnTo>
                    <a:pt x="17" y="467"/>
                  </a:lnTo>
                  <a:lnTo>
                    <a:pt x="18" y="466"/>
                  </a:lnTo>
                  <a:lnTo>
                    <a:pt x="18" y="464"/>
                  </a:lnTo>
                  <a:lnTo>
                    <a:pt x="17" y="463"/>
                  </a:lnTo>
                  <a:lnTo>
                    <a:pt x="18" y="461"/>
                  </a:lnTo>
                  <a:lnTo>
                    <a:pt x="20" y="459"/>
                  </a:lnTo>
                  <a:lnTo>
                    <a:pt x="21" y="457"/>
                  </a:lnTo>
                  <a:lnTo>
                    <a:pt x="24" y="454"/>
                  </a:lnTo>
                  <a:lnTo>
                    <a:pt x="25" y="453"/>
                  </a:lnTo>
                  <a:lnTo>
                    <a:pt x="25" y="453"/>
                  </a:lnTo>
                  <a:lnTo>
                    <a:pt x="22" y="454"/>
                  </a:lnTo>
                  <a:lnTo>
                    <a:pt x="21" y="456"/>
                  </a:lnTo>
                  <a:lnTo>
                    <a:pt x="18" y="457"/>
                  </a:lnTo>
                  <a:lnTo>
                    <a:pt x="15" y="460"/>
                  </a:lnTo>
                  <a:lnTo>
                    <a:pt x="14" y="460"/>
                  </a:lnTo>
                  <a:lnTo>
                    <a:pt x="13" y="461"/>
                  </a:lnTo>
                  <a:lnTo>
                    <a:pt x="11" y="461"/>
                  </a:lnTo>
                  <a:lnTo>
                    <a:pt x="10" y="464"/>
                  </a:lnTo>
                  <a:lnTo>
                    <a:pt x="8" y="466"/>
                  </a:lnTo>
                  <a:lnTo>
                    <a:pt x="5" y="466"/>
                  </a:lnTo>
                  <a:lnTo>
                    <a:pt x="4" y="463"/>
                  </a:lnTo>
                  <a:lnTo>
                    <a:pt x="5" y="456"/>
                  </a:lnTo>
                  <a:lnTo>
                    <a:pt x="7" y="453"/>
                  </a:lnTo>
                  <a:lnTo>
                    <a:pt x="7" y="450"/>
                  </a:lnTo>
                  <a:lnTo>
                    <a:pt x="8" y="450"/>
                  </a:lnTo>
                  <a:lnTo>
                    <a:pt x="10" y="449"/>
                  </a:lnTo>
                  <a:lnTo>
                    <a:pt x="11" y="449"/>
                  </a:lnTo>
                  <a:lnTo>
                    <a:pt x="11" y="449"/>
                  </a:lnTo>
                  <a:lnTo>
                    <a:pt x="15" y="450"/>
                  </a:lnTo>
                  <a:lnTo>
                    <a:pt x="17" y="447"/>
                  </a:lnTo>
                  <a:lnTo>
                    <a:pt x="18" y="447"/>
                  </a:lnTo>
                  <a:lnTo>
                    <a:pt x="22" y="444"/>
                  </a:lnTo>
                  <a:lnTo>
                    <a:pt x="22" y="444"/>
                  </a:lnTo>
                  <a:lnTo>
                    <a:pt x="20" y="444"/>
                  </a:lnTo>
                  <a:lnTo>
                    <a:pt x="18" y="446"/>
                  </a:lnTo>
                  <a:lnTo>
                    <a:pt x="15" y="446"/>
                  </a:lnTo>
                  <a:lnTo>
                    <a:pt x="15" y="446"/>
                  </a:lnTo>
                  <a:lnTo>
                    <a:pt x="14" y="443"/>
                  </a:lnTo>
                  <a:lnTo>
                    <a:pt x="15" y="441"/>
                  </a:lnTo>
                  <a:lnTo>
                    <a:pt x="18" y="439"/>
                  </a:lnTo>
                  <a:lnTo>
                    <a:pt x="20" y="436"/>
                  </a:lnTo>
                  <a:lnTo>
                    <a:pt x="20" y="434"/>
                  </a:lnTo>
                  <a:lnTo>
                    <a:pt x="20" y="434"/>
                  </a:lnTo>
                  <a:lnTo>
                    <a:pt x="21" y="431"/>
                  </a:lnTo>
                  <a:lnTo>
                    <a:pt x="24" y="427"/>
                  </a:lnTo>
                  <a:lnTo>
                    <a:pt x="27" y="426"/>
                  </a:lnTo>
                  <a:lnTo>
                    <a:pt x="28" y="427"/>
                  </a:lnTo>
                  <a:lnTo>
                    <a:pt x="27" y="433"/>
                  </a:lnTo>
                  <a:lnTo>
                    <a:pt x="27" y="434"/>
                  </a:lnTo>
                  <a:lnTo>
                    <a:pt x="30" y="427"/>
                  </a:lnTo>
                  <a:lnTo>
                    <a:pt x="30" y="426"/>
                  </a:lnTo>
                  <a:lnTo>
                    <a:pt x="31" y="424"/>
                  </a:lnTo>
                  <a:lnTo>
                    <a:pt x="34" y="424"/>
                  </a:lnTo>
                  <a:lnTo>
                    <a:pt x="34" y="423"/>
                  </a:lnTo>
                  <a:lnTo>
                    <a:pt x="31" y="423"/>
                  </a:lnTo>
                  <a:lnTo>
                    <a:pt x="24" y="426"/>
                  </a:lnTo>
                  <a:lnTo>
                    <a:pt x="21" y="429"/>
                  </a:lnTo>
                  <a:lnTo>
                    <a:pt x="20" y="430"/>
                  </a:lnTo>
                  <a:lnTo>
                    <a:pt x="18" y="433"/>
                  </a:lnTo>
                  <a:lnTo>
                    <a:pt x="17" y="434"/>
                  </a:lnTo>
                  <a:lnTo>
                    <a:pt x="17" y="437"/>
                  </a:lnTo>
                  <a:lnTo>
                    <a:pt x="15" y="439"/>
                  </a:lnTo>
                  <a:lnTo>
                    <a:pt x="14" y="439"/>
                  </a:lnTo>
                  <a:lnTo>
                    <a:pt x="11" y="441"/>
                  </a:lnTo>
                  <a:lnTo>
                    <a:pt x="10" y="444"/>
                  </a:lnTo>
                  <a:lnTo>
                    <a:pt x="8" y="447"/>
                  </a:lnTo>
                  <a:lnTo>
                    <a:pt x="7" y="449"/>
                  </a:lnTo>
                  <a:lnTo>
                    <a:pt x="7" y="449"/>
                  </a:lnTo>
                  <a:lnTo>
                    <a:pt x="5" y="450"/>
                  </a:lnTo>
                  <a:lnTo>
                    <a:pt x="5" y="450"/>
                  </a:lnTo>
                  <a:lnTo>
                    <a:pt x="4" y="450"/>
                  </a:lnTo>
                  <a:lnTo>
                    <a:pt x="4" y="447"/>
                  </a:lnTo>
                  <a:lnTo>
                    <a:pt x="4" y="444"/>
                  </a:lnTo>
                  <a:lnTo>
                    <a:pt x="5" y="441"/>
                  </a:lnTo>
                  <a:lnTo>
                    <a:pt x="5" y="440"/>
                  </a:lnTo>
                  <a:lnTo>
                    <a:pt x="5" y="437"/>
                  </a:lnTo>
                  <a:lnTo>
                    <a:pt x="5" y="436"/>
                  </a:lnTo>
                  <a:lnTo>
                    <a:pt x="7" y="436"/>
                  </a:lnTo>
                  <a:lnTo>
                    <a:pt x="8" y="437"/>
                  </a:lnTo>
                  <a:lnTo>
                    <a:pt x="10" y="437"/>
                  </a:lnTo>
                  <a:lnTo>
                    <a:pt x="14" y="436"/>
                  </a:lnTo>
                  <a:lnTo>
                    <a:pt x="13" y="434"/>
                  </a:lnTo>
                  <a:lnTo>
                    <a:pt x="11" y="434"/>
                  </a:lnTo>
                  <a:lnTo>
                    <a:pt x="10" y="434"/>
                  </a:lnTo>
                  <a:lnTo>
                    <a:pt x="7" y="433"/>
                  </a:lnTo>
                  <a:lnTo>
                    <a:pt x="5" y="429"/>
                  </a:lnTo>
                  <a:lnTo>
                    <a:pt x="4" y="424"/>
                  </a:lnTo>
                  <a:lnTo>
                    <a:pt x="5" y="423"/>
                  </a:lnTo>
                  <a:lnTo>
                    <a:pt x="11" y="419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0" y="419"/>
                  </a:lnTo>
                  <a:lnTo>
                    <a:pt x="7" y="420"/>
                  </a:lnTo>
                  <a:lnTo>
                    <a:pt x="4" y="419"/>
                  </a:lnTo>
                  <a:lnTo>
                    <a:pt x="3" y="416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6"/>
                  </a:lnTo>
                  <a:lnTo>
                    <a:pt x="4" y="404"/>
                  </a:lnTo>
                  <a:lnTo>
                    <a:pt x="5" y="404"/>
                  </a:lnTo>
                  <a:lnTo>
                    <a:pt x="7" y="404"/>
                  </a:lnTo>
                  <a:lnTo>
                    <a:pt x="11" y="404"/>
                  </a:lnTo>
                  <a:lnTo>
                    <a:pt x="18" y="403"/>
                  </a:lnTo>
                  <a:lnTo>
                    <a:pt x="22" y="404"/>
                  </a:lnTo>
                  <a:lnTo>
                    <a:pt x="25" y="404"/>
                  </a:lnTo>
                  <a:lnTo>
                    <a:pt x="28" y="401"/>
                  </a:lnTo>
                  <a:lnTo>
                    <a:pt x="31" y="401"/>
                  </a:lnTo>
                  <a:lnTo>
                    <a:pt x="32" y="403"/>
                  </a:lnTo>
                  <a:lnTo>
                    <a:pt x="34" y="404"/>
                  </a:lnTo>
                  <a:lnTo>
                    <a:pt x="34" y="407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6"/>
                  </a:lnTo>
                  <a:lnTo>
                    <a:pt x="35" y="403"/>
                  </a:lnTo>
                  <a:lnTo>
                    <a:pt x="44" y="400"/>
                  </a:lnTo>
                  <a:lnTo>
                    <a:pt x="44" y="400"/>
                  </a:lnTo>
                  <a:lnTo>
                    <a:pt x="41" y="399"/>
                  </a:lnTo>
                  <a:lnTo>
                    <a:pt x="40" y="397"/>
                  </a:lnTo>
                  <a:lnTo>
                    <a:pt x="41" y="393"/>
                  </a:lnTo>
                  <a:lnTo>
                    <a:pt x="41" y="391"/>
                  </a:lnTo>
                  <a:lnTo>
                    <a:pt x="40" y="394"/>
                  </a:lnTo>
                  <a:lnTo>
                    <a:pt x="38" y="397"/>
                  </a:lnTo>
                  <a:lnTo>
                    <a:pt x="40" y="400"/>
                  </a:lnTo>
                  <a:lnTo>
                    <a:pt x="38" y="400"/>
                  </a:lnTo>
                  <a:lnTo>
                    <a:pt x="37" y="401"/>
                  </a:lnTo>
                  <a:lnTo>
                    <a:pt x="34" y="401"/>
                  </a:lnTo>
                  <a:lnTo>
                    <a:pt x="31" y="400"/>
                  </a:lnTo>
                  <a:lnTo>
                    <a:pt x="30" y="400"/>
                  </a:lnTo>
                  <a:lnTo>
                    <a:pt x="28" y="399"/>
                  </a:lnTo>
                  <a:lnTo>
                    <a:pt x="28" y="397"/>
                  </a:lnTo>
                  <a:lnTo>
                    <a:pt x="28" y="397"/>
                  </a:lnTo>
                  <a:lnTo>
                    <a:pt x="27" y="399"/>
                  </a:lnTo>
                  <a:lnTo>
                    <a:pt x="27" y="401"/>
                  </a:lnTo>
                  <a:lnTo>
                    <a:pt x="24" y="401"/>
                  </a:lnTo>
                  <a:lnTo>
                    <a:pt x="20" y="401"/>
                  </a:lnTo>
                  <a:lnTo>
                    <a:pt x="13" y="401"/>
                  </a:lnTo>
                  <a:lnTo>
                    <a:pt x="10" y="403"/>
                  </a:lnTo>
                  <a:lnTo>
                    <a:pt x="8" y="403"/>
                  </a:lnTo>
                  <a:lnTo>
                    <a:pt x="4" y="400"/>
                  </a:lnTo>
                  <a:lnTo>
                    <a:pt x="3" y="399"/>
                  </a:lnTo>
                  <a:lnTo>
                    <a:pt x="3" y="394"/>
                  </a:lnTo>
                  <a:lnTo>
                    <a:pt x="3" y="391"/>
                  </a:lnTo>
                  <a:lnTo>
                    <a:pt x="5" y="391"/>
                  </a:lnTo>
                  <a:lnTo>
                    <a:pt x="7" y="391"/>
                  </a:lnTo>
                  <a:lnTo>
                    <a:pt x="8" y="390"/>
                  </a:lnTo>
                  <a:lnTo>
                    <a:pt x="7" y="390"/>
                  </a:lnTo>
                  <a:lnTo>
                    <a:pt x="5" y="389"/>
                  </a:lnTo>
                  <a:lnTo>
                    <a:pt x="4" y="386"/>
                  </a:lnTo>
                  <a:lnTo>
                    <a:pt x="3" y="386"/>
                  </a:lnTo>
                  <a:lnTo>
                    <a:pt x="1" y="383"/>
                  </a:lnTo>
                  <a:lnTo>
                    <a:pt x="1" y="380"/>
                  </a:lnTo>
                  <a:lnTo>
                    <a:pt x="1" y="377"/>
                  </a:lnTo>
                  <a:lnTo>
                    <a:pt x="3" y="376"/>
                  </a:lnTo>
                  <a:lnTo>
                    <a:pt x="4" y="377"/>
                  </a:lnTo>
                  <a:lnTo>
                    <a:pt x="10" y="377"/>
                  </a:lnTo>
                  <a:lnTo>
                    <a:pt x="15" y="379"/>
                  </a:lnTo>
                  <a:lnTo>
                    <a:pt x="18" y="380"/>
                  </a:lnTo>
                  <a:lnTo>
                    <a:pt x="25" y="380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25" y="379"/>
                  </a:lnTo>
                  <a:lnTo>
                    <a:pt x="21" y="379"/>
                  </a:lnTo>
                  <a:lnTo>
                    <a:pt x="13" y="376"/>
                  </a:lnTo>
                  <a:lnTo>
                    <a:pt x="10" y="374"/>
                  </a:lnTo>
                  <a:lnTo>
                    <a:pt x="7" y="376"/>
                  </a:lnTo>
                  <a:lnTo>
                    <a:pt x="5" y="374"/>
                  </a:lnTo>
                  <a:lnTo>
                    <a:pt x="4" y="371"/>
                  </a:lnTo>
                  <a:lnTo>
                    <a:pt x="5" y="367"/>
                  </a:lnTo>
                  <a:lnTo>
                    <a:pt x="7" y="367"/>
                  </a:lnTo>
                  <a:lnTo>
                    <a:pt x="7" y="367"/>
                  </a:lnTo>
                  <a:lnTo>
                    <a:pt x="8" y="367"/>
                  </a:lnTo>
                  <a:lnTo>
                    <a:pt x="10" y="366"/>
                  </a:lnTo>
                  <a:lnTo>
                    <a:pt x="10" y="364"/>
                  </a:lnTo>
                  <a:lnTo>
                    <a:pt x="11" y="363"/>
                  </a:lnTo>
                  <a:lnTo>
                    <a:pt x="14" y="360"/>
                  </a:lnTo>
                  <a:lnTo>
                    <a:pt x="15" y="360"/>
                  </a:lnTo>
                  <a:lnTo>
                    <a:pt x="17" y="359"/>
                  </a:lnTo>
                  <a:lnTo>
                    <a:pt x="18" y="359"/>
                  </a:lnTo>
                  <a:lnTo>
                    <a:pt x="18" y="360"/>
                  </a:lnTo>
                  <a:lnTo>
                    <a:pt x="20" y="361"/>
                  </a:lnTo>
                  <a:lnTo>
                    <a:pt x="22" y="361"/>
                  </a:lnTo>
                  <a:lnTo>
                    <a:pt x="28" y="359"/>
                  </a:lnTo>
                  <a:lnTo>
                    <a:pt x="28" y="359"/>
                  </a:lnTo>
                  <a:lnTo>
                    <a:pt x="30" y="357"/>
                  </a:lnTo>
                  <a:lnTo>
                    <a:pt x="25" y="357"/>
                  </a:lnTo>
                  <a:lnTo>
                    <a:pt x="22" y="359"/>
                  </a:lnTo>
                  <a:lnTo>
                    <a:pt x="21" y="359"/>
                  </a:lnTo>
                  <a:lnTo>
                    <a:pt x="20" y="357"/>
                  </a:lnTo>
                  <a:lnTo>
                    <a:pt x="21" y="356"/>
                  </a:lnTo>
                  <a:lnTo>
                    <a:pt x="22" y="356"/>
                  </a:lnTo>
                  <a:lnTo>
                    <a:pt x="22" y="353"/>
                  </a:lnTo>
                  <a:lnTo>
                    <a:pt x="24" y="351"/>
                  </a:lnTo>
                  <a:lnTo>
                    <a:pt x="25" y="351"/>
                  </a:lnTo>
                  <a:lnTo>
                    <a:pt x="28" y="351"/>
                  </a:lnTo>
                  <a:lnTo>
                    <a:pt x="31" y="351"/>
                  </a:lnTo>
                  <a:lnTo>
                    <a:pt x="34" y="351"/>
                  </a:lnTo>
                  <a:lnTo>
                    <a:pt x="40" y="353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5" y="353"/>
                  </a:lnTo>
                  <a:lnTo>
                    <a:pt x="45" y="353"/>
                  </a:lnTo>
                  <a:lnTo>
                    <a:pt x="42" y="351"/>
                  </a:lnTo>
                  <a:lnTo>
                    <a:pt x="42" y="350"/>
                  </a:lnTo>
                  <a:lnTo>
                    <a:pt x="42" y="350"/>
                  </a:lnTo>
                  <a:lnTo>
                    <a:pt x="47" y="349"/>
                  </a:lnTo>
                  <a:lnTo>
                    <a:pt x="52" y="347"/>
                  </a:lnTo>
                  <a:lnTo>
                    <a:pt x="51" y="346"/>
                  </a:lnTo>
                  <a:lnTo>
                    <a:pt x="41" y="349"/>
                  </a:lnTo>
                  <a:lnTo>
                    <a:pt x="38" y="347"/>
                  </a:lnTo>
                  <a:lnTo>
                    <a:pt x="37" y="347"/>
                  </a:lnTo>
                  <a:lnTo>
                    <a:pt x="35" y="347"/>
                  </a:lnTo>
                  <a:lnTo>
                    <a:pt x="31" y="349"/>
                  </a:lnTo>
                  <a:lnTo>
                    <a:pt x="30" y="349"/>
                  </a:lnTo>
                  <a:lnTo>
                    <a:pt x="31" y="346"/>
                  </a:lnTo>
                  <a:lnTo>
                    <a:pt x="34" y="341"/>
                  </a:lnTo>
                  <a:lnTo>
                    <a:pt x="34" y="341"/>
                  </a:lnTo>
                  <a:lnTo>
                    <a:pt x="34" y="340"/>
                  </a:lnTo>
                  <a:lnTo>
                    <a:pt x="41" y="337"/>
                  </a:lnTo>
                  <a:lnTo>
                    <a:pt x="44" y="334"/>
                  </a:lnTo>
                  <a:lnTo>
                    <a:pt x="45" y="334"/>
                  </a:lnTo>
                  <a:lnTo>
                    <a:pt x="47" y="334"/>
                  </a:lnTo>
                  <a:lnTo>
                    <a:pt x="48" y="334"/>
                  </a:lnTo>
                  <a:lnTo>
                    <a:pt x="52" y="336"/>
                  </a:lnTo>
                  <a:lnTo>
                    <a:pt x="54" y="339"/>
                  </a:lnTo>
                  <a:lnTo>
                    <a:pt x="55" y="340"/>
                  </a:lnTo>
                  <a:lnTo>
                    <a:pt x="61" y="344"/>
                  </a:lnTo>
                  <a:lnTo>
                    <a:pt x="60" y="343"/>
                  </a:lnTo>
                  <a:lnTo>
                    <a:pt x="55" y="337"/>
                  </a:lnTo>
                  <a:lnTo>
                    <a:pt x="54" y="336"/>
                  </a:lnTo>
                  <a:lnTo>
                    <a:pt x="52" y="333"/>
                  </a:lnTo>
                  <a:lnTo>
                    <a:pt x="54" y="330"/>
                  </a:lnTo>
                  <a:lnTo>
                    <a:pt x="55" y="329"/>
                  </a:lnTo>
                  <a:lnTo>
                    <a:pt x="60" y="327"/>
                  </a:lnTo>
                  <a:lnTo>
                    <a:pt x="61" y="326"/>
                  </a:lnTo>
                  <a:lnTo>
                    <a:pt x="61" y="324"/>
                  </a:lnTo>
                  <a:lnTo>
                    <a:pt x="60" y="323"/>
                  </a:lnTo>
                  <a:lnTo>
                    <a:pt x="58" y="323"/>
                  </a:lnTo>
                  <a:lnTo>
                    <a:pt x="57" y="323"/>
                  </a:lnTo>
                  <a:lnTo>
                    <a:pt x="57" y="320"/>
                  </a:lnTo>
                  <a:lnTo>
                    <a:pt x="57" y="319"/>
                  </a:lnTo>
                  <a:lnTo>
                    <a:pt x="60" y="317"/>
                  </a:lnTo>
                  <a:lnTo>
                    <a:pt x="61" y="316"/>
                  </a:lnTo>
                  <a:lnTo>
                    <a:pt x="64" y="316"/>
                  </a:lnTo>
                  <a:lnTo>
                    <a:pt x="68" y="317"/>
                  </a:lnTo>
                  <a:lnTo>
                    <a:pt x="70" y="319"/>
                  </a:lnTo>
                  <a:lnTo>
                    <a:pt x="68" y="320"/>
                  </a:lnTo>
                  <a:lnTo>
                    <a:pt x="68" y="321"/>
                  </a:lnTo>
                  <a:lnTo>
                    <a:pt x="70" y="321"/>
                  </a:lnTo>
                  <a:lnTo>
                    <a:pt x="71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8" y="316"/>
                  </a:lnTo>
                  <a:lnTo>
                    <a:pt x="80" y="320"/>
                  </a:lnTo>
                  <a:lnTo>
                    <a:pt x="81" y="321"/>
                  </a:lnTo>
                  <a:lnTo>
                    <a:pt x="81" y="321"/>
                  </a:lnTo>
                  <a:lnTo>
                    <a:pt x="82" y="324"/>
                  </a:lnTo>
                  <a:lnTo>
                    <a:pt x="82" y="324"/>
                  </a:lnTo>
                  <a:lnTo>
                    <a:pt x="84" y="323"/>
                  </a:lnTo>
                  <a:lnTo>
                    <a:pt x="85" y="321"/>
                  </a:lnTo>
                  <a:lnTo>
                    <a:pt x="88" y="321"/>
                  </a:lnTo>
                  <a:lnTo>
                    <a:pt x="92" y="323"/>
                  </a:lnTo>
                  <a:lnTo>
                    <a:pt x="94" y="321"/>
                  </a:lnTo>
                  <a:lnTo>
                    <a:pt x="95" y="321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4" y="316"/>
                  </a:lnTo>
                  <a:lnTo>
                    <a:pt x="95" y="316"/>
                  </a:lnTo>
                  <a:lnTo>
                    <a:pt x="98" y="313"/>
                  </a:lnTo>
                  <a:lnTo>
                    <a:pt x="101" y="313"/>
                  </a:lnTo>
                  <a:lnTo>
                    <a:pt x="102" y="311"/>
                  </a:lnTo>
                  <a:lnTo>
                    <a:pt x="104" y="310"/>
                  </a:lnTo>
                  <a:lnTo>
                    <a:pt x="104" y="309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1" y="306"/>
                  </a:lnTo>
                  <a:lnTo>
                    <a:pt x="104" y="304"/>
                  </a:lnTo>
                  <a:lnTo>
                    <a:pt x="105" y="303"/>
                  </a:lnTo>
                  <a:lnTo>
                    <a:pt x="105" y="301"/>
                  </a:lnTo>
                  <a:lnTo>
                    <a:pt x="104" y="300"/>
                  </a:lnTo>
                  <a:lnTo>
                    <a:pt x="102" y="301"/>
                  </a:lnTo>
                  <a:lnTo>
                    <a:pt x="100" y="303"/>
                  </a:lnTo>
                  <a:lnTo>
                    <a:pt x="97" y="306"/>
                  </a:lnTo>
                  <a:lnTo>
                    <a:pt x="98" y="306"/>
                  </a:lnTo>
                  <a:lnTo>
                    <a:pt x="100" y="309"/>
                  </a:lnTo>
                  <a:lnTo>
                    <a:pt x="98" y="311"/>
                  </a:lnTo>
                  <a:lnTo>
                    <a:pt x="88" y="319"/>
                  </a:lnTo>
                  <a:lnTo>
                    <a:pt x="84" y="320"/>
                  </a:lnTo>
                  <a:lnTo>
                    <a:pt x="81" y="320"/>
                  </a:lnTo>
                  <a:lnTo>
                    <a:pt x="81" y="317"/>
                  </a:lnTo>
                  <a:lnTo>
                    <a:pt x="80" y="316"/>
                  </a:lnTo>
                  <a:lnTo>
                    <a:pt x="78" y="313"/>
                  </a:lnTo>
                  <a:lnTo>
                    <a:pt x="77" y="313"/>
                  </a:lnTo>
                  <a:lnTo>
                    <a:pt x="75" y="314"/>
                  </a:lnTo>
                  <a:lnTo>
                    <a:pt x="75" y="313"/>
                  </a:lnTo>
                  <a:lnTo>
                    <a:pt x="77" y="310"/>
                  </a:lnTo>
                  <a:lnTo>
                    <a:pt x="78" y="307"/>
                  </a:lnTo>
                  <a:lnTo>
                    <a:pt x="81" y="306"/>
                  </a:lnTo>
                  <a:lnTo>
                    <a:pt x="81" y="303"/>
                  </a:lnTo>
                  <a:lnTo>
                    <a:pt x="82" y="300"/>
                  </a:lnTo>
                  <a:lnTo>
                    <a:pt x="87" y="296"/>
                  </a:lnTo>
                  <a:lnTo>
                    <a:pt x="91" y="287"/>
                  </a:lnTo>
                  <a:lnTo>
                    <a:pt x="95" y="284"/>
                  </a:lnTo>
                  <a:lnTo>
                    <a:pt x="98" y="281"/>
                  </a:lnTo>
                  <a:lnTo>
                    <a:pt x="100" y="280"/>
                  </a:lnTo>
                  <a:lnTo>
                    <a:pt x="102" y="277"/>
                  </a:lnTo>
                  <a:lnTo>
                    <a:pt x="104" y="277"/>
                  </a:lnTo>
                  <a:lnTo>
                    <a:pt x="107" y="274"/>
                  </a:lnTo>
                  <a:lnTo>
                    <a:pt x="108" y="273"/>
                  </a:lnTo>
                  <a:lnTo>
                    <a:pt x="108" y="271"/>
                  </a:lnTo>
                  <a:lnTo>
                    <a:pt x="105" y="274"/>
                  </a:lnTo>
                  <a:lnTo>
                    <a:pt x="104" y="274"/>
                  </a:lnTo>
                  <a:lnTo>
                    <a:pt x="104" y="271"/>
                  </a:lnTo>
                  <a:lnTo>
                    <a:pt x="104" y="269"/>
                  </a:lnTo>
                  <a:lnTo>
                    <a:pt x="107" y="266"/>
                  </a:lnTo>
                  <a:lnTo>
                    <a:pt x="117" y="259"/>
                  </a:lnTo>
                  <a:lnTo>
                    <a:pt x="118" y="260"/>
                  </a:lnTo>
                  <a:lnTo>
                    <a:pt x="119" y="261"/>
                  </a:lnTo>
                  <a:lnTo>
                    <a:pt x="122" y="261"/>
                  </a:lnTo>
                  <a:lnTo>
                    <a:pt x="127" y="257"/>
                  </a:lnTo>
                  <a:lnTo>
                    <a:pt x="129" y="253"/>
                  </a:lnTo>
                  <a:lnTo>
                    <a:pt x="128" y="253"/>
                  </a:lnTo>
                  <a:lnTo>
                    <a:pt x="127" y="256"/>
                  </a:lnTo>
                  <a:lnTo>
                    <a:pt x="122" y="257"/>
                  </a:lnTo>
                  <a:lnTo>
                    <a:pt x="121" y="259"/>
                  </a:lnTo>
                  <a:lnTo>
                    <a:pt x="121" y="257"/>
                  </a:lnTo>
                  <a:lnTo>
                    <a:pt x="119" y="256"/>
                  </a:lnTo>
                  <a:lnTo>
                    <a:pt x="118" y="256"/>
                  </a:lnTo>
                  <a:lnTo>
                    <a:pt x="118" y="256"/>
                  </a:lnTo>
                  <a:lnTo>
                    <a:pt x="117" y="254"/>
                  </a:lnTo>
                  <a:lnTo>
                    <a:pt x="117" y="251"/>
                  </a:lnTo>
                  <a:lnTo>
                    <a:pt x="118" y="247"/>
                  </a:lnTo>
                  <a:lnTo>
                    <a:pt x="119" y="243"/>
                  </a:lnTo>
                  <a:lnTo>
                    <a:pt x="119" y="242"/>
                  </a:lnTo>
                  <a:lnTo>
                    <a:pt x="125" y="234"/>
                  </a:lnTo>
                  <a:lnTo>
                    <a:pt x="125" y="230"/>
                  </a:lnTo>
                  <a:lnTo>
                    <a:pt x="128" y="229"/>
                  </a:lnTo>
                  <a:lnTo>
                    <a:pt x="131" y="229"/>
                  </a:lnTo>
                  <a:lnTo>
                    <a:pt x="131" y="229"/>
                  </a:lnTo>
                  <a:lnTo>
                    <a:pt x="129" y="226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37" y="220"/>
                  </a:lnTo>
                  <a:lnTo>
                    <a:pt x="141" y="220"/>
                  </a:lnTo>
                  <a:lnTo>
                    <a:pt x="142" y="217"/>
                  </a:lnTo>
                  <a:lnTo>
                    <a:pt x="145" y="217"/>
                  </a:lnTo>
                  <a:lnTo>
                    <a:pt x="147" y="214"/>
                  </a:lnTo>
                  <a:lnTo>
                    <a:pt x="147" y="214"/>
                  </a:lnTo>
                  <a:lnTo>
                    <a:pt x="141" y="216"/>
                  </a:lnTo>
                  <a:lnTo>
                    <a:pt x="138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2" y="217"/>
                  </a:lnTo>
                  <a:lnTo>
                    <a:pt x="131" y="210"/>
                  </a:lnTo>
                  <a:lnTo>
                    <a:pt x="132" y="206"/>
                  </a:lnTo>
                  <a:lnTo>
                    <a:pt x="134" y="206"/>
                  </a:lnTo>
                  <a:lnTo>
                    <a:pt x="134" y="202"/>
                  </a:lnTo>
                  <a:lnTo>
                    <a:pt x="135" y="199"/>
                  </a:lnTo>
                  <a:lnTo>
                    <a:pt x="138" y="199"/>
                  </a:lnTo>
                  <a:lnTo>
                    <a:pt x="139" y="197"/>
                  </a:lnTo>
                  <a:lnTo>
                    <a:pt x="141" y="194"/>
                  </a:lnTo>
                  <a:lnTo>
                    <a:pt x="144" y="196"/>
                  </a:lnTo>
                  <a:lnTo>
                    <a:pt x="145" y="194"/>
                  </a:lnTo>
                  <a:lnTo>
                    <a:pt x="145" y="194"/>
                  </a:lnTo>
                  <a:lnTo>
                    <a:pt x="142" y="193"/>
                  </a:lnTo>
                  <a:lnTo>
                    <a:pt x="141" y="190"/>
                  </a:lnTo>
                  <a:lnTo>
                    <a:pt x="142" y="189"/>
                  </a:lnTo>
                  <a:lnTo>
                    <a:pt x="144" y="189"/>
                  </a:lnTo>
                  <a:lnTo>
                    <a:pt x="145" y="187"/>
                  </a:lnTo>
                  <a:lnTo>
                    <a:pt x="147" y="183"/>
                  </a:lnTo>
                  <a:lnTo>
                    <a:pt x="148" y="182"/>
                  </a:lnTo>
                  <a:lnTo>
                    <a:pt x="149" y="182"/>
                  </a:lnTo>
                  <a:lnTo>
                    <a:pt x="152" y="180"/>
                  </a:lnTo>
                  <a:lnTo>
                    <a:pt x="154" y="180"/>
                  </a:lnTo>
                  <a:lnTo>
                    <a:pt x="157" y="179"/>
                  </a:lnTo>
                  <a:lnTo>
                    <a:pt x="159" y="179"/>
                  </a:lnTo>
                  <a:lnTo>
                    <a:pt x="169" y="179"/>
                  </a:lnTo>
                  <a:lnTo>
                    <a:pt x="169" y="176"/>
                  </a:lnTo>
                  <a:lnTo>
                    <a:pt x="168" y="176"/>
                  </a:lnTo>
                  <a:lnTo>
                    <a:pt x="159" y="176"/>
                  </a:lnTo>
                  <a:lnTo>
                    <a:pt x="155" y="176"/>
                  </a:lnTo>
                  <a:lnTo>
                    <a:pt x="154" y="176"/>
                  </a:lnTo>
                  <a:lnTo>
                    <a:pt x="154" y="176"/>
                  </a:lnTo>
                  <a:lnTo>
                    <a:pt x="154" y="174"/>
                  </a:lnTo>
                  <a:lnTo>
                    <a:pt x="155" y="173"/>
                  </a:lnTo>
                  <a:lnTo>
                    <a:pt x="155" y="170"/>
                  </a:lnTo>
                  <a:lnTo>
                    <a:pt x="158" y="166"/>
                  </a:lnTo>
                  <a:lnTo>
                    <a:pt x="162" y="163"/>
                  </a:lnTo>
                  <a:lnTo>
                    <a:pt x="165" y="163"/>
                  </a:lnTo>
                  <a:lnTo>
                    <a:pt x="167" y="166"/>
                  </a:lnTo>
                  <a:lnTo>
                    <a:pt x="169" y="167"/>
                  </a:lnTo>
                  <a:lnTo>
                    <a:pt x="169" y="167"/>
                  </a:lnTo>
                  <a:lnTo>
                    <a:pt x="171" y="172"/>
                  </a:lnTo>
                  <a:lnTo>
                    <a:pt x="172" y="172"/>
                  </a:lnTo>
                  <a:lnTo>
                    <a:pt x="172" y="169"/>
                  </a:lnTo>
                  <a:lnTo>
                    <a:pt x="174" y="164"/>
                  </a:lnTo>
                  <a:lnTo>
                    <a:pt x="174" y="164"/>
                  </a:lnTo>
                  <a:lnTo>
                    <a:pt x="171" y="166"/>
                  </a:lnTo>
                  <a:lnTo>
                    <a:pt x="168" y="164"/>
                  </a:lnTo>
                  <a:lnTo>
                    <a:pt x="167" y="162"/>
                  </a:lnTo>
                  <a:lnTo>
                    <a:pt x="167" y="159"/>
                  </a:lnTo>
                  <a:lnTo>
                    <a:pt x="167" y="157"/>
                  </a:lnTo>
                  <a:lnTo>
                    <a:pt x="168" y="156"/>
                  </a:lnTo>
                  <a:lnTo>
                    <a:pt x="168" y="154"/>
                  </a:lnTo>
                  <a:lnTo>
                    <a:pt x="164" y="159"/>
                  </a:lnTo>
                  <a:lnTo>
                    <a:pt x="161" y="159"/>
                  </a:lnTo>
                  <a:lnTo>
                    <a:pt x="159" y="159"/>
                  </a:lnTo>
                  <a:lnTo>
                    <a:pt x="159" y="156"/>
                  </a:lnTo>
                  <a:lnTo>
                    <a:pt x="159" y="153"/>
                  </a:lnTo>
                  <a:lnTo>
                    <a:pt x="164" y="146"/>
                  </a:lnTo>
                  <a:lnTo>
                    <a:pt x="165" y="146"/>
                  </a:lnTo>
                  <a:lnTo>
                    <a:pt x="167" y="146"/>
                  </a:lnTo>
                  <a:lnTo>
                    <a:pt x="169" y="149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67" y="143"/>
                  </a:lnTo>
                  <a:lnTo>
                    <a:pt x="168" y="142"/>
                  </a:lnTo>
                  <a:lnTo>
                    <a:pt x="171" y="140"/>
                  </a:lnTo>
                  <a:lnTo>
                    <a:pt x="174" y="137"/>
                  </a:lnTo>
                  <a:lnTo>
                    <a:pt x="177" y="137"/>
                  </a:lnTo>
                  <a:lnTo>
                    <a:pt x="178" y="134"/>
                  </a:lnTo>
                  <a:lnTo>
                    <a:pt x="179" y="136"/>
                  </a:lnTo>
                  <a:lnTo>
                    <a:pt x="179" y="136"/>
                  </a:lnTo>
                  <a:lnTo>
                    <a:pt x="181" y="143"/>
                  </a:lnTo>
                  <a:lnTo>
                    <a:pt x="182" y="150"/>
                  </a:lnTo>
                  <a:lnTo>
                    <a:pt x="184" y="150"/>
                  </a:lnTo>
                  <a:lnTo>
                    <a:pt x="182" y="144"/>
                  </a:lnTo>
                  <a:lnTo>
                    <a:pt x="184" y="143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2" y="139"/>
                  </a:lnTo>
                  <a:lnTo>
                    <a:pt x="181" y="133"/>
                  </a:lnTo>
                  <a:lnTo>
                    <a:pt x="182" y="132"/>
                  </a:lnTo>
                  <a:lnTo>
                    <a:pt x="185" y="127"/>
                  </a:lnTo>
                  <a:lnTo>
                    <a:pt x="188" y="127"/>
                  </a:lnTo>
                  <a:lnTo>
                    <a:pt x="192" y="129"/>
                  </a:lnTo>
                  <a:lnTo>
                    <a:pt x="194" y="129"/>
                  </a:lnTo>
                  <a:lnTo>
                    <a:pt x="197" y="129"/>
                  </a:lnTo>
                  <a:lnTo>
                    <a:pt x="199" y="127"/>
                  </a:lnTo>
                  <a:lnTo>
                    <a:pt x="202" y="126"/>
                  </a:lnTo>
                  <a:lnTo>
                    <a:pt x="204" y="126"/>
                  </a:lnTo>
                  <a:lnTo>
                    <a:pt x="204" y="126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201" y="124"/>
                  </a:lnTo>
                  <a:lnTo>
                    <a:pt x="198" y="124"/>
                  </a:lnTo>
                  <a:lnTo>
                    <a:pt x="188" y="124"/>
                  </a:lnTo>
                  <a:lnTo>
                    <a:pt x="187" y="123"/>
                  </a:lnTo>
                  <a:lnTo>
                    <a:pt x="187" y="122"/>
                  </a:lnTo>
                  <a:lnTo>
                    <a:pt x="188" y="119"/>
                  </a:lnTo>
                  <a:lnTo>
                    <a:pt x="189" y="117"/>
                  </a:lnTo>
                  <a:lnTo>
                    <a:pt x="192" y="114"/>
                  </a:lnTo>
                  <a:lnTo>
                    <a:pt x="197" y="114"/>
                  </a:lnTo>
                  <a:lnTo>
                    <a:pt x="201" y="110"/>
                  </a:lnTo>
                  <a:lnTo>
                    <a:pt x="202" y="106"/>
                  </a:lnTo>
                  <a:lnTo>
                    <a:pt x="204" y="100"/>
                  </a:lnTo>
                  <a:lnTo>
                    <a:pt x="207" y="96"/>
                  </a:lnTo>
                  <a:lnTo>
                    <a:pt x="212" y="94"/>
                  </a:lnTo>
                  <a:lnTo>
                    <a:pt x="212" y="93"/>
                  </a:lnTo>
                  <a:lnTo>
                    <a:pt x="212" y="90"/>
                  </a:lnTo>
                  <a:lnTo>
                    <a:pt x="212" y="86"/>
                  </a:lnTo>
                  <a:lnTo>
                    <a:pt x="214" y="82"/>
                  </a:lnTo>
                  <a:lnTo>
                    <a:pt x="215" y="80"/>
                  </a:lnTo>
                  <a:lnTo>
                    <a:pt x="215" y="79"/>
                  </a:lnTo>
                  <a:lnTo>
                    <a:pt x="216" y="82"/>
                  </a:lnTo>
                  <a:lnTo>
                    <a:pt x="218" y="84"/>
                  </a:lnTo>
                  <a:lnTo>
                    <a:pt x="221" y="86"/>
                  </a:lnTo>
                  <a:lnTo>
                    <a:pt x="225" y="87"/>
                  </a:lnTo>
                  <a:lnTo>
                    <a:pt x="225" y="86"/>
                  </a:lnTo>
                  <a:lnTo>
                    <a:pt x="222" y="84"/>
                  </a:lnTo>
                  <a:lnTo>
                    <a:pt x="221" y="82"/>
                  </a:lnTo>
                  <a:lnTo>
                    <a:pt x="221" y="79"/>
                  </a:lnTo>
                  <a:lnTo>
                    <a:pt x="221" y="77"/>
                  </a:lnTo>
                  <a:lnTo>
                    <a:pt x="222" y="77"/>
                  </a:lnTo>
                  <a:lnTo>
                    <a:pt x="225" y="77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6" y="73"/>
                  </a:lnTo>
                  <a:lnTo>
                    <a:pt x="228" y="72"/>
                  </a:lnTo>
                  <a:lnTo>
                    <a:pt x="229" y="67"/>
                  </a:lnTo>
                  <a:lnTo>
                    <a:pt x="238" y="64"/>
                  </a:lnTo>
                  <a:lnTo>
                    <a:pt x="238" y="66"/>
                  </a:lnTo>
                  <a:lnTo>
                    <a:pt x="238" y="73"/>
                  </a:lnTo>
                  <a:lnTo>
                    <a:pt x="236" y="79"/>
                  </a:lnTo>
                  <a:lnTo>
                    <a:pt x="236" y="82"/>
                  </a:lnTo>
                  <a:lnTo>
                    <a:pt x="238" y="79"/>
                  </a:lnTo>
                  <a:lnTo>
                    <a:pt x="241" y="69"/>
                  </a:lnTo>
                  <a:lnTo>
                    <a:pt x="242" y="63"/>
                  </a:lnTo>
                  <a:lnTo>
                    <a:pt x="244" y="60"/>
                  </a:lnTo>
                  <a:lnTo>
                    <a:pt x="245" y="60"/>
                  </a:lnTo>
                  <a:lnTo>
                    <a:pt x="246" y="59"/>
                  </a:lnTo>
                  <a:lnTo>
                    <a:pt x="248" y="57"/>
                  </a:lnTo>
                  <a:lnTo>
                    <a:pt x="248" y="59"/>
                  </a:lnTo>
                  <a:lnTo>
                    <a:pt x="249" y="62"/>
                  </a:lnTo>
                  <a:lnTo>
                    <a:pt x="248" y="70"/>
                  </a:lnTo>
                  <a:lnTo>
                    <a:pt x="248" y="73"/>
                  </a:lnTo>
                  <a:lnTo>
                    <a:pt x="246" y="77"/>
                  </a:lnTo>
                  <a:lnTo>
                    <a:pt x="244" y="84"/>
                  </a:lnTo>
                  <a:lnTo>
                    <a:pt x="244" y="86"/>
                  </a:lnTo>
                  <a:lnTo>
                    <a:pt x="245" y="86"/>
                  </a:lnTo>
                  <a:lnTo>
                    <a:pt x="246" y="84"/>
                  </a:lnTo>
                  <a:lnTo>
                    <a:pt x="251" y="76"/>
                  </a:lnTo>
                  <a:lnTo>
                    <a:pt x="255" y="77"/>
                  </a:lnTo>
                  <a:lnTo>
                    <a:pt x="255" y="77"/>
                  </a:lnTo>
                  <a:lnTo>
                    <a:pt x="254" y="74"/>
                  </a:lnTo>
                  <a:lnTo>
                    <a:pt x="252" y="72"/>
                  </a:lnTo>
                  <a:lnTo>
                    <a:pt x="251" y="70"/>
                  </a:lnTo>
                  <a:lnTo>
                    <a:pt x="251" y="62"/>
                  </a:lnTo>
                  <a:lnTo>
                    <a:pt x="252" y="59"/>
                  </a:lnTo>
                  <a:lnTo>
                    <a:pt x="256" y="60"/>
                  </a:lnTo>
                  <a:lnTo>
                    <a:pt x="258" y="59"/>
                  </a:lnTo>
                  <a:lnTo>
                    <a:pt x="259" y="60"/>
                  </a:lnTo>
                  <a:lnTo>
                    <a:pt x="261" y="60"/>
                  </a:lnTo>
                  <a:lnTo>
                    <a:pt x="262" y="54"/>
                  </a:lnTo>
                  <a:lnTo>
                    <a:pt x="265" y="54"/>
                  </a:lnTo>
                  <a:lnTo>
                    <a:pt x="268" y="59"/>
                  </a:lnTo>
                  <a:lnTo>
                    <a:pt x="271" y="60"/>
                  </a:lnTo>
                  <a:lnTo>
                    <a:pt x="274" y="64"/>
                  </a:lnTo>
                  <a:lnTo>
                    <a:pt x="274" y="63"/>
                  </a:lnTo>
                  <a:lnTo>
                    <a:pt x="274" y="54"/>
                  </a:lnTo>
                  <a:lnTo>
                    <a:pt x="272" y="52"/>
                  </a:lnTo>
                  <a:lnTo>
                    <a:pt x="268" y="50"/>
                  </a:lnTo>
                  <a:lnTo>
                    <a:pt x="265" y="47"/>
                  </a:lnTo>
                  <a:lnTo>
                    <a:pt x="264" y="46"/>
                  </a:lnTo>
                  <a:lnTo>
                    <a:pt x="265" y="44"/>
                  </a:lnTo>
                  <a:lnTo>
                    <a:pt x="268" y="43"/>
                  </a:lnTo>
                  <a:lnTo>
                    <a:pt x="271" y="44"/>
                  </a:lnTo>
                  <a:lnTo>
                    <a:pt x="275" y="42"/>
                  </a:lnTo>
                  <a:lnTo>
                    <a:pt x="275" y="42"/>
                  </a:lnTo>
                  <a:lnTo>
                    <a:pt x="278" y="40"/>
                  </a:lnTo>
                  <a:lnTo>
                    <a:pt x="279" y="43"/>
                  </a:lnTo>
                  <a:lnTo>
                    <a:pt x="281" y="42"/>
                  </a:lnTo>
                  <a:lnTo>
                    <a:pt x="282" y="39"/>
                  </a:lnTo>
                  <a:lnTo>
                    <a:pt x="285" y="37"/>
                  </a:lnTo>
                  <a:lnTo>
                    <a:pt x="288" y="39"/>
                  </a:lnTo>
                  <a:lnTo>
                    <a:pt x="289" y="40"/>
                  </a:lnTo>
                  <a:lnTo>
                    <a:pt x="291" y="44"/>
                  </a:lnTo>
                  <a:lnTo>
                    <a:pt x="292" y="50"/>
                  </a:lnTo>
                  <a:lnTo>
                    <a:pt x="294" y="54"/>
                  </a:lnTo>
                  <a:lnTo>
                    <a:pt x="295" y="56"/>
                  </a:lnTo>
                  <a:lnTo>
                    <a:pt x="296" y="56"/>
                  </a:lnTo>
                  <a:lnTo>
                    <a:pt x="298" y="54"/>
                  </a:lnTo>
                  <a:lnTo>
                    <a:pt x="295" y="52"/>
                  </a:lnTo>
                  <a:lnTo>
                    <a:pt x="295" y="50"/>
                  </a:lnTo>
                  <a:lnTo>
                    <a:pt x="296" y="46"/>
                  </a:lnTo>
                  <a:lnTo>
                    <a:pt x="296" y="43"/>
                  </a:lnTo>
                  <a:lnTo>
                    <a:pt x="301" y="36"/>
                  </a:lnTo>
                  <a:lnTo>
                    <a:pt x="305" y="33"/>
                  </a:lnTo>
                  <a:lnTo>
                    <a:pt x="308" y="32"/>
                  </a:lnTo>
                  <a:lnTo>
                    <a:pt x="311" y="23"/>
                  </a:lnTo>
                  <a:lnTo>
                    <a:pt x="312" y="22"/>
                  </a:lnTo>
                  <a:lnTo>
                    <a:pt x="313" y="22"/>
                  </a:lnTo>
                  <a:lnTo>
                    <a:pt x="313" y="20"/>
                  </a:lnTo>
                  <a:lnTo>
                    <a:pt x="311" y="19"/>
                  </a:lnTo>
                  <a:lnTo>
                    <a:pt x="311" y="16"/>
                  </a:lnTo>
                  <a:lnTo>
                    <a:pt x="313" y="13"/>
                  </a:lnTo>
                  <a:lnTo>
                    <a:pt x="318" y="7"/>
                  </a:lnTo>
                  <a:lnTo>
                    <a:pt x="319" y="7"/>
                  </a:lnTo>
                  <a:lnTo>
                    <a:pt x="321" y="9"/>
                  </a:lnTo>
                  <a:lnTo>
                    <a:pt x="323" y="10"/>
                  </a:lnTo>
                  <a:lnTo>
                    <a:pt x="325" y="13"/>
                  </a:lnTo>
                  <a:lnTo>
                    <a:pt x="326" y="15"/>
                  </a:lnTo>
                  <a:lnTo>
                    <a:pt x="328" y="15"/>
                  </a:lnTo>
                  <a:lnTo>
                    <a:pt x="329" y="13"/>
                  </a:lnTo>
                  <a:lnTo>
                    <a:pt x="329" y="12"/>
                  </a:lnTo>
                  <a:lnTo>
                    <a:pt x="332" y="12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5" y="15"/>
                  </a:lnTo>
                  <a:lnTo>
                    <a:pt x="335" y="16"/>
                  </a:lnTo>
                  <a:lnTo>
                    <a:pt x="333" y="19"/>
                  </a:lnTo>
                  <a:lnTo>
                    <a:pt x="331" y="23"/>
                  </a:lnTo>
                  <a:lnTo>
                    <a:pt x="328" y="29"/>
                  </a:lnTo>
                  <a:lnTo>
                    <a:pt x="326" y="32"/>
                  </a:lnTo>
                  <a:lnTo>
                    <a:pt x="325" y="40"/>
                  </a:lnTo>
                  <a:lnTo>
                    <a:pt x="322" y="44"/>
                  </a:lnTo>
                  <a:lnTo>
                    <a:pt x="322" y="49"/>
                  </a:lnTo>
                  <a:lnTo>
                    <a:pt x="323" y="50"/>
                  </a:lnTo>
                  <a:lnTo>
                    <a:pt x="326" y="49"/>
                  </a:lnTo>
                  <a:lnTo>
                    <a:pt x="329" y="44"/>
                  </a:lnTo>
                  <a:lnTo>
                    <a:pt x="331" y="39"/>
                  </a:lnTo>
                  <a:lnTo>
                    <a:pt x="339" y="26"/>
                  </a:lnTo>
                  <a:lnTo>
                    <a:pt x="342" y="17"/>
                  </a:lnTo>
                  <a:lnTo>
                    <a:pt x="346" y="12"/>
                  </a:lnTo>
                  <a:lnTo>
                    <a:pt x="349" y="10"/>
                  </a:lnTo>
                  <a:lnTo>
                    <a:pt x="351" y="15"/>
                  </a:lnTo>
                  <a:lnTo>
                    <a:pt x="349" y="20"/>
                  </a:lnTo>
                  <a:lnTo>
                    <a:pt x="348" y="23"/>
                  </a:lnTo>
                  <a:lnTo>
                    <a:pt x="349" y="25"/>
                  </a:lnTo>
                  <a:lnTo>
                    <a:pt x="349" y="29"/>
                  </a:lnTo>
                  <a:lnTo>
                    <a:pt x="348" y="32"/>
                  </a:lnTo>
                  <a:lnTo>
                    <a:pt x="348" y="33"/>
                  </a:lnTo>
                  <a:lnTo>
                    <a:pt x="348" y="36"/>
                  </a:lnTo>
                  <a:lnTo>
                    <a:pt x="349" y="36"/>
                  </a:lnTo>
                  <a:lnTo>
                    <a:pt x="355" y="32"/>
                  </a:lnTo>
                  <a:lnTo>
                    <a:pt x="356" y="26"/>
                  </a:lnTo>
                  <a:lnTo>
                    <a:pt x="358" y="23"/>
                  </a:lnTo>
                  <a:lnTo>
                    <a:pt x="358" y="20"/>
                  </a:lnTo>
                  <a:lnTo>
                    <a:pt x="359" y="17"/>
                  </a:lnTo>
                  <a:lnTo>
                    <a:pt x="363" y="17"/>
                  </a:lnTo>
                  <a:lnTo>
                    <a:pt x="363" y="16"/>
                  </a:lnTo>
                  <a:lnTo>
                    <a:pt x="359" y="12"/>
                  </a:lnTo>
                  <a:lnTo>
                    <a:pt x="359" y="10"/>
                  </a:lnTo>
                  <a:lnTo>
                    <a:pt x="361" y="7"/>
                  </a:lnTo>
                  <a:lnTo>
                    <a:pt x="365" y="3"/>
                  </a:lnTo>
                  <a:lnTo>
                    <a:pt x="366" y="3"/>
                  </a:lnTo>
                  <a:lnTo>
                    <a:pt x="368" y="5"/>
                  </a:lnTo>
                  <a:lnTo>
                    <a:pt x="373" y="5"/>
                  </a:lnTo>
                  <a:lnTo>
                    <a:pt x="378" y="9"/>
                  </a:lnTo>
                  <a:lnTo>
                    <a:pt x="376" y="13"/>
                  </a:lnTo>
                  <a:lnTo>
                    <a:pt x="376" y="16"/>
                  </a:lnTo>
                  <a:lnTo>
                    <a:pt x="375" y="17"/>
                  </a:lnTo>
                  <a:lnTo>
                    <a:pt x="371" y="22"/>
                  </a:lnTo>
                  <a:lnTo>
                    <a:pt x="369" y="23"/>
                  </a:lnTo>
                  <a:lnTo>
                    <a:pt x="371" y="23"/>
                  </a:lnTo>
                  <a:lnTo>
                    <a:pt x="375" y="22"/>
                  </a:lnTo>
                  <a:lnTo>
                    <a:pt x="375" y="23"/>
                  </a:lnTo>
                  <a:lnTo>
                    <a:pt x="373" y="27"/>
                  </a:lnTo>
                  <a:lnTo>
                    <a:pt x="373" y="35"/>
                  </a:lnTo>
                  <a:lnTo>
                    <a:pt x="373" y="39"/>
                  </a:lnTo>
                  <a:lnTo>
                    <a:pt x="373" y="42"/>
                  </a:lnTo>
                  <a:lnTo>
                    <a:pt x="373" y="43"/>
                  </a:lnTo>
                  <a:lnTo>
                    <a:pt x="375" y="36"/>
                  </a:lnTo>
                  <a:lnTo>
                    <a:pt x="376" y="35"/>
                  </a:lnTo>
                  <a:lnTo>
                    <a:pt x="378" y="32"/>
                  </a:lnTo>
                  <a:lnTo>
                    <a:pt x="379" y="26"/>
                  </a:lnTo>
                  <a:lnTo>
                    <a:pt x="381" y="19"/>
                  </a:lnTo>
                  <a:lnTo>
                    <a:pt x="383" y="15"/>
                  </a:lnTo>
                  <a:lnTo>
                    <a:pt x="383" y="15"/>
                  </a:lnTo>
                  <a:lnTo>
                    <a:pt x="389" y="15"/>
                  </a:lnTo>
                  <a:lnTo>
                    <a:pt x="391" y="16"/>
                  </a:lnTo>
                  <a:lnTo>
                    <a:pt x="392" y="19"/>
                  </a:lnTo>
                  <a:lnTo>
                    <a:pt x="393" y="20"/>
                  </a:lnTo>
                  <a:lnTo>
                    <a:pt x="398" y="22"/>
                  </a:lnTo>
                  <a:lnTo>
                    <a:pt x="398" y="23"/>
                  </a:lnTo>
                  <a:lnTo>
                    <a:pt x="399" y="25"/>
                  </a:lnTo>
                  <a:lnTo>
                    <a:pt x="399" y="25"/>
                  </a:lnTo>
                  <a:lnTo>
                    <a:pt x="402" y="22"/>
                  </a:lnTo>
                  <a:lnTo>
                    <a:pt x="403" y="22"/>
                  </a:lnTo>
                  <a:lnTo>
                    <a:pt x="406" y="26"/>
                  </a:lnTo>
                  <a:lnTo>
                    <a:pt x="406" y="29"/>
                  </a:lnTo>
                  <a:lnTo>
                    <a:pt x="406" y="29"/>
                  </a:lnTo>
                  <a:lnTo>
                    <a:pt x="409" y="29"/>
                  </a:lnTo>
                  <a:lnTo>
                    <a:pt x="412" y="30"/>
                  </a:lnTo>
                  <a:lnTo>
                    <a:pt x="418" y="36"/>
                  </a:lnTo>
                  <a:lnTo>
                    <a:pt x="418" y="39"/>
                  </a:lnTo>
                  <a:lnTo>
                    <a:pt x="418" y="42"/>
                  </a:lnTo>
                  <a:lnTo>
                    <a:pt x="410" y="46"/>
                  </a:lnTo>
                  <a:lnTo>
                    <a:pt x="408" y="49"/>
                  </a:lnTo>
                  <a:lnTo>
                    <a:pt x="402" y="50"/>
                  </a:lnTo>
                  <a:lnTo>
                    <a:pt x="383" y="49"/>
                  </a:lnTo>
                  <a:lnTo>
                    <a:pt x="383" y="50"/>
                  </a:lnTo>
                  <a:lnTo>
                    <a:pt x="396" y="56"/>
                  </a:lnTo>
                  <a:lnTo>
                    <a:pt x="398" y="57"/>
                  </a:lnTo>
                  <a:lnTo>
                    <a:pt x="396" y="62"/>
                  </a:lnTo>
                  <a:lnTo>
                    <a:pt x="396" y="63"/>
                  </a:lnTo>
                  <a:lnTo>
                    <a:pt x="396" y="66"/>
                  </a:lnTo>
                  <a:lnTo>
                    <a:pt x="398" y="67"/>
                  </a:lnTo>
                  <a:lnTo>
                    <a:pt x="399" y="67"/>
                  </a:lnTo>
                  <a:lnTo>
                    <a:pt x="402" y="67"/>
                  </a:lnTo>
                  <a:lnTo>
                    <a:pt x="405" y="69"/>
                  </a:lnTo>
                  <a:lnTo>
                    <a:pt x="405" y="67"/>
                  </a:lnTo>
                  <a:lnTo>
                    <a:pt x="406" y="63"/>
                  </a:lnTo>
                  <a:lnTo>
                    <a:pt x="406" y="62"/>
                  </a:lnTo>
                  <a:lnTo>
                    <a:pt x="408" y="63"/>
                  </a:lnTo>
                  <a:lnTo>
                    <a:pt x="409" y="67"/>
                  </a:lnTo>
                  <a:lnTo>
                    <a:pt x="409" y="69"/>
                  </a:lnTo>
                  <a:lnTo>
                    <a:pt x="410" y="64"/>
                  </a:lnTo>
                  <a:lnTo>
                    <a:pt x="412" y="64"/>
                  </a:lnTo>
                  <a:lnTo>
                    <a:pt x="415" y="64"/>
                  </a:lnTo>
                  <a:lnTo>
                    <a:pt x="416" y="66"/>
                  </a:lnTo>
                  <a:close/>
                  <a:moveTo>
                    <a:pt x="298" y="16"/>
                  </a:moveTo>
                  <a:lnTo>
                    <a:pt x="298" y="17"/>
                  </a:lnTo>
                  <a:lnTo>
                    <a:pt x="296" y="19"/>
                  </a:lnTo>
                  <a:lnTo>
                    <a:pt x="295" y="20"/>
                  </a:lnTo>
                  <a:lnTo>
                    <a:pt x="292" y="27"/>
                  </a:lnTo>
                  <a:lnTo>
                    <a:pt x="289" y="27"/>
                  </a:lnTo>
                  <a:lnTo>
                    <a:pt x="289" y="29"/>
                  </a:lnTo>
                  <a:lnTo>
                    <a:pt x="288" y="30"/>
                  </a:lnTo>
                  <a:lnTo>
                    <a:pt x="285" y="29"/>
                  </a:lnTo>
                  <a:lnTo>
                    <a:pt x="285" y="30"/>
                  </a:lnTo>
                  <a:lnTo>
                    <a:pt x="284" y="30"/>
                  </a:lnTo>
                  <a:lnTo>
                    <a:pt x="282" y="32"/>
                  </a:lnTo>
                  <a:lnTo>
                    <a:pt x="281" y="30"/>
                  </a:lnTo>
                  <a:lnTo>
                    <a:pt x="278" y="29"/>
                  </a:lnTo>
                  <a:lnTo>
                    <a:pt x="275" y="26"/>
                  </a:lnTo>
                  <a:lnTo>
                    <a:pt x="275" y="25"/>
                  </a:lnTo>
                  <a:lnTo>
                    <a:pt x="278" y="25"/>
                  </a:lnTo>
                  <a:lnTo>
                    <a:pt x="278" y="23"/>
                  </a:lnTo>
                  <a:lnTo>
                    <a:pt x="281" y="25"/>
                  </a:lnTo>
                  <a:lnTo>
                    <a:pt x="281" y="22"/>
                  </a:lnTo>
                  <a:lnTo>
                    <a:pt x="284" y="22"/>
                  </a:lnTo>
                  <a:lnTo>
                    <a:pt x="288" y="20"/>
                  </a:lnTo>
                  <a:lnTo>
                    <a:pt x="291" y="22"/>
                  </a:lnTo>
                  <a:lnTo>
                    <a:pt x="294" y="16"/>
                  </a:lnTo>
                  <a:lnTo>
                    <a:pt x="295" y="16"/>
                  </a:lnTo>
                  <a:lnTo>
                    <a:pt x="296" y="15"/>
                  </a:lnTo>
                  <a:lnTo>
                    <a:pt x="298" y="16"/>
                  </a:lnTo>
                  <a:close/>
                  <a:moveTo>
                    <a:pt x="306" y="29"/>
                  </a:moveTo>
                  <a:lnTo>
                    <a:pt x="304" y="30"/>
                  </a:lnTo>
                  <a:lnTo>
                    <a:pt x="302" y="29"/>
                  </a:lnTo>
                  <a:lnTo>
                    <a:pt x="302" y="27"/>
                  </a:lnTo>
                  <a:lnTo>
                    <a:pt x="301" y="23"/>
                  </a:lnTo>
                  <a:lnTo>
                    <a:pt x="302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5" y="22"/>
                  </a:lnTo>
                  <a:lnTo>
                    <a:pt x="306" y="22"/>
                  </a:lnTo>
                  <a:lnTo>
                    <a:pt x="308" y="25"/>
                  </a:lnTo>
                  <a:lnTo>
                    <a:pt x="306" y="29"/>
                  </a:lnTo>
                  <a:close/>
                  <a:moveTo>
                    <a:pt x="301" y="29"/>
                  </a:moveTo>
                  <a:lnTo>
                    <a:pt x="301" y="32"/>
                  </a:lnTo>
                  <a:lnTo>
                    <a:pt x="301" y="33"/>
                  </a:lnTo>
                  <a:lnTo>
                    <a:pt x="299" y="36"/>
                  </a:lnTo>
                  <a:lnTo>
                    <a:pt x="296" y="39"/>
                  </a:lnTo>
                  <a:lnTo>
                    <a:pt x="296" y="40"/>
                  </a:lnTo>
                  <a:lnTo>
                    <a:pt x="295" y="42"/>
                  </a:lnTo>
                  <a:lnTo>
                    <a:pt x="294" y="42"/>
                  </a:lnTo>
                  <a:lnTo>
                    <a:pt x="292" y="42"/>
                  </a:lnTo>
                  <a:lnTo>
                    <a:pt x="292" y="39"/>
                  </a:lnTo>
                  <a:lnTo>
                    <a:pt x="292" y="37"/>
                  </a:lnTo>
                  <a:lnTo>
                    <a:pt x="291" y="39"/>
                  </a:lnTo>
                  <a:lnTo>
                    <a:pt x="289" y="37"/>
                  </a:lnTo>
                  <a:lnTo>
                    <a:pt x="289" y="36"/>
                  </a:lnTo>
                  <a:lnTo>
                    <a:pt x="289" y="35"/>
                  </a:lnTo>
                  <a:lnTo>
                    <a:pt x="291" y="32"/>
                  </a:lnTo>
                  <a:lnTo>
                    <a:pt x="294" y="30"/>
                  </a:lnTo>
                  <a:lnTo>
                    <a:pt x="295" y="32"/>
                  </a:lnTo>
                  <a:lnTo>
                    <a:pt x="299" y="26"/>
                  </a:lnTo>
                  <a:lnTo>
                    <a:pt x="299" y="27"/>
                  </a:lnTo>
                  <a:lnTo>
                    <a:pt x="301" y="29"/>
                  </a:lnTo>
                  <a:close/>
                  <a:moveTo>
                    <a:pt x="239" y="44"/>
                  </a:moveTo>
                  <a:lnTo>
                    <a:pt x="239" y="46"/>
                  </a:lnTo>
                  <a:lnTo>
                    <a:pt x="241" y="46"/>
                  </a:lnTo>
                  <a:lnTo>
                    <a:pt x="241" y="46"/>
                  </a:lnTo>
                  <a:lnTo>
                    <a:pt x="242" y="49"/>
                  </a:lnTo>
                  <a:lnTo>
                    <a:pt x="244" y="49"/>
                  </a:lnTo>
                  <a:lnTo>
                    <a:pt x="244" y="50"/>
                  </a:lnTo>
                  <a:lnTo>
                    <a:pt x="242" y="52"/>
                  </a:lnTo>
                  <a:lnTo>
                    <a:pt x="241" y="52"/>
                  </a:lnTo>
                  <a:lnTo>
                    <a:pt x="239" y="52"/>
                  </a:lnTo>
                  <a:lnTo>
                    <a:pt x="238" y="50"/>
                  </a:lnTo>
                  <a:lnTo>
                    <a:pt x="238" y="47"/>
                  </a:lnTo>
                  <a:lnTo>
                    <a:pt x="236" y="44"/>
                  </a:lnTo>
                  <a:lnTo>
                    <a:pt x="236" y="43"/>
                  </a:lnTo>
                  <a:lnTo>
                    <a:pt x="238" y="42"/>
                  </a:lnTo>
                  <a:lnTo>
                    <a:pt x="239" y="44"/>
                  </a:lnTo>
                  <a:close/>
                  <a:moveTo>
                    <a:pt x="231" y="52"/>
                  </a:moveTo>
                  <a:lnTo>
                    <a:pt x="232" y="54"/>
                  </a:lnTo>
                  <a:lnTo>
                    <a:pt x="234" y="54"/>
                  </a:lnTo>
                  <a:lnTo>
                    <a:pt x="234" y="53"/>
                  </a:lnTo>
                  <a:lnTo>
                    <a:pt x="235" y="53"/>
                  </a:lnTo>
                  <a:lnTo>
                    <a:pt x="236" y="54"/>
                  </a:lnTo>
                  <a:lnTo>
                    <a:pt x="236" y="56"/>
                  </a:lnTo>
                  <a:lnTo>
                    <a:pt x="234" y="60"/>
                  </a:lnTo>
                  <a:lnTo>
                    <a:pt x="232" y="63"/>
                  </a:lnTo>
                  <a:lnTo>
                    <a:pt x="229" y="64"/>
                  </a:lnTo>
                  <a:lnTo>
                    <a:pt x="229" y="64"/>
                  </a:lnTo>
                  <a:lnTo>
                    <a:pt x="226" y="66"/>
                  </a:lnTo>
                  <a:lnTo>
                    <a:pt x="225" y="69"/>
                  </a:lnTo>
                  <a:lnTo>
                    <a:pt x="224" y="72"/>
                  </a:lnTo>
                  <a:lnTo>
                    <a:pt x="224" y="73"/>
                  </a:lnTo>
                  <a:lnTo>
                    <a:pt x="224" y="74"/>
                  </a:lnTo>
                  <a:lnTo>
                    <a:pt x="216" y="76"/>
                  </a:lnTo>
                  <a:lnTo>
                    <a:pt x="215" y="77"/>
                  </a:lnTo>
                  <a:lnTo>
                    <a:pt x="212" y="76"/>
                  </a:lnTo>
                  <a:lnTo>
                    <a:pt x="212" y="73"/>
                  </a:lnTo>
                  <a:lnTo>
                    <a:pt x="212" y="73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15" y="69"/>
                  </a:lnTo>
                  <a:lnTo>
                    <a:pt x="215" y="69"/>
                  </a:lnTo>
                  <a:lnTo>
                    <a:pt x="216" y="66"/>
                  </a:lnTo>
                  <a:lnTo>
                    <a:pt x="216" y="66"/>
                  </a:lnTo>
                  <a:lnTo>
                    <a:pt x="219" y="66"/>
                  </a:lnTo>
                  <a:lnTo>
                    <a:pt x="219" y="64"/>
                  </a:lnTo>
                  <a:lnTo>
                    <a:pt x="221" y="64"/>
                  </a:lnTo>
                  <a:lnTo>
                    <a:pt x="221" y="66"/>
                  </a:lnTo>
                  <a:lnTo>
                    <a:pt x="222" y="63"/>
                  </a:lnTo>
                  <a:lnTo>
                    <a:pt x="221" y="62"/>
                  </a:lnTo>
                  <a:lnTo>
                    <a:pt x="222" y="60"/>
                  </a:lnTo>
                  <a:lnTo>
                    <a:pt x="224" y="57"/>
                  </a:lnTo>
                  <a:lnTo>
                    <a:pt x="225" y="54"/>
                  </a:lnTo>
                  <a:lnTo>
                    <a:pt x="226" y="53"/>
                  </a:lnTo>
                  <a:lnTo>
                    <a:pt x="228" y="53"/>
                  </a:lnTo>
                  <a:lnTo>
                    <a:pt x="228" y="52"/>
                  </a:lnTo>
                  <a:lnTo>
                    <a:pt x="228" y="49"/>
                  </a:lnTo>
                  <a:lnTo>
                    <a:pt x="228" y="47"/>
                  </a:lnTo>
                  <a:lnTo>
                    <a:pt x="229" y="43"/>
                  </a:lnTo>
                  <a:lnTo>
                    <a:pt x="229" y="43"/>
                  </a:lnTo>
                  <a:lnTo>
                    <a:pt x="231" y="47"/>
                  </a:lnTo>
                  <a:lnTo>
                    <a:pt x="231" y="52"/>
                  </a:lnTo>
                  <a:close/>
                  <a:moveTo>
                    <a:pt x="255" y="52"/>
                  </a:moveTo>
                  <a:lnTo>
                    <a:pt x="254" y="52"/>
                  </a:lnTo>
                  <a:lnTo>
                    <a:pt x="254" y="53"/>
                  </a:lnTo>
                  <a:lnTo>
                    <a:pt x="252" y="52"/>
                  </a:lnTo>
                  <a:lnTo>
                    <a:pt x="251" y="52"/>
                  </a:lnTo>
                  <a:lnTo>
                    <a:pt x="251" y="52"/>
                  </a:lnTo>
                  <a:lnTo>
                    <a:pt x="249" y="50"/>
                  </a:lnTo>
                  <a:lnTo>
                    <a:pt x="249" y="47"/>
                  </a:lnTo>
                  <a:lnTo>
                    <a:pt x="251" y="46"/>
                  </a:lnTo>
                  <a:lnTo>
                    <a:pt x="254" y="44"/>
                  </a:lnTo>
                  <a:lnTo>
                    <a:pt x="255" y="44"/>
                  </a:lnTo>
                  <a:lnTo>
                    <a:pt x="256" y="46"/>
                  </a:lnTo>
                  <a:lnTo>
                    <a:pt x="255" y="52"/>
                  </a:lnTo>
                  <a:close/>
                  <a:moveTo>
                    <a:pt x="402" y="64"/>
                  </a:moveTo>
                  <a:lnTo>
                    <a:pt x="399" y="66"/>
                  </a:lnTo>
                  <a:lnTo>
                    <a:pt x="399" y="64"/>
                  </a:lnTo>
                  <a:lnTo>
                    <a:pt x="399" y="63"/>
                  </a:lnTo>
                  <a:lnTo>
                    <a:pt x="401" y="60"/>
                  </a:lnTo>
                  <a:lnTo>
                    <a:pt x="402" y="60"/>
                  </a:lnTo>
                  <a:lnTo>
                    <a:pt x="402" y="62"/>
                  </a:lnTo>
                  <a:lnTo>
                    <a:pt x="403" y="63"/>
                  </a:lnTo>
                  <a:lnTo>
                    <a:pt x="402" y="64"/>
                  </a:lnTo>
                  <a:close/>
                  <a:moveTo>
                    <a:pt x="202" y="74"/>
                  </a:moveTo>
                  <a:lnTo>
                    <a:pt x="205" y="76"/>
                  </a:lnTo>
                  <a:lnTo>
                    <a:pt x="205" y="76"/>
                  </a:lnTo>
                  <a:lnTo>
                    <a:pt x="207" y="76"/>
                  </a:lnTo>
                  <a:lnTo>
                    <a:pt x="208" y="76"/>
                  </a:lnTo>
                  <a:lnTo>
                    <a:pt x="209" y="79"/>
                  </a:lnTo>
                  <a:lnTo>
                    <a:pt x="211" y="79"/>
                  </a:lnTo>
                  <a:lnTo>
                    <a:pt x="211" y="80"/>
                  </a:lnTo>
                  <a:lnTo>
                    <a:pt x="212" y="83"/>
                  </a:lnTo>
                  <a:lnTo>
                    <a:pt x="211" y="86"/>
                  </a:lnTo>
                  <a:lnTo>
                    <a:pt x="209" y="86"/>
                  </a:lnTo>
                  <a:lnTo>
                    <a:pt x="209" y="89"/>
                  </a:lnTo>
                  <a:lnTo>
                    <a:pt x="209" y="92"/>
                  </a:lnTo>
                  <a:lnTo>
                    <a:pt x="207" y="93"/>
                  </a:lnTo>
                  <a:lnTo>
                    <a:pt x="204" y="94"/>
                  </a:lnTo>
                  <a:lnTo>
                    <a:pt x="202" y="92"/>
                  </a:lnTo>
                  <a:lnTo>
                    <a:pt x="199" y="94"/>
                  </a:lnTo>
                  <a:lnTo>
                    <a:pt x="197" y="100"/>
                  </a:lnTo>
                  <a:lnTo>
                    <a:pt x="197" y="100"/>
                  </a:lnTo>
                  <a:lnTo>
                    <a:pt x="195" y="99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2" y="97"/>
                  </a:lnTo>
                  <a:lnTo>
                    <a:pt x="192" y="96"/>
                  </a:lnTo>
                  <a:lnTo>
                    <a:pt x="194" y="94"/>
                  </a:lnTo>
                  <a:lnTo>
                    <a:pt x="195" y="93"/>
                  </a:lnTo>
                  <a:lnTo>
                    <a:pt x="194" y="89"/>
                  </a:lnTo>
                  <a:lnTo>
                    <a:pt x="195" y="86"/>
                  </a:lnTo>
                  <a:lnTo>
                    <a:pt x="195" y="84"/>
                  </a:lnTo>
                  <a:lnTo>
                    <a:pt x="197" y="83"/>
                  </a:lnTo>
                  <a:lnTo>
                    <a:pt x="201" y="84"/>
                  </a:lnTo>
                  <a:lnTo>
                    <a:pt x="201" y="82"/>
                  </a:lnTo>
                  <a:lnTo>
                    <a:pt x="201" y="82"/>
                  </a:lnTo>
                  <a:lnTo>
                    <a:pt x="198" y="79"/>
                  </a:lnTo>
                  <a:lnTo>
                    <a:pt x="198" y="79"/>
                  </a:lnTo>
                  <a:lnTo>
                    <a:pt x="201" y="77"/>
                  </a:lnTo>
                  <a:lnTo>
                    <a:pt x="202" y="77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202" y="74"/>
                  </a:lnTo>
                  <a:close/>
                  <a:moveTo>
                    <a:pt x="175" y="120"/>
                  </a:moveTo>
                  <a:lnTo>
                    <a:pt x="175" y="120"/>
                  </a:lnTo>
                  <a:lnTo>
                    <a:pt x="177" y="116"/>
                  </a:lnTo>
                  <a:lnTo>
                    <a:pt x="179" y="114"/>
                  </a:lnTo>
                  <a:lnTo>
                    <a:pt x="179" y="113"/>
                  </a:lnTo>
                  <a:lnTo>
                    <a:pt x="181" y="112"/>
                  </a:lnTo>
                  <a:lnTo>
                    <a:pt x="181" y="110"/>
                  </a:lnTo>
                  <a:lnTo>
                    <a:pt x="181" y="107"/>
                  </a:lnTo>
                  <a:lnTo>
                    <a:pt x="182" y="107"/>
                  </a:lnTo>
                  <a:lnTo>
                    <a:pt x="184" y="107"/>
                  </a:lnTo>
                  <a:lnTo>
                    <a:pt x="184" y="106"/>
                  </a:lnTo>
                  <a:lnTo>
                    <a:pt x="185" y="107"/>
                  </a:lnTo>
                  <a:lnTo>
                    <a:pt x="187" y="110"/>
                  </a:lnTo>
                  <a:lnTo>
                    <a:pt x="188" y="113"/>
                  </a:lnTo>
                  <a:lnTo>
                    <a:pt x="187" y="117"/>
                  </a:lnTo>
                  <a:lnTo>
                    <a:pt x="184" y="120"/>
                  </a:lnTo>
                  <a:lnTo>
                    <a:pt x="182" y="122"/>
                  </a:lnTo>
                  <a:lnTo>
                    <a:pt x="179" y="124"/>
                  </a:lnTo>
                  <a:lnTo>
                    <a:pt x="178" y="127"/>
                  </a:lnTo>
                  <a:lnTo>
                    <a:pt x="177" y="127"/>
                  </a:lnTo>
                  <a:lnTo>
                    <a:pt x="177" y="127"/>
                  </a:lnTo>
                  <a:lnTo>
                    <a:pt x="177" y="127"/>
                  </a:lnTo>
                  <a:lnTo>
                    <a:pt x="175" y="127"/>
                  </a:lnTo>
                  <a:lnTo>
                    <a:pt x="174" y="129"/>
                  </a:lnTo>
                  <a:lnTo>
                    <a:pt x="169" y="132"/>
                  </a:lnTo>
                  <a:lnTo>
                    <a:pt x="168" y="130"/>
                  </a:lnTo>
                  <a:lnTo>
                    <a:pt x="168" y="129"/>
                  </a:lnTo>
                  <a:lnTo>
                    <a:pt x="167" y="129"/>
                  </a:lnTo>
                  <a:lnTo>
                    <a:pt x="165" y="132"/>
                  </a:lnTo>
                  <a:lnTo>
                    <a:pt x="164" y="132"/>
                  </a:lnTo>
                  <a:lnTo>
                    <a:pt x="164" y="133"/>
                  </a:lnTo>
                  <a:lnTo>
                    <a:pt x="161" y="132"/>
                  </a:lnTo>
                  <a:lnTo>
                    <a:pt x="157" y="136"/>
                  </a:lnTo>
                  <a:lnTo>
                    <a:pt x="152" y="137"/>
                  </a:lnTo>
                  <a:lnTo>
                    <a:pt x="151" y="136"/>
                  </a:lnTo>
                  <a:lnTo>
                    <a:pt x="151" y="133"/>
                  </a:lnTo>
                  <a:lnTo>
                    <a:pt x="154" y="130"/>
                  </a:lnTo>
                  <a:lnTo>
                    <a:pt x="157" y="127"/>
                  </a:lnTo>
                  <a:lnTo>
                    <a:pt x="164" y="126"/>
                  </a:lnTo>
                  <a:lnTo>
                    <a:pt x="169" y="117"/>
                  </a:lnTo>
                  <a:lnTo>
                    <a:pt x="171" y="110"/>
                  </a:lnTo>
                  <a:lnTo>
                    <a:pt x="172" y="106"/>
                  </a:lnTo>
                  <a:lnTo>
                    <a:pt x="171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71" y="99"/>
                  </a:lnTo>
                  <a:lnTo>
                    <a:pt x="172" y="94"/>
                  </a:lnTo>
                  <a:lnTo>
                    <a:pt x="175" y="93"/>
                  </a:lnTo>
                  <a:lnTo>
                    <a:pt x="177" y="89"/>
                  </a:lnTo>
                  <a:lnTo>
                    <a:pt x="178" y="87"/>
                  </a:lnTo>
                  <a:lnTo>
                    <a:pt x="179" y="87"/>
                  </a:lnTo>
                  <a:lnTo>
                    <a:pt x="181" y="89"/>
                  </a:lnTo>
                  <a:lnTo>
                    <a:pt x="181" y="92"/>
                  </a:lnTo>
                  <a:lnTo>
                    <a:pt x="178" y="96"/>
                  </a:lnTo>
                  <a:lnTo>
                    <a:pt x="175" y="100"/>
                  </a:lnTo>
                  <a:lnTo>
                    <a:pt x="177" y="103"/>
                  </a:lnTo>
                  <a:lnTo>
                    <a:pt x="177" y="104"/>
                  </a:lnTo>
                  <a:lnTo>
                    <a:pt x="178" y="109"/>
                  </a:lnTo>
                  <a:lnTo>
                    <a:pt x="178" y="113"/>
                  </a:lnTo>
                  <a:lnTo>
                    <a:pt x="175" y="117"/>
                  </a:lnTo>
                  <a:lnTo>
                    <a:pt x="175" y="120"/>
                  </a:lnTo>
                  <a:close/>
                  <a:moveTo>
                    <a:pt x="167" y="103"/>
                  </a:moveTo>
                  <a:lnTo>
                    <a:pt x="168" y="107"/>
                  </a:lnTo>
                  <a:lnTo>
                    <a:pt x="169" y="110"/>
                  </a:lnTo>
                  <a:lnTo>
                    <a:pt x="168" y="116"/>
                  </a:lnTo>
                  <a:lnTo>
                    <a:pt x="167" y="117"/>
                  </a:lnTo>
                  <a:lnTo>
                    <a:pt x="162" y="119"/>
                  </a:lnTo>
                  <a:lnTo>
                    <a:pt x="161" y="119"/>
                  </a:lnTo>
                  <a:lnTo>
                    <a:pt x="159" y="117"/>
                  </a:lnTo>
                  <a:lnTo>
                    <a:pt x="159" y="116"/>
                  </a:lnTo>
                  <a:lnTo>
                    <a:pt x="158" y="116"/>
                  </a:lnTo>
                  <a:lnTo>
                    <a:pt x="157" y="117"/>
                  </a:lnTo>
                  <a:lnTo>
                    <a:pt x="155" y="117"/>
                  </a:lnTo>
                  <a:lnTo>
                    <a:pt x="154" y="116"/>
                  </a:lnTo>
                  <a:lnTo>
                    <a:pt x="152" y="114"/>
                  </a:lnTo>
                  <a:lnTo>
                    <a:pt x="155" y="112"/>
                  </a:lnTo>
                  <a:lnTo>
                    <a:pt x="155" y="109"/>
                  </a:lnTo>
                  <a:lnTo>
                    <a:pt x="158" y="109"/>
                  </a:lnTo>
                  <a:lnTo>
                    <a:pt x="158" y="110"/>
                  </a:lnTo>
                  <a:lnTo>
                    <a:pt x="159" y="110"/>
                  </a:lnTo>
                  <a:lnTo>
                    <a:pt x="159" y="107"/>
                  </a:lnTo>
                  <a:lnTo>
                    <a:pt x="159" y="106"/>
                  </a:lnTo>
                  <a:lnTo>
                    <a:pt x="161" y="104"/>
                  </a:lnTo>
                  <a:lnTo>
                    <a:pt x="164" y="106"/>
                  </a:lnTo>
                  <a:lnTo>
                    <a:pt x="164" y="102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5" y="102"/>
                  </a:lnTo>
                  <a:lnTo>
                    <a:pt x="167" y="103"/>
                  </a:lnTo>
                  <a:close/>
                  <a:moveTo>
                    <a:pt x="145" y="133"/>
                  </a:moveTo>
                  <a:lnTo>
                    <a:pt x="145" y="134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6"/>
                  </a:lnTo>
                  <a:lnTo>
                    <a:pt x="147" y="137"/>
                  </a:lnTo>
                  <a:lnTo>
                    <a:pt x="145" y="137"/>
                  </a:lnTo>
                  <a:lnTo>
                    <a:pt x="144" y="140"/>
                  </a:lnTo>
                  <a:lnTo>
                    <a:pt x="142" y="140"/>
                  </a:lnTo>
                  <a:lnTo>
                    <a:pt x="141" y="140"/>
                  </a:lnTo>
                  <a:lnTo>
                    <a:pt x="139" y="140"/>
                  </a:lnTo>
                  <a:lnTo>
                    <a:pt x="138" y="143"/>
                  </a:lnTo>
                  <a:lnTo>
                    <a:pt x="138" y="142"/>
                  </a:lnTo>
                  <a:lnTo>
                    <a:pt x="137" y="142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4" y="144"/>
                  </a:lnTo>
                  <a:lnTo>
                    <a:pt x="134" y="142"/>
                  </a:lnTo>
                  <a:lnTo>
                    <a:pt x="135" y="140"/>
                  </a:lnTo>
                  <a:lnTo>
                    <a:pt x="135" y="137"/>
                  </a:lnTo>
                  <a:lnTo>
                    <a:pt x="137" y="137"/>
                  </a:lnTo>
                  <a:lnTo>
                    <a:pt x="138" y="137"/>
                  </a:lnTo>
                  <a:lnTo>
                    <a:pt x="139" y="134"/>
                  </a:lnTo>
                  <a:lnTo>
                    <a:pt x="141" y="133"/>
                  </a:lnTo>
                  <a:lnTo>
                    <a:pt x="144" y="133"/>
                  </a:lnTo>
                  <a:lnTo>
                    <a:pt x="145" y="133"/>
                  </a:lnTo>
                  <a:close/>
                  <a:moveTo>
                    <a:pt x="129" y="150"/>
                  </a:moveTo>
                  <a:lnTo>
                    <a:pt x="128" y="152"/>
                  </a:lnTo>
                  <a:lnTo>
                    <a:pt x="128" y="149"/>
                  </a:lnTo>
                  <a:lnTo>
                    <a:pt x="129" y="144"/>
                  </a:lnTo>
                  <a:lnTo>
                    <a:pt x="132" y="142"/>
                  </a:lnTo>
                  <a:lnTo>
                    <a:pt x="132" y="143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2" y="147"/>
                  </a:lnTo>
                  <a:lnTo>
                    <a:pt x="129" y="150"/>
                  </a:lnTo>
                  <a:close/>
                  <a:moveTo>
                    <a:pt x="121" y="224"/>
                  </a:moveTo>
                  <a:lnTo>
                    <a:pt x="119" y="226"/>
                  </a:lnTo>
                  <a:lnTo>
                    <a:pt x="119" y="223"/>
                  </a:lnTo>
                  <a:lnTo>
                    <a:pt x="121" y="222"/>
                  </a:lnTo>
                  <a:lnTo>
                    <a:pt x="122" y="220"/>
                  </a:lnTo>
                  <a:lnTo>
                    <a:pt x="122" y="219"/>
                  </a:lnTo>
                  <a:lnTo>
                    <a:pt x="122" y="219"/>
                  </a:lnTo>
                  <a:lnTo>
                    <a:pt x="124" y="220"/>
                  </a:lnTo>
                  <a:lnTo>
                    <a:pt x="125" y="222"/>
                  </a:lnTo>
                  <a:lnTo>
                    <a:pt x="124" y="224"/>
                  </a:lnTo>
                  <a:lnTo>
                    <a:pt x="121" y="224"/>
                  </a:lnTo>
                  <a:close/>
                  <a:moveTo>
                    <a:pt x="122" y="230"/>
                  </a:moveTo>
                  <a:lnTo>
                    <a:pt x="121" y="230"/>
                  </a:lnTo>
                  <a:lnTo>
                    <a:pt x="121" y="229"/>
                  </a:lnTo>
                  <a:lnTo>
                    <a:pt x="122" y="227"/>
                  </a:lnTo>
                  <a:lnTo>
                    <a:pt x="124" y="227"/>
                  </a:lnTo>
                  <a:lnTo>
                    <a:pt x="125" y="226"/>
                  </a:lnTo>
                  <a:lnTo>
                    <a:pt x="127" y="226"/>
                  </a:lnTo>
                  <a:lnTo>
                    <a:pt x="127" y="227"/>
                  </a:lnTo>
                  <a:lnTo>
                    <a:pt x="127" y="229"/>
                  </a:lnTo>
                  <a:lnTo>
                    <a:pt x="122" y="230"/>
                  </a:lnTo>
                  <a:close/>
                  <a:moveTo>
                    <a:pt x="114" y="242"/>
                  </a:moveTo>
                  <a:lnTo>
                    <a:pt x="112" y="243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39"/>
                  </a:lnTo>
                  <a:lnTo>
                    <a:pt x="112" y="239"/>
                  </a:lnTo>
                  <a:lnTo>
                    <a:pt x="114" y="239"/>
                  </a:lnTo>
                  <a:lnTo>
                    <a:pt x="115" y="239"/>
                  </a:lnTo>
                  <a:lnTo>
                    <a:pt x="114" y="242"/>
                  </a:lnTo>
                  <a:close/>
                  <a:moveTo>
                    <a:pt x="102" y="270"/>
                  </a:moveTo>
                  <a:lnTo>
                    <a:pt x="101" y="271"/>
                  </a:lnTo>
                  <a:lnTo>
                    <a:pt x="100" y="270"/>
                  </a:lnTo>
                  <a:lnTo>
                    <a:pt x="95" y="271"/>
                  </a:lnTo>
                  <a:lnTo>
                    <a:pt x="94" y="270"/>
                  </a:lnTo>
                  <a:lnTo>
                    <a:pt x="95" y="269"/>
                  </a:lnTo>
                  <a:lnTo>
                    <a:pt x="100" y="266"/>
                  </a:lnTo>
                  <a:lnTo>
                    <a:pt x="101" y="266"/>
                  </a:lnTo>
                  <a:lnTo>
                    <a:pt x="102" y="269"/>
                  </a:lnTo>
                  <a:lnTo>
                    <a:pt x="102" y="270"/>
                  </a:lnTo>
                  <a:close/>
                  <a:moveTo>
                    <a:pt x="58" y="314"/>
                  </a:moveTo>
                  <a:lnTo>
                    <a:pt x="57" y="314"/>
                  </a:lnTo>
                  <a:lnTo>
                    <a:pt x="55" y="314"/>
                  </a:lnTo>
                  <a:lnTo>
                    <a:pt x="58" y="313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64" y="311"/>
                  </a:lnTo>
                  <a:lnTo>
                    <a:pt x="64" y="313"/>
                  </a:lnTo>
                  <a:lnTo>
                    <a:pt x="62" y="313"/>
                  </a:lnTo>
                  <a:lnTo>
                    <a:pt x="58" y="314"/>
                  </a:lnTo>
                  <a:close/>
                  <a:moveTo>
                    <a:pt x="52" y="326"/>
                  </a:moveTo>
                  <a:lnTo>
                    <a:pt x="51" y="326"/>
                  </a:lnTo>
                  <a:lnTo>
                    <a:pt x="48" y="326"/>
                  </a:lnTo>
                  <a:lnTo>
                    <a:pt x="48" y="324"/>
                  </a:lnTo>
                  <a:lnTo>
                    <a:pt x="47" y="324"/>
                  </a:lnTo>
                  <a:lnTo>
                    <a:pt x="50" y="323"/>
                  </a:lnTo>
                  <a:lnTo>
                    <a:pt x="51" y="321"/>
                  </a:lnTo>
                  <a:lnTo>
                    <a:pt x="52" y="323"/>
                  </a:lnTo>
                  <a:lnTo>
                    <a:pt x="52" y="326"/>
                  </a:lnTo>
                  <a:lnTo>
                    <a:pt x="52" y="326"/>
                  </a:lnTo>
                  <a:close/>
                  <a:moveTo>
                    <a:pt x="1" y="404"/>
                  </a:moveTo>
                  <a:lnTo>
                    <a:pt x="0" y="404"/>
                  </a:lnTo>
                  <a:lnTo>
                    <a:pt x="0" y="404"/>
                  </a:lnTo>
                  <a:lnTo>
                    <a:pt x="0" y="400"/>
                  </a:lnTo>
                  <a:lnTo>
                    <a:pt x="0" y="400"/>
                  </a:lnTo>
                  <a:lnTo>
                    <a:pt x="1" y="400"/>
                  </a:lnTo>
                  <a:lnTo>
                    <a:pt x="3" y="401"/>
                  </a:lnTo>
                  <a:lnTo>
                    <a:pt x="1" y="404"/>
                  </a:lnTo>
                  <a:close/>
                  <a:moveTo>
                    <a:pt x="4" y="429"/>
                  </a:moveTo>
                  <a:lnTo>
                    <a:pt x="4" y="433"/>
                  </a:lnTo>
                  <a:lnTo>
                    <a:pt x="3" y="433"/>
                  </a:lnTo>
                  <a:lnTo>
                    <a:pt x="1" y="431"/>
                  </a:lnTo>
                  <a:lnTo>
                    <a:pt x="1" y="430"/>
                  </a:lnTo>
                  <a:lnTo>
                    <a:pt x="1" y="429"/>
                  </a:lnTo>
                  <a:lnTo>
                    <a:pt x="1" y="426"/>
                  </a:lnTo>
                  <a:lnTo>
                    <a:pt x="1" y="424"/>
                  </a:lnTo>
                  <a:lnTo>
                    <a:pt x="3" y="424"/>
                  </a:lnTo>
                  <a:lnTo>
                    <a:pt x="4" y="427"/>
                  </a:lnTo>
                  <a:lnTo>
                    <a:pt x="4" y="42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3" name="Google Shape;283;p3"/>
            <p:cNvSpPr/>
            <p:nvPr/>
          </p:nvSpPr>
          <p:spPr>
            <a:xfrm>
              <a:off x="4850495" y="4053392"/>
              <a:ext cx="91870" cy="46456"/>
            </a:xfrm>
            <a:custGeom>
              <a:rect b="b" l="l" r="r" t="t"/>
              <a:pathLst>
                <a:path extrusionOk="0" h="74" w="131">
                  <a:moveTo>
                    <a:pt x="129" y="47"/>
                  </a:moveTo>
                  <a:lnTo>
                    <a:pt x="129" y="47"/>
                  </a:lnTo>
                  <a:lnTo>
                    <a:pt x="129" y="48"/>
                  </a:lnTo>
                  <a:lnTo>
                    <a:pt x="129" y="48"/>
                  </a:lnTo>
                  <a:lnTo>
                    <a:pt x="129" y="51"/>
                  </a:lnTo>
                  <a:lnTo>
                    <a:pt x="128" y="53"/>
                  </a:lnTo>
                  <a:lnTo>
                    <a:pt x="128" y="55"/>
                  </a:lnTo>
                  <a:lnTo>
                    <a:pt x="128" y="60"/>
                  </a:lnTo>
                  <a:lnTo>
                    <a:pt x="128" y="61"/>
                  </a:lnTo>
                  <a:lnTo>
                    <a:pt x="129" y="64"/>
                  </a:lnTo>
                  <a:lnTo>
                    <a:pt x="129" y="65"/>
                  </a:lnTo>
                  <a:lnTo>
                    <a:pt x="131" y="67"/>
                  </a:lnTo>
                  <a:lnTo>
                    <a:pt x="129" y="70"/>
                  </a:lnTo>
                  <a:lnTo>
                    <a:pt x="128" y="73"/>
                  </a:lnTo>
                  <a:lnTo>
                    <a:pt x="128" y="73"/>
                  </a:lnTo>
                  <a:lnTo>
                    <a:pt x="128" y="73"/>
                  </a:lnTo>
                  <a:lnTo>
                    <a:pt x="125" y="73"/>
                  </a:lnTo>
                  <a:lnTo>
                    <a:pt x="124" y="73"/>
                  </a:lnTo>
                  <a:lnTo>
                    <a:pt x="122" y="73"/>
                  </a:lnTo>
                  <a:lnTo>
                    <a:pt x="119" y="73"/>
                  </a:lnTo>
                  <a:lnTo>
                    <a:pt x="118" y="73"/>
                  </a:lnTo>
                  <a:lnTo>
                    <a:pt x="117" y="74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08" y="73"/>
                  </a:lnTo>
                  <a:lnTo>
                    <a:pt x="107" y="73"/>
                  </a:lnTo>
                  <a:lnTo>
                    <a:pt x="104" y="71"/>
                  </a:lnTo>
                  <a:lnTo>
                    <a:pt x="102" y="70"/>
                  </a:lnTo>
                  <a:lnTo>
                    <a:pt x="101" y="70"/>
                  </a:lnTo>
                  <a:lnTo>
                    <a:pt x="99" y="70"/>
                  </a:lnTo>
                  <a:lnTo>
                    <a:pt x="98" y="68"/>
                  </a:lnTo>
                  <a:lnTo>
                    <a:pt x="95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1" y="68"/>
                  </a:lnTo>
                  <a:lnTo>
                    <a:pt x="91" y="67"/>
                  </a:lnTo>
                  <a:lnTo>
                    <a:pt x="91" y="65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7" y="65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2" y="67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4" y="61"/>
                  </a:lnTo>
                  <a:lnTo>
                    <a:pt x="74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7"/>
                  </a:lnTo>
                  <a:lnTo>
                    <a:pt x="71" y="55"/>
                  </a:lnTo>
                  <a:lnTo>
                    <a:pt x="67" y="54"/>
                  </a:lnTo>
                  <a:lnTo>
                    <a:pt x="65" y="53"/>
                  </a:lnTo>
                  <a:lnTo>
                    <a:pt x="64" y="54"/>
                  </a:lnTo>
                  <a:lnTo>
                    <a:pt x="62" y="54"/>
                  </a:lnTo>
                  <a:lnTo>
                    <a:pt x="61" y="55"/>
                  </a:lnTo>
                  <a:lnTo>
                    <a:pt x="59" y="55"/>
                  </a:lnTo>
                  <a:lnTo>
                    <a:pt x="57" y="54"/>
                  </a:lnTo>
                  <a:lnTo>
                    <a:pt x="55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2" y="55"/>
                  </a:lnTo>
                  <a:lnTo>
                    <a:pt x="51" y="55"/>
                  </a:lnTo>
                  <a:lnTo>
                    <a:pt x="48" y="54"/>
                  </a:lnTo>
                  <a:lnTo>
                    <a:pt x="47" y="54"/>
                  </a:lnTo>
                  <a:lnTo>
                    <a:pt x="44" y="53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1" y="50"/>
                  </a:lnTo>
                  <a:lnTo>
                    <a:pt x="38" y="50"/>
                  </a:lnTo>
                  <a:lnTo>
                    <a:pt x="37" y="48"/>
                  </a:lnTo>
                  <a:lnTo>
                    <a:pt x="34" y="47"/>
                  </a:lnTo>
                  <a:lnTo>
                    <a:pt x="32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28" y="45"/>
                  </a:lnTo>
                  <a:lnTo>
                    <a:pt x="25" y="44"/>
                  </a:lnTo>
                  <a:lnTo>
                    <a:pt x="24" y="43"/>
                  </a:lnTo>
                  <a:lnTo>
                    <a:pt x="21" y="41"/>
                  </a:lnTo>
                  <a:lnTo>
                    <a:pt x="20" y="4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5" y="37"/>
                  </a:lnTo>
                  <a:lnTo>
                    <a:pt x="14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20" y="5"/>
                  </a:lnTo>
                  <a:lnTo>
                    <a:pt x="22" y="1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2" y="1"/>
                  </a:lnTo>
                  <a:lnTo>
                    <a:pt x="32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7"/>
                  </a:lnTo>
                  <a:lnTo>
                    <a:pt x="40" y="8"/>
                  </a:lnTo>
                  <a:lnTo>
                    <a:pt x="42" y="11"/>
                  </a:lnTo>
                  <a:lnTo>
                    <a:pt x="45" y="14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1" y="15"/>
                  </a:lnTo>
                  <a:lnTo>
                    <a:pt x="54" y="18"/>
                  </a:lnTo>
                  <a:lnTo>
                    <a:pt x="55" y="20"/>
                  </a:lnTo>
                  <a:lnTo>
                    <a:pt x="57" y="23"/>
                  </a:lnTo>
                  <a:lnTo>
                    <a:pt x="58" y="23"/>
                  </a:lnTo>
                  <a:lnTo>
                    <a:pt x="59" y="21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8" y="28"/>
                  </a:lnTo>
                  <a:lnTo>
                    <a:pt x="69" y="30"/>
                  </a:lnTo>
                  <a:lnTo>
                    <a:pt x="71" y="30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5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2" y="38"/>
                  </a:lnTo>
                  <a:lnTo>
                    <a:pt x="87" y="40"/>
                  </a:lnTo>
                  <a:lnTo>
                    <a:pt x="91" y="40"/>
                  </a:lnTo>
                  <a:lnTo>
                    <a:pt x="92" y="40"/>
                  </a:lnTo>
                  <a:lnTo>
                    <a:pt x="92" y="41"/>
                  </a:lnTo>
                  <a:lnTo>
                    <a:pt x="94" y="44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7" y="45"/>
                  </a:lnTo>
                  <a:lnTo>
                    <a:pt x="97" y="44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9" y="44"/>
                  </a:lnTo>
                  <a:lnTo>
                    <a:pt x="101" y="45"/>
                  </a:lnTo>
                  <a:lnTo>
                    <a:pt x="102" y="45"/>
                  </a:lnTo>
                  <a:lnTo>
                    <a:pt x="104" y="45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108" y="44"/>
                  </a:lnTo>
                  <a:lnTo>
                    <a:pt x="109" y="44"/>
                  </a:lnTo>
                  <a:lnTo>
                    <a:pt x="111" y="44"/>
                  </a:lnTo>
                  <a:lnTo>
                    <a:pt x="112" y="45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2" y="47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8" y="47"/>
                  </a:lnTo>
                  <a:lnTo>
                    <a:pt x="129" y="4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4" name="Google Shape;284;p3"/>
            <p:cNvSpPr/>
            <p:nvPr/>
          </p:nvSpPr>
          <p:spPr>
            <a:xfrm>
              <a:off x="5814779" y="4739561"/>
              <a:ext cx="201974" cy="253625"/>
            </a:xfrm>
            <a:custGeom>
              <a:rect b="b" l="l" r="r" t="t"/>
              <a:pathLst>
                <a:path extrusionOk="0" h="404" w="288">
                  <a:moveTo>
                    <a:pt x="286" y="193"/>
                  </a:moveTo>
                  <a:lnTo>
                    <a:pt x="286" y="193"/>
                  </a:lnTo>
                  <a:lnTo>
                    <a:pt x="285" y="193"/>
                  </a:lnTo>
                  <a:lnTo>
                    <a:pt x="284" y="196"/>
                  </a:lnTo>
                  <a:lnTo>
                    <a:pt x="284" y="194"/>
                  </a:lnTo>
                  <a:lnTo>
                    <a:pt x="284" y="193"/>
                  </a:lnTo>
                  <a:lnTo>
                    <a:pt x="282" y="193"/>
                  </a:lnTo>
                  <a:lnTo>
                    <a:pt x="282" y="194"/>
                  </a:lnTo>
                  <a:lnTo>
                    <a:pt x="282" y="194"/>
                  </a:lnTo>
                  <a:lnTo>
                    <a:pt x="282" y="194"/>
                  </a:lnTo>
                  <a:lnTo>
                    <a:pt x="282" y="196"/>
                  </a:lnTo>
                  <a:lnTo>
                    <a:pt x="282" y="197"/>
                  </a:lnTo>
                  <a:lnTo>
                    <a:pt x="284" y="197"/>
                  </a:lnTo>
                  <a:lnTo>
                    <a:pt x="285" y="199"/>
                  </a:lnTo>
                  <a:lnTo>
                    <a:pt x="285" y="200"/>
                  </a:lnTo>
                  <a:lnTo>
                    <a:pt x="282" y="200"/>
                  </a:lnTo>
                  <a:lnTo>
                    <a:pt x="282" y="202"/>
                  </a:lnTo>
                  <a:lnTo>
                    <a:pt x="281" y="202"/>
                  </a:lnTo>
                  <a:lnTo>
                    <a:pt x="281" y="202"/>
                  </a:lnTo>
                  <a:lnTo>
                    <a:pt x="279" y="199"/>
                  </a:lnTo>
                  <a:lnTo>
                    <a:pt x="279" y="199"/>
                  </a:lnTo>
                  <a:lnTo>
                    <a:pt x="281" y="197"/>
                  </a:lnTo>
                  <a:lnTo>
                    <a:pt x="281" y="196"/>
                  </a:lnTo>
                  <a:lnTo>
                    <a:pt x="281" y="196"/>
                  </a:lnTo>
                  <a:lnTo>
                    <a:pt x="279" y="194"/>
                  </a:lnTo>
                  <a:lnTo>
                    <a:pt x="276" y="194"/>
                  </a:lnTo>
                  <a:lnTo>
                    <a:pt x="276" y="194"/>
                  </a:lnTo>
                  <a:lnTo>
                    <a:pt x="278" y="193"/>
                  </a:lnTo>
                  <a:lnTo>
                    <a:pt x="279" y="193"/>
                  </a:lnTo>
                  <a:lnTo>
                    <a:pt x="281" y="192"/>
                  </a:lnTo>
                  <a:lnTo>
                    <a:pt x="286" y="193"/>
                  </a:lnTo>
                  <a:close/>
                  <a:moveTo>
                    <a:pt x="286" y="206"/>
                  </a:moveTo>
                  <a:lnTo>
                    <a:pt x="286" y="206"/>
                  </a:lnTo>
                  <a:lnTo>
                    <a:pt x="286" y="204"/>
                  </a:lnTo>
                  <a:lnTo>
                    <a:pt x="286" y="204"/>
                  </a:lnTo>
                  <a:lnTo>
                    <a:pt x="288" y="203"/>
                  </a:lnTo>
                  <a:lnTo>
                    <a:pt x="288" y="204"/>
                  </a:lnTo>
                  <a:lnTo>
                    <a:pt x="286" y="206"/>
                  </a:lnTo>
                  <a:close/>
                  <a:moveTo>
                    <a:pt x="118" y="10"/>
                  </a:moveTo>
                  <a:lnTo>
                    <a:pt x="118" y="12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1" y="9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2"/>
                  </a:lnTo>
                  <a:lnTo>
                    <a:pt x="128" y="13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5" y="16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5" y="19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8" y="23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9" y="27"/>
                  </a:lnTo>
                  <a:lnTo>
                    <a:pt x="138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8" y="29"/>
                  </a:lnTo>
                  <a:lnTo>
                    <a:pt x="138" y="32"/>
                  </a:lnTo>
                  <a:lnTo>
                    <a:pt x="139" y="33"/>
                  </a:lnTo>
                  <a:lnTo>
                    <a:pt x="142" y="37"/>
                  </a:lnTo>
                  <a:lnTo>
                    <a:pt x="142" y="39"/>
                  </a:lnTo>
                  <a:lnTo>
                    <a:pt x="142" y="40"/>
                  </a:lnTo>
                  <a:lnTo>
                    <a:pt x="142" y="42"/>
                  </a:lnTo>
                  <a:lnTo>
                    <a:pt x="142" y="43"/>
                  </a:lnTo>
                  <a:lnTo>
                    <a:pt x="142" y="45"/>
                  </a:lnTo>
                  <a:lnTo>
                    <a:pt x="142" y="47"/>
                  </a:lnTo>
                  <a:lnTo>
                    <a:pt x="141" y="47"/>
                  </a:lnTo>
                  <a:lnTo>
                    <a:pt x="141" y="49"/>
                  </a:lnTo>
                  <a:lnTo>
                    <a:pt x="142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5" y="49"/>
                  </a:lnTo>
                  <a:lnTo>
                    <a:pt x="147" y="50"/>
                  </a:lnTo>
                  <a:lnTo>
                    <a:pt x="149" y="50"/>
                  </a:lnTo>
                  <a:lnTo>
                    <a:pt x="151" y="52"/>
                  </a:lnTo>
                  <a:lnTo>
                    <a:pt x="151" y="52"/>
                  </a:lnTo>
                  <a:lnTo>
                    <a:pt x="151" y="55"/>
                  </a:lnTo>
                  <a:lnTo>
                    <a:pt x="152" y="56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5" y="55"/>
                  </a:lnTo>
                  <a:lnTo>
                    <a:pt x="155" y="52"/>
                  </a:lnTo>
                  <a:lnTo>
                    <a:pt x="154" y="49"/>
                  </a:lnTo>
                  <a:lnTo>
                    <a:pt x="154" y="47"/>
                  </a:lnTo>
                  <a:lnTo>
                    <a:pt x="154" y="46"/>
                  </a:lnTo>
                  <a:lnTo>
                    <a:pt x="154" y="45"/>
                  </a:lnTo>
                  <a:lnTo>
                    <a:pt x="154" y="45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4" y="42"/>
                  </a:lnTo>
                  <a:lnTo>
                    <a:pt x="154" y="43"/>
                  </a:lnTo>
                  <a:lnTo>
                    <a:pt x="157" y="46"/>
                  </a:lnTo>
                  <a:lnTo>
                    <a:pt x="158" y="46"/>
                  </a:lnTo>
                  <a:lnTo>
                    <a:pt x="158" y="47"/>
                  </a:lnTo>
                  <a:lnTo>
                    <a:pt x="159" y="49"/>
                  </a:lnTo>
                  <a:lnTo>
                    <a:pt x="159" y="50"/>
                  </a:lnTo>
                  <a:lnTo>
                    <a:pt x="161" y="56"/>
                  </a:lnTo>
                  <a:lnTo>
                    <a:pt x="161" y="60"/>
                  </a:lnTo>
                  <a:lnTo>
                    <a:pt x="164" y="62"/>
                  </a:lnTo>
                  <a:lnTo>
                    <a:pt x="164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4" y="65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7" y="65"/>
                  </a:lnTo>
                  <a:lnTo>
                    <a:pt x="171" y="67"/>
                  </a:lnTo>
                  <a:lnTo>
                    <a:pt x="174" y="69"/>
                  </a:lnTo>
                  <a:lnTo>
                    <a:pt x="181" y="72"/>
                  </a:lnTo>
                  <a:lnTo>
                    <a:pt x="182" y="72"/>
                  </a:lnTo>
                  <a:lnTo>
                    <a:pt x="184" y="72"/>
                  </a:lnTo>
                  <a:lnTo>
                    <a:pt x="185" y="70"/>
                  </a:lnTo>
                  <a:lnTo>
                    <a:pt x="187" y="69"/>
                  </a:lnTo>
                  <a:lnTo>
                    <a:pt x="188" y="67"/>
                  </a:lnTo>
                  <a:lnTo>
                    <a:pt x="189" y="66"/>
                  </a:lnTo>
                  <a:lnTo>
                    <a:pt x="191" y="65"/>
                  </a:lnTo>
                  <a:lnTo>
                    <a:pt x="192" y="63"/>
                  </a:lnTo>
                  <a:lnTo>
                    <a:pt x="194" y="63"/>
                  </a:lnTo>
                  <a:lnTo>
                    <a:pt x="194" y="63"/>
                  </a:lnTo>
                  <a:lnTo>
                    <a:pt x="198" y="63"/>
                  </a:lnTo>
                  <a:lnTo>
                    <a:pt x="199" y="63"/>
                  </a:lnTo>
                  <a:lnTo>
                    <a:pt x="201" y="65"/>
                  </a:lnTo>
                  <a:lnTo>
                    <a:pt x="202" y="65"/>
                  </a:lnTo>
                  <a:lnTo>
                    <a:pt x="202" y="66"/>
                  </a:lnTo>
                  <a:lnTo>
                    <a:pt x="201" y="69"/>
                  </a:lnTo>
                  <a:lnTo>
                    <a:pt x="199" y="70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8" y="83"/>
                  </a:lnTo>
                  <a:lnTo>
                    <a:pt x="197" y="85"/>
                  </a:lnTo>
                  <a:lnTo>
                    <a:pt x="195" y="86"/>
                  </a:lnTo>
                  <a:lnTo>
                    <a:pt x="194" y="86"/>
                  </a:lnTo>
                  <a:lnTo>
                    <a:pt x="192" y="89"/>
                  </a:lnTo>
                  <a:lnTo>
                    <a:pt x="192" y="92"/>
                  </a:lnTo>
                  <a:lnTo>
                    <a:pt x="192" y="93"/>
                  </a:lnTo>
                  <a:lnTo>
                    <a:pt x="194" y="93"/>
                  </a:lnTo>
                  <a:lnTo>
                    <a:pt x="194" y="95"/>
                  </a:lnTo>
                  <a:lnTo>
                    <a:pt x="192" y="97"/>
                  </a:lnTo>
                  <a:lnTo>
                    <a:pt x="192" y="96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88" y="93"/>
                  </a:lnTo>
                  <a:lnTo>
                    <a:pt x="187" y="93"/>
                  </a:lnTo>
                  <a:lnTo>
                    <a:pt x="184" y="93"/>
                  </a:lnTo>
                  <a:lnTo>
                    <a:pt x="182" y="95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8" y="97"/>
                  </a:lnTo>
                  <a:lnTo>
                    <a:pt x="177" y="99"/>
                  </a:lnTo>
                  <a:lnTo>
                    <a:pt x="177" y="102"/>
                  </a:lnTo>
                  <a:lnTo>
                    <a:pt x="177" y="103"/>
                  </a:lnTo>
                  <a:lnTo>
                    <a:pt x="177" y="105"/>
                  </a:lnTo>
                  <a:lnTo>
                    <a:pt x="179" y="106"/>
                  </a:lnTo>
                  <a:lnTo>
                    <a:pt x="177" y="110"/>
                  </a:lnTo>
                  <a:lnTo>
                    <a:pt x="175" y="116"/>
                  </a:lnTo>
                  <a:lnTo>
                    <a:pt x="174" y="117"/>
                  </a:lnTo>
                  <a:lnTo>
                    <a:pt x="172" y="119"/>
                  </a:lnTo>
                  <a:lnTo>
                    <a:pt x="171" y="122"/>
                  </a:lnTo>
                  <a:lnTo>
                    <a:pt x="169" y="125"/>
                  </a:lnTo>
                  <a:lnTo>
                    <a:pt x="168" y="126"/>
                  </a:lnTo>
                  <a:lnTo>
                    <a:pt x="167" y="129"/>
                  </a:lnTo>
                  <a:lnTo>
                    <a:pt x="165" y="130"/>
                  </a:lnTo>
                  <a:lnTo>
                    <a:pt x="164" y="135"/>
                  </a:lnTo>
                  <a:lnTo>
                    <a:pt x="162" y="136"/>
                  </a:lnTo>
                  <a:lnTo>
                    <a:pt x="161" y="137"/>
                  </a:lnTo>
                  <a:lnTo>
                    <a:pt x="159" y="140"/>
                  </a:lnTo>
                  <a:lnTo>
                    <a:pt x="157" y="142"/>
                  </a:lnTo>
                  <a:lnTo>
                    <a:pt x="152" y="145"/>
                  </a:lnTo>
                  <a:lnTo>
                    <a:pt x="152" y="146"/>
                  </a:lnTo>
                  <a:lnTo>
                    <a:pt x="151" y="146"/>
                  </a:lnTo>
                  <a:lnTo>
                    <a:pt x="149" y="146"/>
                  </a:lnTo>
                  <a:lnTo>
                    <a:pt x="149" y="145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7" y="142"/>
                  </a:lnTo>
                  <a:lnTo>
                    <a:pt x="144" y="143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4" y="140"/>
                  </a:lnTo>
                  <a:lnTo>
                    <a:pt x="142" y="140"/>
                  </a:lnTo>
                  <a:lnTo>
                    <a:pt x="141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41" y="139"/>
                  </a:lnTo>
                  <a:lnTo>
                    <a:pt x="141" y="139"/>
                  </a:lnTo>
                  <a:lnTo>
                    <a:pt x="144" y="135"/>
                  </a:lnTo>
                  <a:lnTo>
                    <a:pt x="147" y="130"/>
                  </a:lnTo>
                  <a:lnTo>
                    <a:pt x="148" y="126"/>
                  </a:lnTo>
                  <a:lnTo>
                    <a:pt x="149" y="123"/>
                  </a:lnTo>
                  <a:lnTo>
                    <a:pt x="149" y="119"/>
                  </a:lnTo>
                  <a:lnTo>
                    <a:pt x="149" y="117"/>
                  </a:lnTo>
                  <a:lnTo>
                    <a:pt x="148" y="115"/>
                  </a:lnTo>
                  <a:lnTo>
                    <a:pt x="145" y="112"/>
                  </a:lnTo>
                  <a:lnTo>
                    <a:pt x="142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7" y="107"/>
                  </a:lnTo>
                  <a:lnTo>
                    <a:pt x="135" y="105"/>
                  </a:lnTo>
                  <a:lnTo>
                    <a:pt x="132" y="103"/>
                  </a:lnTo>
                  <a:lnTo>
                    <a:pt x="128" y="102"/>
                  </a:lnTo>
                  <a:lnTo>
                    <a:pt x="127" y="100"/>
                  </a:lnTo>
                  <a:lnTo>
                    <a:pt x="127" y="100"/>
                  </a:lnTo>
                  <a:lnTo>
                    <a:pt x="125" y="99"/>
                  </a:lnTo>
                  <a:lnTo>
                    <a:pt x="127" y="97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5"/>
                  </a:lnTo>
                  <a:lnTo>
                    <a:pt x="131" y="93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7" y="92"/>
                  </a:lnTo>
                  <a:lnTo>
                    <a:pt x="137" y="90"/>
                  </a:lnTo>
                  <a:lnTo>
                    <a:pt x="138" y="89"/>
                  </a:lnTo>
                  <a:lnTo>
                    <a:pt x="139" y="87"/>
                  </a:lnTo>
                  <a:lnTo>
                    <a:pt x="139" y="83"/>
                  </a:lnTo>
                  <a:lnTo>
                    <a:pt x="139" y="80"/>
                  </a:lnTo>
                  <a:lnTo>
                    <a:pt x="141" y="76"/>
                  </a:lnTo>
                  <a:lnTo>
                    <a:pt x="142" y="73"/>
                  </a:lnTo>
                  <a:lnTo>
                    <a:pt x="144" y="72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67"/>
                  </a:lnTo>
                  <a:lnTo>
                    <a:pt x="145" y="67"/>
                  </a:lnTo>
                  <a:lnTo>
                    <a:pt x="144" y="65"/>
                  </a:lnTo>
                  <a:lnTo>
                    <a:pt x="142" y="62"/>
                  </a:lnTo>
                  <a:lnTo>
                    <a:pt x="141" y="60"/>
                  </a:lnTo>
                  <a:lnTo>
                    <a:pt x="142" y="59"/>
                  </a:lnTo>
                  <a:lnTo>
                    <a:pt x="142" y="57"/>
                  </a:lnTo>
                  <a:lnTo>
                    <a:pt x="141" y="57"/>
                  </a:lnTo>
                  <a:lnTo>
                    <a:pt x="141" y="57"/>
                  </a:lnTo>
                  <a:lnTo>
                    <a:pt x="139" y="53"/>
                  </a:lnTo>
                  <a:lnTo>
                    <a:pt x="139" y="53"/>
                  </a:lnTo>
                  <a:lnTo>
                    <a:pt x="141" y="53"/>
                  </a:lnTo>
                  <a:lnTo>
                    <a:pt x="141" y="56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5" y="53"/>
                  </a:lnTo>
                  <a:lnTo>
                    <a:pt x="142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2"/>
                  </a:lnTo>
                  <a:lnTo>
                    <a:pt x="138" y="50"/>
                  </a:lnTo>
                  <a:lnTo>
                    <a:pt x="137" y="50"/>
                  </a:lnTo>
                  <a:lnTo>
                    <a:pt x="137" y="49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7" y="42"/>
                  </a:lnTo>
                  <a:lnTo>
                    <a:pt x="137" y="40"/>
                  </a:lnTo>
                  <a:lnTo>
                    <a:pt x="137" y="39"/>
                  </a:lnTo>
                  <a:lnTo>
                    <a:pt x="135" y="39"/>
                  </a:lnTo>
                  <a:lnTo>
                    <a:pt x="135" y="37"/>
                  </a:lnTo>
                  <a:lnTo>
                    <a:pt x="137" y="37"/>
                  </a:lnTo>
                  <a:lnTo>
                    <a:pt x="137" y="36"/>
                  </a:lnTo>
                  <a:lnTo>
                    <a:pt x="135" y="35"/>
                  </a:lnTo>
                  <a:lnTo>
                    <a:pt x="134" y="35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1" y="35"/>
                  </a:lnTo>
                  <a:lnTo>
                    <a:pt x="129" y="32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2"/>
                  </a:lnTo>
                  <a:lnTo>
                    <a:pt x="129" y="35"/>
                  </a:lnTo>
                  <a:lnTo>
                    <a:pt x="132" y="37"/>
                  </a:lnTo>
                  <a:lnTo>
                    <a:pt x="132" y="37"/>
                  </a:lnTo>
                  <a:lnTo>
                    <a:pt x="132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29" y="36"/>
                  </a:lnTo>
                  <a:lnTo>
                    <a:pt x="129" y="35"/>
                  </a:lnTo>
                  <a:lnTo>
                    <a:pt x="121" y="23"/>
                  </a:lnTo>
                  <a:lnTo>
                    <a:pt x="121" y="20"/>
                  </a:lnTo>
                  <a:lnTo>
                    <a:pt x="122" y="19"/>
                  </a:lnTo>
                  <a:lnTo>
                    <a:pt x="124" y="19"/>
                  </a:lnTo>
                  <a:lnTo>
                    <a:pt x="124" y="17"/>
                  </a:lnTo>
                  <a:lnTo>
                    <a:pt x="122" y="17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7" y="19"/>
                  </a:lnTo>
                  <a:lnTo>
                    <a:pt x="117" y="16"/>
                  </a:lnTo>
                  <a:lnTo>
                    <a:pt x="115" y="16"/>
                  </a:lnTo>
                  <a:lnTo>
                    <a:pt x="117" y="15"/>
                  </a:lnTo>
                  <a:lnTo>
                    <a:pt x="117" y="12"/>
                  </a:lnTo>
                  <a:lnTo>
                    <a:pt x="115" y="10"/>
                  </a:lnTo>
                  <a:lnTo>
                    <a:pt x="114" y="7"/>
                  </a:lnTo>
                  <a:lnTo>
                    <a:pt x="111" y="5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14" y="0"/>
                  </a:lnTo>
                  <a:lnTo>
                    <a:pt x="114" y="3"/>
                  </a:lnTo>
                  <a:lnTo>
                    <a:pt x="114" y="5"/>
                  </a:lnTo>
                  <a:lnTo>
                    <a:pt x="115" y="5"/>
                  </a:lnTo>
                  <a:lnTo>
                    <a:pt x="117" y="7"/>
                  </a:lnTo>
                  <a:lnTo>
                    <a:pt x="117" y="9"/>
                  </a:lnTo>
                  <a:lnTo>
                    <a:pt x="118" y="10"/>
                  </a:lnTo>
                  <a:lnTo>
                    <a:pt x="118" y="10"/>
                  </a:lnTo>
                  <a:close/>
                  <a:moveTo>
                    <a:pt x="154" y="37"/>
                  </a:moveTo>
                  <a:lnTo>
                    <a:pt x="155" y="37"/>
                  </a:lnTo>
                  <a:lnTo>
                    <a:pt x="154" y="37"/>
                  </a:lnTo>
                  <a:lnTo>
                    <a:pt x="152" y="37"/>
                  </a:lnTo>
                  <a:lnTo>
                    <a:pt x="151" y="36"/>
                  </a:lnTo>
                  <a:lnTo>
                    <a:pt x="151" y="36"/>
                  </a:lnTo>
                  <a:lnTo>
                    <a:pt x="151" y="35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4" y="35"/>
                  </a:lnTo>
                  <a:lnTo>
                    <a:pt x="154" y="37"/>
                  </a:lnTo>
                  <a:close/>
                  <a:moveTo>
                    <a:pt x="115" y="139"/>
                  </a:moveTo>
                  <a:lnTo>
                    <a:pt x="117" y="140"/>
                  </a:lnTo>
                  <a:lnTo>
                    <a:pt x="119" y="137"/>
                  </a:lnTo>
                  <a:lnTo>
                    <a:pt x="121" y="137"/>
                  </a:lnTo>
                  <a:lnTo>
                    <a:pt x="122" y="136"/>
                  </a:lnTo>
                  <a:lnTo>
                    <a:pt x="125" y="133"/>
                  </a:lnTo>
                  <a:lnTo>
                    <a:pt x="127" y="133"/>
                  </a:lnTo>
                  <a:lnTo>
                    <a:pt x="128" y="133"/>
                  </a:lnTo>
                  <a:lnTo>
                    <a:pt x="129" y="132"/>
                  </a:lnTo>
                  <a:lnTo>
                    <a:pt x="129" y="132"/>
                  </a:lnTo>
                  <a:lnTo>
                    <a:pt x="129" y="133"/>
                  </a:lnTo>
                  <a:lnTo>
                    <a:pt x="128" y="133"/>
                  </a:lnTo>
                  <a:lnTo>
                    <a:pt x="128" y="135"/>
                  </a:lnTo>
                  <a:lnTo>
                    <a:pt x="128" y="135"/>
                  </a:lnTo>
                  <a:lnTo>
                    <a:pt x="128" y="136"/>
                  </a:lnTo>
                  <a:lnTo>
                    <a:pt x="128" y="137"/>
                  </a:lnTo>
                  <a:lnTo>
                    <a:pt x="127" y="139"/>
                  </a:lnTo>
                  <a:lnTo>
                    <a:pt x="128" y="139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9" y="136"/>
                  </a:lnTo>
                  <a:lnTo>
                    <a:pt x="129" y="135"/>
                  </a:lnTo>
                  <a:lnTo>
                    <a:pt x="129" y="135"/>
                  </a:lnTo>
                  <a:lnTo>
                    <a:pt x="129" y="133"/>
                  </a:lnTo>
                  <a:lnTo>
                    <a:pt x="131" y="133"/>
                  </a:lnTo>
                  <a:lnTo>
                    <a:pt x="131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4" y="135"/>
                  </a:lnTo>
                  <a:lnTo>
                    <a:pt x="135" y="135"/>
                  </a:lnTo>
                  <a:lnTo>
                    <a:pt x="134" y="135"/>
                  </a:lnTo>
                  <a:lnTo>
                    <a:pt x="134" y="136"/>
                  </a:lnTo>
                  <a:lnTo>
                    <a:pt x="132" y="137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32" y="139"/>
                  </a:lnTo>
                  <a:lnTo>
                    <a:pt x="134" y="137"/>
                  </a:lnTo>
                  <a:lnTo>
                    <a:pt x="135" y="136"/>
                  </a:lnTo>
                  <a:lnTo>
                    <a:pt x="135" y="137"/>
                  </a:lnTo>
                  <a:lnTo>
                    <a:pt x="134" y="139"/>
                  </a:lnTo>
                  <a:lnTo>
                    <a:pt x="134" y="140"/>
                  </a:lnTo>
                  <a:lnTo>
                    <a:pt x="132" y="140"/>
                  </a:lnTo>
                  <a:lnTo>
                    <a:pt x="131" y="142"/>
                  </a:lnTo>
                  <a:lnTo>
                    <a:pt x="131" y="143"/>
                  </a:lnTo>
                  <a:lnTo>
                    <a:pt x="131" y="143"/>
                  </a:lnTo>
                  <a:lnTo>
                    <a:pt x="131" y="145"/>
                  </a:lnTo>
                  <a:lnTo>
                    <a:pt x="132" y="146"/>
                  </a:lnTo>
                  <a:lnTo>
                    <a:pt x="131" y="147"/>
                  </a:lnTo>
                  <a:lnTo>
                    <a:pt x="132" y="147"/>
                  </a:lnTo>
                  <a:lnTo>
                    <a:pt x="134" y="147"/>
                  </a:lnTo>
                  <a:lnTo>
                    <a:pt x="134" y="149"/>
                  </a:lnTo>
                  <a:lnTo>
                    <a:pt x="134" y="150"/>
                  </a:lnTo>
                  <a:lnTo>
                    <a:pt x="134" y="152"/>
                  </a:lnTo>
                  <a:lnTo>
                    <a:pt x="131" y="154"/>
                  </a:lnTo>
                  <a:lnTo>
                    <a:pt x="129" y="156"/>
                  </a:lnTo>
                  <a:lnTo>
                    <a:pt x="128" y="157"/>
                  </a:lnTo>
                  <a:lnTo>
                    <a:pt x="128" y="159"/>
                  </a:lnTo>
                  <a:lnTo>
                    <a:pt x="127" y="160"/>
                  </a:lnTo>
                  <a:lnTo>
                    <a:pt x="124" y="164"/>
                  </a:lnTo>
                  <a:lnTo>
                    <a:pt x="122" y="166"/>
                  </a:lnTo>
                  <a:lnTo>
                    <a:pt x="119" y="173"/>
                  </a:lnTo>
                  <a:lnTo>
                    <a:pt x="117" y="176"/>
                  </a:lnTo>
                  <a:lnTo>
                    <a:pt x="117" y="177"/>
                  </a:lnTo>
                  <a:lnTo>
                    <a:pt x="115" y="177"/>
                  </a:lnTo>
                  <a:lnTo>
                    <a:pt x="112" y="179"/>
                  </a:lnTo>
                  <a:lnTo>
                    <a:pt x="111" y="180"/>
                  </a:lnTo>
                  <a:lnTo>
                    <a:pt x="109" y="182"/>
                  </a:lnTo>
                  <a:lnTo>
                    <a:pt x="108" y="183"/>
                  </a:lnTo>
                  <a:lnTo>
                    <a:pt x="108" y="183"/>
                  </a:lnTo>
                  <a:lnTo>
                    <a:pt x="108" y="183"/>
                  </a:lnTo>
                  <a:lnTo>
                    <a:pt x="109" y="184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7" y="186"/>
                  </a:lnTo>
                  <a:lnTo>
                    <a:pt x="107" y="187"/>
                  </a:lnTo>
                  <a:lnTo>
                    <a:pt x="108" y="186"/>
                  </a:lnTo>
                  <a:lnTo>
                    <a:pt x="109" y="187"/>
                  </a:lnTo>
                  <a:lnTo>
                    <a:pt x="109" y="187"/>
                  </a:lnTo>
                  <a:lnTo>
                    <a:pt x="109" y="189"/>
                  </a:lnTo>
                  <a:lnTo>
                    <a:pt x="111" y="190"/>
                  </a:lnTo>
                  <a:lnTo>
                    <a:pt x="112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5" y="196"/>
                  </a:lnTo>
                  <a:lnTo>
                    <a:pt x="114" y="196"/>
                  </a:lnTo>
                  <a:lnTo>
                    <a:pt x="112" y="196"/>
                  </a:lnTo>
                  <a:lnTo>
                    <a:pt x="111" y="196"/>
                  </a:lnTo>
                  <a:lnTo>
                    <a:pt x="109" y="194"/>
                  </a:lnTo>
                  <a:lnTo>
                    <a:pt x="107" y="194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5" y="193"/>
                  </a:lnTo>
                  <a:lnTo>
                    <a:pt x="105" y="193"/>
                  </a:lnTo>
                  <a:lnTo>
                    <a:pt x="104" y="193"/>
                  </a:lnTo>
                  <a:lnTo>
                    <a:pt x="104" y="194"/>
                  </a:lnTo>
                  <a:lnTo>
                    <a:pt x="104" y="196"/>
                  </a:lnTo>
                  <a:lnTo>
                    <a:pt x="102" y="196"/>
                  </a:lnTo>
                  <a:lnTo>
                    <a:pt x="101" y="194"/>
                  </a:lnTo>
                  <a:lnTo>
                    <a:pt x="100" y="193"/>
                  </a:lnTo>
                  <a:lnTo>
                    <a:pt x="98" y="192"/>
                  </a:lnTo>
                  <a:lnTo>
                    <a:pt x="98" y="193"/>
                  </a:lnTo>
                  <a:lnTo>
                    <a:pt x="100" y="194"/>
                  </a:lnTo>
                  <a:lnTo>
                    <a:pt x="101" y="196"/>
                  </a:lnTo>
                  <a:lnTo>
                    <a:pt x="100" y="197"/>
                  </a:lnTo>
                  <a:lnTo>
                    <a:pt x="97" y="199"/>
                  </a:lnTo>
                  <a:lnTo>
                    <a:pt x="95" y="199"/>
                  </a:lnTo>
                  <a:lnTo>
                    <a:pt x="95" y="199"/>
                  </a:lnTo>
                  <a:lnTo>
                    <a:pt x="92" y="200"/>
                  </a:lnTo>
                  <a:lnTo>
                    <a:pt x="92" y="202"/>
                  </a:lnTo>
                  <a:lnTo>
                    <a:pt x="90" y="202"/>
                  </a:lnTo>
                  <a:lnTo>
                    <a:pt x="88" y="202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5" y="204"/>
                  </a:lnTo>
                  <a:lnTo>
                    <a:pt x="87" y="204"/>
                  </a:lnTo>
                  <a:lnTo>
                    <a:pt x="87" y="206"/>
                  </a:lnTo>
                  <a:lnTo>
                    <a:pt x="85" y="210"/>
                  </a:lnTo>
                  <a:lnTo>
                    <a:pt x="85" y="212"/>
                  </a:lnTo>
                  <a:lnTo>
                    <a:pt x="85" y="216"/>
                  </a:lnTo>
                  <a:lnTo>
                    <a:pt x="84" y="219"/>
                  </a:lnTo>
                  <a:lnTo>
                    <a:pt x="81" y="219"/>
                  </a:lnTo>
                  <a:lnTo>
                    <a:pt x="82" y="220"/>
                  </a:lnTo>
                  <a:lnTo>
                    <a:pt x="84" y="220"/>
                  </a:lnTo>
                  <a:lnTo>
                    <a:pt x="84" y="222"/>
                  </a:lnTo>
                  <a:lnTo>
                    <a:pt x="81" y="224"/>
                  </a:lnTo>
                  <a:lnTo>
                    <a:pt x="81" y="226"/>
                  </a:lnTo>
                  <a:lnTo>
                    <a:pt x="80" y="229"/>
                  </a:lnTo>
                  <a:lnTo>
                    <a:pt x="78" y="233"/>
                  </a:lnTo>
                  <a:lnTo>
                    <a:pt x="77" y="236"/>
                  </a:lnTo>
                  <a:lnTo>
                    <a:pt x="77" y="237"/>
                  </a:lnTo>
                  <a:lnTo>
                    <a:pt x="78" y="239"/>
                  </a:lnTo>
                  <a:lnTo>
                    <a:pt x="78" y="239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77" y="240"/>
                  </a:lnTo>
                  <a:lnTo>
                    <a:pt x="77" y="242"/>
                  </a:lnTo>
                  <a:lnTo>
                    <a:pt x="72" y="243"/>
                  </a:lnTo>
                  <a:lnTo>
                    <a:pt x="71" y="243"/>
                  </a:lnTo>
                  <a:lnTo>
                    <a:pt x="70" y="246"/>
                  </a:lnTo>
                  <a:lnTo>
                    <a:pt x="68" y="247"/>
                  </a:lnTo>
                  <a:lnTo>
                    <a:pt x="64" y="252"/>
                  </a:lnTo>
                  <a:lnTo>
                    <a:pt x="62" y="254"/>
                  </a:lnTo>
                  <a:lnTo>
                    <a:pt x="61" y="256"/>
                  </a:lnTo>
                  <a:lnTo>
                    <a:pt x="61" y="256"/>
                  </a:lnTo>
                  <a:lnTo>
                    <a:pt x="55" y="259"/>
                  </a:lnTo>
                  <a:lnTo>
                    <a:pt x="51" y="259"/>
                  </a:lnTo>
                  <a:lnTo>
                    <a:pt x="50" y="257"/>
                  </a:lnTo>
                  <a:lnTo>
                    <a:pt x="47" y="257"/>
                  </a:lnTo>
                  <a:lnTo>
                    <a:pt x="45" y="257"/>
                  </a:lnTo>
                  <a:lnTo>
                    <a:pt x="44" y="257"/>
                  </a:lnTo>
                  <a:lnTo>
                    <a:pt x="42" y="257"/>
                  </a:lnTo>
                  <a:lnTo>
                    <a:pt x="41" y="257"/>
                  </a:lnTo>
                  <a:lnTo>
                    <a:pt x="40" y="257"/>
                  </a:lnTo>
                  <a:lnTo>
                    <a:pt x="40" y="257"/>
                  </a:lnTo>
                  <a:lnTo>
                    <a:pt x="38" y="256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3"/>
                  </a:lnTo>
                  <a:lnTo>
                    <a:pt x="37" y="253"/>
                  </a:lnTo>
                  <a:lnTo>
                    <a:pt x="37" y="252"/>
                  </a:lnTo>
                  <a:lnTo>
                    <a:pt x="35" y="252"/>
                  </a:lnTo>
                  <a:lnTo>
                    <a:pt x="32" y="252"/>
                  </a:lnTo>
                  <a:lnTo>
                    <a:pt x="31" y="252"/>
                  </a:lnTo>
                  <a:lnTo>
                    <a:pt x="30" y="249"/>
                  </a:lnTo>
                  <a:lnTo>
                    <a:pt x="28" y="249"/>
                  </a:lnTo>
                  <a:lnTo>
                    <a:pt x="27" y="247"/>
                  </a:lnTo>
                  <a:lnTo>
                    <a:pt x="25" y="247"/>
                  </a:lnTo>
                  <a:lnTo>
                    <a:pt x="24" y="249"/>
                  </a:lnTo>
                  <a:lnTo>
                    <a:pt x="24" y="249"/>
                  </a:lnTo>
                  <a:lnTo>
                    <a:pt x="20" y="249"/>
                  </a:lnTo>
                  <a:lnTo>
                    <a:pt x="15" y="249"/>
                  </a:lnTo>
                  <a:lnTo>
                    <a:pt x="14" y="249"/>
                  </a:lnTo>
                  <a:lnTo>
                    <a:pt x="13" y="247"/>
                  </a:lnTo>
                  <a:lnTo>
                    <a:pt x="17" y="243"/>
                  </a:lnTo>
                  <a:lnTo>
                    <a:pt x="15" y="243"/>
                  </a:lnTo>
                  <a:lnTo>
                    <a:pt x="14" y="244"/>
                  </a:lnTo>
                  <a:lnTo>
                    <a:pt x="13" y="244"/>
                  </a:lnTo>
                  <a:lnTo>
                    <a:pt x="13" y="243"/>
                  </a:lnTo>
                  <a:lnTo>
                    <a:pt x="14" y="242"/>
                  </a:lnTo>
                  <a:lnTo>
                    <a:pt x="13" y="242"/>
                  </a:lnTo>
                  <a:lnTo>
                    <a:pt x="11" y="243"/>
                  </a:lnTo>
                  <a:lnTo>
                    <a:pt x="10" y="243"/>
                  </a:lnTo>
                  <a:lnTo>
                    <a:pt x="10" y="242"/>
                  </a:lnTo>
                  <a:lnTo>
                    <a:pt x="10" y="240"/>
                  </a:lnTo>
                  <a:lnTo>
                    <a:pt x="10" y="239"/>
                  </a:lnTo>
                  <a:lnTo>
                    <a:pt x="15" y="239"/>
                  </a:lnTo>
                  <a:lnTo>
                    <a:pt x="17" y="237"/>
                  </a:lnTo>
                  <a:lnTo>
                    <a:pt x="18" y="237"/>
                  </a:lnTo>
                  <a:lnTo>
                    <a:pt x="14" y="237"/>
                  </a:lnTo>
                  <a:lnTo>
                    <a:pt x="14" y="236"/>
                  </a:lnTo>
                  <a:lnTo>
                    <a:pt x="15" y="234"/>
                  </a:lnTo>
                  <a:lnTo>
                    <a:pt x="17" y="233"/>
                  </a:lnTo>
                  <a:lnTo>
                    <a:pt x="15" y="233"/>
                  </a:lnTo>
                  <a:lnTo>
                    <a:pt x="14" y="233"/>
                  </a:lnTo>
                  <a:lnTo>
                    <a:pt x="14" y="232"/>
                  </a:lnTo>
                  <a:lnTo>
                    <a:pt x="14" y="230"/>
                  </a:lnTo>
                  <a:lnTo>
                    <a:pt x="17" y="230"/>
                  </a:lnTo>
                  <a:lnTo>
                    <a:pt x="15" y="229"/>
                  </a:lnTo>
                  <a:lnTo>
                    <a:pt x="15" y="227"/>
                  </a:lnTo>
                  <a:lnTo>
                    <a:pt x="17" y="227"/>
                  </a:lnTo>
                  <a:lnTo>
                    <a:pt x="18" y="230"/>
                  </a:lnTo>
                  <a:lnTo>
                    <a:pt x="20" y="230"/>
                  </a:lnTo>
                  <a:lnTo>
                    <a:pt x="20" y="229"/>
                  </a:lnTo>
                  <a:lnTo>
                    <a:pt x="20" y="229"/>
                  </a:lnTo>
                  <a:lnTo>
                    <a:pt x="20" y="227"/>
                  </a:lnTo>
                  <a:lnTo>
                    <a:pt x="21" y="227"/>
                  </a:lnTo>
                  <a:lnTo>
                    <a:pt x="21" y="227"/>
                  </a:lnTo>
                  <a:lnTo>
                    <a:pt x="20" y="227"/>
                  </a:lnTo>
                  <a:lnTo>
                    <a:pt x="18" y="226"/>
                  </a:lnTo>
                  <a:lnTo>
                    <a:pt x="18" y="224"/>
                  </a:lnTo>
                  <a:lnTo>
                    <a:pt x="18" y="223"/>
                  </a:lnTo>
                  <a:lnTo>
                    <a:pt x="20" y="222"/>
                  </a:lnTo>
                  <a:lnTo>
                    <a:pt x="21" y="223"/>
                  </a:lnTo>
                  <a:lnTo>
                    <a:pt x="21" y="223"/>
                  </a:lnTo>
                  <a:lnTo>
                    <a:pt x="21" y="222"/>
                  </a:lnTo>
                  <a:lnTo>
                    <a:pt x="20" y="220"/>
                  </a:lnTo>
                  <a:lnTo>
                    <a:pt x="21" y="220"/>
                  </a:lnTo>
                  <a:lnTo>
                    <a:pt x="24" y="217"/>
                  </a:lnTo>
                  <a:lnTo>
                    <a:pt x="25" y="220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7" y="214"/>
                  </a:lnTo>
                  <a:lnTo>
                    <a:pt x="28" y="213"/>
                  </a:lnTo>
                  <a:lnTo>
                    <a:pt x="30" y="212"/>
                  </a:lnTo>
                  <a:lnTo>
                    <a:pt x="31" y="213"/>
                  </a:lnTo>
                  <a:lnTo>
                    <a:pt x="32" y="213"/>
                  </a:lnTo>
                  <a:lnTo>
                    <a:pt x="32" y="213"/>
                  </a:lnTo>
                  <a:lnTo>
                    <a:pt x="31" y="212"/>
                  </a:lnTo>
                  <a:lnTo>
                    <a:pt x="31" y="210"/>
                  </a:lnTo>
                  <a:lnTo>
                    <a:pt x="34" y="206"/>
                  </a:lnTo>
                  <a:lnTo>
                    <a:pt x="37" y="203"/>
                  </a:lnTo>
                  <a:lnTo>
                    <a:pt x="40" y="200"/>
                  </a:lnTo>
                  <a:lnTo>
                    <a:pt x="41" y="199"/>
                  </a:lnTo>
                  <a:lnTo>
                    <a:pt x="44" y="197"/>
                  </a:lnTo>
                  <a:lnTo>
                    <a:pt x="45" y="199"/>
                  </a:lnTo>
                  <a:lnTo>
                    <a:pt x="47" y="199"/>
                  </a:lnTo>
                  <a:lnTo>
                    <a:pt x="50" y="196"/>
                  </a:lnTo>
                  <a:lnTo>
                    <a:pt x="51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4"/>
                  </a:lnTo>
                  <a:lnTo>
                    <a:pt x="52" y="193"/>
                  </a:lnTo>
                  <a:lnTo>
                    <a:pt x="55" y="192"/>
                  </a:lnTo>
                  <a:lnTo>
                    <a:pt x="58" y="190"/>
                  </a:lnTo>
                  <a:lnTo>
                    <a:pt x="60" y="189"/>
                  </a:lnTo>
                  <a:lnTo>
                    <a:pt x="62" y="189"/>
                  </a:lnTo>
                  <a:lnTo>
                    <a:pt x="62" y="189"/>
                  </a:lnTo>
                  <a:lnTo>
                    <a:pt x="62" y="187"/>
                  </a:lnTo>
                  <a:lnTo>
                    <a:pt x="62" y="186"/>
                  </a:lnTo>
                  <a:lnTo>
                    <a:pt x="64" y="186"/>
                  </a:lnTo>
                  <a:lnTo>
                    <a:pt x="64" y="186"/>
                  </a:lnTo>
                  <a:lnTo>
                    <a:pt x="64" y="186"/>
                  </a:lnTo>
                  <a:lnTo>
                    <a:pt x="65" y="184"/>
                  </a:lnTo>
                  <a:lnTo>
                    <a:pt x="67" y="182"/>
                  </a:lnTo>
                  <a:lnTo>
                    <a:pt x="68" y="182"/>
                  </a:lnTo>
                  <a:lnTo>
                    <a:pt x="68" y="182"/>
                  </a:lnTo>
                  <a:lnTo>
                    <a:pt x="70" y="180"/>
                  </a:lnTo>
                  <a:lnTo>
                    <a:pt x="71" y="180"/>
                  </a:lnTo>
                  <a:lnTo>
                    <a:pt x="71" y="180"/>
                  </a:lnTo>
                  <a:lnTo>
                    <a:pt x="72" y="180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77"/>
                  </a:lnTo>
                  <a:lnTo>
                    <a:pt x="72" y="177"/>
                  </a:lnTo>
                  <a:lnTo>
                    <a:pt x="74" y="177"/>
                  </a:lnTo>
                  <a:lnTo>
                    <a:pt x="75" y="179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5" y="176"/>
                  </a:lnTo>
                  <a:lnTo>
                    <a:pt x="77" y="176"/>
                  </a:lnTo>
                  <a:lnTo>
                    <a:pt x="77" y="177"/>
                  </a:lnTo>
                  <a:lnTo>
                    <a:pt x="77" y="176"/>
                  </a:lnTo>
                  <a:lnTo>
                    <a:pt x="78" y="174"/>
                  </a:lnTo>
                  <a:lnTo>
                    <a:pt x="80" y="173"/>
                  </a:lnTo>
                  <a:lnTo>
                    <a:pt x="81" y="170"/>
                  </a:lnTo>
                  <a:lnTo>
                    <a:pt x="82" y="172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2"/>
                  </a:lnTo>
                  <a:lnTo>
                    <a:pt x="82" y="170"/>
                  </a:lnTo>
                  <a:lnTo>
                    <a:pt x="85" y="166"/>
                  </a:lnTo>
                  <a:lnTo>
                    <a:pt x="85" y="164"/>
                  </a:lnTo>
                  <a:lnTo>
                    <a:pt x="85" y="164"/>
                  </a:lnTo>
                  <a:lnTo>
                    <a:pt x="87" y="164"/>
                  </a:lnTo>
                  <a:lnTo>
                    <a:pt x="87" y="164"/>
                  </a:lnTo>
                  <a:lnTo>
                    <a:pt x="85" y="163"/>
                  </a:lnTo>
                  <a:lnTo>
                    <a:pt x="87" y="162"/>
                  </a:lnTo>
                  <a:lnTo>
                    <a:pt x="87" y="159"/>
                  </a:lnTo>
                  <a:lnTo>
                    <a:pt x="87" y="156"/>
                  </a:lnTo>
                  <a:lnTo>
                    <a:pt x="88" y="154"/>
                  </a:lnTo>
                  <a:lnTo>
                    <a:pt x="90" y="150"/>
                  </a:lnTo>
                  <a:lnTo>
                    <a:pt x="90" y="150"/>
                  </a:lnTo>
                  <a:lnTo>
                    <a:pt x="92" y="149"/>
                  </a:lnTo>
                  <a:lnTo>
                    <a:pt x="94" y="149"/>
                  </a:lnTo>
                  <a:lnTo>
                    <a:pt x="95" y="147"/>
                  </a:lnTo>
                  <a:lnTo>
                    <a:pt x="97" y="145"/>
                  </a:lnTo>
                  <a:lnTo>
                    <a:pt x="98" y="143"/>
                  </a:lnTo>
                  <a:lnTo>
                    <a:pt x="100" y="137"/>
                  </a:lnTo>
                  <a:lnTo>
                    <a:pt x="100" y="132"/>
                  </a:lnTo>
                  <a:lnTo>
                    <a:pt x="102" y="129"/>
                  </a:lnTo>
                  <a:lnTo>
                    <a:pt x="105" y="126"/>
                  </a:lnTo>
                  <a:lnTo>
                    <a:pt x="108" y="123"/>
                  </a:lnTo>
                  <a:lnTo>
                    <a:pt x="109" y="123"/>
                  </a:lnTo>
                  <a:lnTo>
                    <a:pt x="111" y="123"/>
                  </a:lnTo>
                  <a:lnTo>
                    <a:pt x="112" y="123"/>
                  </a:lnTo>
                  <a:lnTo>
                    <a:pt x="109" y="125"/>
                  </a:lnTo>
                  <a:lnTo>
                    <a:pt x="109" y="125"/>
                  </a:lnTo>
                  <a:lnTo>
                    <a:pt x="109" y="126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30"/>
                  </a:lnTo>
                  <a:lnTo>
                    <a:pt x="114" y="130"/>
                  </a:lnTo>
                  <a:lnTo>
                    <a:pt x="114" y="133"/>
                  </a:lnTo>
                  <a:lnTo>
                    <a:pt x="114" y="135"/>
                  </a:lnTo>
                  <a:lnTo>
                    <a:pt x="115" y="137"/>
                  </a:lnTo>
                  <a:lnTo>
                    <a:pt x="115" y="139"/>
                  </a:lnTo>
                  <a:close/>
                  <a:moveTo>
                    <a:pt x="128" y="130"/>
                  </a:moveTo>
                  <a:lnTo>
                    <a:pt x="127" y="132"/>
                  </a:lnTo>
                  <a:lnTo>
                    <a:pt x="127" y="132"/>
                  </a:lnTo>
                  <a:lnTo>
                    <a:pt x="127" y="129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9" y="127"/>
                  </a:lnTo>
                  <a:lnTo>
                    <a:pt x="129" y="129"/>
                  </a:lnTo>
                  <a:lnTo>
                    <a:pt x="128" y="130"/>
                  </a:lnTo>
                  <a:close/>
                  <a:moveTo>
                    <a:pt x="17" y="224"/>
                  </a:moveTo>
                  <a:lnTo>
                    <a:pt x="18" y="227"/>
                  </a:lnTo>
                  <a:lnTo>
                    <a:pt x="17" y="227"/>
                  </a:lnTo>
                  <a:lnTo>
                    <a:pt x="15" y="226"/>
                  </a:lnTo>
                  <a:lnTo>
                    <a:pt x="17" y="224"/>
                  </a:lnTo>
                  <a:lnTo>
                    <a:pt x="17" y="224"/>
                  </a:lnTo>
                  <a:close/>
                  <a:moveTo>
                    <a:pt x="14" y="236"/>
                  </a:moveTo>
                  <a:lnTo>
                    <a:pt x="14" y="237"/>
                  </a:lnTo>
                  <a:lnTo>
                    <a:pt x="13" y="237"/>
                  </a:lnTo>
                  <a:lnTo>
                    <a:pt x="13" y="237"/>
                  </a:lnTo>
                  <a:lnTo>
                    <a:pt x="13" y="237"/>
                  </a:lnTo>
                  <a:lnTo>
                    <a:pt x="11" y="237"/>
                  </a:lnTo>
                  <a:lnTo>
                    <a:pt x="11" y="237"/>
                  </a:lnTo>
                  <a:lnTo>
                    <a:pt x="10" y="237"/>
                  </a:lnTo>
                  <a:lnTo>
                    <a:pt x="11" y="236"/>
                  </a:lnTo>
                  <a:lnTo>
                    <a:pt x="13" y="234"/>
                  </a:lnTo>
                  <a:lnTo>
                    <a:pt x="14" y="236"/>
                  </a:lnTo>
                  <a:lnTo>
                    <a:pt x="14" y="236"/>
                  </a:lnTo>
                  <a:close/>
                  <a:moveTo>
                    <a:pt x="35" y="263"/>
                  </a:moveTo>
                  <a:lnTo>
                    <a:pt x="35" y="264"/>
                  </a:lnTo>
                  <a:lnTo>
                    <a:pt x="34" y="264"/>
                  </a:lnTo>
                  <a:lnTo>
                    <a:pt x="34" y="266"/>
                  </a:lnTo>
                  <a:lnTo>
                    <a:pt x="35" y="266"/>
                  </a:lnTo>
                  <a:lnTo>
                    <a:pt x="37" y="267"/>
                  </a:lnTo>
                  <a:lnTo>
                    <a:pt x="37" y="266"/>
                  </a:lnTo>
                  <a:lnTo>
                    <a:pt x="38" y="267"/>
                  </a:lnTo>
                  <a:lnTo>
                    <a:pt x="37" y="269"/>
                  </a:lnTo>
                  <a:lnTo>
                    <a:pt x="37" y="269"/>
                  </a:lnTo>
                  <a:lnTo>
                    <a:pt x="34" y="270"/>
                  </a:lnTo>
                  <a:lnTo>
                    <a:pt x="32" y="272"/>
                  </a:lnTo>
                  <a:lnTo>
                    <a:pt x="31" y="272"/>
                  </a:lnTo>
                  <a:lnTo>
                    <a:pt x="30" y="272"/>
                  </a:lnTo>
                  <a:lnTo>
                    <a:pt x="28" y="273"/>
                  </a:lnTo>
                  <a:lnTo>
                    <a:pt x="27" y="273"/>
                  </a:lnTo>
                  <a:lnTo>
                    <a:pt x="25" y="273"/>
                  </a:lnTo>
                  <a:lnTo>
                    <a:pt x="27" y="272"/>
                  </a:lnTo>
                  <a:lnTo>
                    <a:pt x="28" y="270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30" y="267"/>
                  </a:lnTo>
                  <a:lnTo>
                    <a:pt x="30" y="266"/>
                  </a:lnTo>
                  <a:lnTo>
                    <a:pt x="31" y="264"/>
                  </a:lnTo>
                  <a:lnTo>
                    <a:pt x="30" y="262"/>
                  </a:lnTo>
                  <a:lnTo>
                    <a:pt x="30" y="260"/>
                  </a:lnTo>
                  <a:lnTo>
                    <a:pt x="32" y="260"/>
                  </a:lnTo>
                  <a:lnTo>
                    <a:pt x="35" y="263"/>
                  </a:lnTo>
                  <a:close/>
                  <a:moveTo>
                    <a:pt x="5" y="359"/>
                  </a:moveTo>
                  <a:lnTo>
                    <a:pt x="5" y="360"/>
                  </a:lnTo>
                  <a:lnTo>
                    <a:pt x="4" y="360"/>
                  </a:lnTo>
                  <a:lnTo>
                    <a:pt x="3" y="360"/>
                  </a:lnTo>
                  <a:lnTo>
                    <a:pt x="3" y="359"/>
                  </a:lnTo>
                  <a:lnTo>
                    <a:pt x="1" y="359"/>
                  </a:lnTo>
                  <a:lnTo>
                    <a:pt x="1" y="360"/>
                  </a:lnTo>
                  <a:lnTo>
                    <a:pt x="0" y="360"/>
                  </a:lnTo>
                  <a:lnTo>
                    <a:pt x="0" y="360"/>
                  </a:lnTo>
                  <a:lnTo>
                    <a:pt x="0" y="359"/>
                  </a:lnTo>
                  <a:lnTo>
                    <a:pt x="3" y="356"/>
                  </a:lnTo>
                  <a:lnTo>
                    <a:pt x="3" y="353"/>
                  </a:lnTo>
                  <a:lnTo>
                    <a:pt x="3" y="353"/>
                  </a:lnTo>
                  <a:lnTo>
                    <a:pt x="5" y="353"/>
                  </a:lnTo>
                  <a:lnTo>
                    <a:pt x="5" y="353"/>
                  </a:lnTo>
                  <a:lnTo>
                    <a:pt x="5" y="353"/>
                  </a:lnTo>
                  <a:lnTo>
                    <a:pt x="5" y="354"/>
                  </a:lnTo>
                  <a:lnTo>
                    <a:pt x="5" y="354"/>
                  </a:lnTo>
                  <a:lnTo>
                    <a:pt x="5" y="356"/>
                  </a:lnTo>
                  <a:lnTo>
                    <a:pt x="5" y="357"/>
                  </a:lnTo>
                  <a:lnTo>
                    <a:pt x="4" y="357"/>
                  </a:lnTo>
                  <a:lnTo>
                    <a:pt x="5" y="359"/>
                  </a:lnTo>
                  <a:lnTo>
                    <a:pt x="5" y="359"/>
                  </a:lnTo>
                  <a:close/>
                  <a:moveTo>
                    <a:pt x="52" y="403"/>
                  </a:moveTo>
                  <a:lnTo>
                    <a:pt x="54" y="404"/>
                  </a:lnTo>
                  <a:lnTo>
                    <a:pt x="51" y="404"/>
                  </a:lnTo>
                  <a:lnTo>
                    <a:pt x="51" y="404"/>
                  </a:lnTo>
                  <a:lnTo>
                    <a:pt x="50" y="404"/>
                  </a:lnTo>
                  <a:lnTo>
                    <a:pt x="50" y="403"/>
                  </a:lnTo>
                  <a:lnTo>
                    <a:pt x="51" y="403"/>
                  </a:lnTo>
                  <a:lnTo>
                    <a:pt x="51" y="403"/>
                  </a:lnTo>
                  <a:lnTo>
                    <a:pt x="52" y="40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5" name="Google Shape;285;p3"/>
            <p:cNvSpPr/>
            <p:nvPr/>
          </p:nvSpPr>
          <p:spPr>
            <a:xfrm>
              <a:off x="4534911" y="4099848"/>
              <a:ext cx="89065" cy="104212"/>
            </a:xfrm>
            <a:custGeom>
              <a:rect b="b" l="l" r="r" t="t"/>
              <a:pathLst>
                <a:path extrusionOk="0" h="166" w="127">
                  <a:moveTo>
                    <a:pt x="70" y="11"/>
                  </a:moveTo>
                  <a:lnTo>
                    <a:pt x="70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7" y="11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67" y="6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7" y="3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0" y="11"/>
                  </a:lnTo>
                  <a:close/>
                  <a:moveTo>
                    <a:pt x="70" y="20"/>
                  </a:moveTo>
                  <a:lnTo>
                    <a:pt x="69" y="20"/>
                  </a:lnTo>
                  <a:lnTo>
                    <a:pt x="69" y="20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20"/>
                  </a:lnTo>
                  <a:close/>
                  <a:moveTo>
                    <a:pt x="19" y="166"/>
                  </a:moveTo>
                  <a:lnTo>
                    <a:pt x="17" y="164"/>
                  </a:lnTo>
                  <a:lnTo>
                    <a:pt x="16" y="161"/>
                  </a:lnTo>
                  <a:lnTo>
                    <a:pt x="16" y="160"/>
                  </a:lnTo>
                  <a:lnTo>
                    <a:pt x="15" y="157"/>
                  </a:lnTo>
                  <a:lnTo>
                    <a:pt x="15" y="156"/>
                  </a:lnTo>
                  <a:lnTo>
                    <a:pt x="13" y="156"/>
                  </a:lnTo>
                  <a:lnTo>
                    <a:pt x="12" y="154"/>
                  </a:lnTo>
                  <a:lnTo>
                    <a:pt x="12" y="151"/>
                  </a:lnTo>
                  <a:lnTo>
                    <a:pt x="10" y="150"/>
                  </a:lnTo>
                  <a:lnTo>
                    <a:pt x="10" y="148"/>
                  </a:lnTo>
                  <a:lnTo>
                    <a:pt x="9" y="147"/>
                  </a:lnTo>
                  <a:lnTo>
                    <a:pt x="9" y="146"/>
                  </a:lnTo>
                  <a:lnTo>
                    <a:pt x="7" y="144"/>
                  </a:lnTo>
                  <a:lnTo>
                    <a:pt x="7" y="141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3" y="134"/>
                  </a:lnTo>
                  <a:lnTo>
                    <a:pt x="3" y="131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0" y="127"/>
                  </a:lnTo>
                  <a:lnTo>
                    <a:pt x="3" y="126"/>
                  </a:lnTo>
                  <a:lnTo>
                    <a:pt x="6" y="126"/>
                  </a:lnTo>
                  <a:lnTo>
                    <a:pt x="9" y="124"/>
                  </a:lnTo>
                  <a:lnTo>
                    <a:pt x="12" y="123"/>
                  </a:lnTo>
                  <a:lnTo>
                    <a:pt x="15" y="123"/>
                  </a:lnTo>
                  <a:lnTo>
                    <a:pt x="17" y="121"/>
                  </a:lnTo>
                  <a:lnTo>
                    <a:pt x="19" y="120"/>
                  </a:lnTo>
                  <a:lnTo>
                    <a:pt x="22" y="120"/>
                  </a:lnTo>
                  <a:lnTo>
                    <a:pt x="25" y="118"/>
                  </a:lnTo>
                  <a:lnTo>
                    <a:pt x="27" y="117"/>
                  </a:lnTo>
                  <a:lnTo>
                    <a:pt x="30" y="116"/>
                  </a:lnTo>
                  <a:lnTo>
                    <a:pt x="33" y="116"/>
                  </a:lnTo>
                  <a:lnTo>
                    <a:pt x="36" y="114"/>
                  </a:lnTo>
                  <a:lnTo>
                    <a:pt x="39" y="113"/>
                  </a:lnTo>
                  <a:lnTo>
                    <a:pt x="42" y="113"/>
                  </a:lnTo>
                  <a:lnTo>
                    <a:pt x="44" y="111"/>
                  </a:lnTo>
                  <a:lnTo>
                    <a:pt x="47" y="110"/>
                  </a:lnTo>
                  <a:lnTo>
                    <a:pt x="49" y="110"/>
                  </a:lnTo>
                  <a:lnTo>
                    <a:pt x="49" y="107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3" y="97"/>
                  </a:lnTo>
                  <a:lnTo>
                    <a:pt x="53" y="94"/>
                  </a:lnTo>
                  <a:lnTo>
                    <a:pt x="54" y="93"/>
                  </a:lnTo>
                  <a:lnTo>
                    <a:pt x="54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6" y="86"/>
                  </a:lnTo>
                  <a:lnTo>
                    <a:pt x="57" y="83"/>
                  </a:lnTo>
                  <a:lnTo>
                    <a:pt x="57" y="81"/>
                  </a:lnTo>
                  <a:lnTo>
                    <a:pt x="59" y="80"/>
                  </a:lnTo>
                  <a:lnTo>
                    <a:pt x="59" y="77"/>
                  </a:lnTo>
                  <a:lnTo>
                    <a:pt x="59" y="76"/>
                  </a:lnTo>
                  <a:lnTo>
                    <a:pt x="59" y="74"/>
                  </a:lnTo>
                  <a:lnTo>
                    <a:pt x="57" y="71"/>
                  </a:lnTo>
                  <a:lnTo>
                    <a:pt x="56" y="70"/>
                  </a:lnTo>
                  <a:lnTo>
                    <a:pt x="54" y="67"/>
                  </a:lnTo>
                  <a:lnTo>
                    <a:pt x="53" y="66"/>
                  </a:lnTo>
                  <a:lnTo>
                    <a:pt x="52" y="64"/>
                  </a:lnTo>
                  <a:lnTo>
                    <a:pt x="52" y="61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3" y="56"/>
                  </a:lnTo>
                  <a:lnTo>
                    <a:pt x="54" y="51"/>
                  </a:lnTo>
                  <a:lnTo>
                    <a:pt x="56" y="50"/>
                  </a:lnTo>
                  <a:lnTo>
                    <a:pt x="56" y="47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6" y="41"/>
                  </a:lnTo>
                  <a:lnTo>
                    <a:pt x="57" y="41"/>
                  </a:lnTo>
                  <a:lnTo>
                    <a:pt x="60" y="40"/>
                  </a:lnTo>
                  <a:lnTo>
                    <a:pt x="62" y="41"/>
                  </a:lnTo>
                  <a:lnTo>
                    <a:pt x="63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2" y="37"/>
                  </a:lnTo>
                  <a:lnTo>
                    <a:pt x="62" y="37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3"/>
                  </a:lnTo>
                  <a:lnTo>
                    <a:pt x="62" y="31"/>
                  </a:lnTo>
                  <a:lnTo>
                    <a:pt x="62" y="30"/>
                  </a:lnTo>
                  <a:lnTo>
                    <a:pt x="62" y="29"/>
                  </a:lnTo>
                  <a:lnTo>
                    <a:pt x="62" y="27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7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69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3" y="29"/>
                  </a:lnTo>
                  <a:lnTo>
                    <a:pt x="76" y="33"/>
                  </a:lnTo>
                  <a:lnTo>
                    <a:pt x="77" y="36"/>
                  </a:lnTo>
                  <a:lnTo>
                    <a:pt x="80" y="39"/>
                  </a:lnTo>
                  <a:lnTo>
                    <a:pt x="83" y="41"/>
                  </a:lnTo>
                  <a:lnTo>
                    <a:pt x="84" y="43"/>
                  </a:lnTo>
                  <a:lnTo>
                    <a:pt x="92" y="44"/>
                  </a:lnTo>
                  <a:lnTo>
                    <a:pt x="94" y="46"/>
                  </a:lnTo>
                  <a:lnTo>
                    <a:pt x="99" y="46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110" y="50"/>
                  </a:lnTo>
                  <a:lnTo>
                    <a:pt x="110" y="51"/>
                  </a:lnTo>
                  <a:lnTo>
                    <a:pt x="112" y="53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6" y="59"/>
                  </a:lnTo>
                  <a:lnTo>
                    <a:pt x="119" y="61"/>
                  </a:lnTo>
                  <a:lnTo>
                    <a:pt x="120" y="64"/>
                  </a:lnTo>
                  <a:lnTo>
                    <a:pt x="122" y="66"/>
                  </a:lnTo>
                  <a:lnTo>
                    <a:pt x="124" y="66"/>
                  </a:lnTo>
                  <a:lnTo>
                    <a:pt x="126" y="67"/>
                  </a:lnTo>
                  <a:lnTo>
                    <a:pt x="127" y="69"/>
                  </a:lnTo>
                  <a:lnTo>
                    <a:pt x="126" y="70"/>
                  </a:lnTo>
                  <a:lnTo>
                    <a:pt x="126" y="71"/>
                  </a:lnTo>
                  <a:lnTo>
                    <a:pt x="124" y="74"/>
                  </a:lnTo>
                  <a:lnTo>
                    <a:pt x="123" y="77"/>
                  </a:lnTo>
                  <a:lnTo>
                    <a:pt x="122" y="80"/>
                  </a:lnTo>
                  <a:lnTo>
                    <a:pt x="119" y="84"/>
                  </a:lnTo>
                  <a:lnTo>
                    <a:pt x="119" y="86"/>
                  </a:lnTo>
                  <a:lnTo>
                    <a:pt x="114" y="89"/>
                  </a:lnTo>
                  <a:lnTo>
                    <a:pt x="112" y="91"/>
                  </a:lnTo>
                  <a:lnTo>
                    <a:pt x="109" y="96"/>
                  </a:lnTo>
                  <a:lnTo>
                    <a:pt x="106" y="101"/>
                  </a:lnTo>
                  <a:lnTo>
                    <a:pt x="104" y="103"/>
                  </a:lnTo>
                  <a:lnTo>
                    <a:pt x="103" y="103"/>
                  </a:lnTo>
                  <a:lnTo>
                    <a:pt x="102" y="103"/>
                  </a:lnTo>
                  <a:lnTo>
                    <a:pt x="100" y="103"/>
                  </a:lnTo>
                  <a:lnTo>
                    <a:pt x="102" y="101"/>
                  </a:lnTo>
                  <a:lnTo>
                    <a:pt x="102" y="100"/>
                  </a:lnTo>
                  <a:lnTo>
                    <a:pt x="100" y="100"/>
                  </a:lnTo>
                  <a:lnTo>
                    <a:pt x="99" y="100"/>
                  </a:lnTo>
                  <a:lnTo>
                    <a:pt x="96" y="104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4" y="110"/>
                  </a:lnTo>
                  <a:lnTo>
                    <a:pt x="93" y="113"/>
                  </a:lnTo>
                  <a:lnTo>
                    <a:pt x="93" y="116"/>
                  </a:lnTo>
                  <a:lnTo>
                    <a:pt x="93" y="117"/>
                  </a:lnTo>
                  <a:lnTo>
                    <a:pt x="93" y="120"/>
                  </a:lnTo>
                  <a:lnTo>
                    <a:pt x="93" y="123"/>
                  </a:lnTo>
                  <a:lnTo>
                    <a:pt x="94" y="124"/>
                  </a:lnTo>
                  <a:lnTo>
                    <a:pt x="94" y="127"/>
                  </a:lnTo>
                  <a:lnTo>
                    <a:pt x="93" y="127"/>
                  </a:lnTo>
                  <a:lnTo>
                    <a:pt x="92" y="127"/>
                  </a:lnTo>
                  <a:lnTo>
                    <a:pt x="89" y="127"/>
                  </a:lnTo>
                  <a:lnTo>
                    <a:pt x="84" y="128"/>
                  </a:lnTo>
                  <a:lnTo>
                    <a:pt x="80" y="130"/>
                  </a:lnTo>
                  <a:lnTo>
                    <a:pt x="79" y="131"/>
                  </a:lnTo>
                  <a:lnTo>
                    <a:pt x="76" y="134"/>
                  </a:lnTo>
                  <a:lnTo>
                    <a:pt x="74" y="141"/>
                  </a:lnTo>
                  <a:lnTo>
                    <a:pt x="72" y="144"/>
                  </a:lnTo>
                  <a:lnTo>
                    <a:pt x="70" y="144"/>
                  </a:lnTo>
                  <a:lnTo>
                    <a:pt x="64" y="144"/>
                  </a:lnTo>
                  <a:lnTo>
                    <a:pt x="59" y="146"/>
                  </a:lnTo>
                  <a:lnTo>
                    <a:pt x="57" y="146"/>
                  </a:lnTo>
                  <a:lnTo>
                    <a:pt x="53" y="150"/>
                  </a:lnTo>
                  <a:lnTo>
                    <a:pt x="53" y="151"/>
                  </a:lnTo>
                  <a:lnTo>
                    <a:pt x="53" y="153"/>
                  </a:lnTo>
                  <a:lnTo>
                    <a:pt x="54" y="154"/>
                  </a:lnTo>
                  <a:lnTo>
                    <a:pt x="53" y="154"/>
                  </a:lnTo>
                  <a:lnTo>
                    <a:pt x="52" y="157"/>
                  </a:lnTo>
                  <a:lnTo>
                    <a:pt x="50" y="160"/>
                  </a:lnTo>
                  <a:lnTo>
                    <a:pt x="46" y="161"/>
                  </a:lnTo>
                  <a:lnTo>
                    <a:pt x="43" y="160"/>
                  </a:lnTo>
                  <a:lnTo>
                    <a:pt x="42" y="160"/>
                  </a:lnTo>
                  <a:lnTo>
                    <a:pt x="39" y="160"/>
                  </a:lnTo>
                  <a:lnTo>
                    <a:pt x="34" y="160"/>
                  </a:lnTo>
                  <a:lnTo>
                    <a:pt x="33" y="161"/>
                  </a:lnTo>
                  <a:lnTo>
                    <a:pt x="30" y="163"/>
                  </a:lnTo>
                  <a:lnTo>
                    <a:pt x="27" y="164"/>
                  </a:lnTo>
                  <a:lnTo>
                    <a:pt x="22" y="164"/>
                  </a:lnTo>
                  <a:lnTo>
                    <a:pt x="19" y="166"/>
                  </a:lnTo>
                  <a:close/>
                  <a:moveTo>
                    <a:pt x="109" y="106"/>
                  </a:moveTo>
                  <a:lnTo>
                    <a:pt x="107" y="107"/>
                  </a:lnTo>
                  <a:lnTo>
                    <a:pt x="107" y="106"/>
                  </a:lnTo>
                  <a:lnTo>
                    <a:pt x="107" y="104"/>
                  </a:lnTo>
                  <a:lnTo>
                    <a:pt x="110" y="101"/>
                  </a:lnTo>
                  <a:lnTo>
                    <a:pt x="112" y="99"/>
                  </a:lnTo>
                  <a:lnTo>
                    <a:pt x="113" y="101"/>
                  </a:lnTo>
                  <a:lnTo>
                    <a:pt x="110" y="103"/>
                  </a:lnTo>
                  <a:lnTo>
                    <a:pt x="110" y="106"/>
                  </a:lnTo>
                  <a:lnTo>
                    <a:pt x="109" y="10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6" name="Google Shape;286;p3"/>
            <p:cNvSpPr/>
            <p:nvPr/>
          </p:nvSpPr>
          <p:spPr>
            <a:xfrm>
              <a:off x="3019406" y="4276256"/>
              <a:ext cx="65221" cy="24484"/>
            </a:xfrm>
            <a:custGeom>
              <a:rect b="b" l="l" r="r" t="t"/>
              <a:pathLst>
                <a:path extrusionOk="0" h="39" w="93">
                  <a:moveTo>
                    <a:pt x="90" y="16"/>
                  </a:moveTo>
                  <a:lnTo>
                    <a:pt x="90" y="16"/>
                  </a:lnTo>
                  <a:lnTo>
                    <a:pt x="89" y="17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3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9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6" y="33"/>
                  </a:lnTo>
                  <a:lnTo>
                    <a:pt x="86" y="32"/>
                  </a:lnTo>
                  <a:lnTo>
                    <a:pt x="84" y="32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3"/>
                  </a:lnTo>
                  <a:lnTo>
                    <a:pt x="84" y="35"/>
                  </a:lnTo>
                  <a:lnTo>
                    <a:pt x="83" y="35"/>
                  </a:lnTo>
                  <a:lnTo>
                    <a:pt x="82" y="39"/>
                  </a:lnTo>
                  <a:lnTo>
                    <a:pt x="82" y="39"/>
                  </a:lnTo>
                  <a:lnTo>
                    <a:pt x="77" y="33"/>
                  </a:lnTo>
                  <a:lnTo>
                    <a:pt x="74" y="27"/>
                  </a:lnTo>
                  <a:lnTo>
                    <a:pt x="73" y="25"/>
                  </a:lnTo>
                  <a:lnTo>
                    <a:pt x="74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2"/>
                  </a:lnTo>
                  <a:lnTo>
                    <a:pt x="77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0" y="22"/>
                  </a:lnTo>
                  <a:lnTo>
                    <a:pt x="82" y="23"/>
                  </a:lnTo>
                  <a:lnTo>
                    <a:pt x="83" y="23"/>
                  </a:lnTo>
                  <a:lnTo>
                    <a:pt x="84" y="25"/>
                  </a:lnTo>
                  <a:lnTo>
                    <a:pt x="83" y="23"/>
                  </a:lnTo>
                  <a:lnTo>
                    <a:pt x="80" y="22"/>
                  </a:lnTo>
                  <a:lnTo>
                    <a:pt x="80" y="20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20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7"/>
                  </a:lnTo>
                  <a:lnTo>
                    <a:pt x="74" y="19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3" y="20"/>
                  </a:lnTo>
                  <a:lnTo>
                    <a:pt x="73" y="19"/>
                  </a:lnTo>
                  <a:lnTo>
                    <a:pt x="72" y="16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4" y="12"/>
                  </a:lnTo>
                  <a:lnTo>
                    <a:pt x="63" y="10"/>
                  </a:lnTo>
                  <a:lnTo>
                    <a:pt x="60" y="10"/>
                  </a:lnTo>
                  <a:lnTo>
                    <a:pt x="57" y="10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46" y="20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0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3" y="26"/>
                  </a:lnTo>
                  <a:lnTo>
                    <a:pt x="44" y="29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9" y="35"/>
                  </a:lnTo>
                  <a:lnTo>
                    <a:pt x="47" y="35"/>
                  </a:lnTo>
                  <a:lnTo>
                    <a:pt x="46" y="36"/>
                  </a:lnTo>
                  <a:lnTo>
                    <a:pt x="44" y="36"/>
                  </a:lnTo>
                  <a:lnTo>
                    <a:pt x="43" y="36"/>
                  </a:lnTo>
                  <a:lnTo>
                    <a:pt x="43" y="37"/>
                  </a:lnTo>
                  <a:lnTo>
                    <a:pt x="42" y="37"/>
                  </a:lnTo>
                  <a:lnTo>
                    <a:pt x="37" y="39"/>
                  </a:lnTo>
                  <a:lnTo>
                    <a:pt x="34" y="39"/>
                  </a:lnTo>
                  <a:lnTo>
                    <a:pt x="34" y="37"/>
                  </a:lnTo>
                  <a:lnTo>
                    <a:pt x="33" y="36"/>
                  </a:lnTo>
                  <a:lnTo>
                    <a:pt x="32" y="30"/>
                  </a:lnTo>
                  <a:lnTo>
                    <a:pt x="32" y="27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4" y="30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0" y="25"/>
                  </a:lnTo>
                  <a:lnTo>
                    <a:pt x="19" y="23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0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2" y="7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7" y="10"/>
                  </a:lnTo>
                  <a:lnTo>
                    <a:pt x="19" y="12"/>
                  </a:lnTo>
                  <a:lnTo>
                    <a:pt x="20" y="10"/>
                  </a:lnTo>
                  <a:lnTo>
                    <a:pt x="19" y="9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2" y="10"/>
                  </a:lnTo>
                  <a:lnTo>
                    <a:pt x="23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3" y="3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6" y="3"/>
                  </a:lnTo>
                  <a:lnTo>
                    <a:pt x="69" y="3"/>
                  </a:lnTo>
                  <a:lnTo>
                    <a:pt x="73" y="3"/>
                  </a:lnTo>
                  <a:lnTo>
                    <a:pt x="79" y="6"/>
                  </a:lnTo>
                  <a:lnTo>
                    <a:pt x="83" y="9"/>
                  </a:lnTo>
                  <a:lnTo>
                    <a:pt x="86" y="12"/>
                  </a:lnTo>
                  <a:lnTo>
                    <a:pt x="90" y="16"/>
                  </a:lnTo>
                  <a:close/>
                  <a:moveTo>
                    <a:pt x="13" y="5"/>
                  </a:moveTo>
                  <a:lnTo>
                    <a:pt x="13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5"/>
                  </a:lnTo>
                  <a:close/>
                  <a:moveTo>
                    <a:pt x="66" y="22"/>
                  </a:moveTo>
                  <a:lnTo>
                    <a:pt x="66" y="23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7" y="19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6" y="22"/>
                  </a:lnTo>
                  <a:close/>
                  <a:moveTo>
                    <a:pt x="63" y="22"/>
                  </a:moveTo>
                  <a:lnTo>
                    <a:pt x="63" y="23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close/>
                  <a:moveTo>
                    <a:pt x="23" y="37"/>
                  </a:moveTo>
                  <a:lnTo>
                    <a:pt x="22" y="37"/>
                  </a:lnTo>
                  <a:lnTo>
                    <a:pt x="20" y="36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7" name="Google Shape;287;p3"/>
            <p:cNvSpPr/>
            <p:nvPr/>
          </p:nvSpPr>
          <p:spPr>
            <a:xfrm>
              <a:off x="3038341" y="4372935"/>
              <a:ext cx="142364" cy="186452"/>
            </a:xfrm>
            <a:custGeom>
              <a:rect b="b" l="l" r="r" t="t"/>
              <a:pathLst>
                <a:path extrusionOk="0" h="297" w="203">
                  <a:moveTo>
                    <a:pt x="181" y="68"/>
                  </a:moveTo>
                  <a:lnTo>
                    <a:pt x="181" y="69"/>
                  </a:lnTo>
                  <a:lnTo>
                    <a:pt x="181" y="69"/>
                  </a:lnTo>
                  <a:lnTo>
                    <a:pt x="180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77" y="69"/>
                  </a:lnTo>
                  <a:lnTo>
                    <a:pt x="176" y="68"/>
                  </a:lnTo>
                  <a:lnTo>
                    <a:pt x="176" y="66"/>
                  </a:lnTo>
                  <a:lnTo>
                    <a:pt x="174" y="66"/>
                  </a:lnTo>
                  <a:lnTo>
                    <a:pt x="173" y="66"/>
                  </a:lnTo>
                  <a:lnTo>
                    <a:pt x="171" y="66"/>
                  </a:lnTo>
                  <a:lnTo>
                    <a:pt x="170" y="66"/>
                  </a:lnTo>
                  <a:lnTo>
                    <a:pt x="169" y="66"/>
                  </a:lnTo>
                  <a:lnTo>
                    <a:pt x="167" y="68"/>
                  </a:lnTo>
                  <a:lnTo>
                    <a:pt x="167" y="69"/>
                  </a:lnTo>
                  <a:lnTo>
                    <a:pt x="166" y="69"/>
                  </a:lnTo>
                  <a:lnTo>
                    <a:pt x="163" y="70"/>
                  </a:lnTo>
                  <a:lnTo>
                    <a:pt x="162" y="70"/>
                  </a:lnTo>
                  <a:lnTo>
                    <a:pt x="160" y="70"/>
                  </a:lnTo>
                  <a:lnTo>
                    <a:pt x="159" y="70"/>
                  </a:lnTo>
                  <a:lnTo>
                    <a:pt x="157" y="72"/>
                  </a:lnTo>
                  <a:lnTo>
                    <a:pt x="154" y="72"/>
                  </a:lnTo>
                  <a:lnTo>
                    <a:pt x="152" y="72"/>
                  </a:lnTo>
                  <a:lnTo>
                    <a:pt x="150" y="73"/>
                  </a:lnTo>
                  <a:lnTo>
                    <a:pt x="150" y="73"/>
                  </a:lnTo>
                  <a:lnTo>
                    <a:pt x="149" y="75"/>
                  </a:lnTo>
                  <a:lnTo>
                    <a:pt x="146" y="76"/>
                  </a:lnTo>
                  <a:lnTo>
                    <a:pt x="144" y="76"/>
                  </a:lnTo>
                  <a:lnTo>
                    <a:pt x="142" y="78"/>
                  </a:lnTo>
                  <a:lnTo>
                    <a:pt x="140" y="80"/>
                  </a:lnTo>
                  <a:lnTo>
                    <a:pt x="139" y="80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4" y="82"/>
                  </a:lnTo>
                  <a:lnTo>
                    <a:pt x="134" y="83"/>
                  </a:lnTo>
                  <a:lnTo>
                    <a:pt x="134" y="85"/>
                  </a:lnTo>
                  <a:lnTo>
                    <a:pt x="134" y="88"/>
                  </a:lnTo>
                  <a:lnTo>
                    <a:pt x="134" y="89"/>
                  </a:lnTo>
                  <a:lnTo>
                    <a:pt x="134" y="90"/>
                  </a:lnTo>
                  <a:lnTo>
                    <a:pt x="133" y="92"/>
                  </a:lnTo>
                  <a:lnTo>
                    <a:pt x="130" y="95"/>
                  </a:lnTo>
                  <a:lnTo>
                    <a:pt x="130" y="96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100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3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29" y="105"/>
                  </a:lnTo>
                  <a:lnTo>
                    <a:pt x="126" y="106"/>
                  </a:lnTo>
                  <a:lnTo>
                    <a:pt x="123" y="109"/>
                  </a:lnTo>
                  <a:lnTo>
                    <a:pt x="122" y="110"/>
                  </a:lnTo>
                  <a:lnTo>
                    <a:pt x="122" y="112"/>
                  </a:lnTo>
                  <a:lnTo>
                    <a:pt x="120" y="113"/>
                  </a:lnTo>
                  <a:lnTo>
                    <a:pt x="120" y="113"/>
                  </a:lnTo>
                  <a:lnTo>
                    <a:pt x="122" y="115"/>
                  </a:lnTo>
                  <a:lnTo>
                    <a:pt x="122" y="116"/>
                  </a:lnTo>
                  <a:lnTo>
                    <a:pt x="122" y="116"/>
                  </a:lnTo>
                  <a:lnTo>
                    <a:pt x="122" y="117"/>
                  </a:lnTo>
                  <a:lnTo>
                    <a:pt x="120" y="117"/>
                  </a:lnTo>
                  <a:lnTo>
                    <a:pt x="120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7" y="117"/>
                  </a:lnTo>
                  <a:lnTo>
                    <a:pt x="117" y="119"/>
                  </a:lnTo>
                  <a:lnTo>
                    <a:pt x="119" y="119"/>
                  </a:lnTo>
                  <a:lnTo>
                    <a:pt x="119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20" y="123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2" y="125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22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30"/>
                  </a:lnTo>
                  <a:lnTo>
                    <a:pt x="123" y="130"/>
                  </a:lnTo>
                  <a:lnTo>
                    <a:pt x="124" y="132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7" y="135"/>
                  </a:lnTo>
                  <a:lnTo>
                    <a:pt x="127" y="136"/>
                  </a:lnTo>
                  <a:lnTo>
                    <a:pt x="127" y="136"/>
                  </a:lnTo>
                  <a:lnTo>
                    <a:pt x="127" y="137"/>
                  </a:lnTo>
                  <a:lnTo>
                    <a:pt x="129" y="139"/>
                  </a:lnTo>
                  <a:lnTo>
                    <a:pt x="130" y="139"/>
                  </a:lnTo>
                  <a:lnTo>
                    <a:pt x="132" y="140"/>
                  </a:lnTo>
                  <a:lnTo>
                    <a:pt x="133" y="142"/>
                  </a:lnTo>
                  <a:lnTo>
                    <a:pt x="134" y="143"/>
                  </a:lnTo>
                  <a:lnTo>
                    <a:pt x="134" y="146"/>
                  </a:lnTo>
                  <a:lnTo>
                    <a:pt x="132" y="147"/>
                  </a:lnTo>
                  <a:lnTo>
                    <a:pt x="130" y="150"/>
                  </a:lnTo>
                  <a:lnTo>
                    <a:pt x="133" y="150"/>
                  </a:lnTo>
                  <a:lnTo>
                    <a:pt x="136" y="150"/>
                  </a:lnTo>
                  <a:lnTo>
                    <a:pt x="140" y="152"/>
                  </a:lnTo>
                  <a:lnTo>
                    <a:pt x="142" y="152"/>
                  </a:lnTo>
                  <a:lnTo>
                    <a:pt x="143" y="152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6" y="156"/>
                  </a:lnTo>
                  <a:lnTo>
                    <a:pt x="147" y="157"/>
                  </a:lnTo>
                  <a:lnTo>
                    <a:pt x="147" y="159"/>
                  </a:lnTo>
                  <a:lnTo>
                    <a:pt x="146" y="160"/>
                  </a:lnTo>
                  <a:lnTo>
                    <a:pt x="147" y="160"/>
                  </a:lnTo>
                  <a:lnTo>
                    <a:pt x="152" y="160"/>
                  </a:lnTo>
                  <a:lnTo>
                    <a:pt x="156" y="160"/>
                  </a:lnTo>
                  <a:lnTo>
                    <a:pt x="160" y="160"/>
                  </a:lnTo>
                  <a:lnTo>
                    <a:pt x="162" y="159"/>
                  </a:lnTo>
                  <a:lnTo>
                    <a:pt x="163" y="157"/>
                  </a:lnTo>
                  <a:lnTo>
                    <a:pt x="164" y="157"/>
                  </a:lnTo>
                  <a:lnTo>
                    <a:pt x="166" y="156"/>
                  </a:lnTo>
                  <a:lnTo>
                    <a:pt x="167" y="155"/>
                  </a:lnTo>
                  <a:lnTo>
                    <a:pt x="169" y="155"/>
                  </a:lnTo>
                  <a:lnTo>
                    <a:pt x="169" y="153"/>
                  </a:lnTo>
                  <a:lnTo>
                    <a:pt x="170" y="152"/>
                  </a:lnTo>
                  <a:lnTo>
                    <a:pt x="171" y="152"/>
                  </a:lnTo>
                  <a:lnTo>
                    <a:pt x="171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3" y="155"/>
                  </a:lnTo>
                  <a:lnTo>
                    <a:pt x="171" y="156"/>
                  </a:lnTo>
                  <a:lnTo>
                    <a:pt x="171" y="157"/>
                  </a:lnTo>
                  <a:lnTo>
                    <a:pt x="171" y="159"/>
                  </a:lnTo>
                  <a:lnTo>
                    <a:pt x="171" y="163"/>
                  </a:lnTo>
                  <a:lnTo>
                    <a:pt x="171" y="166"/>
                  </a:lnTo>
                  <a:lnTo>
                    <a:pt x="171" y="169"/>
                  </a:lnTo>
                  <a:lnTo>
                    <a:pt x="171" y="173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3" y="176"/>
                  </a:lnTo>
                  <a:lnTo>
                    <a:pt x="174" y="176"/>
                  </a:lnTo>
                  <a:lnTo>
                    <a:pt x="176" y="177"/>
                  </a:lnTo>
                  <a:lnTo>
                    <a:pt x="176" y="177"/>
                  </a:lnTo>
                  <a:lnTo>
                    <a:pt x="177" y="177"/>
                  </a:lnTo>
                  <a:lnTo>
                    <a:pt x="179" y="177"/>
                  </a:lnTo>
                  <a:lnTo>
                    <a:pt x="180" y="176"/>
                  </a:lnTo>
                  <a:lnTo>
                    <a:pt x="181" y="175"/>
                  </a:lnTo>
                  <a:lnTo>
                    <a:pt x="184" y="175"/>
                  </a:lnTo>
                  <a:lnTo>
                    <a:pt x="187" y="176"/>
                  </a:lnTo>
                  <a:lnTo>
                    <a:pt x="189" y="176"/>
                  </a:lnTo>
                  <a:lnTo>
                    <a:pt x="190" y="179"/>
                  </a:lnTo>
                  <a:lnTo>
                    <a:pt x="191" y="182"/>
                  </a:lnTo>
                  <a:lnTo>
                    <a:pt x="193" y="185"/>
                  </a:lnTo>
                  <a:lnTo>
                    <a:pt x="194" y="187"/>
                  </a:lnTo>
                  <a:lnTo>
                    <a:pt x="197" y="190"/>
                  </a:lnTo>
                  <a:lnTo>
                    <a:pt x="199" y="193"/>
                  </a:lnTo>
                  <a:lnTo>
                    <a:pt x="200" y="197"/>
                  </a:lnTo>
                  <a:lnTo>
                    <a:pt x="203" y="200"/>
                  </a:lnTo>
                  <a:lnTo>
                    <a:pt x="201" y="202"/>
                  </a:lnTo>
                  <a:lnTo>
                    <a:pt x="201" y="202"/>
                  </a:lnTo>
                  <a:lnTo>
                    <a:pt x="201" y="203"/>
                  </a:lnTo>
                  <a:lnTo>
                    <a:pt x="200" y="205"/>
                  </a:lnTo>
                  <a:lnTo>
                    <a:pt x="200" y="205"/>
                  </a:lnTo>
                  <a:lnTo>
                    <a:pt x="199" y="206"/>
                  </a:lnTo>
                  <a:lnTo>
                    <a:pt x="197" y="207"/>
                  </a:lnTo>
                  <a:lnTo>
                    <a:pt x="197" y="209"/>
                  </a:lnTo>
                  <a:lnTo>
                    <a:pt x="199" y="215"/>
                  </a:lnTo>
                  <a:lnTo>
                    <a:pt x="197" y="217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6" y="220"/>
                  </a:lnTo>
                  <a:lnTo>
                    <a:pt x="197" y="222"/>
                  </a:lnTo>
                  <a:lnTo>
                    <a:pt x="197" y="225"/>
                  </a:lnTo>
                  <a:lnTo>
                    <a:pt x="199" y="226"/>
                  </a:lnTo>
                  <a:lnTo>
                    <a:pt x="199" y="226"/>
                  </a:lnTo>
                  <a:lnTo>
                    <a:pt x="200" y="227"/>
                  </a:lnTo>
                  <a:lnTo>
                    <a:pt x="200" y="229"/>
                  </a:lnTo>
                  <a:lnTo>
                    <a:pt x="199" y="229"/>
                  </a:lnTo>
                  <a:lnTo>
                    <a:pt x="197" y="229"/>
                  </a:lnTo>
                  <a:lnTo>
                    <a:pt x="197" y="232"/>
                  </a:lnTo>
                  <a:lnTo>
                    <a:pt x="197" y="232"/>
                  </a:lnTo>
                  <a:lnTo>
                    <a:pt x="196" y="233"/>
                  </a:lnTo>
                  <a:lnTo>
                    <a:pt x="194" y="235"/>
                  </a:lnTo>
                  <a:lnTo>
                    <a:pt x="194" y="235"/>
                  </a:lnTo>
                  <a:lnTo>
                    <a:pt x="194" y="235"/>
                  </a:lnTo>
                  <a:lnTo>
                    <a:pt x="193" y="236"/>
                  </a:lnTo>
                  <a:lnTo>
                    <a:pt x="193" y="237"/>
                  </a:lnTo>
                  <a:lnTo>
                    <a:pt x="191" y="239"/>
                  </a:lnTo>
                  <a:lnTo>
                    <a:pt x="191" y="240"/>
                  </a:lnTo>
                  <a:lnTo>
                    <a:pt x="191" y="240"/>
                  </a:lnTo>
                  <a:lnTo>
                    <a:pt x="191" y="242"/>
                  </a:lnTo>
                  <a:lnTo>
                    <a:pt x="194" y="245"/>
                  </a:lnTo>
                  <a:lnTo>
                    <a:pt x="194" y="246"/>
                  </a:lnTo>
                  <a:lnTo>
                    <a:pt x="193" y="247"/>
                  </a:lnTo>
                  <a:lnTo>
                    <a:pt x="193" y="249"/>
                  </a:lnTo>
                  <a:lnTo>
                    <a:pt x="191" y="252"/>
                  </a:lnTo>
                  <a:lnTo>
                    <a:pt x="190" y="252"/>
                  </a:lnTo>
                  <a:lnTo>
                    <a:pt x="191" y="253"/>
                  </a:lnTo>
                  <a:lnTo>
                    <a:pt x="194" y="260"/>
                  </a:lnTo>
                  <a:lnTo>
                    <a:pt x="194" y="262"/>
                  </a:lnTo>
                  <a:lnTo>
                    <a:pt x="196" y="262"/>
                  </a:lnTo>
                  <a:lnTo>
                    <a:pt x="197" y="262"/>
                  </a:lnTo>
                  <a:lnTo>
                    <a:pt x="199" y="263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9" y="265"/>
                  </a:lnTo>
                  <a:lnTo>
                    <a:pt x="197" y="266"/>
                  </a:lnTo>
                  <a:lnTo>
                    <a:pt x="197" y="266"/>
                  </a:lnTo>
                  <a:lnTo>
                    <a:pt x="197" y="267"/>
                  </a:lnTo>
                  <a:lnTo>
                    <a:pt x="197" y="269"/>
                  </a:lnTo>
                  <a:lnTo>
                    <a:pt x="197" y="269"/>
                  </a:lnTo>
                  <a:lnTo>
                    <a:pt x="196" y="270"/>
                  </a:lnTo>
                  <a:lnTo>
                    <a:pt x="194" y="270"/>
                  </a:lnTo>
                  <a:lnTo>
                    <a:pt x="193" y="272"/>
                  </a:lnTo>
                  <a:lnTo>
                    <a:pt x="191" y="275"/>
                  </a:lnTo>
                  <a:lnTo>
                    <a:pt x="190" y="276"/>
                  </a:lnTo>
                  <a:lnTo>
                    <a:pt x="190" y="276"/>
                  </a:lnTo>
                  <a:lnTo>
                    <a:pt x="190" y="276"/>
                  </a:lnTo>
                  <a:lnTo>
                    <a:pt x="187" y="277"/>
                  </a:lnTo>
                  <a:lnTo>
                    <a:pt x="187" y="279"/>
                  </a:lnTo>
                  <a:lnTo>
                    <a:pt x="187" y="280"/>
                  </a:lnTo>
                  <a:lnTo>
                    <a:pt x="189" y="280"/>
                  </a:lnTo>
                  <a:lnTo>
                    <a:pt x="189" y="282"/>
                  </a:lnTo>
                  <a:lnTo>
                    <a:pt x="189" y="282"/>
                  </a:lnTo>
                  <a:lnTo>
                    <a:pt x="189" y="283"/>
                  </a:lnTo>
                  <a:lnTo>
                    <a:pt x="189" y="283"/>
                  </a:lnTo>
                  <a:lnTo>
                    <a:pt x="189" y="285"/>
                  </a:lnTo>
                  <a:lnTo>
                    <a:pt x="187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7"/>
                  </a:lnTo>
                  <a:lnTo>
                    <a:pt x="184" y="290"/>
                  </a:lnTo>
                  <a:lnTo>
                    <a:pt x="184" y="292"/>
                  </a:lnTo>
                  <a:lnTo>
                    <a:pt x="184" y="293"/>
                  </a:lnTo>
                  <a:lnTo>
                    <a:pt x="183" y="295"/>
                  </a:lnTo>
                  <a:lnTo>
                    <a:pt x="180" y="296"/>
                  </a:lnTo>
                  <a:lnTo>
                    <a:pt x="179" y="297"/>
                  </a:lnTo>
                  <a:lnTo>
                    <a:pt x="177" y="297"/>
                  </a:lnTo>
                  <a:lnTo>
                    <a:pt x="176" y="297"/>
                  </a:lnTo>
                  <a:lnTo>
                    <a:pt x="174" y="297"/>
                  </a:lnTo>
                  <a:lnTo>
                    <a:pt x="173" y="296"/>
                  </a:lnTo>
                  <a:lnTo>
                    <a:pt x="169" y="292"/>
                  </a:lnTo>
                  <a:lnTo>
                    <a:pt x="166" y="290"/>
                  </a:lnTo>
                  <a:lnTo>
                    <a:pt x="164" y="289"/>
                  </a:lnTo>
                  <a:lnTo>
                    <a:pt x="160" y="286"/>
                  </a:lnTo>
                  <a:lnTo>
                    <a:pt x="160" y="285"/>
                  </a:lnTo>
                  <a:lnTo>
                    <a:pt x="159" y="282"/>
                  </a:lnTo>
                  <a:lnTo>
                    <a:pt x="159" y="280"/>
                  </a:lnTo>
                  <a:lnTo>
                    <a:pt x="157" y="280"/>
                  </a:lnTo>
                  <a:lnTo>
                    <a:pt x="153" y="277"/>
                  </a:lnTo>
                  <a:lnTo>
                    <a:pt x="152" y="277"/>
                  </a:lnTo>
                  <a:lnTo>
                    <a:pt x="150" y="276"/>
                  </a:lnTo>
                  <a:lnTo>
                    <a:pt x="147" y="275"/>
                  </a:lnTo>
                  <a:lnTo>
                    <a:pt x="146" y="273"/>
                  </a:lnTo>
                  <a:lnTo>
                    <a:pt x="143" y="270"/>
                  </a:lnTo>
                  <a:lnTo>
                    <a:pt x="142" y="270"/>
                  </a:lnTo>
                  <a:lnTo>
                    <a:pt x="137" y="269"/>
                  </a:lnTo>
                  <a:lnTo>
                    <a:pt x="134" y="267"/>
                  </a:lnTo>
                  <a:lnTo>
                    <a:pt x="129" y="265"/>
                  </a:lnTo>
                  <a:lnTo>
                    <a:pt x="127" y="263"/>
                  </a:lnTo>
                  <a:lnTo>
                    <a:pt x="122" y="262"/>
                  </a:lnTo>
                  <a:lnTo>
                    <a:pt x="120" y="260"/>
                  </a:lnTo>
                  <a:lnTo>
                    <a:pt x="114" y="256"/>
                  </a:lnTo>
                  <a:lnTo>
                    <a:pt x="112" y="256"/>
                  </a:lnTo>
                  <a:lnTo>
                    <a:pt x="109" y="253"/>
                  </a:lnTo>
                  <a:lnTo>
                    <a:pt x="100" y="249"/>
                  </a:lnTo>
                  <a:lnTo>
                    <a:pt x="99" y="247"/>
                  </a:lnTo>
                  <a:lnTo>
                    <a:pt x="97" y="245"/>
                  </a:lnTo>
                  <a:lnTo>
                    <a:pt x="94" y="243"/>
                  </a:lnTo>
                  <a:lnTo>
                    <a:pt x="93" y="240"/>
                  </a:lnTo>
                  <a:lnTo>
                    <a:pt x="90" y="237"/>
                  </a:lnTo>
                  <a:lnTo>
                    <a:pt x="86" y="236"/>
                  </a:lnTo>
                  <a:lnTo>
                    <a:pt x="86" y="233"/>
                  </a:lnTo>
                  <a:lnTo>
                    <a:pt x="83" y="230"/>
                  </a:lnTo>
                  <a:lnTo>
                    <a:pt x="83" y="229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3"/>
                  </a:lnTo>
                  <a:lnTo>
                    <a:pt x="80" y="222"/>
                  </a:lnTo>
                  <a:lnTo>
                    <a:pt x="82" y="222"/>
                  </a:lnTo>
                  <a:lnTo>
                    <a:pt x="83" y="217"/>
                  </a:lnTo>
                  <a:lnTo>
                    <a:pt x="82" y="215"/>
                  </a:lnTo>
                  <a:lnTo>
                    <a:pt x="79" y="210"/>
                  </a:lnTo>
                  <a:lnTo>
                    <a:pt x="77" y="209"/>
                  </a:lnTo>
                  <a:lnTo>
                    <a:pt x="76" y="206"/>
                  </a:lnTo>
                  <a:lnTo>
                    <a:pt x="74" y="205"/>
                  </a:lnTo>
                  <a:lnTo>
                    <a:pt x="73" y="202"/>
                  </a:lnTo>
                  <a:lnTo>
                    <a:pt x="72" y="197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69" y="195"/>
                  </a:lnTo>
                  <a:lnTo>
                    <a:pt x="67" y="193"/>
                  </a:lnTo>
                  <a:lnTo>
                    <a:pt x="67" y="192"/>
                  </a:lnTo>
                  <a:lnTo>
                    <a:pt x="66" y="187"/>
                  </a:lnTo>
                  <a:lnTo>
                    <a:pt x="65" y="185"/>
                  </a:lnTo>
                  <a:lnTo>
                    <a:pt x="59" y="180"/>
                  </a:lnTo>
                  <a:lnTo>
                    <a:pt x="59" y="179"/>
                  </a:lnTo>
                  <a:lnTo>
                    <a:pt x="59" y="176"/>
                  </a:lnTo>
                  <a:lnTo>
                    <a:pt x="57" y="173"/>
                  </a:lnTo>
                  <a:lnTo>
                    <a:pt x="52" y="165"/>
                  </a:lnTo>
                  <a:lnTo>
                    <a:pt x="50" y="162"/>
                  </a:lnTo>
                  <a:lnTo>
                    <a:pt x="49" y="157"/>
                  </a:lnTo>
                  <a:lnTo>
                    <a:pt x="47" y="155"/>
                  </a:lnTo>
                  <a:lnTo>
                    <a:pt x="46" y="150"/>
                  </a:lnTo>
                  <a:lnTo>
                    <a:pt x="45" y="146"/>
                  </a:lnTo>
                  <a:lnTo>
                    <a:pt x="43" y="143"/>
                  </a:lnTo>
                  <a:lnTo>
                    <a:pt x="42" y="140"/>
                  </a:lnTo>
                  <a:lnTo>
                    <a:pt x="42" y="137"/>
                  </a:lnTo>
                  <a:lnTo>
                    <a:pt x="39" y="135"/>
                  </a:lnTo>
                  <a:lnTo>
                    <a:pt x="37" y="132"/>
                  </a:lnTo>
                  <a:lnTo>
                    <a:pt x="35" y="129"/>
                  </a:lnTo>
                  <a:lnTo>
                    <a:pt x="32" y="126"/>
                  </a:lnTo>
                  <a:lnTo>
                    <a:pt x="32" y="125"/>
                  </a:lnTo>
                  <a:lnTo>
                    <a:pt x="27" y="119"/>
                  </a:lnTo>
                  <a:lnTo>
                    <a:pt x="27" y="116"/>
                  </a:lnTo>
                  <a:lnTo>
                    <a:pt x="25" y="113"/>
                  </a:lnTo>
                  <a:lnTo>
                    <a:pt x="23" y="110"/>
                  </a:lnTo>
                  <a:lnTo>
                    <a:pt x="22" y="107"/>
                  </a:lnTo>
                  <a:lnTo>
                    <a:pt x="19" y="106"/>
                  </a:lnTo>
                  <a:lnTo>
                    <a:pt x="9" y="100"/>
                  </a:lnTo>
                  <a:lnTo>
                    <a:pt x="5" y="97"/>
                  </a:lnTo>
                  <a:lnTo>
                    <a:pt x="3" y="96"/>
                  </a:lnTo>
                  <a:lnTo>
                    <a:pt x="2" y="95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6" y="88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0"/>
                  </a:lnTo>
                  <a:lnTo>
                    <a:pt x="2" y="78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69"/>
                  </a:lnTo>
                  <a:lnTo>
                    <a:pt x="2" y="68"/>
                  </a:lnTo>
                  <a:lnTo>
                    <a:pt x="7" y="62"/>
                  </a:lnTo>
                  <a:lnTo>
                    <a:pt x="9" y="59"/>
                  </a:lnTo>
                  <a:lnTo>
                    <a:pt x="10" y="58"/>
                  </a:lnTo>
                  <a:lnTo>
                    <a:pt x="13" y="56"/>
                  </a:lnTo>
                  <a:lnTo>
                    <a:pt x="16" y="53"/>
                  </a:lnTo>
                  <a:lnTo>
                    <a:pt x="16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60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5" y="68"/>
                  </a:lnTo>
                  <a:lnTo>
                    <a:pt x="16" y="68"/>
                  </a:lnTo>
                  <a:lnTo>
                    <a:pt x="15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5" y="70"/>
                  </a:lnTo>
                  <a:lnTo>
                    <a:pt x="15" y="72"/>
                  </a:lnTo>
                  <a:lnTo>
                    <a:pt x="16" y="70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0" y="69"/>
                  </a:lnTo>
                  <a:lnTo>
                    <a:pt x="22" y="70"/>
                  </a:lnTo>
                  <a:lnTo>
                    <a:pt x="23" y="70"/>
                  </a:lnTo>
                  <a:lnTo>
                    <a:pt x="25" y="72"/>
                  </a:lnTo>
                  <a:lnTo>
                    <a:pt x="26" y="72"/>
                  </a:lnTo>
                  <a:lnTo>
                    <a:pt x="27" y="70"/>
                  </a:lnTo>
                  <a:lnTo>
                    <a:pt x="27" y="72"/>
                  </a:lnTo>
                  <a:lnTo>
                    <a:pt x="29" y="72"/>
                  </a:lnTo>
                  <a:lnTo>
                    <a:pt x="29" y="75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5" y="79"/>
                  </a:lnTo>
                  <a:lnTo>
                    <a:pt x="36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9" y="78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5"/>
                  </a:lnTo>
                  <a:lnTo>
                    <a:pt x="40" y="75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2"/>
                  </a:lnTo>
                  <a:lnTo>
                    <a:pt x="43" y="70"/>
                  </a:lnTo>
                  <a:lnTo>
                    <a:pt x="43" y="70"/>
                  </a:lnTo>
                  <a:lnTo>
                    <a:pt x="42" y="70"/>
                  </a:lnTo>
                  <a:lnTo>
                    <a:pt x="43" y="69"/>
                  </a:lnTo>
                  <a:lnTo>
                    <a:pt x="43" y="68"/>
                  </a:lnTo>
                  <a:lnTo>
                    <a:pt x="43" y="66"/>
                  </a:lnTo>
                  <a:lnTo>
                    <a:pt x="45" y="65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6" y="59"/>
                  </a:lnTo>
                  <a:lnTo>
                    <a:pt x="47" y="59"/>
                  </a:lnTo>
                  <a:lnTo>
                    <a:pt x="47" y="58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2" y="50"/>
                  </a:lnTo>
                  <a:lnTo>
                    <a:pt x="55" y="49"/>
                  </a:lnTo>
                  <a:lnTo>
                    <a:pt x="56" y="48"/>
                  </a:lnTo>
                  <a:lnTo>
                    <a:pt x="59" y="46"/>
                  </a:lnTo>
                  <a:lnTo>
                    <a:pt x="62" y="46"/>
                  </a:lnTo>
                  <a:lnTo>
                    <a:pt x="63" y="45"/>
                  </a:lnTo>
                  <a:lnTo>
                    <a:pt x="67" y="43"/>
                  </a:lnTo>
                  <a:lnTo>
                    <a:pt x="72" y="42"/>
                  </a:lnTo>
                  <a:lnTo>
                    <a:pt x="74" y="40"/>
                  </a:lnTo>
                  <a:lnTo>
                    <a:pt x="77" y="39"/>
                  </a:lnTo>
                  <a:lnTo>
                    <a:pt x="80" y="38"/>
                  </a:lnTo>
                  <a:lnTo>
                    <a:pt x="82" y="36"/>
                  </a:lnTo>
                  <a:lnTo>
                    <a:pt x="84" y="33"/>
                  </a:lnTo>
                  <a:lnTo>
                    <a:pt x="87" y="30"/>
                  </a:lnTo>
                  <a:lnTo>
                    <a:pt x="89" y="28"/>
                  </a:lnTo>
                  <a:lnTo>
                    <a:pt x="92" y="26"/>
                  </a:lnTo>
                  <a:lnTo>
                    <a:pt x="92" y="25"/>
                  </a:lnTo>
                  <a:lnTo>
                    <a:pt x="93" y="20"/>
                  </a:lnTo>
                  <a:lnTo>
                    <a:pt x="94" y="18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2"/>
                  </a:lnTo>
                  <a:lnTo>
                    <a:pt x="97" y="10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9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4" y="16"/>
                  </a:lnTo>
                  <a:lnTo>
                    <a:pt x="116" y="16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2" y="19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4" y="22"/>
                  </a:lnTo>
                  <a:lnTo>
                    <a:pt x="124" y="23"/>
                  </a:lnTo>
                  <a:lnTo>
                    <a:pt x="126" y="25"/>
                  </a:lnTo>
                  <a:lnTo>
                    <a:pt x="124" y="26"/>
                  </a:lnTo>
                  <a:lnTo>
                    <a:pt x="126" y="28"/>
                  </a:lnTo>
                  <a:lnTo>
                    <a:pt x="126" y="28"/>
                  </a:lnTo>
                  <a:lnTo>
                    <a:pt x="127" y="29"/>
                  </a:lnTo>
                  <a:lnTo>
                    <a:pt x="129" y="28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30"/>
                  </a:lnTo>
                  <a:lnTo>
                    <a:pt x="132" y="32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0" y="35"/>
                  </a:lnTo>
                  <a:lnTo>
                    <a:pt x="132" y="36"/>
                  </a:lnTo>
                  <a:lnTo>
                    <a:pt x="133" y="36"/>
                  </a:lnTo>
                  <a:lnTo>
                    <a:pt x="133" y="38"/>
                  </a:lnTo>
                  <a:lnTo>
                    <a:pt x="134" y="38"/>
                  </a:lnTo>
                  <a:lnTo>
                    <a:pt x="136" y="39"/>
                  </a:lnTo>
                  <a:lnTo>
                    <a:pt x="136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2" y="38"/>
                  </a:lnTo>
                  <a:lnTo>
                    <a:pt x="143" y="39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147" y="38"/>
                  </a:lnTo>
                  <a:lnTo>
                    <a:pt x="149" y="38"/>
                  </a:lnTo>
                  <a:lnTo>
                    <a:pt x="150" y="38"/>
                  </a:lnTo>
                  <a:lnTo>
                    <a:pt x="150" y="36"/>
                  </a:lnTo>
                  <a:lnTo>
                    <a:pt x="152" y="36"/>
                  </a:lnTo>
                  <a:lnTo>
                    <a:pt x="153" y="35"/>
                  </a:lnTo>
                  <a:lnTo>
                    <a:pt x="153" y="35"/>
                  </a:lnTo>
                  <a:lnTo>
                    <a:pt x="154" y="35"/>
                  </a:lnTo>
                  <a:lnTo>
                    <a:pt x="156" y="35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60" y="38"/>
                  </a:lnTo>
                  <a:lnTo>
                    <a:pt x="163" y="36"/>
                  </a:lnTo>
                  <a:lnTo>
                    <a:pt x="163" y="36"/>
                  </a:lnTo>
                  <a:lnTo>
                    <a:pt x="164" y="35"/>
                  </a:lnTo>
                  <a:lnTo>
                    <a:pt x="166" y="35"/>
                  </a:lnTo>
                  <a:lnTo>
                    <a:pt x="167" y="35"/>
                  </a:lnTo>
                  <a:lnTo>
                    <a:pt x="170" y="38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39"/>
                  </a:lnTo>
                  <a:lnTo>
                    <a:pt x="174" y="39"/>
                  </a:lnTo>
                  <a:lnTo>
                    <a:pt x="176" y="40"/>
                  </a:lnTo>
                  <a:lnTo>
                    <a:pt x="177" y="40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80" y="42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79" y="46"/>
                  </a:lnTo>
                  <a:lnTo>
                    <a:pt x="177" y="49"/>
                  </a:lnTo>
                  <a:lnTo>
                    <a:pt x="174" y="52"/>
                  </a:lnTo>
                  <a:lnTo>
                    <a:pt x="171" y="58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3" y="62"/>
                  </a:lnTo>
                  <a:lnTo>
                    <a:pt x="174" y="62"/>
                  </a:lnTo>
                  <a:lnTo>
                    <a:pt x="174" y="62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9" y="63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81" y="66"/>
                  </a:lnTo>
                  <a:lnTo>
                    <a:pt x="181" y="6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8" name="Google Shape;288;p3"/>
            <p:cNvSpPr/>
            <p:nvPr/>
          </p:nvSpPr>
          <p:spPr>
            <a:xfrm>
              <a:off x="5533559" y="4386746"/>
              <a:ext cx="169714" cy="102957"/>
            </a:xfrm>
            <a:custGeom>
              <a:rect b="b" l="l" r="r" t="t"/>
              <a:pathLst>
                <a:path extrusionOk="0" h="164" w="242">
                  <a:moveTo>
                    <a:pt x="202" y="163"/>
                  </a:moveTo>
                  <a:lnTo>
                    <a:pt x="205" y="163"/>
                  </a:lnTo>
                  <a:lnTo>
                    <a:pt x="207" y="164"/>
                  </a:lnTo>
                  <a:lnTo>
                    <a:pt x="205" y="164"/>
                  </a:lnTo>
                  <a:lnTo>
                    <a:pt x="204" y="164"/>
                  </a:lnTo>
                  <a:lnTo>
                    <a:pt x="202" y="164"/>
                  </a:lnTo>
                  <a:lnTo>
                    <a:pt x="201" y="163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200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8" y="160"/>
                  </a:lnTo>
                  <a:lnTo>
                    <a:pt x="200" y="160"/>
                  </a:lnTo>
                  <a:lnTo>
                    <a:pt x="202" y="163"/>
                  </a:lnTo>
                  <a:close/>
                  <a:moveTo>
                    <a:pt x="215" y="160"/>
                  </a:moveTo>
                  <a:lnTo>
                    <a:pt x="215" y="161"/>
                  </a:lnTo>
                  <a:lnTo>
                    <a:pt x="214" y="161"/>
                  </a:lnTo>
                  <a:lnTo>
                    <a:pt x="212" y="161"/>
                  </a:lnTo>
                  <a:lnTo>
                    <a:pt x="211" y="161"/>
                  </a:lnTo>
                  <a:lnTo>
                    <a:pt x="211" y="160"/>
                  </a:lnTo>
                  <a:lnTo>
                    <a:pt x="211" y="160"/>
                  </a:lnTo>
                  <a:lnTo>
                    <a:pt x="212" y="160"/>
                  </a:lnTo>
                  <a:lnTo>
                    <a:pt x="212" y="160"/>
                  </a:lnTo>
                  <a:lnTo>
                    <a:pt x="214" y="160"/>
                  </a:lnTo>
                  <a:lnTo>
                    <a:pt x="215" y="160"/>
                  </a:lnTo>
                  <a:close/>
                  <a:moveTo>
                    <a:pt x="161" y="147"/>
                  </a:moveTo>
                  <a:lnTo>
                    <a:pt x="161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7"/>
                  </a:lnTo>
                  <a:close/>
                  <a:moveTo>
                    <a:pt x="164" y="138"/>
                  </a:moveTo>
                  <a:lnTo>
                    <a:pt x="164" y="138"/>
                  </a:lnTo>
                  <a:lnTo>
                    <a:pt x="165" y="137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7" y="141"/>
                  </a:lnTo>
                  <a:lnTo>
                    <a:pt x="165" y="141"/>
                  </a:lnTo>
                  <a:lnTo>
                    <a:pt x="161" y="140"/>
                  </a:lnTo>
                  <a:lnTo>
                    <a:pt x="161" y="138"/>
                  </a:lnTo>
                  <a:lnTo>
                    <a:pt x="161" y="137"/>
                  </a:lnTo>
                  <a:lnTo>
                    <a:pt x="160" y="135"/>
                  </a:lnTo>
                  <a:lnTo>
                    <a:pt x="160" y="134"/>
                  </a:lnTo>
                  <a:lnTo>
                    <a:pt x="158" y="133"/>
                  </a:lnTo>
                  <a:lnTo>
                    <a:pt x="160" y="134"/>
                  </a:lnTo>
                  <a:lnTo>
                    <a:pt x="160" y="135"/>
                  </a:lnTo>
                  <a:lnTo>
                    <a:pt x="162" y="137"/>
                  </a:lnTo>
                  <a:lnTo>
                    <a:pt x="162" y="138"/>
                  </a:lnTo>
                  <a:lnTo>
                    <a:pt x="164" y="138"/>
                  </a:lnTo>
                  <a:close/>
                  <a:moveTo>
                    <a:pt x="155" y="127"/>
                  </a:moveTo>
                  <a:lnTo>
                    <a:pt x="157" y="128"/>
                  </a:lnTo>
                  <a:lnTo>
                    <a:pt x="158" y="128"/>
                  </a:lnTo>
                  <a:lnTo>
                    <a:pt x="160" y="128"/>
                  </a:lnTo>
                  <a:lnTo>
                    <a:pt x="161" y="130"/>
                  </a:lnTo>
                  <a:lnTo>
                    <a:pt x="161" y="131"/>
                  </a:lnTo>
                  <a:lnTo>
                    <a:pt x="161" y="133"/>
                  </a:lnTo>
                  <a:lnTo>
                    <a:pt x="161" y="133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57" y="133"/>
                  </a:lnTo>
                  <a:lnTo>
                    <a:pt x="155" y="133"/>
                  </a:lnTo>
                  <a:lnTo>
                    <a:pt x="154" y="133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7"/>
                  </a:lnTo>
                  <a:lnTo>
                    <a:pt x="155" y="127"/>
                  </a:lnTo>
                  <a:close/>
                  <a:moveTo>
                    <a:pt x="152" y="130"/>
                  </a:moveTo>
                  <a:lnTo>
                    <a:pt x="151" y="130"/>
                  </a:lnTo>
                  <a:lnTo>
                    <a:pt x="151" y="130"/>
                  </a:lnTo>
                  <a:lnTo>
                    <a:pt x="148" y="128"/>
                  </a:lnTo>
                  <a:lnTo>
                    <a:pt x="148" y="125"/>
                  </a:lnTo>
                  <a:lnTo>
                    <a:pt x="150" y="125"/>
                  </a:lnTo>
                  <a:lnTo>
                    <a:pt x="151" y="125"/>
                  </a:lnTo>
                  <a:lnTo>
                    <a:pt x="152" y="127"/>
                  </a:lnTo>
                  <a:lnTo>
                    <a:pt x="152" y="128"/>
                  </a:lnTo>
                  <a:lnTo>
                    <a:pt x="152" y="130"/>
                  </a:lnTo>
                  <a:close/>
                  <a:moveTo>
                    <a:pt x="188" y="121"/>
                  </a:moveTo>
                  <a:lnTo>
                    <a:pt x="190" y="121"/>
                  </a:lnTo>
                  <a:lnTo>
                    <a:pt x="191" y="121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4" y="123"/>
                  </a:lnTo>
                  <a:lnTo>
                    <a:pt x="194" y="124"/>
                  </a:lnTo>
                  <a:lnTo>
                    <a:pt x="194" y="124"/>
                  </a:lnTo>
                  <a:lnTo>
                    <a:pt x="194" y="124"/>
                  </a:lnTo>
                  <a:lnTo>
                    <a:pt x="194" y="124"/>
                  </a:lnTo>
                  <a:lnTo>
                    <a:pt x="194" y="125"/>
                  </a:lnTo>
                  <a:lnTo>
                    <a:pt x="194" y="125"/>
                  </a:lnTo>
                  <a:lnTo>
                    <a:pt x="192" y="125"/>
                  </a:lnTo>
                  <a:lnTo>
                    <a:pt x="191" y="124"/>
                  </a:lnTo>
                  <a:lnTo>
                    <a:pt x="190" y="124"/>
                  </a:lnTo>
                  <a:lnTo>
                    <a:pt x="190" y="124"/>
                  </a:lnTo>
                  <a:lnTo>
                    <a:pt x="188" y="123"/>
                  </a:lnTo>
                  <a:lnTo>
                    <a:pt x="187" y="123"/>
                  </a:lnTo>
                  <a:lnTo>
                    <a:pt x="188" y="121"/>
                  </a:lnTo>
                  <a:lnTo>
                    <a:pt x="188" y="121"/>
                  </a:lnTo>
                  <a:close/>
                  <a:moveTo>
                    <a:pt x="44" y="115"/>
                  </a:moveTo>
                  <a:lnTo>
                    <a:pt x="44" y="117"/>
                  </a:lnTo>
                  <a:lnTo>
                    <a:pt x="41" y="115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7" y="113"/>
                  </a:lnTo>
                  <a:lnTo>
                    <a:pt x="38" y="114"/>
                  </a:lnTo>
                  <a:lnTo>
                    <a:pt x="41" y="114"/>
                  </a:lnTo>
                  <a:lnTo>
                    <a:pt x="44" y="115"/>
                  </a:lnTo>
                  <a:close/>
                  <a:moveTo>
                    <a:pt x="164" y="117"/>
                  </a:moveTo>
                  <a:lnTo>
                    <a:pt x="164" y="118"/>
                  </a:lnTo>
                  <a:lnTo>
                    <a:pt x="162" y="117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2" y="114"/>
                  </a:lnTo>
                  <a:lnTo>
                    <a:pt x="162" y="113"/>
                  </a:lnTo>
                  <a:lnTo>
                    <a:pt x="164" y="113"/>
                  </a:lnTo>
                  <a:lnTo>
                    <a:pt x="164" y="113"/>
                  </a:lnTo>
                  <a:lnTo>
                    <a:pt x="164" y="114"/>
                  </a:lnTo>
                  <a:lnTo>
                    <a:pt x="164" y="115"/>
                  </a:lnTo>
                  <a:lnTo>
                    <a:pt x="164" y="117"/>
                  </a:lnTo>
                  <a:close/>
                  <a:moveTo>
                    <a:pt x="44" y="114"/>
                  </a:moveTo>
                  <a:lnTo>
                    <a:pt x="43" y="114"/>
                  </a:lnTo>
                  <a:lnTo>
                    <a:pt x="40" y="113"/>
                  </a:lnTo>
                  <a:lnTo>
                    <a:pt x="40" y="111"/>
                  </a:lnTo>
                  <a:lnTo>
                    <a:pt x="43" y="111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4"/>
                  </a:lnTo>
                  <a:close/>
                  <a:moveTo>
                    <a:pt x="115" y="71"/>
                  </a:moveTo>
                  <a:lnTo>
                    <a:pt x="114" y="71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11" y="68"/>
                  </a:lnTo>
                  <a:lnTo>
                    <a:pt x="111" y="66"/>
                  </a:lnTo>
                  <a:lnTo>
                    <a:pt x="111" y="66"/>
                  </a:lnTo>
                  <a:lnTo>
                    <a:pt x="113" y="66"/>
                  </a:lnTo>
                  <a:lnTo>
                    <a:pt x="115" y="67"/>
                  </a:lnTo>
                  <a:lnTo>
                    <a:pt x="115" y="68"/>
                  </a:lnTo>
                  <a:lnTo>
                    <a:pt x="115" y="70"/>
                  </a:lnTo>
                  <a:lnTo>
                    <a:pt x="115" y="71"/>
                  </a:lnTo>
                  <a:close/>
                  <a:moveTo>
                    <a:pt x="242" y="84"/>
                  </a:moveTo>
                  <a:lnTo>
                    <a:pt x="241" y="85"/>
                  </a:lnTo>
                  <a:lnTo>
                    <a:pt x="241" y="87"/>
                  </a:lnTo>
                  <a:lnTo>
                    <a:pt x="241" y="85"/>
                  </a:lnTo>
                  <a:lnTo>
                    <a:pt x="239" y="87"/>
                  </a:lnTo>
                  <a:lnTo>
                    <a:pt x="238" y="87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5" y="87"/>
                  </a:lnTo>
                  <a:lnTo>
                    <a:pt x="234" y="85"/>
                  </a:lnTo>
                  <a:lnTo>
                    <a:pt x="232" y="85"/>
                  </a:lnTo>
                  <a:lnTo>
                    <a:pt x="231" y="84"/>
                  </a:lnTo>
                  <a:lnTo>
                    <a:pt x="229" y="83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5" y="75"/>
                  </a:lnTo>
                  <a:lnTo>
                    <a:pt x="224" y="74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1"/>
                  </a:lnTo>
                  <a:lnTo>
                    <a:pt x="222" y="70"/>
                  </a:lnTo>
                  <a:lnTo>
                    <a:pt x="222" y="67"/>
                  </a:lnTo>
                  <a:lnTo>
                    <a:pt x="222" y="64"/>
                  </a:lnTo>
                  <a:lnTo>
                    <a:pt x="222" y="66"/>
                  </a:lnTo>
                  <a:lnTo>
                    <a:pt x="224" y="66"/>
                  </a:lnTo>
                  <a:lnTo>
                    <a:pt x="224" y="66"/>
                  </a:lnTo>
                  <a:lnTo>
                    <a:pt x="227" y="67"/>
                  </a:lnTo>
                  <a:lnTo>
                    <a:pt x="228" y="67"/>
                  </a:lnTo>
                  <a:lnTo>
                    <a:pt x="229" y="70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5"/>
                  </a:lnTo>
                  <a:lnTo>
                    <a:pt x="235" y="77"/>
                  </a:lnTo>
                  <a:lnTo>
                    <a:pt x="235" y="77"/>
                  </a:lnTo>
                  <a:lnTo>
                    <a:pt x="237" y="77"/>
                  </a:lnTo>
                  <a:lnTo>
                    <a:pt x="238" y="78"/>
                  </a:lnTo>
                  <a:lnTo>
                    <a:pt x="239" y="80"/>
                  </a:lnTo>
                  <a:lnTo>
                    <a:pt x="241" y="81"/>
                  </a:lnTo>
                  <a:lnTo>
                    <a:pt x="241" y="83"/>
                  </a:lnTo>
                  <a:lnTo>
                    <a:pt x="242" y="84"/>
                  </a:lnTo>
                  <a:close/>
                  <a:moveTo>
                    <a:pt x="101" y="64"/>
                  </a:moveTo>
                  <a:lnTo>
                    <a:pt x="100" y="64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1" y="61"/>
                  </a:lnTo>
                  <a:lnTo>
                    <a:pt x="103" y="64"/>
                  </a:lnTo>
                  <a:lnTo>
                    <a:pt x="101" y="64"/>
                  </a:lnTo>
                  <a:close/>
                  <a:moveTo>
                    <a:pt x="221" y="64"/>
                  </a:moveTo>
                  <a:lnTo>
                    <a:pt x="221" y="64"/>
                  </a:lnTo>
                  <a:lnTo>
                    <a:pt x="220" y="63"/>
                  </a:lnTo>
                  <a:lnTo>
                    <a:pt x="220" y="61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20" y="58"/>
                  </a:lnTo>
                  <a:lnTo>
                    <a:pt x="221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22" y="61"/>
                  </a:lnTo>
                  <a:lnTo>
                    <a:pt x="221" y="64"/>
                  </a:lnTo>
                  <a:lnTo>
                    <a:pt x="221" y="64"/>
                  </a:lnTo>
                  <a:close/>
                  <a:moveTo>
                    <a:pt x="83" y="53"/>
                  </a:moveTo>
                  <a:lnTo>
                    <a:pt x="81" y="54"/>
                  </a:lnTo>
                  <a:lnTo>
                    <a:pt x="81" y="54"/>
                  </a:lnTo>
                  <a:lnTo>
                    <a:pt x="80" y="53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3" y="50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3"/>
                  </a:lnTo>
                  <a:close/>
                  <a:moveTo>
                    <a:pt x="177" y="47"/>
                  </a:moveTo>
                  <a:lnTo>
                    <a:pt x="178" y="47"/>
                  </a:lnTo>
                  <a:lnTo>
                    <a:pt x="180" y="46"/>
                  </a:lnTo>
                  <a:lnTo>
                    <a:pt x="181" y="47"/>
                  </a:lnTo>
                  <a:lnTo>
                    <a:pt x="184" y="47"/>
                  </a:lnTo>
                  <a:lnTo>
                    <a:pt x="185" y="47"/>
                  </a:lnTo>
                  <a:lnTo>
                    <a:pt x="184" y="50"/>
                  </a:lnTo>
                  <a:lnTo>
                    <a:pt x="184" y="51"/>
                  </a:lnTo>
                  <a:lnTo>
                    <a:pt x="185" y="51"/>
                  </a:lnTo>
                  <a:lnTo>
                    <a:pt x="185" y="53"/>
                  </a:lnTo>
                  <a:lnTo>
                    <a:pt x="184" y="56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1" y="57"/>
                  </a:lnTo>
                  <a:lnTo>
                    <a:pt x="178" y="58"/>
                  </a:lnTo>
                  <a:lnTo>
                    <a:pt x="178" y="58"/>
                  </a:lnTo>
                  <a:lnTo>
                    <a:pt x="178" y="60"/>
                  </a:lnTo>
                  <a:lnTo>
                    <a:pt x="180" y="61"/>
                  </a:lnTo>
                  <a:lnTo>
                    <a:pt x="181" y="63"/>
                  </a:lnTo>
                  <a:lnTo>
                    <a:pt x="180" y="66"/>
                  </a:lnTo>
                  <a:lnTo>
                    <a:pt x="178" y="66"/>
                  </a:lnTo>
                  <a:lnTo>
                    <a:pt x="177" y="67"/>
                  </a:lnTo>
                  <a:lnTo>
                    <a:pt x="174" y="67"/>
                  </a:lnTo>
                  <a:lnTo>
                    <a:pt x="171" y="67"/>
                  </a:lnTo>
                  <a:lnTo>
                    <a:pt x="170" y="67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70" y="70"/>
                  </a:lnTo>
                  <a:lnTo>
                    <a:pt x="168" y="71"/>
                  </a:lnTo>
                  <a:lnTo>
                    <a:pt x="165" y="73"/>
                  </a:lnTo>
                  <a:lnTo>
                    <a:pt x="164" y="74"/>
                  </a:lnTo>
                  <a:lnTo>
                    <a:pt x="162" y="74"/>
                  </a:lnTo>
                  <a:lnTo>
                    <a:pt x="161" y="74"/>
                  </a:lnTo>
                  <a:lnTo>
                    <a:pt x="160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55" y="77"/>
                  </a:lnTo>
                  <a:lnTo>
                    <a:pt x="154" y="78"/>
                  </a:lnTo>
                  <a:lnTo>
                    <a:pt x="152" y="78"/>
                  </a:lnTo>
                  <a:lnTo>
                    <a:pt x="150" y="78"/>
                  </a:lnTo>
                  <a:lnTo>
                    <a:pt x="144" y="78"/>
                  </a:lnTo>
                  <a:lnTo>
                    <a:pt x="142" y="78"/>
                  </a:lnTo>
                  <a:lnTo>
                    <a:pt x="141" y="78"/>
                  </a:lnTo>
                  <a:lnTo>
                    <a:pt x="140" y="78"/>
                  </a:lnTo>
                  <a:lnTo>
                    <a:pt x="138" y="75"/>
                  </a:lnTo>
                  <a:lnTo>
                    <a:pt x="137" y="75"/>
                  </a:lnTo>
                  <a:lnTo>
                    <a:pt x="135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27" y="73"/>
                  </a:lnTo>
                  <a:lnTo>
                    <a:pt x="125" y="71"/>
                  </a:lnTo>
                  <a:lnTo>
                    <a:pt x="124" y="71"/>
                  </a:lnTo>
                  <a:lnTo>
                    <a:pt x="123" y="71"/>
                  </a:lnTo>
                  <a:lnTo>
                    <a:pt x="121" y="70"/>
                  </a:lnTo>
                  <a:lnTo>
                    <a:pt x="120" y="68"/>
                  </a:lnTo>
                  <a:lnTo>
                    <a:pt x="120" y="67"/>
                  </a:lnTo>
                  <a:lnTo>
                    <a:pt x="121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5" y="66"/>
                  </a:lnTo>
                  <a:lnTo>
                    <a:pt x="125" y="66"/>
                  </a:lnTo>
                  <a:lnTo>
                    <a:pt x="127" y="66"/>
                  </a:lnTo>
                  <a:lnTo>
                    <a:pt x="130" y="66"/>
                  </a:lnTo>
                  <a:lnTo>
                    <a:pt x="132" y="66"/>
                  </a:lnTo>
                  <a:lnTo>
                    <a:pt x="134" y="67"/>
                  </a:lnTo>
                  <a:lnTo>
                    <a:pt x="135" y="67"/>
                  </a:lnTo>
                  <a:lnTo>
                    <a:pt x="138" y="67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44" y="66"/>
                  </a:lnTo>
                  <a:lnTo>
                    <a:pt x="145" y="66"/>
                  </a:lnTo>
                  <a:lnTo>
                    <a:pt x="147" y="60"/>
                  </a:lnTo>
                  <a:lnTo>
                    <a:pt x="147" y="58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48" y="60"/>
                  </a:lnTo>
                  <a:lnTo>
                    <a:pt x="148" y="61"/>
                  </a:lnTo>
                  <a:lnTo>
                    <a:pt x="147" y="63"/>
                  </a:lnTo>
                  <a:lnTo>
                    <a:pt x="148" y="64"/>
                  </a:lnTo>
                  <a:lnTo>
                    <a:pt x="150" y="66"/>
                  </a:lnTo>
                  <a:lnTo>
                    <a:pt x="151" y="66"/>
                  </a:lnTo>
                  <a:lnTo>
                    <a:pt x="152" y="66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8" y="66"/>
                  </a:lnTo>
                  <a:lnTo>
                    <a:pt x="158" y="66"/>
                  </a:lnTo>
                  <a:lnTo>
                    <a:pt x="160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62" y="63"/>
                  </a:lnTo>
                  <a:lnTo>
                    <a:pt x="164" y="61"/>
                  </a:lnTo>
                  <a:lnTo>
                    <a:pt x="164" y="60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70" y="57"/>
                  </a:lnTo>
                  <a:lnTo>
                    <a:pt x="171" y="57"/>
                  </a:lnTo>
                  <a:lnTo>
                    <a:pt x="172" y="56"/>
                  </a:lnTo>
                  <a:lnTo>
                    <a:pt x="174" y="54"/>
                  </a:lnTo>
                  <a:lnTo>
                    <a:pt x="172" y="51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6"/>
                  </a:lnTo>
                  <a:lnTo>
                    <a:pt x="172" y="46"/>
                  </a:lnTo>
                  <a:lnTo>
                    <a:pt x="174" y="46"/>
                  </a:lnTo>
                  <a:lnTo>
                    <a:pt x="175" y="46"/>
                  </a:lnTo>
                  <a:lnTo>
                    <a:pt x="177" y="46"/>
                  </a:lnTo>
                  <a:lnTo>
                    <a:pt x="177" y="47"/>
                  </a:lnTo>
                  <a:close/>
                  <a:moveTo>
                    <a:pt x="205" y="43"/>
                  </a:moveTo>
                  <a:lnTo>
                    <a:pt x="205" y="44"/>
                  </a:lnTo>
                  <a:lnTo>
                    <a:pt x="204" y="43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5" y="43"/>
                  </a:lnTo>
                  <a:close/>
                  <a:moveTo>
                    <a:pt x="190" y="28"/>
                  </a:moveTo>
                  <a:lnTo>
                    <a:pt x="188" y="30"/>
                  </a:lnTo>
                  <a:lnTo>
                    <a:pt x="188" y="28"/>
                  </a:lnTo>
                  <a:lnTo>
                    <a:pt x="187" y="27"/>
                  </a:lnTo>
                  <a:lnTo>
                    <a:pt x="188" y="27"/>
                  </a:lnTo>
                  <a:lnTo>
                    <a:pt x="188" y="27"/>
                  </a:lnTo>
                  <a:lnTo>
                    <a:pt x="190" y="28"/>
                  </a:lnTo>
                  <a:close/>
                  <a:moveTo>
                    <a:pt x="180" y="26"/>
                  </a:moveTo>
                  <a:lnTo>
                    <a:pt x="180" y="26"/>
                  </a:lnTo>
                  <a:lnTo>
                    <a:pt x="180" y="26"/>
                  </a:lnTo>
                  <a:lnTo>
                    <a:pt x="178" y="24"/>
                  </a:lnTo>
                  <a:lnTo>
                    <a:pt x="178" y="24"/>
                  </a:lnTo>
                  <a:lnTo>
                    <a:pt x="178" y="23"/>
                  </a:lnTo>
                  <a:lnTo>
                    <a:pt x="180" y="24"/>
                  </a:lnTo>
                  <a:lnTo>
                    <a:pt x="180" y="26"/>
                  </a:lnTo>
                  <a:close/>
                  <a:moveTo>
                    <a:pt x="178" y="23"/>
                  </a:moveTo>
                  <a:lnTo>
                    <a:pt x="177" y="23"/>
                  </a:lnTo>
                  <a:lnTo>
                    <a:pt x="177" y="21"/>
                  </a:lnTo>
                  <a:lnTo>
                    <a:pt x="178" y="21"/>
                  </a:lnTo>
                  <a:lnTo>
                    <a:pt x="178" y="21"/>
                  </a:lnTo>
                  <a:lnTo>
                    <a:pt x="178" y="23"/>
                  </a:lnTo>
                  <a:lnTo>
                    <a:pt x="178" y="23"/>
                  </a:lnTo>
                  <a:close/>
                  <a:moveTo>
                    <a:pt x="53" y="38"/>
                  </a:moveTo>
                  <a:lnTo>
                    <a:pt x="54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8" y="38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0" y="41"/>
                  </a:lnTo>
                  <a:lnTo>
                    <a:pt x="63" y="43"/>
                  </a:lnTo>
                  <a:lnTo>
                    <a:pt x="64" y="43"/>
                  </a:lnTo>
                  <a:lnTo>
                    <a:pt x="65" y="44"/>
                  </a:lnTo>
                  <a:lnTo>
                    <a:pt x="67" y="46"/>
                  </a:lnTo>
                  <a:lnTo>
                    <a:pt x="68" y="47"/>
                  </a:lnTo>
                  <a:lnTo>
                    <a:pt x="70" y="48"/>
                  </a:lnTo>
                  <a:lnTo>
                    <a:pt x="71" y="4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61"/>
                  </a:lnTo>
                  <a:lnTo>
                    <a:pt x="78" y="64"/>
                  </a:lnTo>
                  <a:lnTo>
                    <a:pt x="80" y="66"/>
                  </a:lnTo>
                  <a:lnTo>
                    <a:pt x="83" y="66"/>
                  </a:lnTo>
                  <a:lnTo>
                    <a:pt x="85" y="67"/>
                  </a:lnTo>
                  <a:lnTo>
                    <a:pt x="88" y="67"/>
                  </a:lnTo>
                  <a:lnTo>
                    <a:pt x="98" y="73"/>
                  </a:lnTo>
                  <a:lnTo>
                    <a:pt x="100" y="73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8" y="75"/>
                  </a:lnTo>
                  <a:lnTo>
                    <a:pt x="110" y="78"/>
                  </a:lnTo>
                  <a:lnTo>
                    <a:pt x="111" y="78"/>
                  </a:lnTo>
                  <a:lnTo>
                    <a:pt x="111" y="78"/>
                  </a:lnTo>
                  <a:lnTo>
                    <a:pt x="111" y="80"/>
                  </a:lnTo>
                  <a:lnTo>
                    <a:pt x="113" y="83"/>
                  </a:lnTo>
                  <a:lnTo>
                    <a:pt x="113" y="84"/>
                  </a:lnTo>
                  <a:lnTo>
                    <a:pt x="111" y="85"/>
                  </a:lnTo>
                  <a:lnTo>
                    <a:pt x="110" y="85"/>
                  </a:lnTo>
                  <a:lnTo>
                    <a:pt x="104" y="85"/>
                  </a:lnTo>
                  <a:lnTo>
                    <a:pt x="100" y="85"/>
                  </a:lnTo>
                  <a:lnTo>
                    <a:pt x="98" y="87"/>
                  </a:lnTo>
                  <a:lnTo>
                    <a:pt x="97" y="88"/>
                  </a:lnTo>
                  <a:lnTo>
                    <a:pt x="98" y="88"/>
                  </a:lnTo>
                  <a:lnTo>
                    <a:pt x="100" y="93"/>
                  </a:lnTo>
                  <a:lnTo>
                    <a:pt x="101" y="95"/>
                  </a:lnTo>
                  <a:lnTo>
                    <a:pt x="103" y="97"/>
                  </a:lnTo>
                  <a:lnTo>
                    <a:pt x="104" y="98"/>
                  </a:lnTo>
                  <a:lnTo>
                    <a:pt x="105" y="100"/>
                  </a:lnTo>
                  <a:lnTo>
                    <a:pt x="107" y="101"/>
                  </a:lnTo>
                  <a:lnTo>
                    <a:pt x="110" y="104"/>
                  </a:lnTo>
                  <a:lnTo>
                    <a:pt x="111" y="104"/>
                  </a:lnTo>
                  <a:lnTo>
                    <a:pt x="114" y="105"/>
                  </a:lnTo>
                  <a:lnTo>
                    <a:pt x="117" y="107"/>
                  </a:lnTo>
                  <a:lnTo>
                    <a:pt x="117" y="108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21" y="117"/>
                  </a:lnTo>
                  <a:lnTo>
                    <a:pt x="121" y="117"/>
                  </a:lnTo>
                  <a:lnTo>
                    <a:pt x="123" y="121"/>
                  </a:lnTo>
                  <a:lnTo>
                    <a:pt x="124" y="123"/>
                  </a:lnTo>
                  <a:lnTo>
                    <a:pt x="125" y="123"/>
                  </a:lnTo>
                  <a:lnTo>
                    <a:pt x="127" y="123"/>
                  </a:lnTo>
                  <a:lnTo>
                    <a:pt x="132" y="123"/>
                  </a:lnTo>
                  <a:lnTo>
                    <a:pt x="132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34" y="124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4" y="130"/>
                  </a:lnTo>
                  <a:lnTo>
                    <a:pt x="137" y="131"/>
                  </a:lnTo>
                  <a:lnTo>
                    <a:pt x="138" y="131"/>
                  </a:lnTo>
                  <a:lnTo>
                    <a:pt x="142" y="131"/>
                  </a:lnTo>
                  <a:lnTo>
                    <a:pt x="144" y="133"/>
                  </a:lnTo>
                  <a:lnTo>
                    <a:pt x="145" y="133"/>
                  </a:lnTo>
                  <a:lnTo>
                    <a:pt x="147" y="133"/>
                  </a:lnTo>
                  <a:lnTo>
                    <a:pt x="147" y="134"/>
                  </a:lnTo>
                  <a:lnTo>
                    <a:pt x="145" y="134"/>
                  </a:lnTo>
                  <a:lnTo>
                    <a:pt x="144" y="134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1" y="141"/>
                  </a:lnTo>
                  <a:lnTo>
                    <a:pt x="152" y="141"/>
                  </a:lnTo>
                  <a:lnTo>
                    <a:pt x="155" y="141"/>
                  </a:lnTo>
                  <a:lnTo>
                    <a:pt x="157" y="143"/>
                  </a:lnTo>
                  <a:lnTo>
                    <a:pt x="160" y="141"/>
                  </a:lnTo>
                  <a:lnTo>
                    <a:pt x="157" y="143"/>
                  </a:lnTo>
                  <a:lnTo>
                    <a:pt x="157" y="144"/>
                  </a:lnTo>
                  <a:lnTo>
                    <a:pt x="154" y="143"/>
                  </a:lnTo>
                  <a:lnTo>
                    <a:pt x="152" y="144"/>
                  </a:lnTo>
                  <a:lnTo>
                    <a:pt x="154" y="145"/>
                  </a:lnTo>
                  <a:lnTo>
                    <a:pt x="155" y="145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4" y="148"/>
                  </a:lnTo>
                  <a:lnTo>
                    <a:pt x="152" y="148"/>
                  </a:lnTo>
                  <a:lnTo>
                    <a:pt x="151" y="148"/>
                  </a:lnTo>
                  <a:lnTo>
                    <a:pt x="148" y="148"/>
                  </a:lnTo>
                  <a:lnTo>
                    <a:pt x="147" y="147"/>
                  </a:lnTo>
                  <a:lnTo>
                    <a:pt x="145" y="147"/>
                  </a:lnTo>
                  <a:lnTo>
                    <a:pt x="145" y="145"/>
                  </a:lnTo>
                  <a:lnTo>
                    <a:pt x="144" y="144"/>
                  </a:lnTo>
                  <a:lnTo>
                    <a:pt x="142" y="144"/>
                  </a:lnTo>
                  <a:lnTo>
                    <a:pt x="141" y="144"/>
                  </a:lnTo>
                  <a:lnTo>
                    <a:pt x="140" y="144"/>
                  </a:lnTo>
                  <a:lnTo>
                    <a:pt x="135" y="143"/>
                  </a:lnTo>
                  <a:lnTo>
                    <a:pt x="130" y="143"/>
                  </a:lnTo>
                  <a:lnTo>
                    <a:pt x="128" y="141"/>
                  </a:lnTo>
                  <a:lnTo>
                    <a:pt x="125" y="141"/>
                  </a:lnTo>
                  <a:lnTo>
                    <a:pt x="125" y="141"/>
                  </a:lnTo>
                  <a:lnTo>
                    <a:pt x="124" y="141"/>
                  </a:lnTo>
                  <a:lnTo>
                    <a:pt x="121" y="141"/>
                  </a:lnTo>
                  <a:lnTo>
                    <a:pt x="121" y="141"/>
                  </a:lnTo>
                  <a:lnTo>
                    <a:pt x="118" y="140"/>
                  </a:lnTo>
                  <a:lnTo>
                    <a:pt x="117" y="140"/>
                  </a:lnTo>
                  <a:lnTo>
                    <a:pt x="115" y="140"/>
                  </a:lnTo>
                  <a:lnTo>
                    <a:pt x="115" y="140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10" y="138"/>
                  </a:lnTo>
                  <a:lnTo>
                    <a:pt x="108" y="137"/>
                  </a:lnTo>
                  <a:lnTo>
                    <a:pt x="107" y="137"/>
                  </a:lnTo>
                  <a:lnTo>
                    <a:pt x="107" y="134"/>
                  </a:lnTo>
                  <a:lnTo>
                    <a:pt x="105" y="133"/>
                  </a:lnTo>
                  <a:lnTo>
                    <a:pt x="103" y="131"/>
                  </a:lnTo>
                  <a:lnTo>
                    <a:pt x="100" y="128"/>
                  </a:lnTo>
                  <a:lnTo>
                    <a:pt x="98" y="128"/>
                  </a:lnTo>
                  <a:lnTo>
                    <a:pt x="97" y="125"/>
                  </a:lnTo>
                  <a:lnTo>
                    <a:pt x="97" y="124"/>
                  </a:lnTo>
                  <a:lnTo>
                    <a:pt x="98" y="123"/>
                  </a:lnTo>
                  <a:lnTo>
                    <a:pt x="97" y="123"/>
                  </a:lnTo>
                  <a:lnTo>
                    <a:pt x="95" y="123"/>
                  </a:lnTo>
                  <a:lnTo>
                    <a:pt x="94" y="123"/>
                  </a:lnTo>
                  <a:lnTo>
                    <a:pt x="93" y="121"/>
                  </a:lnTo>
                  <a:lnTo>
                    <a:pt x="91" y="118"/>
                  </a:lnTo>
                  <a:lnTo>
                    <a:pt x="90" y="115"/>
                  </a:lnTo>
                  <a:lnTo>
                    <a:pt x="87" y="113"/>
                  </a:lnTo>
                  <a:lnTo>
                    <a:pt x="87" y="111"/>
                  </a:lnTo>
                  <a:lnTo>
                    <a:pt x="85" y="110"/>
                  </a:lnTo>
                  <a:lnTo>
                    <a:pt x="84" y="110"/>
                  </a:lnTo>
                  <a:lnTo>
                    <a:pt x="84" y="108"/>
                  </a:lnTo>
                  <a:lnTo>
                    <a:pt x="84" y="107"/>
                  </a:lnTo>
                  <a:lnTo>
                    <a:pt x="83" y="107"/>
                  </a:lnTo>
                  <a:lnTo>
                    <a:pt x="80" y="105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5" y="105"/>
                  </a:lnTo>
                  <a:lnTo>
                    <a:pt x="74" y="104"/>
                  </a:lnTo>
                  <a:lnTo>
                    <a:pt x="71" y="104"/>
                  </a:lnTo>
                  <a:lnTo>
                    <a:pt x="70" y="103"/>
                  </a:lnTo>
                  <a:lnTo>
                    <a:pt x="67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4" y="101"/>
                  </a:lnTo>
                  <a:lnTo>
                    <a:pt x="64" y="100"/>
                  </a:lnTo>
                  <a:lnTo>
                    <a:pt x="63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58" y="98"/>
                  </a:lnTo>
                  <a:lnTo>
                    <a:pt x="57" y="100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5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4" y="103"/>
                  </a:lnTo>
                  <a:lnTo>
                    <a:pt x="53" y="101"/>
                  </a:lnTo>
                  <a:lnTo>
                    <a:pt x="50" y="101"/>
                  </a:lnTo>
                  <a:lnTo>
                    <a:pt x="48" y="100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4" y="97"/>
                  </a:lnTo>
                  <a:lnTo>
                    <a:pt x="45" y="98"/>
                  </a:lnTo>
                  <a:lnTo>
                    <a:pt x="50" y="105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4" y="107"/>
                  </a:lnTo>
                  <a:lnTo>
                    <a:pt x="44" y="108"/>
                  </a:lnTo>
                  <a:lnTo>
                    <a:pt x="41" y="110"/>
                  </a:lnTo>
                  <a:lnTo>
                    <a:pt x="38" y="110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1" y="110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7" y="111"/>
                  </a:lnTo>
                  <a:lnTo>
                    <a:pt x="26" y="111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1" y="108"/>
                  </a:lnTo>
                  <a:lnTo>
                    <a:pt x="24" y="108"/>
                  </a:lnTo>
                  <a:lnTo>
                    <a:pt x="24" y="110"/>
                  </a:lnTo>
                  <a:lnTo>
                    <a:pt x="24" y="111"/>
                  </a:lnTo>
                  <a:lnTo>
                    <a:pt x="26" y="111"/>
                  </a:lnTo>
                  <a:lnTo>
                    <a:pt x="27" y="111"/>
                  </a:lnTo>
                  <a:lnTo>
                    <a:pt x="31" y="111"/>
                  </a:lnTo>
                  <a:lnTo>
                    <a:pt x="34" y="113"/>
                  </a:lnTo>
                  <a:lnTo>
                    <a:pt x="35" y="113"/>
                  </a:lnTo>
                  <a:lnTo>
                    <a:pt x="35" y="114"/>
                  </a:lnTo>
                  <a:lnTo>
                    <a:pt x="38" y="115"/>
                  </a:lnTo>
                  <a:lnTo>
                    <a:pt x="40" y="117"/>
                  </a:lnTo>
                  <a:lnTo>
                    <a:pt x="40" y="118"/>
                  </a:lnTo>
                  <a:lnTo>
                    <a:pt x="40" y="118"/>
                  </a:lnTo>
                  <a:lnTo>
                    <a:pt x="40" y="120"/>
                  </a:lnTo>
                  <a:lnTo>
                    <a:pt x="40" y="121"/>
                  </a:lnTo>
                  <a:lnTo>
                    <a:pt x="38" y="123"/>
                  </a:lnTo>
                  <a:lnTo>
                    <a:pt x="35" y="123"/>
                  </a:lnTo>
                  <a:lnTo>
                    <a:pt x="33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6" y="125"/>
                  </a:lnTo>
                  <a:lnTo>
                    <a:pt x="24" y="125"/>
                  </a:lnTo>
                  <a:lnTo>
                    <a:pt x="23" y="124"/>
                  </a:lnTo>
                  <a:lnTo>
                    <a:pt x="21" y="124"/>
                  </a:lnTo>
                  <a:lnTo>
                    <a:pt x="18" y="125"/>
                  </a:lnTo>
                  <a:lnTo>
                    <a:pt x="14" y="125"/>
                  </a:lnTo>
                  <a:lnTo>
                    <a:pt x="13" y="125"/>
                  </a:lnTo>
                  <a:lnTo>
                    <a:pt x="10" y="125"/>
                  </a:lnTo>
                  <a:lnTo>
                    <a:pt x="8" y="124"/>
                  </a:lnTo>
                  <a:lnTo>
                    <a:pt x="7" y="124"/>
                  </a:lnTo>
                  <a:lnTo>
                    <a:pt x="6" y="125"/>
                  </a:lnTo>
                  <a:lnTo>
                    <a:pt x="4" y="125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1" y="120"/>
                  </a:lnTo>
                  <a:lnTo>
                    <a:pt x="1" y="117"/>
                  </a:lnTo>
                  <a:lnTo>
                    <a:pt x="1" y="114"/>
                  </a:lnTo>
                  <a:lnTo>
                    <a:pt x="1" y="110"/>
                  </a:lnTo>
                  <a:lnTo>
                    <a:pt x="1" y="107"/>
                  </a:lnTo>
                  <a:lnTo>
                    <a:pt x="1" y="104"/>
                  </a:lnTo>
                  <a:lnTo>
                    <a:pt x="1" y="101"/>
                  </a:lnTo>
                  <a:lnTo>
                    <a:pt x="1" y="97"/>
                  </a:lnTo>
                  <a:lnTo>
                    <a:pt x="1" y="94"/>
                  </a:lnTo>
                  <a:lnTo>
                    <a:pt x="1" y="91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1" y="81"/>
                  </a:lnTo>
                  <a:lnTo>
                    <a:pt x="1" y="80"/>
                  </a:lnTo>
                  <a:lnTo>
                    <a:pt x="1" y="78"/>
                  </a:lnTo>
                  <a:lnTo>
                    <a:pt x="1" y="74"/>
                  </a:lnTo>
                  <a:lnTo>
                    <a:pt x="1" y="71"/>
                  </a:lnTo>
                  <a:lnTo>
                    <a:pt x="1" y="68"/>
                  </a:lnTo>
                  <a:lnTo>
                    <a:pt x="1" y="64"/>
                  </a:lnTo>
                  <a:lnTo>
                    <a:pt x="1" y="61"/>
                  </a:lnTo>
                  <a:lnTo>
                    <a:pt x="1" y="58"/>
                  </a:lnTo>
                  <a:lnTo>
                    <a:pt x="1" y="56"/>
                  </a:lnTo>
                  <a:lnTo>
                    <a:pt x="1" y="51"/>
                  </a:lnTo>
                  <a:lnTo>
                    <a:pt x="1" y="48"/>
                  </a:lnTo>
                  <a:lnTo>
                    <a:pt x="1" y="46"/>
                  </a:lnTo>
                  <a:lnTo>
                    <a:pt x="1" y="43"/>
                  </a:lnTo>
                  <a:lnTo>
                    <a:pt x="1" y="38"/>
                  </a:lnTo>
                  <a:lnTo>
                    <a:pt x="1" y="36"/>
                  </a:lnTo>
                  <a:lnTo>
                    <a:pt x="1" y="33"/>
                  </a:lnTo>
                  <a:lnTo>
                    <a:pt x="1" y="30"/>
                  </a:lnTo>
                  <a:lnTo>
                    <a:pt x="1" y="26"/>
                  </a:lnTo>
                  <a:lnTo>
                    <a:pt x="1" y="23"/>
                  </a:lnTo>
                  <a:lnTo>
                    <a:pt x="1" y="21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13" y="23"/>
                  </a:lnTo>
                  <a:lnTo>
                    <a:pt x="16" y="24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21" y="27"/>
                  </a:lnTo>
                  <a:lnTo>
                    <a:pt x="27" y="28"/>
                  </a:lnTo>
                  <a:lnTo>
                    <a:pt x="33" y="31"/>
                  </a:lnTo>
                  <a:lnTo>
                    <a:pt x="34" y="31"/>
                  </a:lnTo>
                  <a:lnTo>
                    <a:pt x="37" y="31"/>
                  </a:lnTo>
                  <a:lnTo>
                    <a:pt x="40" y="33"/>
                  </a:lnTo>
                  <a:lnTo>
                    <a:pt x="43" y="33"/>
                  </a:lnTo>
                  <a:lnTo>
                    <a:pt x="45" y="36"/>
                  </a:lnTo>
                  <a:lnTo>
                    <a:pt x="47" y="36"/>
                  </a:lnTo>
                  <a:lnTo>
                    <a:pt x="48" y="37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3" y="38"/>
                  </a:lnTo>
                  <a:close/>
                  <a:moveTo>
                    <a:pt x="194" y="54"/>
                  </a:moveTo>
                  <a:lnTo>
                    <a:pt x="192" y="56"/>
                  </a:lnTo>
                  <a:lnTo>
                    <a:pt x="192" y="54"/>
                  </a:lnTo>
                  <a:lnTo>
                    <a:pt x="191" y="53"/>
                  </a:lnTo>
                  <a:lnTo>
                    <a:pt x="190" y="51"/>
                  </a:lnTo>
                  <a:lnTo>
                    <a:pt x="190" y="50"/>
                  </a:lnTo>
                  <a:lnTo>
                    <a:pt x="190" y="48"/>
                  </a:lnTo>
                  <a:lnTo>
                    <a:pt x="190" y="47"/>
                  </a:lnTo>
                  <a:lnTo>
                    <a:pt x="190" y="46"/>
                  </a:lnTo>
                  <a:lnTo>
                    <a:pt x="190" y="44"/>
                  </a:lnTo>
                  <a:lnTo>
                    <a:pt x="188" y="41"/>
                  </a:lnTo>
                  <a:lnTo>
                    <a:pt x="184" y="37"/>
                  </a:lnTo>
                  <a:lnTo>
                    <a:pt x="182" y="36"/>
                  </a:lnTo>
                  <a:lnTo>
                    <a:pt x="181" y="34"/>
                  </a:lnTo>
                  <a:lnTo>
                    <a:pt x="181" y="34"/>
                  </a:lnTo>
                  <a:lnTo>
                    <a:pt x="178" y="33"/>
                  </a:lnTo>
                  <a:lnTo>
                    <a:pt x="178" y="33"/>
                  </a:lnTo>
                  <a:lnTo>
                    <a:pt x="177" y="33"/>
                  </a:lnTo>
                  <a:lnTo>
                    <a:pt x="175" y="31"/>
                  </a:lnTo>
                  <a:lnTo>
                    <a:pt x="171" y="28"/>
                  </a:lnTo>
                  <a:lnTo>
                    <a:pt x="170" y="27"/>
                  </a:lnTo>
                  <a:lnTo>
                    <a:pt x="168" y="27"/>
                  </a:lnTo>
                  <a:lnTo>
                    <a:pt x="164" y="23"/>
                  </a:lnTo>
                  <a:lnTo>
                    <a:pt x="162" y="23"/>
                  </a:lnTo>
                  <a:lnTo>
                    <a:pt x="160" y="23"/>
                  </a:lnTo>
                  <a:lnTo>
                    <a:pt x="158" y="21"/>
                  </a:lnTo>
                  <a:lnTo>
                    <a:pt x="160" y="21"/>
                  </a:lnTo>
                  <a:lnTo>
                    <a:pt x="160" y="20"/>
                  </a:lnTo>
                  <a:lnTo>
                    <a:pt x="160" y="18"/>
                  </a:lnTo>
                  <a:lnTo>
                    <a:pt x="162" y="21"/>
                  </a:lnTo>
                  <a:lnTo>
                    <a:pt x="165" y="23"/>
                  </a:lnTo>
                  <a:lnTo>
                    <a:pt x="165" y="24"/>
                  </a:lnTo>
                  <a:lnTo>
                    <a:pt x="167" y="24"/>
                  </a:lnTo>
                  <a:lnTo>
                    <a:pt x="170" y="26"/>
                  </a:lnTo>
                  <a:lnTo>
                    <a:pt x="172" y="26"/>
                  </a:lnTo>
                  <a:lnTo>
                    <a:pt x="174" y="27"/>
                  </a:lnTo>
                  <a:lnTo>
                    <a:pt x="175" y="28"/>
                  </a:lnTo>
                  <a:lnTo>
                    <a:pt x="180" y="30"/>
                  </a:lnTo>
                  <a:lnTo>
                    <a:pt x="180" y="30"/>
                  </a:lnTo>
                  <a:lnTo>
                    <a:pt x="181" y="33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95" y="44"/>
                  </a:lnTo>
                  <a:lnTo>
                    <a:pt x="197" y="46"/>
                  </a:lnTo>
                  <a:lnTo>
                    <a:pt x="197" y="47"/>
                  </a:lnTo>
                  <a:lnTo>
                    <a:pt x="197" y="48"/>
                  </a:lnTo>
                  <a:lnTo>
                    <a:pt x="195" y="50"/>
                  </a:lnTo>
                  <a:lnTo>
                    <a:pt x="195" y="51"/>
                  </a:lnTo>
                  <a:lnTo>
                    <a:pt x="195" y="53"/>
                  </a:lnTo>
                  <a:lnTo>
                    <a:pt x="194" y="54"/>
                  </a:lnTo>
                  <a:close/>
                  <a:moveTo>
                    <a:pt x="154" y="20"/>
                  </a:moveTo>
                  <a:lnTo>
                    <a:pt x="150" y="21"/>
                  </a:lnTo>
                  <a:lnTo>
                    <a:pt x="150" y="20"/>
                  </a:lnTo>
                  <a:lnTo>
                    <a:pt x="148" y="20"/>
                  </a:lnTo>
                  <a:lnTo>
                    <a:pt x="147" y="18"/>
                  </a:lnTo>
                  <a:lnTo>
                    <a:pt x="147" y="17"/>
                  </a:lnTo>
                  <a:lnTo>
                    <a:pt x="145" y="17"/>
                  </a:lnTo>
                  <a:lnTo>
                    <a:pt x="148" y="17"/>
                  </a:lnTo>
                  <a:lnTo>
                    <a:pt x="150" y="16"/>
                  </a:lnTo>
                  <a:lnTo>
                    <a:pt x="154" y="17"/>
                  </a:lnTo>
                  <a:lnTo>
                    <a:pt x="154" y="18"/>
                  </a:lnTo>
                  <a:lnTo>
                    <a:pt x="154" y="18"/>
                  </a:lnTo>
                  <a:lnTo>
                    <a:pt x="154" y="20"/>
                  </a:lnTo>
                  <a:lnTo>
                    <a:pt x="154" y="20"/>
                  </a:lnTo>
                  <a:close/>
                  <a:moveTo>
                    <a:pt x="113" y="14"/>
                  </a:moveTo>
                  <a:lnTo>
                    <a:pt x="111" y="16"/>
                  </a:lnTo>
                  <a:lnTo>
                    <a:pt x="111" y="16"/>
                  </a:lnTo>
                  <a:lnTo>
                    <a:pt x="110" y="16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3" y="14"/>
                  </a:lnTo>
                  <a:close/>
                  <a:moveTo>
                    <a:pt x="100" y="10"/>
                  </a:moveTo>
                  <a:lnTo>
                    <a:pt x="105" y="10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5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3" y="11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97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1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5" y="8"/>
                  </a:lnTo>
                  <a:lnTo>
                    <a:pt x="100" y="10"/>
                  </a:lnTo>
                  <a:close/>
                  <a:moveTo>
                    <a:pt x="142" y="3"/>
                  </a:moveTo>
                  <a:lnTo>
                    <a:pt x="142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0" y="1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1" y="0"/>
                  </a:lnTo>
                  <a:lnTo>
                    <a:pt x="142" y="1"/>
                  </a:lnTo>
                  <a:lnTo>
                    <a:pt x="142" y="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9" name="Google Shape;289;p3"/>
            <p:cNvSpPr/>
            <p:nvPr/>
          </p:nvSpPr>
          <p:spPr>
            <a:xfrm>
              <a:off x="5265663" y="4160116"/>
              <a:ext cx="108000" cy="161968"/>
            </a:xfrm>
            <a:custGeom>
              <a:rect b="b" l="l" r="r" t="t"/>
              <a:pathLst>
                <a:path extrusionOk="0" h="258" w="154">
                  <a:moveTo>
                    <a:pt x="78" y="1"/>
                  </a:moveTo>
                  <a:lnTo>
                    <a:pt x="77" y="3"/>
                  </a:lnTo>
                  <a:lnTo>
                    <a:pt x="77" y="3"/>
                  </a:lnTo>
                  <a:lnTo>
                    <a:pt x="77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1"/>
                  </a:lnTo>
                  <a:close/>
                  <a:moveTo>
                    <a:pt x="79" y="8"/>
                  </a:moveTo>
                  <a:lnTo>
                    <a:pt x="79" y="8"/>
                  </a:lnTo>
                  <a:lnTo>
                    <a:pt x="78" y="8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79" y="8"/>
                  </a:lnTo>
                  <a:close/>
                  <a:moveTo>
                    <a:pt x="72" y="24"/>
                  </a:moveTo>
                  <a:lnTo>
                    <a:pt x="72" y="27"/>
                  </a:lnTo>
                  <a:lnTo>
                    <a:pt x="71" y="27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4"/>
                  </a:lnTo>
                  <a:lnTo>
                    <a:pt x="71" y="24"/>
                  </a:lnTo>
                  <a:lnTo>
                    <a:pt x="72" y="24"/>
                  </a:lnTo>
                  <a:close/>
                  <a:moveTo>
                    <a:pt x="68" y="30"/>
                  </a:moveTo>
                  <a:lnTo>
                    <a:pt x="68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30"/>
                  </a:lnTo>
                  <a:close/>
                  <a:moveTo>
                    <a:pt x="78" y="32"/>
                  </a:moveTo>
                  <a:lnTo>
                    <a:pt x="78" y="34"/>
                  </a:lnTo>
                  <a:lnTo>
                    <a:pt x="77" y="34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8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8" y="32"/>
                  </a:lnTo>
                  <a:close/>
                  <a:moveTo>
                    <a:pt x="65" y="37"/>
                  </a:moveTo>
                  <a:lnTo>
                    <a:pt x="68" y="38"/>
                  </a:lnTo>
                  <a:lnTo>
                    <a:pt x="74" y="41"/>
                  </a:lnTo>
                  <a:lnTo>
                    <a:pt x="75" y="42"/>
                  </a:lnTo>
                  <a:lnTo>
                    <a:pt x="78" y="42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1" y="41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5" y="44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5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5" y="58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1"/>
                  </a:lnTo>
                  <a:lnTo>
                    <a:pt x="88" y="61"/>
                  </a:lnTo>
                  <a:lnTo>
                    <a:pt x="88" y="62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7" y="67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2" y="78"/>
                  </a:lnTo>
                  <a:lnTo>
                    <a:pt x="79" y="78"/>
                  </a:lnTo>
                  <a:lnTo>
                    <a:pt x="77" y="80"/>
                  </a:lnTo>
                  <a:lnTo>
                    <a:pt x="75" y="81"/>
                  </a:lnTo>
                  <a:lnTo>
                    <a:pt x="74" y="82"/>
                  </a:lnTo>
                  <a:lnTo>
                    <a:pt x="72" y="84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2" y="90"/>
                  </a:lnTo>
                  <a:lnTo>
                    <a:pt x="71" y="91"/>
                  </a:lnTo>
                  <a:lnTo>
                    <a:pt x="71" y="91"/>
                  </a:lnTo>
                  <a:lnTo>
                    <a:pt x="71" y="92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2" y="97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4" y="102"/>
                  </a:lnTo>
                  <a:lnTo>
                    <a:pt x="74" y="104"/>
                  </a:lnTo>
                  <a:lnTo>
                    <a:pt x="74" y="105"/>
                  </a:lnTo>
                  <a:lnTo>
                    <a:pt x="77" y="110"/>
                  </a:lnTo>
                  <a:lnTo>
                    <a:pt x="77" y="111"/>
                  </a:lnTo>
                  <a:lnTo>
                    <a:pt x="77" y="112"/>
                  </a:lnTo>
                  <a:lnTo>
                    <a:pt x="78" y="112"/>
                  </a:lnTo>
                  <a:lnTo>
                    <a:pt x="78" y="114"/>
                  </a:lnTo>
                  <a:lnTo>
                    <a:pt x="81" y="115"/>
                  </a:lnTo>
                  <a:lnTo>
                    <a:pt x="82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5" y="114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5" y="111"/>
                  </a:lnTo>
                  <a:lnTo>
                    <a:pt x="87" y="110"/>
                  </a:lnTo>
                  <a:lnTo>
                    <a:pt x="88" y="108"/>
                  </a:lnTo>
                  <a:lnTo>
                    <a:pt x="89" y="108"/>
                  </a:lnTo>
                  <a:lnTo>
                    <a:pt x="92" y="110"/>
                  </a:lnTo>
                  <a:lnTo>
                    <a:pt x="94" y="110"/>
                  </a:lnTo>
                  <a:lnTo>
                    <a:pt x="95" y="111"/>
                  </a:lnTo>
                  <a:lnTo>
                    <a:pt x="97" y="112"/>
                  </a:lnTo>
                  <a:lnTo>
                    <a:pt x="97" y="114"/>
                  </a:lnTo>
                  <a:lnTo>
                    <a:pt x="97" y="115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8" y="118"/>
                  </a:lnTo>
                  <a:lnTo>
                    <a:pt x="99" y="118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1" y="112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8" y="115"/>
                  </a:lnTo>
                  <a:lnTo>
                    <a:pt x="109" y="117"/>
                  </a:lnTo>
                  <a:lnTo>
                    <a:pt x="109" y="117"/>
                  </a:lnTo>
                  <a:lnTo>
                    <a:pt x="109" y="118"/>
                  </a:lnTo>
                  <a:lnTo>
                    <a:pt x="105" y="118"/>
                  </a:lnTo>
                  <a:lnTo>
                    <a:pt x="105" y="120"/>
                  </a:lnTo>
                  <a:lnTo>
                    <a:pt x="105" y="121"/>
                  </a:lnTo>
                  <a:lnTo>
                    <a:pt x="108" y="122"/>
                  </a:lnTo>
                  <a:lnTo>
                    <a:pt x="108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8" y="128"/>
                  </a:lnTo>
                  <a:lnTo>
                    <a:pt x="109" y="128"/>
                  </a:lnTo>
                  <a:lnTo>
                    <a:pt x="111" y="128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4"/>
                  </a:lnTo>
                  <a:lnTo>
                    <a:pt x="112" y="137"/>
                  </a:lnTo>
                  <a:lnTo>
                    <a:pt x="111" y="137"/>
                  </a:lnTo>
                  <a:lnTo>
                    <a:pt x="109" y="135"/>
                  </a:lnTo>
                  <a:lnTo>
                    <a:pt x="111" y="134"/>
                  </a:lnTo>
                  <a:lnTo>
                    <a:pt x="111" y="131"/>
                  </a:lnTo>
                  <a:lnTo>
                    <a:pt x="111" y="131"/>
                  </a:lnTo>
                  <a:lnTo>
                    <a:pt x="109" y="131"/>
                  </a:lnTo>
                  <a:lnTo>
                    <a:pt x="109" y="132"/>
                  </a:lnTo>
                  <a:lnTo>
                    <a:pt x="108" y="132"/>
                  </a:lnTo>
                  <a:lnTo>
                    <a:pt x="107" y="131"/>
                  </a:lnTo>
                  <a:lnTo>
                    <a:pt x="102" y="130"/>
                  </a:lnTo>
                  <a:lnTo>
                    <a:pt x="101" y="130"/>
                  </a:lnTo>
                  <a:lnTo>
                    <a:pt x="101" y="128"/>
                  </a:lnTo>
                  <a:lnTo>
                    <a:pt x="101" y="127"/>
                  </a:lnTo>
                  <a:lnTo>
                    <a:pt x="99" y="124"/>
                  </a:lnTo>
                  <a:lnTo>
                    <a:pt x="99" y="124"/>
                  </a:lnTo>
                  <a:lnTo>
                    <a:pt x="98" y="122"/>
                  </a:lnTo>
                  <a:lnTo>
                    <a:pt x="94" y="121"/>
                  </a:lnTo>
                  <a:lnTo>
                    <a:pt x="94" y="120"/>
                  </a:lnTo>
                  <a:lnTo>
                    <a:pt x="92" y="118"/>
                  </a:lnTo>
                  <a:lnTo>
                    <a:pt x="89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7"/>
                  </a:lnTo>
                  <a:lnTo>
                    <a:pt x="88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89" y="121"/>
                  </a:lnTo>
                  <a:lnTo>
                    <a:pt x="89" y="122"/>
                  </a:lnTo>
                  <a:lnTo>
                    <a:pt x="91" y="124"/>
                  </a:lnTo>
                  <a:lnTo>
                    <a:pt x="91" y="127"/>
                  </a:lnTo>
                  <a:lnTo>
                    <a:pt x="89" y="127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88" y="124"/>
                  </a:lnTo>
                  <a:lnTo>
                    <a:pt x="87" y="122"/>
                  </a:lnTo>
                  <a:lnTo>
                    <a:pt x="87" y="121"/>
                  </a:lnTo>
                  <a:lnTo>
                    <a:pt x="84" y="120"/>
                  </a:lnTo>
                  <a:lnTo>
                    <a:pt x="81" y="117"/>
                  </a:lnTo>
                  <a:lnTo>
                    <a:pt x="77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4" y="115"/>
                  </a:lnTo>
                  <a:lnTo>
                    <a:pt x="72" y="117"/>
                  </a:lnTo>
                  <a:lnTo>
                    <a:pt x="71" y="117"/>
                  </a:lnTo>
                  <a:lnTo>
                    <a:pt x="71" y="118"/>
                  </a:lnTo>
                  <a:lnTo>
                    <a:pt x="69" y="120"/>
                  </a:lnTo>
                  <a:lnTo>
                    <a:pt x="67" y="120"/>
                  </a:lnTo>
                  <a:lnTo>
                    <a:pt x="65" y="120"/>
                  </a:lnTo>
                  <a:lnTo>
                    <a:pt x="64" y="118"/>
                  </a:lnTo>
                  <a:lnTo>
                    <a:pt x="62" y="118"/>
                  </a:lnTo>
                  <a:lnTo>
                    <a:pt x="61" y="115"/>
                  </a:lnTo>
                  <a:lnTo>
                    <a:pt x="59" y="115"/>
                  </a:lnTo>
                  <a:lnTo>
                    <a:pt x="58" y="117"/>
                  </a:lnTo>
                  <a:lnTo>
                    <a:pt x="58" y="114"/>
                  </a:lnTo>
                  <a:lnTo>
                    <a:pt x="58" y="111"/>
                  </a:lnTo>
                  <a:lnTo>
                    <a:pt x="58" y="110"/>
                  </a:lnTo>
                  <a:lnTo>
                    <a:pt x="59" y="110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2" y="104"/>
                  </a:lnTo>
                  <a:lnTo>
                    <a:pt x="62" y="102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58" y="101"/>
                  </a:lnTo>
                  <a:lnTo>
                    <a:pt x="57" y="100"/>
                  </a:lnTo>
                  <a:lnTo>
                    <a:pt x="57" y="101"/>
                  </a:lnTo>
                  <a:lnTo>
                    <a:pt x="57" y="104"/>
                  </a:lnTo>
                  <a:lnTo>
                    <a:pt x="58" y="105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4" y="105"/>
                  </a:lnTo>
                  <a:lnTo>
                    <a:pt x="54" y="104"/>
                  </a:lnTo>
                  <a:lnTo>
                    <a:pt x="52" y="102"/>
                  </a:lnTo>
                  <a:lnTo>
                    <a:pt x="52" y="101"/>
                  </a:lnTo>
                  <a:lnTo>
                    <a:pt x="51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8" y="98"/>
                  </a:lnTo>
                  <a:lnTo>
                    <a:pt x="48" y="95"/>
                  </a:lnTo>
                  <a:lnTo>
                    <a:pt x="48" y="94"/>
                  </a:lnTo>
                  <a:lnTo>
                    <a:pt x="47" y="91"/>
                  </a:lnTo>
                  <a:lnTo>
                    <a:pt x="47" y="90"/>
                  </a:lnTo>
                  <a:lnTo>
                    <a:pt x="47" y="84"/>
                  </a:lnTo>
                  <a:lnTo>
                    <a:pt x="47" y="82"/>
                  </a:lnTo>
                  <a:lnTo>
                    <a:pt x="45" y="82"/>
                  </a:lnTo>
                  <a:lnTo>
                    <a:pt x="45" y="81"/>
                  </a:lnTo>
                  <a:lnTo>
                    <a:pt x="44" y="81"/>
                  </a:lnTo>
                  <a:lnTo>
                    <a:pt x="44" y="80"/>
                  </a:lnTo>
                  <a:lnTo>
                    <a:pt x="44" y="77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8" y="77"/>
                  </a:lnTo>
                  <a:lnTo>
                    <a:pt x="48" y="78"/>
                  </a:lnTo>
                  <a:lnTo>
                    <a:pt x="49" y="80"/>
                  </a:lnTo>
                  <a:lnTo>
                    <a:pt x="51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78"/>
                  </a:lnTo>
                  <a:lnTo>
                    <a:pt x="54" y="77"/>
                  </a:lnTo>
                  <a:lnTo>
                    <a:pt x="54" y="74"/>
                  </a:lnTo>
                  <a:lnTo>
                    <a:pt x="52" y="72"/>
                  </a:lnTo>
                  <a:lnTo>
                    <a:pt x="52" y="70"/>
                  </a:lnTo>
                  <a:lnTo>
                    <a:pt x="54" y="68"/>
                  </a:lnTo>
                  <a:lnTo>
                    <a:pt x="54" y="65"/>
                  </a:lnTo>
                  <a:lnTo>
                    <a:pt x="55" y="62"/>
                  </a:lnTo>
                  <a:lnTo>
                    <a:pt x="55" y="60"/>
                  </a:lnTo>
                  <a:lnTo>
                    <a:pt x="55" y="58"/>
                  </a:lnTo>
                  <a:lnTo>
                    <a:pt x="55" y="57"/>
                  </a:lnTo>
                  <a:lnTo>
                    <a:pt x="54" y="55"/>
                  </a:lnTo>
                  <a:lnTo>
                    <a:pt x="54" y="54"/>
                  </a:lnTo>
                  <a:lnTo>
                    <a:pt x="57" y="45"/>
                  </a:lnTo>
                  <a:lnTo>
                    <a:pt x="57" y="42"/>
                  </a:lnTo>
                  <a:lnTo>
                    <a:pt x="57" y="41"/>
                  </a:lnTo>
                  <a:lnTo>
                    <a:pt x="58" y="40"/>
                  </a:lnTo>
                  <a:lnTo>
                    <a:pt x="59" y="38"/>
                  </a:lnTo>
                  <a:lnTo>
                    <a:pt x="61" y="37"/>
                  </a:lnTo>
                  <a:lnTo>
                    <a:pt x="62" y="37"/>
                  </a:lnTo>
                  <a:lnTo>
                    <a:pt x="62" y="38"/>
                  </a:lnTo>
                  <a:lnTo>
                    <a:pt x="65" y="37"/>
                  </a:lnTo>
                  <a:lnTo>
                    <a:pt x="65" y="37"/>
                  </a:lnTo>
                  <a:close/>
                  <a:moveTo>
                    <a:pt x="81" y="97"/>
                  </a:moveTo>
                  <a:lnTo>
                    <a:pt x="81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79" y="100"/>
                  </a:lnTo>
                  <a:lnTo>
                    <a:pt x="81" y="101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78" y="100"/>
                  </a:lnTo>
                  <a:lnTo>
                    <a:pt x="78" y="98"/>
                  </a:lnTo>
                  <a:lnTo>
                    <a:pt x="77" y="98"/>
                  </a:lnTo>
                  <a:lnTo>
                    <a:pt x="78" y="97"/>
                  </a:lnTo>
                  <a:lnTo>
                    <a:pt x="79" y="97"/>
                  </a:lnTo>
                  <a:lnTo>
                    <a:pt x="81" y="97"/>
                  </a:lnTo>
                  <a:close/>
                  <a:moveTo>
                    <a:pt x="82" y="112"/>
                  </a:moveTo>
                  <a:lnTo>
                    <a:pt x="82" y="114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79" y="110"/>
                  </a:lnTo>
                  <a:lnTo>
                    <a:pt x="82" y="112"/>
                  </a:lnTo>
                  <a:close/>
                  <a:moveTo>
                    <a:pt x="118" y="120"/>
                  </a:move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5" y="121"/>
                  </a:lnTo>
                  <a:lnTo>
                    <a:pt x="112" y="121"/>
                  </a:lnTo>
                  <a:lnTo>
                    <a:pt x="112" y="120"/>
                  </a:lnTo>
                  <a:lnTo>
                    <a:pt x="114" y="117"/>
                  </a:lnTo>
                  <a:lnTo>
                    <a:pt x="114" y="114"/>
                  </a:lnTo>
                  <a:lnTo>
                    <a:pt x="115" y="114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7" y="115"/>
                  </a:lnTo>
                  <a:lnTo>
                    <a:pt x="118" y="115"/>
                  </a:lnTo>
                  <a:lnTo>
                    <a:pt x="118" y="115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close/>
                  <a:moveTo>
                    <a:pt x="52" y="118"/>
                  </a:moveTo>
                  <a:lnTo>
                    <a:pt x="52" y="120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51" y="117"/>
                  </a:lnTo>
                  <a:lnTo>
                    <a:pt x="52" y="118"/>
                  </a:lnTo>
                  <a:close/>
                  <a:moveTo>
                    <a:pt x="78" y="121"/>
                  </a:moveTo>
                  <a:lnTo>
                    <a:pt x="79" y="121"/>
                  </a:lnTo>
                  <a:lnTo>
                    <a:pt x="79" y="121"/>
                  </a:lnTo>
                  <a:lnTo>
                    <a:pt x="82" y="122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1" y="125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8" y="125"/>
                  </a:lnTo>
                  <a:lnTo>
                    <a:pt x="77" y="125"/>
                  </a:lnTo>
                  <a:lnTo>
                    <a:pt x="77" y="124"/>
                  </a:lnTo>
                  <a:lnTo>
                    <a:pt x="78" y="121"/>
                  </a:lnTo>
                  <a:lnTo>
                    <a:pt x="78" y="121"/>
                  </a:lnTo>
                  <a:close/>
                  <a:moveTo>
                    <a:pt x="59" y="122"/>
                  </a:moveTo>
                  <a:lnTo>
                    <a:pt x="59" y="122"/>
                  </a:lnTo>
                  <a:lnTo>
                    <a:pt x="62" y="122"/>
                  </a:lnTo>
                  <a:lnTo>
                    <a:pt x="64" y="122"/>
                  </a:lnTo>
                  <a:lnTo>
                    <a:pt x="64" y="124"/>
                  </a:lnTo>
                  <a:lnTo>
                    <a:pt x="65" y="124"/>
                  </a:lnTo>
                  <a:lnTo>
                    <a:pt x="67" y="124"/>
                  </a:lnTo>
                  <a:lnTo>
                    <a:pt x="67" y="122"/>
                  </a:lnTo>
                  <a:lnTo>
                    <a:pt x="68" y="124"/>
                  </a:lnTo>
                  <a:lnTo>
                    <a:pt x="69" y="125"/>
                  </a:lnTo>
                  <a:lnTo>
                    <a:pt x="71" y="127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30"/>
                  </a:lnTo>
                  <a:lnTo>
                    <a:pt x="71" y="131"/>
                  </a:lnTo>
                  <a:lnTo>
                    <a:pt x="72" y="132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1" y="138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1"/>
                  </a:lnTo>
                  <a:lnTo>
                    <a:pt x="71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7" y="142"/>
                  </a:lnTo>
                  <a:lnTo>
                    <a:pt x="65" y="142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4" y="140"/>
                  </a:lnTo>
                  <a:lnTo>
                    <a:pt x="62" y="138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2" y="135"/>
                  </a:lnTo>
                  <a:lnTo>
                    <a:pt x="61" y="134"/>
                  </a:lnTo>
                  <a:lnTo>
                    <a:pt x="61" y="134"/>
                  </a:lnTo>
                  <a:lnTo>
                    <a:pt x="61" y="132"/>
                  </a:lnTo>
                  <a:lnTo>
                    <a:pt x="59" y="131"/>
                  </a:lnTo>
                  <a:lnTo>
                    <a:pt x="59" y="128"/>
                  </a:lnTo>
                  <a:lnTo>
                    <a:pt x="58" y="128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5" y="125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5" y="121"/>
                  </a:lnTo>
                  <a:lnTo>
                    <a:pt x="58" y="122"/>
                  </a:lnTo>
                  <a:lnTo>
                    <a:pt x="59" y="122"/>
                  </a:lnTo>
                  <a:close/>
                  <a:moveTo>
                    <a:pt x="101" y="132"/>
                  </a:moveTo>
                  <a:lnTo>
                    <a:pt x="102" y="135"/>
                  </a:lnTo>
                  <a:lnTo>
                    <a:pt x="101" y="134"/>
                  </a:lnTo>
                  <a:lnTo>
                    <a:pt x="98" y="132"/>
                  </a:lnTo>
                  <a:lnTo>
                    <a:pt x="97" y="131"/>
                  </a:lnTo>
                  <a:lnTo>
                    <a:pt x="95" y="130"/>
                  </a:lnTo>
                  <a:lnTo>
                    <a:pt x="95" y="130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9" y="132"/>
                  </a:lnTo>
                  <a:lnTo>
                    <a:pt x="101" y="132"/>
                  </a:lnTo>
                  <a:close/>
                  <a:moveTo>
                    <a:pt x="108" y="140"/>
                  </a:moveTo>
                  <a:lnTo>
                    <a:pt x="108" y="141"/>
                  </a:lnTo>
                  <a:lnTo>
                    <a:pt x="108" y="140"/>
                  </a:lnTo>
                  <a:lnTo>
                    <a:pt x="107" y="137"/>
                  </a:lnTo>
                  <a:lnTo>
                    <a:pt x="105" y="137"/>
                  </a:lnTo>
                  <a:lnTo>
                    <a:pt x="107" y="135"/>
                  </a:lnTo>
                  <a:lnTo>
                    <a:pt x="108" y="137"/>
                  </a:lnTo>
                  <a:lnTo>
                    <a:pt x="108" y="140"/>
                  </a:lnTo>
                  <a:close/>
                  <a:moveTo>
                    <a:pt x="81" y="141"/>
                  </a:moveTo>
                  <a:lnTo>
                    <a:pt x="81" y="145"/>
                  </a:lnTo>
                  <a:lnTo>
                    <a:pt x="79" y="144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79" y="141"/>
                  </a:lnTo>
                  <a:lnTo>
                    <a:pt x="79" y="140"/>
                  </a:lnTo>
                  <a:lnTo>
                    <a:pt x="79" y="140"/>
                  </a:lnTo>
                  <a:lnTo>
                    <a:pt x="79" y="137"/>
                  </a:lnTo>
                  <a:lnTo>
                    <a:pt x="82" y="135"/>
                  </a:lnTo>
                  <a:lnTo>
                    <a:pt x="82" y="135"/>
                  </a:lnTo>
                  <a:lnTo>
                    <a:pt x="82" y="137"/>
                  </a:lnTo>
                  <a:lnTo>
                    <a:pt x="82" y="138"/>
                  </a:lnTo>
                  <a:lnTo>
                    <a:pt x="81" y="141"/>
                  </a:lnTo>
                  <a:close/>
                  <a:moveTo>
                    <a:pt x="85" y="138"/>
                  </a:moveTo>
                  <a:lnTo>
                    <a:pt x="85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84" y="137"/>
                  </a:lnTo>
                  <a:lnTo>
                    <a:pt x="85" y="137"/>
                  </a:lnTo>
                  <a:lnTo>
                    <a:pt x="85" y="138"/>
                  </a:lnTo>
                  <a:close/>
                  <a:moveTo>
                    <a:pt x="108" y="142"/>
                  </a:moveTo>
                  <a:lnTo>
                    <a:pt x="111" y="144"/>
                  </a:lnTo>
                  <a:lnTo>
                    <a:pt x="112" y="147"/>
                  </a:lnTo>
                  <a:lnTo>
                    <a:pt x="112" y="150"/>
                  </a:lnTo>
                  <a:lnTo>
                    <a:pt x="112" y="151"/>
                  </a:lnTo>
                  <a:lnTo>
                    <a:pt x="112" y="150"/>
                  </a:lnTo>
                  <a:lnTo>
                    <a:pt x="109" y="148"/>
                  </a:lnTo>
                  <a:lnTo>
                    <a:pt x="108" y="148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5" y="145"/>
                  </a:lnTo>
                  <a:lnTo>
                    <a:pt x="105" y="144"/>
                  </a:lnTo>
                  <a:lnTo>
                    <a:pt x="104" y="142"/>
                  </a:lnTo>
                  <a:lnTo>
                    <a:pt x="102" y="144"/>
                  </a:lnTo>
                  <a:lnTo>
                    <a:pt x="101" y="145"/>
                  </a:lnTo>
                  <a:lnTo>
                    <a:pt x="98" y="148"/>
                  </a:lnTo>
                  <a:lnTo>
                    <a:pt x="98" y="147"/>
                  </a:lnTo>
                  <a:lnTo>
                    <a:pt x="99" y="145"/>
                  </a:lnTo>
                  <a:lnTo>
                    <a:pt x="99" y="141"/>
                  </a:lnTo>
                  <a:lnTo>
                    <a:pt x="101" y="140"/>
                  </a:lnTo>
                  <a:lnTo>
                    <a:pt x="99" y="138"/>
                  </a:lnTo>
                  <a:lnTo>
                    <a:pt x="99" y="137"/>
                  </a:lnTo>
                  <a:lnTo>
                    <a:pt x="101" y="138"/>
                  </a:lnTo>
                  <a:lnTo>
                    <a:pt x="104" y="138"/>
                  </a:lnTo>
                  <a:lnTo>
                    <a:pt x="105" y="140"/>
                  </a:lnTo>
                  <a:lnTo>
                    <a:pt x="105" y="140"/>
                  </a:lnTo>
                  <a:lnTo>
                    <a:pt x="108" y="142"/>
                  </a:lnTo>
                  <a:close/>
                  <a:moveTo>
                    <a:pt x="132" y="138"/>
                  </a:moveTo>
                  <a:lnTo>
                    <a:pt x="134" y="140"/>
                  </a:lnTo>
                  <a:lnTo>
                    <a:pt x="134" y="140"/>
                  </a:lnTo>
                  <a:lnTo>
                    <a:pt x="134" y="141"/>
                  </a:lnTo>
                  <a:lnTo>
                    <a:pt x="134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6" y="145"/>
                  </a:lnTo>
                  <a:lnTo>
                    <a:pt x="135" y="147"/>
                  </a:lnTo>
                  <a:lnTo>
                    <a:pt x="135" y="150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6" y="152"/>
                  </a:lnTo>
                  <a:lnTo>
                    <a:pt x="136" y="154"/>
                  </a:lnTo>
                  <a:lnTo>
                    <a:pt x="138" y="157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6" y="160"/>
                  </a:lnTo>
                  <a:lnTo>
                    <a:pt x="138" y="160"/>
                  </a:lnTo>
                  <a:lnTo>
                    <a:pt x="139" y="160"/>
                  </a:lnTo>
                  <a:lnTo>
                    <a:pt x="139" y="161"/>
                  </a:lnTo>
                  <a:lnTo>
                    <a:pt x="139" y="162"/>
                  </a:lnTo>
                  <a:lnTo>
                    <a:pt x="139" y="161"/>
                  </a:lnTo>
                  <a:lnTo>
                    <a:pt x="138" y="161"/>
                  </a:lnTo>
                  <a:lnTo>
                    <a:pt x="135" y="161"/>
                  </a:lnTo>
                  <a:lnTo>
                    <a:pt x="134" y="161"/>
                  </a:lnTo>
                  <a:lnTo>
                    <a:pt x="132" y="161"/>
                  </a:lnTo>
                  <a:lnTo>
                    <a:pt x="131" y="158"/>
                  </a:lnTo>
                  <a:lnTo>
                    <a:pt x="129" y="158"/>
                  </a:lnTo>
                  <a:lnTo>
                    <a:pt x="128" y="157"/>
                  </a:lnTo>
                  <a:lnTo>
                    <a:pt x="127" y="155"/>
                  </a:lnTo>
                  <a:lnTo>
                    <a:pt x="127" y="154"/>
                  </a:lnTo>
                  <a:lnTo>
                    <a:pt x="128" y="152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7" y="151"/>
                  </a:lnTo>
                  <a:lnTo>
                    <a:pt x="127" y="150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4" y="148"/>
                  </a:lnTo>
                  <a:lnTo>
                    <a:pt x="122" y="147"/>
                  </a:lnTo>
                  <a:lnTo>
                    <a:pt x="121" y="145"/>
                  </a:lnTo>
                  <a:lnTo>
                    <a:pt x="121" y="145"/>
                  </a:lnTo>
                  <a:lnTo>
                    <a:pt x="119" y="144"/>
                  </a:lnTo>
                  <a:lnTo>
                    <a:pt x="118" y="142"/>
                  </a:lnTo>
                  <a:lnTo>
                    <a:pt x="117" y="140"/>
                  </a:lnTo>
                  <a:lnTo>
                    <a:pt x="117" y="137"/>
                  </a:lnTo>
                  <a:lnTo>
                    <a:pt x="121" y="138"/>
                  </a:lnTo>
                  <a:lnTo>
                    <a:pt x="125" y="138"/>
                  </a:lnTo>
                  <a:lnTo>
                    <a:pt x="131" y="137"/>
                  </a:lnTo>
                  <a:lnTo>
                    <a:pt x="132" y="138"/>
                  </a:lnTo>
                  <a:close/>
                  <a:moveTo>
                    <a:pt x="91" y="141"/>
                  </a:moveTo>
                  <a:lnTo>
                    <a:pt x="89" y="142"/>
                  </a:lnTo>
                  <a:lnTo>
                    <a:pt x="88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8" y="138"/>
                  </a:lnTo>
                  <a:lnTo>
                    <a:pt x="89" y="138"/>
                  </a:lnTo>
                  <a:lnTo>
                    <a:pt x="91" y="140"/>
                  </a:lnTo>
                  <a:lnTo>
                    <a:pt x="91" y="141"/>
                  </a:lnTo>
                  <a:lnTo>
                    <a:pt x="91" y="141"/>
                  </a:lnTo>
                  <a:close/>
                  <a:moveTo>
                    <a:pt x="49" y="144"/>
                  </a:moveTo>
                  <a:lnTo>
                    <a:pt x="51" y="144"/>
                  </a:lnTo>
                  <a:lnTo>
                    <a:pt x="51" y="144"/>
                  </a:lnTo>
                  <a:lnTo>
                    <a:pt x="51" y="142"/>
                  </a:lnTo>
                  <a:lnTo>
                    <a:pt x="52" y="144"/>
                  </a:lnTo>
                  <a:lnTo>
                    <a:pt x="54" y="145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1" y="147"/>
                  </a:lnTo>
                  <a:lnTo>
                    <a:pt x="49" y="147"/>
                  </a:lnTo>
                  <a:lnTo>
                    <a:pt x="48" y="147"/>
                  </a:lnTo>
                  <a:lnTo>
                    <a:pt x="47" y="145"/>
                  </a:lnTo>
                  <a:lnTo>
                    <a:pt x="47" y="144"/>
                  </a:lnTo>
                  <a:lnTo>
                    <a:pt x="45" y="144"/>
                  </a:lnTo>
                  <a:lnTo>
                    <a:pt x="45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1"/>
                  </a:lnTo>
                  <a:lnTo>
                    <a:pt x="47" y="141"/>
                  </a:lnTo>
                  <a:lnTo>
                    <a:pt x="47" y="141"/>
                  </a:lnTo>
                  <a:lnTo>
                    <a:pt x="48" y="142"/>
                  </a:lnTo>
                  <a:lnTo>
                    <a:pt x="49" y="144"/>
                  </a:lnTo>
                  <a:lnTo>
                    <a:pt x="49" y="144"/>
                  </a:lnTo>
                  <a:close/>
                  <a:moveTo>
                    <a:pt x="48" y="151"/>
                  </a:moveTo>
                  <a:lnTo>
                    <a:pt x="48" y="152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0"/>
                  </a:lnTo>
                  <a:lnTo>
                    <a:pt x="45" y="147"/>
                  </a:lnTo>
                  <a:lnTo>
                    <a:pt x="47" y="147"/>
                  </a:lnTo>
                  <a:lnTo>
                    <a:pt x="47" y="147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49" y="148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8" y="151"/>
                  </a:lnTo>
                  <a:close/>
                  <a:moveTo>
                    <a:pt x="88" y="152"/>
                  </a:moveTo>
                  <a:lnTo>
                    <a:pt x="89" y="154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5" y="154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8" y="155"/>
                  </a:lnTo>
                  <a:lnTo>
                    <a:pt x="98" y="157"/>
                  </a:lnTo>
                  <a:lnTo>
                    <a:pt x="98" y="158"/>
                  </a:lnTo>
                  <a:lnTo>
                    <a:pt x="97" y="160"/>
                  </a:lnTo>
                  <a:lnTo>
                    <a:pt x="97" y="161"/>
                  </a:lnTo>
                  <a:lnTo>
                    <a:pt x="95" y="162"/>
                  </a:lnTo>
                  <a:lnTo>
                    <a:pt x="94" y="162"/>
                  </a:lnTo>
                  <a:lnTo>
                    <a:pt x="92" y="162"/>
                  </a:lnTo>
                  <a:lnTo>
                    <a:pt x="92" y="164"/>
                  </a:lnTo>
                  <a:lnTo>
                    <a:pt x="92" y="165"/>
                  </a:lnTo>
                  <a:lnTo>
                    <a:pt x="92" y="165"/>
                  </a:lnTo>
                  <a:lnTo>
                    <a:pt x="91" y="167"/>
                  </a:lnTo>
                  <a:lnTo>
                    <a:pt x="88" y="168"/>
                  </a:lnTo>
                  <a:lnTo>
                    <a:pt x="84" y="170"/>
                  </a:lnTo>
                  <a:lnTo>
                    <a:pt x="82" y="170"/>
                  </a:lnTo>
                  <a:lnTo>
                    <a:pt x="81" y="171"/>
                  </a:lnTo>
                  <a:lnTo>
                    <a:pt x="79" y="171"/>
                  </a:lnTo>
                  <a:lnTo>
                    <a:pt x="79" y="172"/>
                  </a:lnTo>
                  <a:lnTo>
                    <a:pt x="79" y="171"/>
                  </a:lnTo>
                  <a:lnTo>
                    <a:pt x="79" y="171"/>
                  </a:lnTo>
                  <a:lnTo>
                    <a:pt x="79" y="168"/>
                  </a:lnTo>
                  <a:lnTo>
                    <a:pt x="79" y="168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1" y="158"/>
                  </a:lnTo>
                  <a:lnTo>
                    <a:pt x="82" y="152"/>
                  </a:lnTo>
                  <a:lnTo>
                    <a:pt x="81" y="152"/>
                  </a:lnTo>
                  <a:lnTo>
                    <a:pt x="81" y="151"/>
                  </a:lnTo>
                  <a:lnTo>
                    <a:pt x="79" y="151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79" y="148"/>
                  </a:lnTo>
                  <a:lnTo>
                    <a:pt x="81" y="148"/>
                  </a:lnTo>
                  <a:lnTo>
                    <a:pt x="81" y="150"/>
                  </a:lnTo>
                  <a:lnTo>
                    <a:pt x="85" y="150"/>
                  </a:lnTo>
                  <a:lnTo>
                    <a:pt x="87" y="151"/>
                  </a:lnTo>
                  <a:lnTo>
                    <a:pt x="88" y="152"/>
                  </a:lnTo>
                  <a:close/>
                  <a:moveTo>
                    <a:pt x="125" y="152"/>
                  </a:moveTo>
                  <a:lnTo>
                    <a:pt x="125" y="154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4" y="152"/>
                  </a:lnTo>
                  <a:lnTo>
                    <a:pt x="124" y="151"/>
                  </a:lnTo>
                  <a:lnTo>
                    <a:pt x="125" y="151"/>
                  </a:lnTo>
                  <a:lnTo>
                    <a:pt x="125" y="152"/>
                  </a:lnTo>
                  <a:lnTo>
                    <a:pt x="125" y="152"/>
                  </a:lnTo>
                  <a:close/>
                  <a:moveTo>
                    <a:pt x="122" y="155"/>
                  </a:moveTo>
                  <a:lnTo>
                    <a:pt x="119" y="155"/>
                  </a:lnTo>
                  <a:lnTo>
                    <a:pt x="119" y="154"/>
                  </a:lnTo>
                  <a:lnTo>
                    <a:pt x="118" y="152"/>
                  </a:lnTo>
                  <a:lnTo>
                    <a:pt x="119" y="151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2" y="154"/>
                  </a:lnTo>
                  <a:lnTo>
                    <a:pt x="122" y="155"/>
                  </a:lnTo>
                  <a:close/>
                  <a:moveTo>
                    <a:pt x="121" y="157"/>
                  </a:moveTo>
                  <a:lnTo>
                    <a:pt x="122" y="158"/>
                  </a:lnTo>
                  <a:lnTo>
                    <a:pt x="124" y="158"/>
                  </a:lnTo>
                  <a:lnTo>
                    <a:pt x="125" y="157"/>
                  </a:lnTo>
                  <a:lnTo>
                    <a:pt x="127" y="157"/>
                  </a:lnTo>
                  <a:lnTo>
                    <a:pt x="128" y="158"/>
                  </a:lnTo>
                  <a:lnTo>
                    <a:pt x="128" y="160"/>
                  </a:lnTo>
                  <a:lnTo>
                    <a:pt x="129" y="161"/>
                  </a:lnTo>
                  <a:lnTo>
                    <a:pt x="128" y="164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9" y="167"/>
                  </a:lnTo>
                  <a:lnTo>
                    <a:pt x="129" y="168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1"/>
                  </a:lnTo>
                  <a:lnTo>
                    <a:pt x="132" y="174"/>
                  </a:lnTo>
                  <a:lnTo>
                    <a:pt x="132" y="174"/>
                  </a:lnTo>
                  <a:lnTo>
                    <a:pt x="132" y="175"/>
                  </a:lnTo>
                  <a:lnTo>
                    <a:pt x="131" y="175"/>
                  </a:lnTo>
                  <a:lnTo>
                    <a:pt x="131" y="175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4"/>
                  </a:lnTo>
                  <a:lnTo>
                    <a:pt x="128" y="172"/>
                  </a:lnTo>
                  <a:lnTo>
                    <a:pt x="128" y="175"/>
                  </a:lnTo>
                  <a:lnTo>
                    <a:pt x="128" y="177"/>
                  </a:lnTo>
                  <a:lnTo>
                    <a:pt x="128" y="178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5" y="174"/>
                  </a:lnTo>
                  <a:lnTo>
                    <a:pt x="125" y="174"/>
                  </a:lnTo>
                  <a:lnTo>
                    <a:pt x="124" y="172"/>
                  </a:lnTo>
                  <a:lnTo>
                    <a:pt x="125" y="168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4" y="165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19" y="164"/>
                  </a:lnTo>
                  <a:lnTo>
                    <a:pt x="119" y="164"/>
                  </a:lnTo>
                  <a:lnTo>
                    <a:pt x="118" y="161"/>
                  </a:lnTo>
                  <a:lnTo>
                    <a:pt x="118" y="157"/>
                  </a:lnTo>
                  <a:lnTo>
                    <a:pt x="118" y="155"/>
                  </a:lnTo>
                  <a:lnTo>
                    <a:pt x="117" y="155"/>
                  </a:lnTo>
                  <a:lnTo>
                    <a:pt x="118" y="154"/>
                  </a:lnTo>
                  <a:lnTo>
                    <a:pt x="118" y="154"/>
                  </a:lnTo>
                  <a:lnTo>
                    <a:pt x="119" y="155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21" y="157"/>
                  </a:lnTo>
                  <a:close/>
                  <a:moveTo>
                    <a:pt x="45" y="154"/>
                  </a:moveTo>
                  <a:lnTo>
                    <a:pt x="47" y="155"/>
                  </a:lnTo>
                  <a:lnTo>
                    <a:pt x="45" y="157"/>
                  </a:lnTo>
                  <a:lnTo>
                    <a:pt x="45" y="157"/>
                  </a:lnTo>
                  <a:lnTo>
                    <a:pt x="45" y="157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5" y="154"/>
                  </a:lnTo>
                  <a:lnTo>
                    <a:pt x="45" y="154"/>
                  </a:lnTo>
                  <a:close/>
                  <a:moveTo>
                    <a:pt x="5" y="204"/>
                  </a:moveTo>
                  <a:lnTo>
                    <a:pt x="4" y="205"/>
                  </a:lnTo>
                  <a:lnTo>
                    <a:pt x="4" y="204"/>
                  </a:lnTo>
                  <a:lnTo>
                    <a:pt x="4" y="202"/>
                  </a:lnTo>
                  <a:lnTo>
                    <a:pt x="5" y="200"/>
                  </a:lnTo>
                  <a:lnTo>
                    <a:pt x="7" y="200"/>
                  </a:lnTo>
                  <a:lnTo>
                    <a:pt x="8" y="197"/>
                  </a:lnTo>
                  <a:lnTo>
                    <a:pt x="10" y="195"/>
                  </a:lnTo>
                  <a:lnTo>
                    <a:pt x="12" y="194"/>
                  </a:lnTo>
                  <a:lnTo>
                    <a:pt x="14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7" y="191"/>
                  </a:lnTo>
                  <a:lnTo>
                    <a:pt x="18" y="190"/>
                  </a:lnTo>
                  <a:lnTo>
                    <a:pt x="21" y="185"/>
                  </a:lnTo>
                  <a:lnTo>
                    <a:pt x="24" y="182"/>
                  </a:lnTo>
                  <a:lnTo>
                    <a:pt x="28" y="178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32" y="174"/>
                  </a:lnTo>
                  <a:lnTo>
                    <a:pt x="34" y="172"/>
                  </a:lnTo>
                  <a:lnTo>
                    <a:pt x="34" y="172"/>
                  </a:lnTo>
                  <a:lnTo>
                    <a:pt x="35" y="172"/>
                  </a:lnTo>
                  <a:lnTo>
                    <a:pt x="35" y="171"/>
                  </a:lnTo>
                  <a:lnTo>
                    <a:pt x="37" y="170"/>
                  </a:lnTo>
                  <a:lnTo>
                    <a:pt x="37" y="168"/>
                  </a:lnTo>
                  <a:lnTo>
                    <a:pt x="37" y="167"/>
                  </a:lnTo>
                  <a:lnTo>
                    <a:pt x="37" y="165"/>
                  </a:lnTo>
                  <a:lnTo>
                    <a:pt x="37" y="164"/>
                  </a:lnTo>
                  <a:lnTo>
                    <a:pt x="38" y="162"/>
                  </a:lnTo>
                  <a:lnTo>
                    <a:pt x="39" y="158"/>
                  </a:lnTo>
                  <a:lnTo>
                    <a:pt x="39" y="157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1" y="160"/>
                  </a:lnTo>
                  <a:lnTo>
                    <a:pt x="41" y="161"/>
                  </a:lnTo>
                  <a:lnTo>
                    <a:pt x="41" y="162"/>
                  </a:lnTo>
                  <a:lnTo>
                    <a:pt x="41" y="164"/>
                  </a:lnTo>
                  <a:lnTo>
                    <a:pt x="42" y="168"/>
                  </a:lnTo>
                  <a:lnTo>
                    <a:pt x="42" y="170"/>
                  </a:lnTo>
                  <a:lnTo>
                    <a:pt x="42" y="171"/>
                  </a:lnTo>
                  <a:lnTo>
                    <a:pt x="41" y="172"/>
                  </a:lnTo>
                  <a:lnTo>
                    <a:pt x="41" y="172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7" y="175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78"/>
                  </a:lnTo>
                  <a:lnTo>
                    <a:pt x="31" y="180"/>
                  </a:lnTo>
                  <a:lnTo>
                    <a:pt x="30" y="180"/>
                  </a:lnTo>
                  <a:lnTo>
                    <a:pt x="28" y="181"/>
                  </a:lnTo>
                  <a:lnTo>
                    <a:pt x="28" y="181"/>
                  </a:lnTo>
                  <a:lnTo>
                    <a:pt x="28" y="182"/>
                  </a:lnTo>
                  <a:lnTo>
                    <a:pt x="25" y="188"/>
                  </a:lnTo>
                  <a:lnTo>
                    <a:pt x="24" y="190"/>
                  </a:lnTo>
                  <a:lnTo>
                    <a:pt x="22" y="191"/>
                  </a:lnTo>
                  <a:lnTo>
                    <a:pt x="21" y="192"/>
                  </a:lnTo>
                  <a:lnTo>
                    <a:pt x="20" y="192"/>
                  </a:lnTo>
                  <a:lnTo>
                    <a:pt x="18" y="194"/>
                  </a:lnTo>
                  <a:lnTo>
                    <a:pt x="17" y="195"/>
                  </a:lnTo>
                  <a:lnTo>
                    <a:pt x="15" y="197"/>
                  </a:lnTo>
                  <a:lnTo>
                    <a:pt x="14" y="198"/>
                  </a:lnTo>
                  <a:lnTo>
                    <a:pt x="12" y="200"/>
                  </a:lnTo>
                  <a:lnTo>
                    <a:pt x="11" y="201"/>
                  </a:lnTo>
                  <a:lnTo>
                    <a:pt x="10" y="201"/>
                  </a:lnTo>
                  <a:lnTo>
                    <a:pt x="8" y="201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7" y="204"/>
                  </a:lnTo>
                  <a:lnTo>
                    <a:pt x="5" y="204"/>
                  </a:lnTo>
                  <a:close/>
                  <a:moveTo>
                    <a:pt x="108" y="158"/>
                  </a:moveTo>
                  <a:lnTo>
                    <a:pt x="109" y="161"/>
                  </a:lnTo>
                  <a:lnTo>
                    <a:pt x="108" y="161"/>
                  </a:lnTo>
                  <a:lnTo>
                    <a:pt x="108" y="158"/>
                  </a:lnTo>
                  <a:lnTo>
                    <a:pt x="108" y="158"/>
                  </a:lnTo>
                  <a:lnTo>
                    <a:pt x="108" y="158"/>
                  </a:lnTo>
                  <a:close/>
                  <a:moveTo>
                    <a:pt x="102" y="188"/>
                  </a:moveTo>
                  <a:lnTo>
                    <a:pt x="101" y="188"/>
                  </a:lnTo>
                  <a:lnTo>
                    <a:pt x="101" y="187"/>
                  </a:lnTo>
                  <a:lnTo>
                    <a:pt x="101" y="185"/>
                  </a:lnTo>
                  <a:lnTo>
                    <a:pt x="102" y="181"/>
                  </a:lnTo>
                  <a:lnTo>
                    <a:pt x="102" y="180"/>
                  </a:lnTo>
                  <a:lnTo>
                    <a:pt x="104" y="177"/>
                  </a:lnTo>
                  <a:lnTo>
                    <a:pt x="105" y="174"/>
                  </a:lnTo>
                  <a:lnTo>
                    <a:pt x="108" y="171"/>
                  </a:lnTo>
                  <a:lnTo>
                    <a:pt x="108" y="170"/>
                  </a:lnTo>
                  <a:lnTo>
                    <a:pt x="109" y="167"/>
                  </a:lnTo>
                  <a:lnTo>
                    <a:pt x="111" y="164"/>
                  </a:lnTo>
                  <a:lnTo>
                    <a:pt x="111" y="162"/>
                  </a:lnTo>
                  <a:lnTo>
                    <a:pt x="111" y="161"/>
                  </a:lnTo>
                  <a:lnTo>
                    <a:pt x="111" y="161"/>
                  </a:lnTo>
                  <a:lnTo>
                    <a:pt x="111" y="160"/>
                  </a:lnTo>
                  <a:lnTo>
                    <a:pt x="112" y="158"/>
                  </a:lnTo>
                  <a:lnTo>
                    <a:pt x="112" y="160"/>
                  </a:lnTo>
                  <a:lnTo>
                    <a:pt x="112" y="161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4"/>
                  </a:lnTo>
                  <a:lnTo>
                    <a:pt x="112" y="167"/>
                  </a:lnTo>
                  <a:lnTo>
                    <a:pt x="112" y="170"/>
                  </a:lnTo>
                  <a:lnTo>
                    <a:pt x="112" y="172"/>
                  </a:lnTo>
                  <a:lnTo>
                    <a:pt x="111" y="174"/>
                  </a:lnTo>
                  <a:lnTo>
                    <a:pt x="109" y="175"/>
                  </a:lnTo>
                  <a:lnTo>
                    <a:pt x="108" y="175"/>
                  </a:lnTo>
                  <a:lnTo>
                    <a:pt x="107" y="177"/>
                  </a:lnTo>
                  <a:lnTo>
                    <a:pt x="107" y="178"/>
                  </a:lnTo>
                  <a:lnTo>
                    <a:pt x="107" y="180"/>
                  </a:lnTo>
                  <a:lnTo>
                    <a:pt x="104" y="185"/>
                  </a:lnTo>
                  <a:lnTo>
                    <a:pt x="102" y="188"/>
                  </a:lnTo>
                  <a:close/>
                  <a:moveTo>
                    <a:pt x="98" y="194"/>
                  </a:moveTo>
                  <a:lnTo>
                    <a:pt x="97" y="194"/>
                  </a:lnTo>
                  <a:lnTo>
                    <a:pt x="97" y="194"/>
                  </a:lnTo>
                  <a:lnTo>
                    <a:pt x="95" y="194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1" y="188"/>
                  </a:lnTo>
                  <a:lnTo>
                    <a:pt x="89" y="188"/>
                  </a:lnTo>
                  <a:lnTo>
                    <a:pt x="89" y="187"/>
                  </a:lnTo>
                  <a:lnTo>
                    <a:pt x="87" y="184"/>
                  </a:lnTo>
                  <a:lnTo>
                    <a:pt x="87" y="182"/>
                  </a:lnTo>
                  <a:lnTo>
                    <a:pt x="87" y="181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91" y="180"/>
                  </a:lnTo>
                  <a:lnTo>
                    <a:pt x="91" y="180"/>
                  </a:lnTo>
                  <a:lnTo>
                    <a:pt x="94" y="178"/>
                  </a:lnTo>
                  <a:lnTo>
                    <a:pt x="94" y="177"/>
                  </a:lnTo>
                  <a:lnTo>
                    <a:pt x="94" y="174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4" y="170"/>
                  </a:lnTo>
                  <a:lnTo>
                    <a:pt x="95" y="170"/>
                  </a:lnTo>
                  <a:lnTo>
                    <a:pt x="95" y="168"/>
                  </a:lnTo>
                  <a:lnTo>
                    <a:pt x="95" y="167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97" y="164"/>
                  </a:lnTo>
                  <a:lnTo>
                    <a:pt x="99" y="162"/>
                  </a:lnTo>
                  <a:lnTo>
                    <a:pt x="99" y="162"/>
                  </a:lnTo>
                  <a:lnTo>
                    <a:pt x="104" y="164"/>
                  </a:lnTo>
                  <a:lnTo>
                    <a:pt x="105" y="165"/>
                  </a:lnTo>
                  <a:lnTo>
                    <a:pt x="105" y="167"/>
                  </a:lnTo>
                  <a:lnTo>
                    <a:pt x="105" y="168"/>
                  </a:lnTo>
                  <a:lnTo>
                    <a:pt x="104" y="170"/>
                  </a:lnTo>
                  <a:lnTo>
                    <a:pt x="102" y="171"/>
                  </a:lnTo>
                  <a:lnTo>
                    <a:pt x="101" y="174"/>
                  </a:lnTo>
                  <a:lnTo>
                    <a:pt x="101" y="177"/>
                  </a:lnTo>
                  <a:lnTo>
                    <a:pt x="101" y="178"/>
                  </a:lnTo>
                  <a:lnTo>
                    <a:pt x="99" y="180"/>
                  </a:lnTo>
                  <a:lnTo>
                    <a:pt x="98" y="181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5"/>
                  </a:lnTo>
                  <a:lnTo>
                    <a:pt x="101" y="190"/>
                  </a:lnTo>
                  <a:lnTo>
                    <a:pt x="101" y="190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99" y="194"/>
                  </a:lnTo>
                  <a:lnTo>
                    <a:pt x="99" y="194"/>
                  </a:lnTo>
                  <a:lnTo>
                    <a:pt x="98" y="194"/>
                  </a:lnTo>
                  <a:close/>
                  <a:moveTo>
                    <a:pt x="91" y="171"/>
                  </a:moveTo>
                  <a:lnTo>
                    <a:pt x="89" y="171"/>
                  </a:lnTo>
                  <a:lnTo>
                    <a:pt x="89" y="171"/>
                  </a:lnTo>
                  <a:lnTo>
                    <a:pt x="88" y="172"/>
                  </a:lnTo>
                  <a:lnTo>
                    <a:pt x="88" y="171"/>
                  </a:lnTo>
                  <a:lnTo>
                    <a:pt x="88" y="170"/>
                  </a:lnTo>
                  <a:lnTo>
                    <a:pt x="89" y="168"/>
                  </a:lnTo>
                  <a:lnTo>
                    <a:pt x="91" y="167"/>
                  </a:lnTo>
                  <a:lnTo>
                    <a:pt x="91" y="167"/>
                  </a:lnTo>
                  <a:lnTo>
                    <a:pt x="91" y="167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1" y="171"/>
                  </a:lnTo>
                  <a:lnTo>
                    <a:pt x="91" y="171"/>
                  </a:lnTo>
                  <a:close/>
                  <a:moveTo>
                    <a:pt x="117" y="170"/>
                  </a:moveTo>
                  <a:lnTo>
                    <a:pt x="117" y="170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7" y="170"/>
                  </a:lnTo>
                  <a:close/>
                  <a:moveTo>
                    <a:pt x="47" y="171"/>
                  </a:moveTo>
                  <a:lnTo>
                    <a:pt x="45" y="171"/>
                  </a:lnTo>
                  <a:lnTo>
                    <a:pt x="44" y="170"/>
                  </a:lnTo>
                  <a:lnTo>
                    <a:pt x="45" y="168"/>
                  </a:lnTo>
                  <a:lnTo>
                    <a:pt x="47" y="170"/>
                  </a:lnTo>
                  <a:lnTo>
                    <a:pt x="48" y="170"/>
                  </a:lnTo>
                  <a:lnTo>
                    <a:pt x="48" y="170"/>
                  </a:lnTo>
                  <a:lnTo>
                    <a:pt x="47" y="171"/>
                  </a:lnTo>
                  <a:close/>
                  <a:moveTo>
                    <a:pt x="139" y="181"/>
                  </a:moveTo>
                  <a:lnTo>
                    <a:pt x="139" y="181"/>
                  </a:lnTo>
                  <a:lnTo>
                    <a:pt x="138" y="180"/>
                  </a:lnTo>
                  <a:lnTo>
                    <a:pt x="138" y="180"/>
                  </a:lnTo>
                  <a:lnTo>
                    <a:pt x="136" y="178"/>
                  </a:lnTo>
                  <a:lnTo>
                    <a:pt x="136" y="177"/>
                  </a:lnTo>
                  <a:lnTo>
                    <a:pt x="136" y="175"/>
                  </a:lnTo>
                  <a:lnTo>
                    <a:pt x="136" y="174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39" y="172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39" y="178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1"/>
                  </a:lnTo>
                  <a:close/>
                  <a:moveTo>
                    <a:pt x="121" y="182"/>
                  </a:moveTo>
                  <a:lnTo>
                    <a:pt x="121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14" y="185"/>
                  </a:lnTo>
                  <a:lnTo>
                    <a:pt x="111" y="185"/>
                  </a:lnTo>
                  <a:lnTo>
                    <a:pt x="109" y="184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09" y="181"/>
                  </a:lnTo>
                  <a:lnTo>
                    <a:pt x="111" y="181"/>
                  </a:lnTo>
                  <a:lnTo>
                    <a:pt x="112" y="180"/>
                  </a:lnTo>
                  <a:lnTo>
                    <a:pt x="114" y="178"/>
                  </a:lnTo>
                  <a:lnTo>
                    <a:pt x="115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9" y="178"/>
                  </a:lnTo>
                  <a:lnTo>
                    <a:pt x="121" y="178"/>
                  </a:lnTo>
                  <a:lnTo>
                    <a:pt x="121" y="181"/>
                  </a:lnTo>
                  <a:lnTo>
                    <a:pt x="121" y="182"/>
                  </a:lnTo>
                  <a:lnTo>
                    <a:pt x="121" y="182"/>
                  </a:lnTo>
                  <a:close/>
                  <a:moveTo>
                    <a:pt x="132" y="180"/>
                  </a:moveTo>
                  <a:lnTo>
                    <a:pt x="132" y="180"/>
                  </a:lnTo>
                  <a:lnTo>
                    <a:pt x="131" y="178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2" y="177"/>
                  </a:lnTo>
                  <a:lnTo>
                    <a:pt x="132" y="180"/>
                  </a:lnTo>
                  <a:close/>
                  <a:moveTo>
                    <a:pt x="145" y="182"/>
                  </a:moveTo>
                  <a:lnTo>
                    <a:pt x="145" y="182"/>
                  </a:lnTo>
                  <a:lnTo>
                    <a:pt x="144" y="181"/>
                  </a:lnTo>
                  <a:lnTo>
                    <a:pt x="144" y="180"/>
                  </a:lnTo>
                  <a:lnTo>
                    <a:pt x="145" y="178"/>
                  </a:lnTo>
                  <a:lnTo>
                    <a:pt x="146" y="180"/>
                  </a:lnTo>
                  <a:lnTo>
                    <a:pt x="146" y="181"/>
                  </a:lnTo>
                  <a:lnTo>
                    <a:pt x="146" y="18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5" y="182"/>
                  </a:lnTo>
                  <a:close/>
                  <a:moveTo>
                    <a:pt x="144" y="190"/>
                  </a:moveTo>
                  <a:lnTo>
                    <a:pt x="145" y="191"/>
                  </a:lnTo>
                  <a:lnTo>
                    <a:pt x="146" y="191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49" y="195"/>
                  </a:lnTo>
                  <a:lnTo>
                    <a:pt x="149" y="198"/>
                  </a:lnTo>
                  <a:lnTo>
                    <a:pt x="148" y="200"/>
                  </a:lnTo>
                  <a:lnTo>
                    <a:pt x="148" y="200"/>
                  </a:lnTo>
                  <a:lnTo>
                    <a:pt x="146" y="201"/>
                  </a:lnTo>
                  <a:lnTo>
                    <a:pt x="146" y="201"/>
                  </a:lnTo>
                  <a:lnTo>
                    <a:pt x="146" y="202"/>
                  </a:lnTo>
                  <a:lnTo>
                    <a:pt x="148" y="202"/>
                  </a:lnTo>
                  <a:lnTo>
                    <a:pt x="149" y="204"/>
                  </a:lnTo>
                  <a:lnTo>
                    <a:pt x="151" y="205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1" y="212"/>
                  </a:lnTo>
                  <a:lnTo>
                    <a:pt x="151" y="214"/>
                  </a:lnTo>
                  <a:lnTo>
                    <a:pt x="152" y="215"/>
                  </a:lnTo>
                  <a:lnTo>
                    <a:pt x="152" y="215"/>
                  </a:lnTo>
                  <a:lnTo>
                    <a:pt x="154" y="217"/>
                  </a:lnTo>
                  <a:lnTo>
                    <a:pt x="154" y="218"/>
                  </a:lnTo>
                  <a:lnTo>
                    <a:pt x="154" y="222"/>
                  </a:lnTo>
                  <a:lnTo>
                    <a:pt x="154" y="224"/>
                  </a:lnTo>
                  <a:lnTo>
                    <a:pt x="152" y="224"/>
                  </a:lnTo>
                  <a:lnTo>
                    <a:pt x="151" y="227"/>
                  </a:lnTo>
                  <a:lnTo>
                    <a:pt x="149" y="229"/>
                  </a:lnTo>
                  <a:lnTo>
                    <a:pt x="148" y="229"/>
                  </a:lnTo>
                  <a:lnTo>
                    <a:pt x="146" y="229"/>
                  </a:lnTo>
                  <a:lnTo>
                    <a:pt x="148" y="231"/>
                  </a:lnTo>
                  <a:lnTo>
                    <a:pt x="148" y="235"/>
                  </a:lnTo>
                  <a:lnTo>
                    <a:pt x="146" y="238"/>
                  </a:lnTo>
                  <a:lnTo>
                    <a:pt x="146" y="237"/>
                  </a:lnTo>
                  <a:lnTo>
                    <a:pt x="145" y="235"/>
                  </a:lnTo>
                  <a:lnTo>
                    <a:pt x="145" y="231"/>
                  </a:lnTo>
                  <a:lnTo>
                    <a:pt x="145" y="229"/>
                  </a:lnTo>
                  <a:lnTo>
                    <a:pt x="144" y="228"/>
                  </a:lnTo>
                  <a:lnTo>
                    <a:pt x="144" y="227"/>
                  </a:lnTo>
                  <a:lnTo>
                    <a:pt x="142" y="225"/>
                  </a:lnTo>
                  <a:lnTo>
                    <a:pt x="141" y="222"/>
                  </a:lnTo>
                  <a:lnTo>
                    <a:pt x="141" y="222"/>
                  </a:lnTo>
                  <a:lnTo>
                    <a:pt x="139" y="222"/>
                  </a:lnTo>
                  <a:lnTo>
                    <a:pt x="139" y="224"/>
                  </a:lnTo>
                  <a:lnTo>
                    <a:pt x="138" y="225"/>
                  </a:lnTo>
                  <a:lnTo>
                    <a:pt x="138" y="225"/>
                  </a:lnTo>
                  <a:lnTo>
                    <a:pt x="136" y="227"/>
                  </a:lnTo>
                  <a:lnTo>
                    <a:pt x="135" y="228"/>
                  </a:lnTo>
                  <a:lnTo>
                    <a:pt x="135" y="231"/>
                  </a:lnTo>
                  <a:lnTo>
                    <a:pt x="134" y="232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9" y="239"/>
                  </a:lnTo>
                  <a:lnTo>
                    <a:pt x="139" y="244"/>
                  </a:lnTo>
                  <a:lnTo>
                    <a:pt x="138" y="245"/>
                  </a:lnTo>
                  <a:lnTo>
                    <a:pt x="135" y="248"/>
                  </a:lnTo>
                  <a:lnTo>
                    <a:pt x="134" y="249"/>
                  </a:lnTo>
                  <a:lnTo>
                    <a:pt x="132" y="249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4"/>
                  </a:lnTo>
                  <a:lnTo>
                    <a:pt x="132" y="242"/>
                  </a:lnTo>
                  <a:lnTo>
                    <a:pt x="132" y="242"/>
                  </a:lnTo>
                  <a:lnTo>
                    <a:pt x="131" y="242"/>
                  </a:lnTo>
                  <a:lnTo>
                    <a:pt x="131" y="242"/>
                  </a:lnTo>
                  <a:lnTo>
                    <a:pt x="129" y="245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7" y="245"/>
                  </a:lnTo>
                  <a:lnTo>
                    <a:pt x="122" y="244"/>
                  </a:lnTo>
                  <a:lnTo>
                    <a:pt x="118" y="241"/>
                  </a:lnTo>
                  <a:lnTo>
                    <a:pt x="115" y="239"/>
                  </a:lnTo>
                  <a:lnTo>
                    <a:pt x="114" y="237"/>
                  </a:lnTo>
                  <a:lnTo>
                    <a:pt x="112" y="235"/>
                  </a:lnTo>
                  <a:lnTo>
                    <a:pt x="112" y="232"/>
                  </a:lnTo>
                  <a:lnTo>
                    <a:pt x="112" y="229"/>
                  </a:lnTo>
                  <a:lnTo>
                    <a:pt x="112" y="228"/>
                  </a:lnTo>
                  <a:lnTo>
                    <a:pt x="112" y="227"/>
                  </a:lnTo>
                  <a:lnTo>
                    <a:pt x="112" y="225"/>
                  </a:lnTo>
                  <a:lnTo>
                    <a:pt x="114" y="224"/>
                  </a:lnTo>
                  <a:lnTo>
                    <a:pt x="115" y="224"/>
                  </a:lnTo>
                  <a:lnTo>
                    <a:pt x="115" y="222"/>
                  </a:lnTo>
                  <a:lnTo>
                    <a:pt x="115" y="222"/>
                  </a:lnTo>
                  <a:lnTo>
                    <a:pt x="115" y="221"/>
                  </a:lnTo>
                  <a:lnTo>
                    <a:pt x="115" y="221"/>
                  </a:lnTo>
                  <a:lnTo>
                    <a:pt x="114" y="218"/>
                  </a:lnTo>
                  <a:lnTo>
                    <a:pt x="111" y="217"/>
                  </a:lnTo>
                  <a:lnTo>
                    <a:pt x="108" y="215"/>
                  </a:lnTo>
                  <a:lnTo>
                    <a:pt x="108" y="215"/>
                  </a:lnTo>
                  <a:lnTo>
                    <a:pt x="107" y="214"/>
                  </a:lnTo>
                  <a:lnTo>
                    <a:pt x="105" y="214"/>
                  </a:lnTo>
                  <a:lnTo>
                    <a:pt x="105" y="214"/>
                  </a:lnTo>
                  <a:lnTo>
                    <a:pt x="104" y="214"/>
                  </a:lnTo>
                  <a:lnTo>
                    <a:pt x="104" y="215"/>
                  </a:lnTo>
                  <a:lnTo>
                    <a:pt x="104" y="215"/>
                  </a:lnTo>
                  <a:lnTo>
                    <a:pt x="104" y="217"/>
                  </a:lnTo>
                  <a:lnTo>
                    <a:pt x="102" y="221"/>
                  </a:lnTo>
                  <a:lnTo>
                    <a:pt x="101" y="220"/>
                  </a:lnTo>
                  <a:lnTo>
                    <a:pt x="99" y="218"/>
                  </a:lnTo>
                  <a:lnTo>
                    <a:pt x="98" y="218"/>
                  </a:lnTo>
                  <a:lnTo>
                    <a:pt x="98" y="217"/>
                  </a:lnTo>
                  <a:lnTo>
                    <a:pt x="98" y="217"/>
                  </a:lnTo>
                  <a:lnTo>
                    <a:pt x="98" y="217"/>
                  </a:lnTo>
                  <a:lnTo>
                    <a:pt x="97" y="218"/>
                  </a:lnTo>
                  <a:lnTo>
                    <a:pt x="95" y="218"/>
                  </a:lnTo>
                  <a:lnTo>
                    <a:pt x="95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2" y="215"/>
                  </a:lnTo>
                  <a:lnTo>
                    <a:pt x="91" y="215"/>
                  </a:lnTo>
                  <a:lnTo>
                    <a:pt x="89" y="215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7" y="218"/>
                  </a:lnTo>
                  <a:lnTo>
                    <a:pt x="85" y="222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2" y="228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79" y="228"/>
                  </a:lnTo>
                  <a:lnTo>
                    <a:pt x="78" y="227"/>
                  </a:lnTo>
                  <a:lnTo>
                    <a:pt x="79" y="224"/>
                  </a:lnTo>
                  <a:lnTo>
                    <a:pt x="79" y="222"/>
                  </a:lnTo>
                  <a:lnTo>
                    <a:pt x="81" y="221"/>
                  </a:lnTo>
                  <a:lnTo>
                    <a:pt x="82" y="217"/>
                  </a:lnTo>
                  <a:lnTo>
                    <a:pt x="82" y="215"/>
                  </a:lnTo>
                  <a:lnTo>
                    <a:pt x="82" y="214"/>
                  </a:lnTo>
                  <a:lnTo>
                    <a:pt x="84" y="212"/>
                  </a:lnTo>
                  <a:lnTo>
                    <a:pt x="85" y="211"/>
                  </a:lnTo>
                  <a:lnTo>
                    <a:pt x="87" y="211"/>
                  </a:lnTo>
                  <a:lnTo>
                    <a:pt x="89" y="210"/>
                  </a:lnTo>
                  <a:lnTo>
                    <a:pt x="91" y="210"/>
                  </a:lnTo>
                  <a:lnTo>
                    <a:pt x="92" y="210"/>
                  </a:lnTo>
                  <a:lnTo>
                    <a:pt x="95" y="208"/>
                  </a:lnTo>
                  <a:lnTo>
                    <a:pt x="97" y="208"/>
                  </a:lnTo>
                  <a:lnTo>
                    <a:pt x="97" y="207"/>
                  </a:lnTo>
                  <a:lnTo>
                    <a:pt x="97" y="205"/>
                  </a:lnTo>
                  <a:lnTo>
                    <a:pt x="97" y="205"/>
                  </a:lnTo>
                  <a:lnTo>
                    <a:pt x="97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2" y="201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5" y="201"/>
                  </a:lnTo>
                  <a:lnTo>
                    <a:pt x="107" y="201"/>
                  </a:lnTo>
                  <a:lnTo>
                    <a:pt x="108" y="202"/>
                  </a:lnTo>
                  <a:lnTo>
                    <a:pt x="109" y="204"/>
                  </a:lnTo>
                  <a:lnTo>
                    <a:pt x="109" y="205"/>
                  </a:lnTo>
                  <a:lnTo>
                    <a:pt x="109" y="208"/>
                  </a:lnTo>
                  <a:lnTo>
                    <a:pt x="109" y="210"/>
                  </a:lnTo>
                  <a:lnTo>
                    <a:pt x="108" y="211"/>
                  </a:lnTo>
                  <a:lnTo>
                    <a:pt x="109" y="211"/>
                  </a:lnTo>
                  <a:lnTo>
                    <a:pt x="111" y="210"/>
                  </a:lnTo>
                  <a:lnTo>
                    <a:pt x="112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7"/>
                  </a:lnTo>
                  <a:lnTo>
                    <a:pt x="117" y="205"/>
                  </a:lnTo>
                  <a:lnTo>
                    <a:pt x="117" y="202"/>
                  </a:lnTo>
                  <a:lnTo>
                    <a:pt x="118" y="202"/>
                  </a:lnTo>
                  <a:lnTo>
                    <a:pt x="118" y="201"/>
                  </a:lnTo>
                  <a:lnTo>
                    <a:pt x="119" y="201"/>
                  </a:lnTo>
                  <a:lnTo>
                    <a:pt x="122" y="202"/>
                  </a:lnTo>
                  <a:lnTo>
                    <a:pt x="124" y="202"/>
                  </a:lnTo>
                  <a:lnTo>
                    <a:pt x="124" y="200"/>
                  </a:lnTo>
                  <a:lnTo>
                    <a:pt x="125" y="197"/>
                  </a:lnTo>
                  <a:lnTo>
                    <a:pt x="125" y="197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31" y="197"/>
                  </a:lnTo>
                  <a:lnTo>
                    <a:pt x="131" y="197"/>
                  </a:lnTo>
                  <a:lnTo>
                    <a:pt x="131" y="195"/>
                  </a:lnTo>
                  <a:lnTo>
                    <a:pt x="132" y="195"/>
                  </a:lnTo>
                  <a:lnTo>
                    <a:pt x="134" y="195"/>
                  </a:lnTo>
                  <a:lnTo>
                    <a:pt x="136" y="195"/>
                  </a:lnTo>
                  <a:lnTo>
                    <a:pt x="136" y="192"/>
                  </a:lnTo>
                  <a:lnTo>
                    <a:pt x="136" y="191"/>
                  </a:lnTo>
                  <a:lnTo>
                    <a:pt x="135" y="184"/>
                  </a:lnTo>
                  <a:lnTo>
                    <a:pt x="135" y="182"/>
                  </a:lnTo>
                  <a:lnTo>
                    <a:pt x="136" y="182"/>
                  </a:lnTo>
                  <a:lnTo>
                    <a:pt x="138" y="185"/>
                  </a:lnTo>
                  <a:lnTo>
                    <a:pt x="142" y="187"/>
                  </a:lnTo>
                  <a:lnTo>
                    <a:pt x="144" y="188"/>
                  </a:lnTo>
                  <a:lnTo>
                    <a:pt x="144" y="190"/>
                  </a:lnTo>
                  <a:close/>
                  <a:moveTo>
                    <a:pt x="144" y="185"/>
                  </a:moveTo>
                  <a:lnTo>
                    <a:pt x="144" y="185"/>
                  </a:lnTo>
                  <a:lnTo>
                    <a:pt x="142" y="185"/>
                  </a:lnTo>
                  <a:lnTo>
                    <a:pt x="144" y="184"/>
                  </a:lnTo>
                  <a:lnTo>
                    <a:pt x="144" y="182"/>
                  </a:lnTo>
                  <a:lnTo>
                    <a:pt x="144" y="184"/>
                  </a:lnTo>
                  <a:lnTo>
                    <a:pt x="144" y="185"/>
                  </a:lnTo>
                  <a:close/>
                  <a:moveTo>
                    <a:pt x="107" y="191"/>
                  </a:moveTo>
                  <a:lnTo>
                    <a:pt x="108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5" y="191"/>
                  </a:lnTo>
                  <a:lnTo>
                    <a:pt x="107" y="191"/>
                  </a:lnTo>
                  <a:lnTo>
                    <a:pt x="107" y="191"/>
                  </a:lnTo>
                  <a:lnTo>
                    <a:pt x="107" y="191"/>
                  </a:lnTo>
                  <a:close/>
                  <a:moveTo>
                    <a:pt x="125" y="192"/>
                  </a:moveTo>
                  <a:lnTo>
                    <a:pt x="125" y="194"/>
                  </a:lnTo>
                  <a:lnTo>
                    <a:pt x="122" y="192"/>
                  </a:lnTo>
                  <a:lnTo>
                    <a:pt x="122" y="192"/>
                  </a:lnTo>
                  <a:lnTo>
                    <a:pt x="122" y="191"/>
                  </a:lnTo>
                  <a:lnTo>
                    <a:pt x="124" y="191"/>
                  </a:lnTo>
                  <a:lnTo>
                    <a:pt x="124" y="191"/>
                  </a:lnTo>
                  <a:lnTo>
                    <a:pt x="125" y="192"/>
                  </a:lnTo>
                  <a:lnTo>
                    <a:pt x="125" y="192"/>
                  </a:lnTo>
                  <a:close/>
                  <a:moveTo>
                    <a:pt x="5" y="208"/>
                  </a:moveTo>
                  <a:lnTo>
                    <a:pt x="4" y="208"/>
                  </a:lnTo>
                  <a:lnTo>
                    <a:pt x="4" y="207"/>
                  </a:lnTo>
                  <a:lnTo>
                    <a:pt x="4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8"/>
                  </a:lnTo>
                  <a:close/>
                  <a:moveTo>
                    <a:pt x="1" y="212"/>
                  </a:moveTo>
                  <a:lnTo>
                    <a:pt x="1" y="214"/>
                  </a:lnTo>
                  <a:lnTo>
                    <a:pt x="0" y="212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0"/>
                  </a:lnTo>
                  <a:lnTo>
                    <a:pt x="1" y="212"/>
                  </a:lnTo>
                  <a:close/>
                  <a:moveTo>
                    <a:pt x="95" y="221"/>
                  </a:moveTo>
                  <a:lnTo>
                    <a:pt x="95" y="221"/>
                  </a:lnTo>
                  <a:lnTo>
                    <a:pt x="95" y="221"/>
                  </a:lnTo>
                  <a:lnTo>
                    <a:pt x="94" y="222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close/>
                  <a:moveTo>
                    <a:pt x="141" y="228"/>
                  </a:moveTo>
                  <a:lnTo>
                    <a:pt x="141" y="228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4"/>
                  </a:lnTo>
                  <a:lnTo>
                    <a:pt x="141" y="225"/>
                  </a:lnTo>
                  <a:lnTo>
                    <a:pt x="141" y="228"/>
                  </a:lnTo>
                  <a:close/>
                  <a:moveTo>
                    <a:pt x="81" y="237"/>
                  </a:moveTo>
                  <a:lnTo>
                    <a:pt x="79" y="237"/>
                  </a:lnTo>
                  <a:lnTo>
                    <a:pt x="79" y="237"/>
                  </a:lnTo>
                  <a:lnTo>
                    <a:pt x="78" y="235"/>
                  </a:lnTo>
                  <a:lnTo>
                    <a:pt x="78" y="234"/>
                  </a:lnTo>
                  <a:lnTo>
                    <a:pt x="77" y="234"/>
                  </a:lnTo>
                  <a:lnTo>
                    <a:pt x="77" y="232"/>
                  </a:lnTo>
                  <a:lnTo>
                    <a:pt x="78" y="232"/>
                  </a:lnTo>
                  <a:lnTo>
                    <a:pt x="81" y="231"/>
                  </a:lnTo>
                  <a:lnTo>
                    <a:pt x="85" y="232"/>
                  </a:lnTo>
                  <a:lnTo>
                    <a:pt x="85" y="234"/>
                  </a:lnTo>
                  <a:lnTo>
                    <a:pt x="84" y="234"/>
                  </a:lnTo>
                  <a:lnTo>
                    <a:pt x="84" y="235"/>
                  </a:lnTo>
                  <a:lnTo>
                    <a:pt x="81" y="237"/>
                  </a:lnTo>
                  <a:close/>
                  <a:moveTo>
                    <a:pt x="67" y="242"/>
                  </a:moveTo>
                  <a:lnTo>
                    <a:pt x="68" y="244"/>
                  </a:lnTo>
                  <a:lnTo>
                    <a:pt x="68" y="242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68" y="245"/>
                  </a:lnTo>
                  <a:lnTo>
                    <a:pt x="68" y="244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5" y="242"/>
                  </a:lnTo>
                  <a:lnTo>
                    <a:pt x="67" y="242"/>
                  </a:lnTo>
                  <a:close/>
                  <a:moveTo>
                    <a:pt x="52" y="255"/>
                  </a:moveTo>
                  <a:lnTo>
                    <a:pt x="51" y="257"/>
                  </a:lnTo>
                  <a:lnTo>
                    <a:pt x="51" y="257"/>
                  </a:lnTo>
                  <a:lnTo>
                    <a:pt x="51" y="257"/>
                  </a:lnTo>
                  <a:lnTo>
                    <a:pt x="49" y="255"/>
                  </a:lnTo>
                  <a:lnTo>
                    <a:pt x="49" y="257"/>
                  </a:lnTo>
                  <a:lnTo>
                    <a:pt x="48" y="257"/>
                  </a:lnTo>
                  <a:lnTo>
                    <a:pt x="47" y="258"/>
                  </a:lnTo>
                  <a:lnTo>
                    <a:pt x="47" y="258"/>
                  </a:lnTo>
                  <a:lnTo>
                    <a:pt x="45" y="258"/>
                  </a:lnTo>
                  <a:lnTo>
                    <a:pt x="45" y="257"/>
                  </a:lnTo>
                  <a:lnTo>
                    <a:pt x="48" y="255"/>
                  </a:lnTo>
                  <a:lnTo>
                    <a:pt x="49" y="255"/>
                  </a:lnTo>
                  <a:lnTo>
                    <a:pt x="51" y="254"/>
                  </a:lnTo>
                  <a:lnTo>
                    <a:pt x="51" y="254"/>
                  </a:lnTo>
                  <a:lnTo>
                    <a:pt x="51" y="255"/>
                  </a:lnTo>
                  <a:lnTo>
                    <a:pt x="52" y="25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0" name="Google Shape;290;p3"/>
            <p:cNvSpPr/>
            <p:nvPr/>
          </p:nvSpPr>
          <p:spPr>
            <a:xfrm>
              <a:off x="4635196" y="3973664"/>
              <a:ext cx="190052" cy="155063"/>
            </a:xfrm>
            <a:custGeom>
              <a:rect b="b" l="l" r="r" t="t"/>
              <a:pathLst>
                <a:path extrusionOk="0" h="247" w="271">
                  <a:moveTo>
                    <a:pt x="224" y="1"/>
                  </a:moveTo>
                  <a:lnTo>
                    <a:pt x="225" y="1"/>
                  </a:lnTo>
                  <a:lnTo>
                    <a:pt x="225" y="1"/>
                  </a:lnTo>
                  <a:lnTo>
                    <a:pt x="227" y="1"/>
                  </a:lnTo>
                  <a:lnTo>
                    <a:pt x="228" y="1"/>
                  </a:lnTo>
                  <a:lnTo>
                    <a:pt x="232" y="3"/>
                  </a:lnTo>
                  <a:lnTo>
                    <a:pt x="232" y="3"/>
                  </a:lnTo>
                  <a:lnTo>
                    <a:pt x="234" y="5"/>
                  </a:lnTo>
                  <a:lnTo>
                    <a:pt x="234" y="5"/>
                  </a:lnTo>
                  <a:lnTo>
                    <a:pt x="235" y="5"/>
                  </a:lnTo>
                  <a:lnTo>
                    <a:pt x="237" y="5"/>
                  </a:lnTo>
                  <a:lnTo>
                    <a:pt x="238" y="7"/>
                  </a:lnTo>
                  <a:lnTo>
                    <a:pt x="240" y="8"/>
                  </a:lnTo>
                  <a:lnTo>
                    <a:pt x="241" y="8"/>
                  </a:lnTo>
                  <a:lnTo>
                    <a:pt x="241" y="10"/>
                  </a:lnTo>
                  <a:lnTo>
                    <a:pt x="241" y="11"/>
                  </a:lnTo>
                  <a:lnTo>
                    <a:pt x="242" y="13"/>
                  </a:lnTo>
                  <a:lnTo>
                    <a:pt x="242" y="17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20"/>
                  </a:lnTo>
                  <a:lnTo>
                    <a:pt x="241" y="20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21"/>
                  </a:lnTo>
                  <a:lnTo>
                    <a:pt x="245" y="24"/>
                  </a:lnTo>
                  <a:lnTo>
                    <a:pt x="245" y="24"/>
                  </a:lnTo>
                  <a:lnTo>
                    <a:pt x="247" y="24"/>
                  </a:lnTo>
                  <a:lnTo>
                    <a:pt x="248" y="24"/>
                  </a:lnTo>
                  <a:lnTo>
                    <a:pt x="251" y="23"/>
                  </a:lnTo>
                  <a:lnTo>
                    <a:pt x="251" y="23"/>
                  </a:lnTo>
                  <a:lnTo>
                    <a:pt x="251" y="25"/>
                  </a:lnTo>
                  <a:lnTo>
                    <a:pt x="252" y="25"/>
                  </a:lnTo>
                  <a:lnTo>
                    <a:pt x="254" y="27"/>
                  </a:lnTo>
                  <a:lnTo>
                    <a:pt x="255" y="27"/>
                  </a:lnTo>
                  <a:lnTo>
                    <a:pt x="257" y="28"/>
                  </a:lnTo>
                  <a:lnTo>
                    <a:pt x="260" y="30"/>
                  </a:lnTo>
                  <a:lnTo>
                    <a:pt x="264" y="30"/>
                  </a:lnTo>
                  <a:lnTo>
                    <a:pt x="265" y="31"/>
                  </a:lnTo>
                  <a:lnTo>
                    <a:pt x="267" y="31"/>
                  </a:lnTo>
                  <a:lnTo>
                    <a:pt x="268" y="31"/>
                  </a:lnTo>
                  <a:lnTo>
                    <a:pt x="269" y="31"/>
                  </a:lnTo>
                  <a:lnTo>
                    <a:pt x="271" y="30"/>
                  </a:lnTo>
                  <a:lnTo>
                    <a:pt x="269" y="31"/>
                  </a:lnTo>
                  <a:lnTo>
                    <a:pt x="268" y="33"/>
                  </a:lnTo>
                  <a:lnTo>
                    <a:pt x="265" y="34"/>
                  </a:lnTo>
                  <a:lnTo>
                    <a:pt x="262" y="35"/>
                  </a:lnTo>
                  <a:lnTo>
                    <a:pt x="261" y="37"/>
                  </a:lnTo>
                  <a:lnTo>
                    <a:pt x="260" y="38"/>
                  </a:lnTo>
                  <a:lnTo>
                    <a:pt x="260" y="38"/>
                  </a:lnTo>
                  <a:lnTo>
                    <a:pt x="258" y="40"/>
                  </a:lnTo>
                  <a:lnTo>
                    <a:pt x="257" y="41"/>
                  </a:lnTo>
                  <a:lnTo>
                    <a:pt x="255" y="43"/>
                  </a:lnTo>
                  <a:lnTo>
                    <a:pt x="254" y="43"/>
                  </a:lnTo>
                  <a:lnTo>
                    <a:pt x="254" y="43"/>
                  </a:lnTo>
                  <a:lnTo>
                    <a:pt x="254" y="44"/>
                  </a:lnTo>
                  <a:lnTo>
                    <a:pt x="252" y="45"/>
                  </a:lnTo>
                  <a:lnTo>
                    <a:pt x="251" y="45"/>
                  </a:lnTo>
                  <a:lnTo>
                    <a:pt x="250" y="45"/>
                  </a:lnTo>
                  <a:lnTo>
                    <a:pt x="245" y="47"/>
                  </a:lnTo>
                  <a:lnTo>
                    <a:pt x="242" y="47"/>
                  </a:lnTo>
                  <a:lnTo>
                    <a:pt x="241" y="48"/>
                  </a:lnTo>
                  <a:lnTo>
                    <a:pt x="240" y="48"/>
                  </a:lnTo>
                  <a:lnTo>
                    <a:pt x="238" y="50"/>
                  </a:lnTo>
                  <a:lnTo>
                    <a:pt x="237" y="50"/>
                  </a:lnTo>
                  <a:lnTo>
                    <a:pt x="234" y="50"/>
                  </a:lnTo>
                  <a:lnTo>
                    <a:pt x="231" y="48"/>
                  </a:lnTo>
                  <a:lnTo>
                    <a:pt x="230" y="47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2" y="47"/>
                  </a:lnTo>
                  <a:lnTo>
                    <a:pt x="220" y="45"/>
                  </a:lnTo>
                  <a:lnTo>
                    <a:pt x="218" y="45"/>
                  </a:lnTo>
                  <a:lnTo>
                    <a:pt x="215" y="44"/>
                  </a:lnTo>
                  <a:lnTo>
                    <a:pt x="212" y="45"/>
                  </a:lnTo>
                  <a:lnTo>
                    <a:pt x="211" y="47"/>
                  </a:lnTo>
                  <a:lnTo>
                    <a:pt x="210" y="47"/>
                  </a:lnTo>
                  <a:lnTo>
                    <a:pt x="208" y="50"/>
                  </a:lnTo>
                  <a:lnTo>
                    <a:pt x="208" y="50"/>
                  </a:lnTo>
                  <a:lnTo>
                    <a:pt x="207" y="51"/>
                  </a:lnTo>
                  <a:lnTo>
                    <a:pt x="207" y="53"/>
                  </a:lnTo>
                  <a:lnTo>
                    <a:pt x="207" y="53"/>
                  </a:lnTo>
                  <a:lnTo>
                    <a:pt x="210" y="54"/>
                  </a:lnTo>
                  <a:lnTo>
                    <a:pt x="210" y="55"/>
                  </a:lnTo>
                  <a:lnTo>
                    <a:pt x="210" y="55"/>
                  </a:lnTo>
                  <a:lnTo>
                    <a:pt x="210" y="57"/>
                  </a:lnTo>
                  <a:lnTo>
                    <a:pt x="208" y="57"/>
                  </a:lnTo>
                  <a:lnTo>
                    <a:pt x="208" y="58"/>
                  </a:lnTo>
                  <a:lnTo>
                    <a:pt x="210" y="58"/>
                  </a:lnTo>
                  <a:lnTo>
                    <a:pt x="210" y="60"/>
                  </a:lnTo>
                  <a:lnTo>
                    <a:pt x="212" y="60"/>
                  </a:lnTo>
                  <a:lnTo>
                    <a:pt x="214" y="60"/>
                  </a:lnTo>
                  <a:lnTo>
                    <a:pt x="214" y="60"/>
                  </a:lnTo>
                  <a:lnTo>
                    <a:pt x="214" y="61"/>
                  </a:lnTo>
                  <a:lnTo>
                    <a:pt x="214" y="61"/>
                  </a:lnTo>
                  <a:lnTo>
                    <a:pt x="211" y="63"/>
                  </a:lnTo>
                  <a:lnTo>
                    <a:pt x="211" y="64"/>
                  </a:lnTo>
                  <a:lnTo>
                    <a:pt x="210" y="65"/>
                  </a:lnTo>
                  <a:lnTo>
                    <a:pt x="210" y="65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12" y="70"/>
                  </a:lnTo>
                  <a:lnTo>
                    <a:pt x="212" y="71"/>
                  </a:lnTo>
                  <a:lnTo>
                    <a:pt x="211" y="73"/>
                  </a:lnTo>
                  <a:lnTo>
                    <a:pt x="210" y="74"/>
                  </a:lnTo>
                  <a:lnTo>
                    <a:pt x="210" y="74"/>
                  </a:lnTo>
                  <a:lnTo>
                    <a:pt x="211" y="75"/>
                  </a:lnTo>
                  <a:lnTo>
                    <a:pt x="211" y="75"/>
                  </a:lnTo>
                  <a:lnTo>
                    <a:pt x="212" y="77"/>
                  </a:lnTo>
                  <a:lnTo>
                    <a:pt x="214" y="78"/>
                  </a:lnTo>
                  <a:lnTo>
                    <a:pt x="215" y="78"/>
                  </a:lnTo>
                  <a:lnTo>
                    <a:pt x="215" y="78"/>
                  </a:lnTo>
                  <a:lnTo>
                    <a:pt x="215" y="80"/>
                  </a:lnTo>
                  <a:lnTo>
                    <a:pt x="215" y="81"/>
                  </a:lnTo>
                  <a:lnTo>
                    <a:pt x="215" y="83"/>
                  </a:lnTo>
                  <a:lnTo>
                    <a:pt x="217" y="83"/>
                  </a:lnTo>
                  <a:lnTo>
                    <a:pt x="218" y="83"/>
                  </a:lnTo>
                  <a:lnTo>
                    <a:pt x="220" y="83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1" y="85"/>
                  </a:lnTo>
                  <a:lnTo>
                    <a:pt x="221" y="88"/>
                  </a:lnTo>
                  <a:lnTo>
                    <a:pt x="221" y="88"/>
                  </a:lnTo>
                  <a:lnTo>
                    <a:pt x="222" y="88"/>
                  </a:lnTo>
                  <a:lnTo>
                    <a:pt x="227" y="88"/>
                  </a:lnTo>
                  <a:lnTo>
                    <a:pt x="228" y="90"/>
                  </a:lnTo>
                  <a:lnTo>
                    <a:pt x="230" y="91"/>
                  </a:lnTo>
                  <a:lnTo>
                    <a:pt x="231" y="91"/>
                  </a:lnTo>
                  <a:lnTo>
                    <a:pt x="232" y="92"/>
                  </a:lnTo>
                  <a:lnTo>
                    <a:pt x="231" y="94"/>
                  </a:lnTo>
                  <a:lnTo>
                    <a:pt x="231" y="95"/>
                  </a:lnTo>
                  <a:lnTo>
                    <a:pt x="228" y="95"/>
                  </a:lnTo>
                  <a:lnTo>
                    <a:pt x="228" y="95"/>
                  </a:lnTo>
                  <a:lnTo>
                    <a:pt x="222" y="98"/>
                  </a:lnTo>
                  <a:lnTo>
                    <a:pt x="221" y="100"/>
                  </a:lnTo>
                  <a:lnTo>
                    <a:pt x="220" y="101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11"/>
                  </a:lnTo>
                  <a:lnTo>
                    <a:pt x="218" y="112"/>
                  </a:lnTo>
                  <a:lnTo>
                    <a:pt x="220" y="114"/>
                  </a:lnTo>
                  <a:lnTo>
                    <a:pt x="220" y="114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8" y="117"/>
                  </a:lnTo>
                  <a:lnTo>
                    <a:pt x="217" y="118"/>
                  </a:lnTo>
                  <a:lnTo>
                    <a:pt x="215" y="118"/>
                  </a:lnTo>
                  <a:lnTo>
                    <a:pt x="214" y="121"/>
                  </a:lnTo>
                  <a:lnTo>
                    <a:pt x="211" y="125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8" y="128"/>
                  </a:lnTo>
                  <a:lnTo>
                    <a:pt x="210" y="130"/>
                  </a:lnTo>
                  <a:lnTo>
                    <a:pt x="210" y="131"/>
                  </a:lnTo>
                  <a:lnTo>
                    <a:pt x="208" y="131"/>
                  </a:lnTo>
                  <a:lnTo>
                    <a:pt x="207" y="132"/>
                  </a:lnTo>
                  <a:lnTo>
                    <a:pt x="205" y="134"/>
                  </a:lnTo>
                  <a:lnTo>
                    <a:pt x="202" y="135"/>
                  </a:lnTo>
                  <a:lnTo>
                    <a:pt x="201" y="135"/>
                  </a:lnTo>
                  <a:lnTo>
                    <a:pt x="200" y="138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7" y="147"/>
                  </a:lnTo>
                  <a:lnTo>
                    <a:pt x="194" y="151"/>
                  </a:lnTo>
                  <a:lnTo>
                    <a:pt x="192" y="152"/>
                  </a:lnTo>
                  <a:lnTo>
                    <a:pt x="188" y="155"/>
                  </a:lnTo>
                  <a:lnTo>
                    <a:pt x="184" y="158"/>
                  </a:lnTo>
                  <a:lnTo>
                    <a:pt x="182" y="158"/>
                  </a:lnTo>
                  <a:lnTo>
                    <a:pt x="182" y="161"/>
                  </a:lnTo>
                  <a:lnTo>
                    <a:pt x="181" y="164"/>
                  </a:lnTo>
                  <a:lnTo>
                    <a:pt x="181" y="165"/>
                  </a:lnTo>
                  <a:lnTo>
                    <a:pt x="177" y="168"/>
                  </a:lnTo>
                  <a:lnTo>
                    <a:pt x="177" y="170"/>
                  </a:lnTo>
                  <a:lnTo>
                    <a:pt x="177" y="172"/>
                  </a:lnTo>
                  <a:lnTo>
                    <a:pt x="174" y="172"/>
                  </a:lnTo>
                  <a:lnTo>
                    <a:pt x="171" y="174"/>
                  </a:lnTo>
                  <a:lnTo>
                    <a:pt x="167" y="174"/>
                  </a:lnTo>
                  <a:lnTo>
                    <a:pt x="165" y="174"/>
                  </a:lnTo>
                  <a:lnTo>
                    <a:pt x="160" y="177"/>
                  </a:lnTo>
                  <a:lnTo>
                    <a:pt x="160" y="177"/>
                  </a:lnTo>
                  <a:lnTo>
                    <a:pt x="158" y="175"/>
                  </a:lnTo>
                  <a:lnTo>
                    <a:pt x="157" y="175"/>
                  </a:lnTo>
                  <a:lnTo>
                    <a:pt x="157" y="174"/>
                  </a:lnTo>
                  <a:lnTo>
                    <a:pt x="157" y="172"/>
                  </a:lnTo>
                  <a:lnTo>
                    <a:pt x="155" y="171"/>
                  </a:lnTo>
                  <a:lnTo>
                    <a:pt x="154" y="171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0" y="172"/>
                  </a:lnTo>
                  <a:lnTo>
                    <a:pt x="150" y="172"/>
                  </a:lnTo>
                  <a:lnTo>
                    <a:pt x="148" y="174"/>
                  </a:lnTo>
                  <a:lnTo>
                    <a:pt x="147" y="177"/>
                  </a:lnTo>
                  <a:lnTo>
                    <a:pt x="144" y="181"/>
                  </a:lnTo>
                  <a:lnTo>
                    <a:pt x="143" y="184"/>
                  </a:lnTo>
                  <a:lnTo>
                    <a:pt x="141" y="184"/>
                  </a:lnTo>
                  <a:lnTo>
                    <a:pt x="140" y="185"/>
                  </a:lnTo>
                  <a:lnTo>
                    <a:pt x="140" y="185"/>
                  </a:lnTo>
                  <a:lnTo>
                    <a:pt x="138" y="187"/>
                  </a:lnTo>
                  <a:lnTo>
                    <a:pt x="138" y="190"/>
                  </a:lnTo>
                  <a:lnTo>
                    <a:pt x="138" y="192"/>
                  </a:lnTo>
                  <a:lnTo>
                    <a:pt x="138" y="194"/>
                  </a:lnTo>
                  <a:lnTo>
                    <a:pt x="138" y="194"/>
                  </a:lnTo>
                  <a:lnTo>
                    <a:pt x="140" y="194"/>
                  </a:lnTo>
                  <a:lnTo>
                    <a:pt x="143" y="195"/>
                  </a:lnTo>
                  <a:lnTo>
                    <a:pt x="145" y="197"/>
                  </a:lnTo>
                  <a:lnTo>
                    <a:pt x="147" y="197"/>
                  </a:lnTo>
                  <a:lnTo>
                    <a:pt x="148" y="197"/>
                  </a:lnTo>
                  <a:lnTo>
                    <a:pt x="148" y="198"/>
                  </a:lnTo>
                  <a:lnTo>
                    <a:pt x="148" y="198"/>
                  </a:lnTo>
                  <a:lnTo>
                    <a:pt x="148" y="201"/>
                  </a:lnTo>
                  <a:lnTo>
                    <a:pt x="148" y="202"/>
                  </a:lnTo>
                  <a:lnTo>
                    <a:pt x="147" y="205"/>
                  </a:lnTo>
                  <a:lnTo>
                    <a:pt x="148" y="207"/>
                  </a:lnTo>
                  <a:lnTo>
                    <a:pt x="148" y="208"/>
                  </a:lnTo>
                  <a:lnTo>
                    <a:pt x="151" y="212"/>
                  </a:lnTo>
                  <a:lnTo>
                    <a:pt x="151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5" y="212"/>
                  </a:lnTo>
                  <a:lnTo>
                    <a:pt x="157" y="212"/>
                  </a:lnTo>
                  <a:lnTo>
                    <a:pt x="157" y="212"/>
                  </a:lnTo>
                  <a:lnTo>
                    <a:pt x="157" y="214"/>
                  </a:lnTo>
                  <a:lnTo>
                    <a:pt x="157" y="217"/>
                  </a:lnTo>
                  <a:lnTo>
                    <a:pt x="158" y="218"/>
                  </a:lnTo>
                  <a:lnTo>
                    <a:pt x="160" y="221"/>
                  </a:lnTo>
                  <a:lnTo>
                    <a:pt x="160" y="224"/>
                  </a:lnTo>
                  <a:lnTo>
                    <a:pt x="161" y="227"/>
                  </a:lnTo>
                  <a:lnTo>
                    <a:pt x="163" y="228"/>
                  </a:lnTo>
                  <a:lnTo>
                    <a:pt x="163" y="230"/>
                  </a:lnTo>
                  <a:lnTo>
                    <a:pt x="163" y="231"/>
                  </a:lnTo>
                  <a:lnTo>
                    <a:pt x="163" y="231"/>
                  </a:lnTo>
                  <a:lnTo>
                    <a:pt x="163" y="232"/>
                  </a:lnTo>
                  <a:lnTo>
                    <a:pt x="163" y="232"/>
                  </a:lnTo>
                  <a:lnTo>
                    <a:pt x="163" y="234"/>
                  </a:lnTo>
                  <a:lnTo>
                    <a:pt x="163" y="234"/>
                  </a:lnTo>
                  <a:lnTo>
                    <a:pt x="163" y="234"/>
                  </a:lnTo>
                  <a:lnTo>
                    <a:pt x="163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7"/>
                  </a:lnTo>
                  <a:lnTo>
                    <a:pt x="160" y="238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7"/>
                  </a:lnTo>
                  <a:lnTo>
                    <a:pt x="155" y="237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4" y="235"/>
                  </a:lnTo>
                  <a:lnTo>
                    <a:pt x="151" y="235"/>
                  </a:lnTo>
                  <a:lnTo>
                    <a:pt x="148" y="237"/>
                  </a:lnTo>
                  <a:lnTo>
                    <a:pt x="147" y="238"/>
                  </a:lnTo>
                  <a:lnTo>
                    <a:pt x="147" y="238"/>
                  </a:lnTo>
                  <a:lnTo>
                    <a:pt x="145" y="240"/>
                  </a:lnTo>
                  <a:lnTo>
                    <a:pt x="143" y="240"/>
                  </a:lnTo>
                  <a:lnTo>
                    <a:pt x="141" y="240"/>
                  </a:lnTo>
                  <a:lnTo>
                    <a:pt x="141" y="238"/>
                  </a:lnTo>
                  <a:lnTo>
                    <a:pt x="140" y="237"/>
                  </a:lnTo>
                  <a:lnTo>
                    <a:pt x="137" y="237"/>
                  </a:lnTo>
                  <a:lnTo>
                    <a:pt x="134" y="237"/>
                  </a:lnTo>
                  <a:lnTo>
                    <a:pt x="133" y="237"/>
                  </a:lnTo>
                  <a:lnTo>
                    <a:pt x="131" y="237"/>
                  </a:lnTo>
                  <a:lnTo>
                    <a:pt x="130" y="237"/>
                  </a:lnTo>
                  <a:lnTo>
                    <a:pt x="128" y="237"/>
                  </a:lnTo>
                  <a:lnTo>
                    <a:pt x="128" y="237"/>
                  </a:lnTo>
                  <a:lnTo>
                    <a:pt x="127" y="238"/>
                  </a:lnTo>
                  <a:lnTo>
                    <a:pt x="127" y="237"/>
                  </a:lnTo>
                  <a:lnTo>
                    <a:pt x="127" y="237"/>
                  </a:lnTo>
                  <a:lnTo>
                    <a:pt x="127" y="237"/>
                  </a:lnTo>
                  <a:lnTo>
                    <a:pt x="125" y="237"/>
                  </a:lnTo>
                  <a:lnTo>
                    <a:pt x="125" y="238"/>
                  </a:lnTo>
                  <a:lnTo>
                    <a:pt x="125" y="242"/>
                  </a:lnTo>
                  <a:lnTo>
                    <a:pt x="124" y="242"/>
                  </a:lnTo>
                  <a:lnTo>
                    <a:pt x="123" y="242"/>
                  </a:lnTo>
                  <a:lnTo>
                    <a:pt x="120" y="242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7" y="244"/>
                  </a:lnTo>
                  <a:lnTo>
                    <a:pt x="117" y="245"/>
                  </a:lnTo>
                  <a:lnTo>
                    <a:pt x="115" y="247"/>
                  </a:lnTo>
                  <a:lnTo>
                    <a:pt x="115" y="245"/>
                  </a:lnTo>
                  <a:lnTo>
                    <a:pt x="115" y="245"/>
                  </a:lnTo>
                  <a:lnTo>
                    <a:pt x="114" y="245"/>
                  </a:lnTo>
                  <a:lnTo>
                    <a:pt x="114" y="245"/>
                  </a:lnTo>
                  <a:lnTo>
                    <a:pt x="113" y="244"/>
                  </a:lnTo>
                  <a:lnTo>
                    <a:pt x="111" y="245"/>
                  </a:lnTo>
                  <a:lnTo>
                    <a:pt x="108" y="245"/>
                  </a:lnTo>
                  <a:lnTo>
                    <a:pt x="108" y="244"/>
                  </a:lnTo>
                  <a:lnTo>
                    <a:pt x="108" y="244"/>
                  </a:lnTo>
                  <a:lnTo>
                    <a:pt x="107" y="244"/>
                  </a:lnTo>
                  <a:lnTo>
                    <a:pt x="107" y="242"/>
                  </a:lnTo>
                  <a:lnTo>
                    <a:pt x="105" y="242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4" y="241"/>
                  </a:lnTo>
                  <a:lnTo>
                    <a:pt x="103" y="240"/>
                  </a:lnTo>
                  <a:lnTo>
                    <a:pt x="103" y="238"/>
                  </a:lnTo>
                  <a:lnTo>
                    <a:pt x="103" y="235"/>
                  </a:lnTo>
                  <a:lnTo>
                    <a:pt x="101" y="228"/>
                  </a:lnTo>
                  <a:lnTo>
                    <a:pt x="100" y="228"/>
                  </a:lnTo>
                  <a:lnTo>
                    <a:pt x="94" y="227"/>
                  </a:lnTo>
                  <a:lnTo>
                    <a:pt x="93" y="225"/>
                  </a:lnTo>
                  <a:lnTo>
                    <a:pt x="94" y="222"/>
                  </a:lnTo>
                  <a:lnTo>
                    <a:pt x="94" y="221"/>
                  </a:lnTo>
                  <a:lnTo>
                    <a:pt x="91" y="218"/>
                  </a:lnTo>
                  <a:lnTo>
                    <a:pt x="91" y="217"/>
                  </a:lnTo>
                  <a:lnTo>
                    <a:pt x="90" y="214"/>
                  </a:lnTo>
                  <a:lnTo>
                    <a:pt x="87" y="214"/>
                  </a:lnTo>
                  <a:lnTo>
                    <a:pt x="85" y="214"/>
                  </a:lnTo>
                  <a:lnTo>
                    <a:pt x="85" y="215"/>
                  </a:lnTo>
                  <a:lnTo>
                    <a:pt x="84" y="215"/>
                  </a:lnTo>
                  <a:lnTo>
                    <a:pt x="88" y="215"/>
                  </a:lnTo>
                  <a:lnTo>
                    <a:pt x="88" y="217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0" y="217"/>
                  </a:lnTo>
                  <a:lnTo>
                    <a:pt x="77" y="218"/>
                  </a:lnTo>
                  <a:lnTo>
                    <a:pt x="73" y="218"/>
                  </a:lnTo>
                  <a:lnTo>
                    <a:pt x="67" y="220"/>
                  </a:lnTo>
                  <a:lnTo>
                    <a:pt x="63" y="220"/>
                  </a:lnTo>
                  <a:lnTo>
                    <a:pt x="61" y="221"/>
                  </a:lnTo>
                  <a:lnTo>
                    <a:pt x="60" y="221"/>
                  </a:lnTo>
                  <a:lnTo>
                    <a:pt x="58" y="221"/>
                  </a:lnTo>
                  <a:lnTo>
                    <a:pt x="53" y="218"/>
                  </a:lnTo>
                  <a:lnTo>
                    <a:pt x="53" y="218"/>
                  </a:lnTo>
                  <a:lnTo>
                    <a:pt x="51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46" y="218"/>
                  </a:lnTo>
                  <a:lnTo>
                    <a:pt x="43" y="218"/>
                  </a:lnTo>
                  <a:lnTo>
                    <a:pt x="43" y="220"/>
                  </a:lnTo>
                  <a:lnTo>
                    <a:pt x="43" y="221"/>
                  </a:lnTo>
                  <a:lnTo>
                    <a:pt x="38" y="221"/>
                  </a:lnTo>
                  <a:lnTo>
                    <a:pt x="37" y="220"/>
                  </a:lnTo>
                  <a:lnTo>
                    <a:pt x="34" y="221"/>
                  </a:lnTo>
                  <a:lnTo>
                    <a:pt x="28" y="220"/>
                  </a:lnTo>
                  <a:lnTo>
                    <a:pt x="27" y="220"/>
                  </a:lnTo>
                  <a:lnTo>
                    <a:pt x="26" y="221"/>
                  </a:lnTo>
                  <a:lnTo>
                    <a:pt x="24" y="222"/>
                  </a:lnTo>
                  <a:lnTo>
                    <a:pt x="23" y="222"/>
                  </a:lnTo>
                  <a:lnTo>
                    <a:pt x="23" y="221"/>
                  </a:lnTo>
                  <a:lnTo>
                    <a:pt x="21" y="221"/>
                  </a:lnTo>
                  <a:lnTo>
                    <a:pt x="21" y="221"/>
                  </a:lnTo>
                  <a:lnTo>
                    <a:pt x="20" y="222"/>
                  </a:lnTo>
                  <a:lnTo>
                    <a:pt x="17" y="222"/>
                  </a:lnTo>
                  <a:lnTo>
                    <a:pt x="14" y="222"/>
                  </a:lnTo>
                  <a:lnTo>
                    <a:pt x="11" y="221"/>
                  </a:lnTo>
                  <a:lnTo>
                    <a:pt x="11" y="221"/>
                  </a:lnTo>
                  <a:lnTo>
                    <a:pt x="11" y="220"/>
                  </a:lnTo>
                  <a:lnTo>
                    <a:pt x="13" y="214"/>
                  </a:lnTo>
                  <a:lnTo>
                    <a:pt x="13" y="212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4" y="210"/>
                  </a:lnTo>
                  <a:lnTo>
                    <a:pt x="14" y="210"/>
                  </a:lnTo>
                  <a:lnTo>
                    <a:pt x="14" y="207"/>
                  </a:lnTo>
                  <a:lnTo>
                    <a:pt x="16" y="204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20" y="201"/>
                  </a:lnTo>
                  <a:lnTo>
                    <a:pt x="20" y="201"/>
                  </a:lnTo>
                  <a:lnTo>
                    <a:pt x="21" y="201"/>
                  </a:lnTo>
                  <a:lnTo>
                    <a:pt x="23" y="201"/>
                  </a:lnTo>
                  <a:lnTo>
                    <a:pt x="23" y="200"/>
                  </a:lnTo>
                  <a:lnTo>
                    <a:pt x="23" y="198"/>
                  </a:lnTo>
                  <a:lnTo>
                    <a:pt x="24" y="197"/>
                  </a:lnTo>
                  <a:lnTo>
                    <a:pt x="26" y="197"/>
                  </a:lnTo>
                  <a:lnTo>
                    <a:pt x="28" y="197"/>
                  </a:lnTo>
                  <a:lnTo>
                    <a:pt x="30" y="195"/>
                  </a:lnTo>
                  <a:lnTo>
                    <a:pt x="31" y="195"/>
                  </a:lnTo>
                  <a:lnTo>
                    <a:pt x="36" y="195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37" y="192"/>
                  </a:lnTo>
                  <a:lnTo>
                    <a:pt x="38" y="191"/>
                  </a:lnTo>
                  <a:lnTo>
                    <a:pt x="38" y="191"/>
                  </a:lnTo>
                  <a:lnTo>
                    <a:pt x="38" y="190"/>
                  </a:lnTo>
                  <a:lnTo>
                    <a:pt x="38" y="188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5"/>
                  </a:lnTo>
                  <a:lnTo>
                    <a:pt x="37" y="185"/>
                  </a:lnTo>
                  <a:lnTo>
                    <a:pt x="37" y="184"/>
                  </a:lnTo>
                  <a:lnTo>
                    <a:pt x="33" y="185"/>
                  </a:lnTo>
                  <a:lnTo>
                    <a:pt x="31" y="185"/>
                  </a:lnTo>
                  <a:lnTo>
                    <a:pt x="30" y="184"/>
                  </a:lnTo>
                  <a:lnTo>
                    <a:pt x="30" y="184"/>
                  </a:lnTo>
                  <a:lnTo>
                    <a:pt x="30" y="184"/>
                  </a:lnTo>
                  <a:lnTo>
                    <a:pt x="30" y="182"/>
                  </a:lnTo>
                  <a:lnTo>
                    <a:pt x="31" y="181"/>
                  </a:lnTo>
                  <a:lnTo>
                    <a:pt x="31" y="180"/>
                  </a:lnTo>
                  <a:lnTo>
                    <a:pt x="31" y="175"/>
                  </a:lnTo>
                  <a:lnTo>
                    <a:pt x="30" y="171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7" y="167"/>
                  </a:lnTo>
                  <a:lnTo>
                    <a:pt x="26" y="164"/>
                  </a:lnTo>
                  <a:lnTo>
                    <a:pt x="24" y="164"/>
                  </a:lnTo>
                  <a:lnTo>
                    <a:pt x="20" y="162"/>
                  </a:lnTo>
                  <a:lnTo>
                    <a:pt x="18" y="162"/>
                  </a:lnTo>
                  <a:lnTo>
                    <a:pt x="17" y="161"/>
                  </a:lnTo>
                  <a:lnTo>
                    <a:pt x="14" y="160"/>
                  </a:lnTo>
                  <a:lnTo>
                    <a:pt x="13" y="157"/>
                  </a:lnTo>
                  <a:lnTo>
                    <a:pt x="11" y="155"/>
                  </a:lnTo>
                  <a:lnTo>
                    <a:pt x="10" y="152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7"/>
                  </a:lnTo>
                  <a:lnTo>
                    <a:pt x="4" y="142"/>
                  </a:lnTo>
                  <a:lnTo>
                    <a:pt x="3" y="141"/>
                  </a:lnTo>
                  <a:lnTo>
                    <a:pt x="0" y="137"/>
                  </a:lnTo>
                  <a:lnTo>
                    <a:pt x="6" y="140"/>
                  </a:lnTo>
                  <a:lnTo>
                    <a:pt x="10" y="141"/>
                  </a:lnTo>
                  <a:lnTo>
                    <a:pt x="18" y="144"/>
                  </a:lnTo>
                  <a:lnTo>
                    <a:pt x="24" y="145"/>
                  </a:lnTo>
                  <a:lnTo>
                    <a:pt x="26" y="145"/>
                  </a:lnTo>
                  <a:lnTo>
                    <a:pt x="43" y="144"/>
                  </a:lnTo>
                  <a:lnTo>
                    <a:pt x="50" y="145"/>
                  </a:lnTo>
                  <a:lnTo>
                    <a:pt x="51" y="145"/>
                  </a:lnTo>
                  <a:lnTo>
                    <a:pt x="53" y="145"/>
                  </a:lnTo>
                  <a:lnTo>
                    <a:pt x="53" y="144"/>
                  </a:lnTo>
                  <a:lnTo>
                    <a:pt x="54" y="144"/>
                  </a:lnTo>
                  <a:lnTo>
                    <a:pt x="57" y="142"/>
                  </a:lnTo>
                  <a:lnTo>
                    <a:pt x="58" y="142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6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74" y="141"/>
                  </a:lnTo>
                  <a:lnTo>
                    <a:pt x="77" y="140"/>
                  </a:lnTo>
                  <a:lnTo>
                    <a:pt x="81" y="138"/>
                  </a:lnTo>
                  <a:lnTo>
                    <a:pt x="85" y="138"/>
                  </a:lnTo>
                  <a:lnTo>
                    <a:pt x="85" y="137"/>
                  </a:lnTo>
                  <a:lnTo>
                    <a:pt x="87" y="137"/>
                  </a:lnTo>
                  <a:lnTo>
                    <a:pt x="87" y="135"/>
                  </a:lnTo>
                  <a:lnTo>
                    <a:pt x="85" y="134"/>
                  </a:lnTo>
                  <a:lnTo>
                    <a:pt x="85" y="132"/>
                  </a:lnTo>
                  <a:lnTo>
                    <a:pt x="87" y="131"/>
                  </a:lnTo>
                  <a:lnTo>
                    <a:pt x="87" y="128"/>
                  </a:lnTo>
                  <a:lnTo>
                    <a:pt x="87" y="125"/>
                  </a:lnTo>
                  <a:lnTo>
                    <a:pt x="87" y="124"/>
                  </a:lnTo>
                  <a:lnTo>
                    <a:pt x="88" y="120"/>
                  </a:lnTo>
                  <a:lnTo>
                    <a:pt x="88" y="118"/>
                  </a:lnTo>
                  <a:lnTo>
                    <a:pt x="90" y="117"/>
                  </a:lnTo>
                  <a:lnTo>
                    <a:pt x="91" y="117"/>
                  </a:lnTo>
                  <a:lnTo>
                    <a:pt x="91" y="115"/>
                  </a:lnTo>
                  <a:lnTo>
                    <a:pt x="93" y="115"/>
                  </a:lnTo>
                  <a:lnTo>
                    <a:pt x="94" y="112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8" y="111"/>
                  </a:lnTo>
                  <a:lnTo>
                    <a:pt x="100" y="111"/>
                  </a:lnTo>
                  <a:lnTo>
                    <a:pt x="103" y="112"/>
                  </a:lnTo>
                  <a:lnTo>
                    <a:pt x="105" y="111"/>
                  </a:lnTo>
                  <a:lnTo>
                    <a:pt x="108" y="111"/>
                  </a:lnTo>
                  <a:lnTo>
                    <a:pt x="108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10" y="105"/>
                  </a:lnTo>
                  <a:lnTo>
                    <a:pt x="114" y="104"/>
                  </a:lnTo>
                  <a:lnTo>
                    <a:pt x="117" y="102"/>
                  </a:lnTo>
                  <a:lnTo>
                    <a:pt x="117" y="101"/>
                  </a:lnTo>
                  <a:lnTo>
                    <a:pt x="118" y="101"/>
                  </a:lnTo>
                  <a:lnTo>
                    <a:pt x="120" y="102"/>
                  </a:lnTo>
                  <a:lnTo>
                    <a:pt x="121" y="102"/>
                  </a:lnTo>
                  <a:lnTo>
                    <a:pt x="123" y="101"/>
                  </a:lnTo>
                  <a:lnTo>
                    <a:pt x="124" y="101"/>
                  </a:lnTo>
                  <a:lnTo>
                    <a:pt x="125" y="102"/>
                  </a:lnTo>
                  <a:lnTo>
                    <a:pt x="125" y="102"/>
                  </a:lnTo>
                  <a:lnTo>
                    <a:pt x="127" y="104"/>
                  </a:lnTo>
                  <a:lnTo>
                    <a:pt x="128" y="104"/>
                  </a:lnTo>
                  <a:lnTo>
                    <a:pt x="130" y="104"/>
                  </a:lnTo>
                  <a:lnTo>
                    <a:pt x="131" y="102"/>
                  </a:lnTo>
                  <a:lnTo>
                    <a:pt x="133" y="101"/>
                  </a:lnTo>
                  <a:lnTo>
                    <a:pt x="134" y="98"/>
                  </a:lnTo>
                  <a:lnTo>
                    <a:pt x="134" y="92"/>
                  </a:lnTo>
                  <a:lnTo>
                    <a:pt x="134" y="90"/>
                  </a:lnTo>
                  <a:lnTo>
                    <a:pt x="135" y="87"/>
                  </a:lnTo>
                  <a:lnTo>
                    <a:pt x="135" y="87"/>
                  </a:lnTo>
                  <a:lnTo>
                    <a:pt x="137" y="84"/>
                  </a:lnTo>
                  <a:lnTo>
                    <a:pt x="137" y="83"/>
                  </a:lnTo>
                  <a:lnTo>
                    <a:pt x="137" y="81"/>
                  </a:lnTo>
                  <a:lnTo>
                    <a:pt x="138" y="78"/>
                  </a:lnTo>
                  <a:lnTo>
                    <a:pt x="140" y="77"/>
                  </a:lnTo>
                  <a:lnTo>
                    <a:pt x="141" y="77"/>
                  </a:lnTo>
                  <a:lnTo>
                    <a:pt x="145" y="77"/>
                  </a:lnTo>
                  <a:lnTo>
                    <a:pt x="148" y="75"/>
                  </a:lnTo>
                  <a:lnTo>
                    <a:pt x="151" y="73"/>
                  </a:lnTo>
                  <a:lnTo>
                    <a:pt x="151" y="71"/>
                  </a:lnTo>
                  <a:lnTo>
                    <a:pt x="150" y="70"/>
                  </a:lnTo>
                  <a:lnTo>
                    <a:pt x="148" y="67"/>
                  </a:lnTo>
                  <a:lnTo>
                    <a:pt x="147" y="65"/>
                  </a:lnTo>
                  <a:lnTo>
                    <a:pt x="144" y="61"/>
                  </a:lnTo>
                  <a:lnTo>
                    <a:pt x="144" y="60"/>
                  </a:lnTo>
                  <a:lnTo>
                    <a:pt x="147" y="58"/>
                  </a:lnTo>
                  <a:lnTo>
                    <a:pt x="150" y="60"/>
                  </a:lnTo>
                  <a:lnTo>
                    <a:pt x="151" y="60"/>
                  </a:lnTo>
                  <a:lnTo>
                    <a:pt x="153" y="60"/>
                  </a:lnTo>
                  <a:lnTo>
                    <a:pt x="157" y="60"/>
                  </a:lnTo>
                  <a:lnTo>
                    <a:pt x="160" y="60"/>
                  </a:lnTo>
                  <a:lnTo>
                    <a:pt x="163" y="58"/>
                  </a:lnTo>
                  <a:lnTo>
                    <a:pt x="164" y="57"/>
                  </a:lnTo>
                  <a:lnTo>
                    <a:pt x="164" y="55"/>
                  </a:lnTo>
                  <a:lnTo>
                    <a:pt x="164" y="54"/>
                  </a:lnTo>
                  <a:lnTo>
                    <a:pt x="164" y="53"/>
                  </a:lnTo>
                  <a:lnTo>
                    <a:pt x="163" y="51"/>
                  </a:lnTo>
                  <a:lnTo>
                    <a:pt x="163" y="50"/>
                  </a:lnTo>
                  <a:lnTo>
                    <a:pt x="161" y="50"/>
                  </a:lnTo>
                  <a:lnTo>
                    <a:pt x="163" y="48"/>
                  </a:lnTo>
                  <a:lnTo>
                    <a:pt x="164" y="48"/>
                  </a:lnTo>
                  <a:lnTo>
                    <a:pt x="164" y="47"/>
                  </a:lnTo>
                  <a:lnTo>
                    <a:pt x="165" y="44"/>
                  </a:lnTo>
                  <a:lnTo>
                    <a:pt x="167" y="43"/>
                  </a:lnTo>
                  <a:lnTo>
                    <a:pt x="168" y="41"/>
                  </a:lnTo>
                  <a:lnTo>
                    <a:pt x="170" y="41"/>
                  </a:lnTo>
                  <a:lnTo>
                    <a:pt x="171" y="40"/>
                  </a:lnTo>
                  <a:lnTo>
                    <a:pt x="171" y="38"/>
                  </a:lnTo>
                  <a:lnTo>
                    <a:pt x="172" y="37"/>
                  </a:lnTo>
                  <a:lnTo>
                    <a:pt x="172" y="37"/>
                  </a:lnTo>
                  <a:lnTo>
                    <a:pt x="172" y="35"/>
                  </a:lnTo>
                  <a:lnTo>
                    <a:pt x="171" y="35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71" y="33"/>
                  </a:lnTo>
                  <a:lnTo>
                    <a:pt x="172" y="33"/>
                  </a:lnTo>
                  <a:lnTo>
                    <a:pt x="171" y="31"/>
                  </a:lnTo>
                  <a:lnTo>
                    <a:pt x="171" y="30"/>
                  </a:lnTo>
                  <a:lnTo>
                    <a:pt x="171" y="28"/>
                  </a:lnTo>
                  <a:lnTo>
                    <a:pt x="170" y="25"/>
                  </a:lnTo>
                  <a:lnTo>
                    <a:pt x="170" y="24"/>
                  </a:lnTo>
                  <a:lnTo>
                    <a:pt x="168" y="23"/>
                  </a:lnTo>
                  <a:lnTo>
                    <a:pt x="168" y="21"/>
                  </a:lnTo>
                  <a:lnTo>
                    <a:pt x="165" y="21"/>
                  </a:lnTo>
                  <a:lnTo>
                    <a:pt x="165" y="20"/>
                  </a:lnTo>
                  <a:lnTo>
                    <a:pt x="165" y="18"/>
                  </a:lnTo>
                  <a:lnTo>
                    <a:pt x="167" y="17"/>
                  </a:lnTo>
                  <a:lnTo>
                    <a:pt x="170" y="14"/>
                  </a:lnTo>
                  <a:lnTo>
                    <a:pt x="171" y="13"/>
                  </a:lnTo>
                  <a:lnTo>
                    <a:pt x="172" y="11"/>
                  </a:lnTo>
                  <a:lnTo>
                    <a:pt x="174" y="13"/>
                  </a:lnTo>
                  <a:lnTo>
                    <a:pt x="174" y="13"/>
                  </a:lnTo>
                  <a:lnTo>
                    <a:pt x="175" y="11"/>
                  </a:lnTo>
                  <a:lnTo>
                    <a:pt x="177" y="10"/>
                  </a:lnTo>
                  <a:lnTo>
                    <a:pt x="180" y="8"/>
                  </a:lnTo>
                  <a:lnTo>
                    <a:pt x="181" y="7"/>
                  </a:lnTo>
                  <a:lnTo>
                    <a:pt x="182" y="5"/>
                  </a:lnTo>
                  <a:lnTo>
                    <a:pt x="184" y="5"/>
                  </a:lnTo>
                  <a:lnTo>
                    <a:pt x="185" y="5"/>
                  </a:lnTo>
                  <a:lnTo>
                    <a:pt x="187" y="4"/>
                  </a:lnTo>
                  <a:lnTo>
                    <a:pt x="188" y="4"/>
                  </a:lnTo>
                  <a:lnTo>
                    <a:pt x="191" y="4"/>
                  </a:lnTo>
                  <a:lnTo>
                    <a:pt x="194" y="4"/>
                  </a:lnTo>
                  <a:lnTo>
                    <a:pt x="197" y="3"/>
                  </a:lnTo>
                  <a:lnTo>
                    <a:pt x="201" y="3"/>
                  </a:lnTo>
                  <a:lnTo>
                    <a:pt x="205" y="3"/>
                  </a:lnTo>
                  <a:lnTo>
                    <a:pt x="207" y="3"/>
                  </a:lnTo>
                  <a:lnTo>
                    <a:pt x="208" y="4"/>
                  </a:lnTo>
                  <a:lnTo>
                    <a:pt x="211" y="4"/>
                  </a:lnTo>
                  <a:lnTo>
                    <a:pt x="211" y="4"/>
                  </a:lnTo>
                  <a:lnTo>
                    <a:pt x="214" y="3"/>
                  </a:lnTo>
                  <a:lnTo>
                    <a:pt x="217" y="1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1" y="0"/>
                  </a:lnTo>
                  <a:lnTo>
                    <a:pt x="222" y="0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1" name="Google Shape;291;p3"/>
            <p:cNvSpPr/>
            <p:nvPr/>
          </p:nvSpPr>
          <p:spPr>
            <a:xfrm>
              <a:off x="4109924" y="3713761"/>
              <a:ext cx="112208" cy="94796"/>
            </a:xfrm>
            <a:custGeom>
              <a:rect b="b" l="l" r="r" t="t"/>
              <a:pathLst>
                <a:path extrusionOk="0" h="151" w="160">
                  <a:moveTo>
                    <a:pt x="88" y="10"/>
                  </a:moveTo>
                  <a:lnTo>
                    <a:pt x="88" y="11"/>
                  </a:lnTo>
                  <a:lnTo>
                    <a:pt x="93" y="11"/>
                  </a:lnTo>
                  <a:lnTo>
                    <a:pt x="98" y="11"/>
                  </a:lnTo>
                  <a:lnTo>
                    <a:pt x="106" y="11"/>
                  </a:lnTo>
                  <a:lnTo>
                    <a:pt x="113" y="13"/>
                  </a:lnTo>
                  <a:lnTo>
                    <a:pt x="121" y="13"/>
                  </a:lnTo>
                  <a:lnTo>
                    <a:pt x="130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1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3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6" y="15"/>
                  </a:lnTo>
                  <a:lnTo>
                    <a:pt x="147" y="17"/>
                  </a:lnTo>
                  <a:lnTo>
                    <a:pt x="148" y="17"/>
                  </a:lnTo>
                  <a:lnTo>
                    <a:pt x="150" y="18"/>
                  </a:lnTo>
                  <a:lnTo>
                    <a:pt x="150" y="21"/>
                  </a:lnTo>
                  <a:lnTo>
                    <a:pt x="150" y="23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3" y="34"/>
                  </a:lnTo>
                  <a:lnTo>
                    <a:pt x="156" y="43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3"/>
                  </a:lnTo>
                  <a:lnTo>
                    <a:pt x="157" y="54"/>
                  </a:lnTo>
                  <a:lnTo>
                    <a:pt x="157" y="55"/>
                  </a:lnTo>
                  <a:lnTo>
                    <a:pt x="157" y="57"/>
                  </a:lnTo>
                  <a:lnTo>
                    <a:pt x="156" y="58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47" y="64"/>
                  </a:lnTo>
                  <a:lnTo>
                    <a:pt x="146" y="67"/>
                  </a:lnTo>
                  <a:lnTo>
                    <a:pt x="146" y="68"/>
                  </a:lnTo>
                  <a:lnTo>
                    <a:pt x="146" y="68"/>
                  </a:lnTo>
                  <a:lnTo>
                    <a:pt x="146" y="70"/>
                  </a:lnTo>
                  <a:lnTo>
                    <a:pt x="148" y="71"/>
                  </a:lnTo>
                  <a:lnTo>
                    <a:pt x="150" y="71"/>
                  </a:lnTo>
                  <a:lnTo>
                    <a:pt x="151" y="73"/>
                  </a:lnTo>
                  <a:lnTo>
                    <a:pt x="153" y="73"/>
                  </a:lnTo>
                  <a:lnTo>
                    <a:pt x="153" y="74"/>
                  </a:lnTo>
                  <a:lnTo>
                    <a:pt x="153" y="75"/>
                  </a:lnTo>
                  <a:lnTo>
                    <a:pt x="153" y="77"/>
                  </a:lnTo>
                  <a:lnTo>
                    <a:pt x="153" y="80"/>
                  </a:lnTo>
                  <a:lnTo>
                    <a:pt x="153" y="81"/>
                  </a:lnTo>
                  <a:lnTo>
                    <a:pt x="153" y="82"/>
                  </a:lnTo>
                  <a:lnTo>
                    <a:pt x="151" y="84"/>
                  </a:lnTo>
                  <a:lnTo>
                    <a:pt x="151" y="85"/>
                  </a:lnTo>
                  <a:lnTo>
                    <a:pt x="153" y="88"/>
                  </a:lnTo>
                  <a:lnTo>
                    <a:pt x="153" y="90"/>
                  </a:lnTo>
                  <a:lnTo>
                    <a:pt x="154" y="91"/>
                  </a:lnTo>
                  <a:lnTo>
                    <a:pt x="153" y="92"/>
                  </a:lnTo>
                  <a:lnTo>
                    <a:pt x="153" y="94"/>
                  </a:lnTo>
                  <a:lnTo>
                    <a:pt x="154" y="95"/>
                  </a:lnTo>
                  <a:lnTo>
                    <a:pt x="157" y="98"/>
                  </a:lnTo>
                  <a:lnTo>
                    <a:pt x="158" y="101"/>
                  </a:lnTo>
                  <a:lnTo>
                    <a:pt x="158" y="102"/>
                  </a:lnTo>
                  <a:lnTo>
                    <a:pt x="160" y="105"/>
                  </a:lnTo>
                  <a:lnTo>
                    <a:pt x="160" y="105"/>
                  </a:lnTo>
                  <a:lnTo>
                    <a:pt x="160" y="107"/>
                  </a:lnTo>
                  <a:lnTo>
                    <a:pt x="160" y="107"/>
                  </a:lnTo>
                  <a:lnTo>
                    <a:pt x="158" y="107"/>
                  </a:lnTo>
                  <a:lnTo>
                    <a:pt x="158" y="107"/>
                  </a:lnTo>
                  <a:lnTo>
                    <a:pt x="158" y="108"/>
                  </a:lnTo>
                  <a:lnTo>
                    <a:pt x="160" y="108"/>
                  </a:lnTo>
                  <a:lnTo>
                    <a:pt x="160" y="111"/>
                  </a:lnTo>
                  <a:lnTo>
                    <a:pt x="160" y="114"/>
                  </a:lnTo>
                  <a:lnTo>
                    <a:pt x="160" y="114"/>
                  </a:lnTo>
                  <a:lnTo>
                    <a:pt x="158" y="115"/>
                  </a:lnTo>
                  <a:lnTo>
                    <a:pt x="158" y="117"/>
                  </a:lnTo>
                  <a:lnTo>
                    <a:pt x="154" y="117"/>
                  </a:lnTo>
                  <a:lnTo>
                    <a:pt x="153" y="118"/>
                  </a:lnTo>
                  <a:lnTo>
                    <a:pt x="151" y="121"/>
                  </a:lnTo>
                  <a:lnTo>
                    <a:pt x="150" y="122"/>
                  </a:lnTo>
                  <a:lnTo>
                    <a:pt x="147" y="125"/>
                  </a:lnTo>
                  <a:lnTo>
                    <a:pt x="143" y="130"/>
                  </a:lnTo>
                  <a:lnTo>
                    <a:pt x="141" y="131"/>
                  </a:lnTo>
                  <a:lnTo>
                    <a:pt x="141" y="132"/>
                  </a:lnTo>
                  <a:lnTo>
                    <a:pt x="138" y="137"/>
                  </a:lnTo>
                  <a:lnTo>
                    <a:pt x="137" y="138"/>
                  </a:lnTo>
                  <a:lnTo>
                    <a:pt x="137" y="140"/>
                  </a:lnTo>
                  <a:lnTo>
                    <a:pt x="138" y="142"/>
                  </a:lnTo>
                  <a:lnTo>
                    <a:pt x="138" y="144"/>
                  </a:lnTo>
                  <a:lnTo>
                    <a:pt x="138" y="145"/>
                  </a:lnTo>
                  <a:lnTo>
                    <a:pt x="138" y="147"/>
                  </a:lnTo>
                  <a:lnTo>
                    <a:pt x="138" y="147"/>
                  </a:lnTo>
                  <a:lnTo>
                    <a:pt x="138" y="148"/>
                  </a:lnTo>
                  <a:lnTo>
                    <a:pt x="140" y="150"/>
                  </a:lnTo>
                  <a:lnTo>
                    <a:pt x="140" y="150"/>
                  </a:lnTo>
                  <a:lnTo>
                    <a:pt x="140" y="150"/>
                  </a:lnTo>
                  <a:lnTo>
                    <a:pt x="140" y="151"/>
                  </a:lnTo>
                  <a:lnTo>
                    <a:pt x="138" y="150"/>
                  </a:lnTo>
                  <a:lnTo>
                    <a:pt x="136" y="150"/>
                  </a:lnTo>
                  <a:lnTo>
                    <a:pt x="136" y="150"/>
                  </a:lnTo>
                  <a:lnTo>
                    <a:pt x="134" y="150"/>
                  </a:lnTo>
                  <a:lnTo>
                    <a:pt x="130" y="148"/>
                  </a:lnTo>
                  <a:lnTo>
                    <a:pt x="127" y="147"/>
                  </a:lnTo>
                  <a:lnTo>
                    <a:pt x="127" y="145"/>
                  </a:lnTo>
                  <a:lnTo>
                    <a:pt x="126" y="144"/>
                  </a:lnTo>
                  <a:lnTo>
                    <a:pt x="126" y="142"/>
                  </a:lnTo>
                  <a:lnTo>
                    <a:pt x="123" y="142"/>
                  </a:lnTo>
                  <a:lnTo>
                    <a:pt x="121" y="141"/>
                  </a:lnTo>
                  <a:lnTo>
                    <a:pt x="116" y="141"/>
                  </a:lnTo>
                  <a:lnTo>
                    <a:pt x="114" y="141"/>
                  </a:lnTo>
                  <a:lnTo>
                    <a:pt x="113" y="141"/>
                  </a:lnTo>
                  <a:lnTo>
                    <a:pt x="111" y="141"/>
                  </a:lnTo>
                  <a:lnTo>
                    <a:pt x="111" y="142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7" y="144"/>
                  </a:lnTo>
                  <a:lnTo>
                    <a:pt x="106" y="142"/>
                  </a:lnTo>
                  <a:lnTo>
                    <a:pt x="104" y="141"/>
                  </a:lnTo>
                  <a:lnTo>
                    <a:pt x="103" y="142"/>
                  </a:lnTo>
                  <a:lnTo>
                    <a:pt x="103" y="141"/>
                  </a:lnTo>
                  <a:lnTo>
                    <a:pt x="101" y="141"/>
                  </a:lnTo>
                  <a:lnTo>
                    <a:pt x="101" y="142"/>
                  </a:lnTo>
                  <a:lnTo>
                    <a:pt x="100" y="142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7" y="144"/>
                  </a:lnTo>
                  <a:lnTo>
                    <a:pt x="97" y="145"/>
                  </a:lnTo>
                  <a:lnTo>
                    <a:pt x="96" y="147"/>
                  </a:lnTo>
                  <a:lnTo>
                    <a:pt x="93" y="145"/>
                  </a:lnTo>
                  <a:lnTo>
                    <a:pt x="93" y="147"/>
                  </a:lnTo>
                  <a:lnTo>
                    <a:pt x="91" y="147"/>
                  </a:lnTo>
                  <a:lnTo>
                    <a:pt x="91" y="147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90" y="141"/>
                  </a:lnTo>
                  <a:lnTo>
                    <a:pt x="90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0"/>
                  </a:lnTo>
                  <a:lnTo>
                    <a:pt x="87" y="138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4" y="137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1" y="141"/>
                  </a:lnTo>
                  <a:lnTo>
                    <a:pt x="78" y="141"/>
                  </a:lnTo>
                  <a:lnTo>
                    <a:pt x="78" y="140"/>
                  </a:lnTo>
                  <a:lnTo>
                    <a:pt x="77" y="140"/>
                  </a:lnTo>
                  <a:lnTo>
                    <a:pt x="76" y="138"/>
                  </a:lnTo>
                  <a:lnTo>
                    <a:pt x="76" y="138"/>
                  </a:lnTo>
                  <a:lnTo>
                    <a:pt x="76" y="137"/>
                  </a:lnTo>
                  <a:lnTo>
                    <a:pt x="73" y="132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68" y="128"/>
                  </a:lnTo>
                  <a:lnTo>
                    <a:pt x="67" y="128"/>
                  </a:lnTo>
                  <a:lnTo>
                    <a:pt x="67" y="128"/>
                  </a:lnTo>
                  <a:lnTo>
                    <a:pt x="66" y="128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3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9" y="125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9" y="122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0"/>
                  </a:lnTo>
                  <a:lnTo>
                    <a:pt x="57" y="120"/>
                  </a:lnTo>
                  <a:lnTo>
                    <a:pt x="56" y="120"/>
                  </a:lnTo>
                  <a:lnTo>
                    <a:pt x="54" y="120"/>
                  </a:lnTo>
                  <a:lnTo>
                    <a:pt x="53" y="120"/>
                  </a:lnTo>
                  <a:lnTo>
                    <a:pt x="49" y="117"/>
                  </a:lnTo>
                  <a:lnTo>
                    <a:pt x="46" y="117"/>
                  </a:lnTo>
                  <a:lnTo>
                    <a:pt x="44" y="115"/>
                  </a:lnTo>
                  <a:lnTo>
                    <a:pt x="44" y="117"/>
                  </a:lnTo>
                  <a:lnTo>
                    <a:pt x="46" y="118"/>
                  </a:lnTo>
                  <a:lnTo>
                    <a:pt x="47" y="120"/>
                  </a:lnTo>
                  <a:lnTo>
                    <a:pt x="47" y="121"/>
                  </a:lnTo>
                  <a:lnTo>
                    <a:pt x="44" y="121"/>
                  </a:lnTo>
                  <a:lnTo>
                    <a:pt x="44" y="122"/>
                  </a:lnTo>
                  <a:lnTo>
                    <a:pt x="43" y="122"/>
                  </a:lnTo>
                  <a:lnTo>
                    <a:pt x="43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0" y="124"/>
                  </a:lnTo>
                  <a:lnTo>
                    <a:pt x="39" y="121"/>
                  </a:lnTo>
                  <a:lnTo>
                    <a:pt x="36" y="118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4" y="117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7" y="114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6" y="111"/>
                  </a:lnTo>
                  <a:lnTo>
                    <a:pt x="36" y="110"/>
                  </a:lnTo>
                  <a:lnTo>
                    <a:pt x="31" y="111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0" y="110"/>
                  </a:lnTo>
                  <a:lnTo>
                    <a:pt x="29" y="110"/>
                  </a:lnTo>
                  <a:lnTo>
                    <a:pt x="27" y="108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20" y="107"/>
                  </a:lnTo>
                  <a:lnTo>
                    <a:pt x="20" y="105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3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3" y="101"/>
                  </a:lnTo>
                  <a:lnTo>
                    <a:pt x="14" y="100"/>
                  </a:lnTo>
                  <a:lnTo>
                    <a:pt x="14" y="95"/>
                  </a:lnTo>
                  <a:lnTo>
                    <a:pt x="14" y="92"/>
                  </a:lnTo>
                  <a:lnTo>
                    <a:pt x="13" y="91"/>
                  </a:lnTo>
                  <a:lnTo>
                    <a:pt x="13" y="90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5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9" y="81"/>
                  </a:lnTo>
                  <a:lnTo>
                    <a:pt x="9" y="80"/>
                  </a:lnTo>
                  <a:lnTo>
                    <a:pt x="10" y="78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1"/>
                  </a:lnTo>
                  <a:lnTo>
                    <a:pt x="10" y="70"/>
                  </a:lnTo>
                  <a:lnTo>
                    <a:pt x="9" y="68"/>
                  </a:lnTo>
                  <a:lnTo>
                    <a:pt x="7" y="68"/>
                  </a:lnTo>
                  <a:lnTo>
                    <a:pt x="7" y="67"/>
                  </a:lnTo>
                  <a:lnTo>
                    <a:pt x="7" y="64"/>
                  </a:lnTo>
                  <a:lnTo>
                    <a:pt x="9" y="63"/>
                  </a:lnTo>
                  <a:lnTo>
                    <a:pt x="7" y="58"/>
                  </a:lnTo>
                  <a:lnTo>
                    <a:pt x="3" y="55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1" y="50"/>
                  </a:lnTo>
                  <a:lnTo>
                    <a:pt x="3" y="48"/>
                  </a:lnTo>
                  <a:lnTo>
                    <a:pt x="4" y="47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3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6" y="31"/>
                  </a:lnTo>
                  <a:lnTo>
                    <a:pt x="7" y="33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27"/>
                  </a:lnTo>
                  <a:lnTo>
                    <a:pt x="4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3" y="24"/>
                  </a:lnTo>
                  <a:lnTo>
                    <a:pt x="4" y="25"/>
                  </a:lnTo>
                  <a:lnTo>
                    <a:pt x="10" y="23"/>
                  </a:lnTo>
                  <a:lnTo>
                    <a:pt x="19" y="18"/>
                  </a:lnTo>
                  <a:lnTo>
                    <a:pt x="29" y="15"/>
                  </a:lnTo>
                  <a:lnTo>
                    <a:pt x="31" y="15"/>
                  </a:lnTo>
                  <a:lnTo>
                    <a:pt x="33" y="15"/>
                  </a:lnTo>
                  <a:lnTo>
                    <a:pt x="34" y="14"/>
                  </a:lnTo>
                  <a:lnTo>
                    <a:pt x="36" y="13"/>
                  </a:lnTo>
                  <a:lnTo>
                    <a:pt x="37" y="11"/>
                  </a:lnTo>
                  <a:lnTo>
                    <a:pt x="40" y="7"/>
                  </a:lnTo>
                  <a:lnTo>
                    <a:pt x="44" y="7"/>
                  </a:lnTo>
                  <a:lnTo>
                    <a:pt x="47" y="5"/>
                  </a:lnTo>
                  <a:lnTo>
                    <a:pt x="51" y="3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4" y="4"/>
                  </a:lnTo>
                  <a:lnTo>
                    <a:pt x="76" y="5"/>
                  </a:lnTo>
                  <a:lnTo>
                    <a:pt x="73" y="4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8"/>
                  </a:lnTo>
                  <a:lnTo>
                    <a:pt x="73" y="11"/>
                  </a:lnTo>
                  <a:lnTo>
                    <a:pt x="76" y="13"/>
                  </a:lnTo>
                  <a:lnTo>
                    <a:pt x="78" y="13"/>
                  </a:lnTo>
                  <a:lnTo>
                    <a:pt x="86" y="13"/>
                  </a:lnTo>
                  <a:lnTo>
                    <a:pt x="87" y="11"/>
                  </a:lnTo>
                  <a:lnTo>
                    <a:pt x="88" y="1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2" name="Google Shape;292;p3"/>
            <p:cNvSpPr/>
            <p:nvPr/>
          </p:nvSpPr>
          <p:spPr>
            <a:xfrm>
              <a:off x="3318860" y="3837434"/>
              <a:ext cx="2805" cy="5022"/>
            </a:xfrm>
            <a:custGeom>
              <a:rect b="b" l="l" r="r" t="t"/>
              <a:pathLst>
                <a:path extrusionOk="0" h="8" w="4">
                  <a:moveTo>
                    <a:pt x="1" y="5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close/>
                  <a:moveTo>
                    <a:pt x="3" y="7"/>
                  </a:moveTo>
                  <a:lnTo>
                    <a:pt x="3" y="8"/>
                  </a:lnTo>
                  <a:lnTo>
                    <a:pt x="1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3" name="Google Shape;293;p3"/>
            <p:cNvSpPr/>
            <p:nvPr/>
          </p:nvSpPr>
          <p:spPr>
            <a:xfrm>
              <a:off x="3188419" y="4183971"/>
              <a:ext cx="30156" cy="6278"/>
            </a:xfrm>
            <a:custGeom>
              <a:rect b="b" l="l" r="r" t="t"/>
              <a:pathLst>
                <a:path extrusionOk="0" h="10" w="43">
                  <a:moveTo>
                    <a:pt x="29" y="2"/>
                  </a:moveTo>
                  <a:lnTo>
                    <a:pt x="30" y="3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6"/>
                  </a:lnTo>
                  <a:lnTo>
                    <a:pt x="36" y="6"/>
                  </a:lnTo>
                  <a:lnTo>
                    <a:pt x="35" y="7"/>
                  </a:lnTo>
                  <a:lnTo>
                    <a:pt x="35" y="9"/>
                  </a:lnTo>
                  <a:lnTo>
                    <a:pt x="32" y="10"/>
                  </a:lnTo>
                  <a:lnTo>
                    <a:pt x="29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close/>
                  <a:moveTo>
                    <a:pt x="40" y="7"/>
                  </a:move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0" y="7"/>
                  </a:lnTo>
                  <a:close/>
                  <a:moveTo>
                    <a:pt x="2" y="9"/>
                  </a:move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4" name="Google Shape;294;p3"/>
            <p:cNvSpPr/>
            <p:nvPr/>
          </p:nvSpPr>
          <p:spPr>
            <a:xfrm>
              <a:off x="4335742" y="4028281"/>
              <a:ext cx="15429" cy="15695"/>
            </a:xfrm>
            <a:custGeom>
              <a:rect b="b" l="l" r="r" t="t"/>
              <a:pathLst>
                <a:path extrusionOk="0" h="25" w="22">
                  <a:moveTo>
                    <a:pt x="2" y="24"/>
                  </a:moveTo>
                  <a:lnTo>
                    <a:pt x="0" y="25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2" y="23"/>
                  </a:lnTo>
                  <a:lnTo>
                    <a:pt x="2" y="24"/>
                  </a:lnTo>
                  <a:close/>
                  <a:moveTo>
                    <a:pt x="22" y="11"/>
                  </a:moveTo>
                  <a:lnTo>
                    <a:pt x="22" y="15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2" y="20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2" y="11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3" y="1"/>
                  </a:lnTo>
                  <a:lnTo>
                    <a:pt x="16" y="0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2" y="5"/>
                  </a:lnTo>
                  <a:lnTo>
                    <a:pt x="22" y="8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5" name="Google Shape;295;p3"/>
            <p:cNvSpPr/>
            <p:nvPr/>
          </p:nvSpPr>
          <p:spPr>
            <a:xfrm>
              <a:off x="3600782" y="3907119"/>
              <a:ext cx="281221" cy="119907"/>
            </a:xfrm>
            <a:custGeom>
              <a:rect b="b" l="l" r="r" t="t"/>
              <a:pathLst>
                <a:path extrusionOk="0" h="191" w="401">
                  <a:moveTo>
                    <a:pt x="225" y="187"/>
                  </a:moveTo>
                  <a:lnTo>
                    <a:pt x="227" y="189"/>
                  </a:lnTo>
                  <a:lnTo>
                    <a:pt x="230" y="187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90"/>
                  </a:lnTo>
                  <a:lnTo>
                    <a:pt x="231" y="191"/>
                  </a:lnTo>
                  <a:lnTo>
                    <a:pt x="228" y="191"/>
                  </a:lnTo>
                  <a:lnTo>
                    <a:pt x="225" y="190"/>
                  </a:lnTo>
                  <a:lnTo>
                    <a:pt x="224" y="189"/>
                  </a:lnTo>
                  <a:lnTo>
                    <a:pt x="224" y="189"/>
                  </a:lnTo>
                  <a:lnTo>
                    <a:pt x="225" y="187"/>
                  </a:lnTo>
                  <a:close/>
                  <a:moveTo>
                    <a:pt x="100" y="107"/>
                  </a:moveTo>
                  <a:lnTo>
                    <a:pt x="100" y="107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7"/>
                  </a:lnTo>
                  <a:lnTo>
                    <a:pt x="97" y="106"/>
                  </a:lnTo>
                  <a:lnTo>
                    <a:pt x="98" y="106"/>
                  </a:lnTo>
                  <a:lnTo>
                    <a:pt x="100" y="107"/>
                  </a:lnTo>
                  <a:lnTo>
                    <a:pt x="100" y="107"/>
                  </a:lnTo>
                  <a:close/>
                  <a:moveTo>
                    <a:pt x="90" y="90"/>
                  </a:moveTo>
                  <a:lnTo>
                    <a:pt x="91" y="90"/>
                  </a:lnTo>
                  <a:lnTo>
                    <a:pt x="96" y="90"/>
                  </a:lnTo>
                  <a:lnTo>
                    <a:pt x="97" y="90"/>
                  </a:lnTo>
                  <a:lnTo>
                    <a:pt x="97" y="91"/>
                  </a:lnTo>
                  <a:lnTo>
                    <a:pt x="96" y="91"/>
                  </a:lnTo>
                  <a:lnTo>
                    <a:pt x="93" y="93"/>
                  </a:lnTo>
                  <a:lnTo>
                    <a:pt x="88" y="91"/>
                  </a:lnTo>
                  <a:lnTo>
                    <a:pt x="87" y="90"/>
                  </a:lnTo>
                  <a:lnTo>
                    <a:pt x="87" y="89"/>
                  </a:lnTo>
                  <a:lnTo>
                    <a:pt x="87" y="89"/>
                  </a:lnTo>
                  <a:lnTo>
                    <a:pt x="87" y="89"/>
                  </a:lnTo>
                  <a:lnTo>
                    <a:pt x="90" y="90"/>
                  </a:lnTo>
                  <a:close/>
                  <a:moveTo>
                    <a:pt x="50" y="77"/>
                  </a:moveTo>
                  <a:lnTo>
                    <a:pt x="51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7" y="79"/>
                  </a:lnTo>
                  <a:lnTo>
                    <a:pt x="44" y="79"/>
                  </a:lnTo>
                  <a:lnTo>
                    <a:pt x="44" y="77"/>
                  </a:lnTo>
                  <a:lnTo>
                    <a:pt x="43" y="76"/>
                  </a:lnTo>
                  <a:lnTo>
                    <a:pt x="44" y="76"/>
                  </a:lnTo>
                  <a:lnTo>
                    <a:pt x="46" y="76"/>
                  </a:lnTo>
                  <a:lnTo>
                    <a:pt x="50" y="77"/>
                  </a:lnTo>
                  <a:close/>
                  <a:moveTo>
                    <a:pt x="41" y="76"/>
                  </a:moveTo>
                  <a:lnTo>
                    <a:pt x="40" y="76"/>
                  </a:lnTo>
                  <a:lnTo>
                    <a:pt x="38" y="74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3" y="76"/>
                  </a:lnTo>
                  <a:lnTo>
                    <a:pt x="41" y="76"/>
                  </a:lnTo>
                  <a:close/>
                  <a:moveTo>
                    <a:pt x="56" y="76"/>
                  </a:moveTo>
                  <a:lnTo>
                    <a:pt x="54" y="76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7" y="71"/>
                  </a:lnTo>
                  <a:lnTo>
                    <a:pt x="53" y="73"/>
                  </a:lnTo>
                  <a:lnTo>
                    <a:pt x="56" y="76"/>
                  </a:lnTo>
                  <a:close/>
                  <a:moveTo>
                    <a:pt x="67" y="73"/>
                  </a:moveTo>
                  <a:lnTo>
                    <a:pt x="67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1" y="71"/>
                  </a:lnTo>
                  <a:lnTo>
                    <a:pt x="63" y="70"/>
                  </a:lnTo>
                  <a:lnTo>
                    <a:pt x="64" y="70"/>
                  </a:lnTo>
                  <a:lnTo>
                    <a:pt x="66" y="7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7" y="73"/>
                  </a:lnTo>
                  <a:close/>
                  <a:moveTo>
                    <a:pt x="1" y="57"/>
                  </a:moveTo>
                  <a:lnTo>
                    <a:pt x="1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6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1" y="57"/>
                  </a:lnTo>
                  <a:close/>
                  <a:moveTo>
                    <a:pt x="369" y="7"/>
                  </a:moveTo>
                  <a:lnTo>
                    <a:pt x="369" y="7"/>
                  </a:lnTo>
                  <a:lnTo>
                    <a:pt x="371" y="7"/>
                  </a:lnTo>
                  <a:lnTo>
                    <a:pt x="372" y="6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77" y="6"/>
                  </a:lnTo>
                  <a:lnTo>
                    <a:pt x="378" y="6"/>
                  </a:lnTo>
                  <a:lnTo>
                    <a:pt x="378" y="6"/>
                  </a:lnTo>
                  <a:lnTo>
                    <a:pt x="379" y="7"/>
                  </a:lnTo>
                  <a:lnTo>
                    <a:pt x="382" y="7"/>
                  </a:lnTo>
                  <a:lnTo>
                    <a:pt x="384" y="6"/>
                  </a:lnTo>
                  <a:lnTo>
                    <a:pt x="385" y="6"/>
                  </a:lnTo>
                  <a:lnTo>
                    <a:pt x="385" y="4"/>
                  </a:lnTo>
                  <a:lnTo>
                    <a:pt x="385" y="4"/>
                  </a:lnTo>
                  <a:lnTo>
                    <a:pt x="385" y="4"/>
                  </a:lnTo>
                  <a:lnTo>
                    <a:pt x="387" y="3"/>
                  </a:lnTo>
                  <a:lnTo>
                    <a:pt x="387" y="4"/>
                  </a:lnTo>
                  <a:lnTo>
                    <a:pt x="388" y="4"/>
                  </a:lnTo>
                  <a:lnTo>
                    <a:pt x="391" y="4"/>
                  </a:lnTo>
                  <a:lnTo>
                    <a:pt x="391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5" y="4"/>
                  </a:lnTo>
                  <a:lnTo>
                    <a:pt x="395" y="4"/>
                  </a:lnTo>
                  <a:lnTo>
                    <a:pt x="395" y="6"/>
                  </a:lnTo>
                  <a:lnTo>
                    <a:pt x="395" y="7"/>
                  </a:lnTo>
                  <a:lnTo>
                    <a:pt x="395" y="10"/>
                  </a:lnTo>
                  <a:lnTo>
                    <a:pt x="395" y="10"/>
                  </a:lnTo>
                  <a:lnTo>
                    <a:pt x="397" y="10"/>
                  </a:lnTo>
                  <a:lnTo>
                    <a:pt x="398" y="10"/>
                  </a:lnTo>
                  <a:lnTo>
                    <a:pt x="399" y="10"/>
                  </a:lnTo>
                  <a:lnTo>
                    <a:pt x="401" y="11"/>
                  </a:lnTo>
                  <a:lnTo>
                    <a:pt x="401" y="13"/>
                  </a:lnTo>
                  <a:lnTo>
                    <a:pt x="401" y="13"/>
                  </a:lnTo>
                  <a:lnTo>
                    <a:pt x="401" y="13"/>
                  </a:lnTo>
                  <a:lnTo>
                    <a:pt x="399" y="14"/>
                  </a:lnTo>
                  <a:lnTo>
                    <a:pt x="398" y="16"/>
                  </a:lnTo>
                  <a:lnTo>
                    <a:pt x="395" y="19"/>
                  </a:lnTo>
                  <a:lnTo>
                    <a:pt x="394" y="20"/>
                  </a:lnTo>
                  <a:lnTo>
                    <a:pt x="392" y="21"/>
                  </a:lnTo>
                  <a:lnTo>
                    <a:pt x="391" y="23"/>
                  </a:lnTo>
                  <a:lnTo>
                    <a:pt x="389" y="23"/>
                  </a:lnTo>
                  <a:lnTo>
                    <a:pt x="389" y="24"/>
                  </a:lnTo>
                  <a:lnTo>
                    <a:pt x="391" y="27"/>
                  </a:lnTo>
                  <a:lnTo>
                    <a:pt x="391" y="29"/>
                  </a:lnTo>
                  <a:lnTo>
                    <a:pt x="391" y="31"/>
                  </a:lnTo>
                  <a:lnTo>
                    <a:pt x="391" y="33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7"/>
                  </a:lnTo>
                  <a:lnTo>
                    <a:pt x="391" y="37"/>
                  </a:lnTo>
                  <a:lnTo>
                    <a:pt x="391" y="39"/>
                  </a:lnTo>
                  <a:lnTo>
                    <a:pt x="391" y="39"/>
                  </a:lnTo>
                  <a:lnTo>
                    <a:pt x="389" y="40"/>
                  </a:lnTo>
                  <a:lnTo>
                    <a:pt x="388" y="41"/>
                  </a:lnTo>
                  <a:lnTo>
                    <a:pt x="388" y="41"/>
                  </a:lnTo>
                  <a:lnTo>
                    <a:pt x="388" y="43"/>
                  </a:lnTo>
                  <a:lnTo>
                    <a:pt x="389" y="44"/>
                  </a:lnTo>
                  <a:lnTo>
                    <a:pt x="389" y="44"/>
                  </a:lnTo>
                  <a:lnTo>
                    <a:pt x="389" y="47"/>
                  </a:lnTo>
                  <a:lnTo>
                    <a:pt x="389" y="50"/>
                  </a:lnTo>
                  <a:lnTo>
                    <a:pt x="388" y="51"/>
                  </a:lnTo>
                  <a:lnTo>
                    <a:pt x="388" y="51"/>
                  </a:lnTo>
                  <a:lnTo>
                    <a:pt x="387" y="51"/>
                  </a:lnTo>
                  <a:lnTo>
                    <a:pt x="381" y="51"/>
                  </a:lnTo>
                  <a:lnTo>
                    <a:pt x="379" y="53"/>
                  </a:lnTo>
                  <a:lnTo>
                    <a:pt x="379" y="53"/>
                  </a:lnTo>
                  <a:lnTo>
                    <a:pt x="381" y="54"/>
                  </a:lnTo>
                  <a:lnTo>
                    <a:pt x="382" y="56"/>
                  </a:lnTo>
                  <a:lnTo>
                    <a:pt x="382" y="57"/>
                  </a:lnTo>
                  <a:lnTo>
                    <a:pt x="384" y="59"/>
                  </a:lnTo>
                  <a:lnTo>
                    <a:pt x="385" y="63"/>
                  </a:lnTo>
                  <a:lnTo>
                    <a:pt x="388" y="64"/>
                  </a:lnTo>
                  <a:lnTo>
                    <a:pt x="388" y="64"/>
                  </a:lnTo>
                  <a:lnTo>
                    <a:pt x="388" y="66"/>
                  </a:lnTo>
                  <a:lnTo>
                    <a:pt x="388" y="69"/>
                  </a:lnTo>
                  <a:lnTo>
                    <a:pt x="387" y="70"/>
                  </a:lnTo>
                  <a:lnTo>
                    <a:pt x="385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4"/>
                  </a:lnTo>
                  <a:lnTo>
                    <a:pt x="382" y="76"/>
                  </a:lnTo>
                  <a:lnTo>
                    <a:pt x="382" y="77"/>
                  </a:lnTo>
                  <a:lnTo>
                    <a:pt x="387" y="83"/>
                  </a:lnTo>
                  <a:lnTo>
                    <a:pt x="389" y="83"/>
                  </a:lnTo>
                  <a:lnTo>
                    <a:pt x="389" y="83"/>
                  </a:lnTo>
                  <a:lnTo>
                    <a:pt x="388" y="84"/>
                  </a:lnTo>
                  <a:lnTo>
                    <a:pt x="388" y="86"/>
                  </a:lnTo>
                  <a:lnTo>
                    <a:pt x="387" y="86"/>
                  </a:lnTo>
                  <a:lnTo>
                    <a:pt x="385" y="86"/>
                  </a:lnTo>
                  <a:lnTo>
                    <a:pt x="384" y="89"/>
                  </a:lnTo>
                  <a:lnTo>
                    <a:pt x="382" y="91"/>
                  </a:lnTo>
                  <a:lnTo>
                    <a:pt x="381" y="91"/>
                  </a:lnTo>
                  <a:lnTo>
                    <a:pt x="381" y="94"/>
                  </a:lnTo>
                  <a:lnTo>
                    <a:pt x="381" y="96"/>
                  </a:lnTo>
                  <a:lnTo>
                    <a:pt x="381" y="99"/>
                  </a:lnTo>
                  <a:lnTo>
                    <a:pt x="382" y="103"/>
                  </a:lnTo>
                  <a:lnTo>
                    <a:pt x="381" y="103"/>
                  </a:lnTo>
                  <a:lnTo>
                    <a:pt x="375" y="107"/>
                  </a:lnTo>
                  <a:lnTo>
                    <a:pt x="374" y="107"/>
                  </a:lnTo>
                  <a:lnTo>
                    <a:pt x="369" y="106"/>
                  </a:lnTo>
                  <a:lnTo>
                    <a:pt x="365" y="104"/>
                  </a:lnTo>
                  <a:lnTo>
                    <a:pt x="362" y="104"/>
                  </a:lnTo>
                  <a:lnTo>
                    <a:pt x="361" y="106"/>
                  </a:lnTo>
                  <a:lnTo>
                    <a:pt x="358" y="106"/>
                  </a:lnTo>
                  <a:lnTo>
                    <a:pt x="357" y="106"/>
                  </a:lnTo>
                  <a:lnTo>
                    <a:pt x="357" y="106"/>
                  </a:lnTo>
                  <a:lnTo>
                    <a:pt x="358" y="103"/>
                  </a:lnTo>
                  <a:lnTo>
                    <a:pt x="359" y="99"/>
                  </a:lnTo>
                  <a:lnTo>
                    <a:pt x="359" y="94"/>
                  </a:lnTo>
                  <a:lnTo>
                    <a:pt x="359" y="91"/>
                  </a:lnTo>
                  <a:lnTo>
                    <a:pt x="359" y="89"/>
                  </a:lnTo>
                  <a:lnTo>
                    <a:pt x="358" y="87"/>
                  </a:lnTo>
                  <a:lnTo>
                    <a:pt x="359" y="83"/>
                  </a:lnTo>
                  <a:lnTo>
                    <a:pt x="359" y="80"/>
                  </a:lnTo>
                  <a:lnTo>
                    <a:pt x="358" y="77"/>
                  </a:lnTo>
                  <a:lnTo>
                    <a:pt x="361" y="77"/>
                  </a:lnTo>
                  <a:lnTo>
                    <a:pt x="361" y="77"/>
                  </a:lnTo>
                  <a:lnTo>
                    <a:pt x="359" y="76"/>
                  </a:lnTo>
                  <a:lnTo>
                    <a:pt x="358" y="76"/>
                  </a:lnTo>
                  <a:lnTo>
                    <a:pt x="358" y="76"/>
                  </a:lnTo>
                  <a:lnTo>
                    <a:pt x="355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2" y="76"/>
                  </a:lnTo>
                  <a:lnTo>
                    <a:pt x="352" y="73"/>
                  </a:lnTo>
                  <a:lnTo>
                    <a:pt x="354" y="73"/>
                  </a:lnTo>
                  <a:lnTo>
                    <a:pt x="355" y="73"/>
                  </a:lnTo>
                  <a:lnTo>
                    <a:pt x="357" y="71"/>
                  </a:lnTo>
                  <a:lnTo>
                    <a:pt x="357" y="70"/>
                  </a:lnTo>
                  <a:lnTo>
                    <a:pt x="357" y="69"/>
                  </a:lnTo>
                  <a:lnTo>
                    <a:pt x="357" y="66"/>
                  </a:lnTo>
                  <a:lnTo>
                    <a:pt x="359" y="64"/>
                  </a:lnTo>
                  <a:lnTo>
                    <a:pt x="358" y="64"/>
                  </a:lnTo>
                  <a:lnTo>
                    <a:pt x="357" y="66"/>
                  </a:lnTo>
                  <a:lnTo>
                    <a:pt x="355" y="70"/>
                  </a:lnTo>
                  <a:lnTo>
                    <a:pt x="354" y="71"/>
                  </a:lnTo>
                  <a:lnTo>
                    <a:pt x="352" y="71"/>
                  </a:lnTo>
                  <a:lnTo>
                    <a:pt x="351" y="73"/>
                  </a:lnTo>
                  <a:lnTo>
                    <a:pt x="349" y="71"/>
                  </a:lnTo>
                  <a:lnTo>
                    <a:pt x="348" y="71"/>
                  </a:lnTo>
                  <a:lnTo>
                    <a:pt x="348" y="70"/>
                  </a:lnTo>
                  <a:lnTo>
                    <a:pt x="348" y="69"/>
                  </a:lnTo>
                  <a:lnTo>
                    <a:pt x="349" y="67"/>
                  </a:lnTo>
                  <a:lnTo>
                    <a:pt x="349" y="64"/>
                  </a:lnTo>
                  <a:lnTo>
                    <a:pt x="351" y="61"/>
                  </a:lnTo>
                  <a:lnTo>
                    <a:pt x="351" y="60"/>
                  </a:lnTo>
                  <a:lnTo>
                    <a:pt x="351" y="59"/>
                  </a:lnTo>
                  <a:lnTo>
                    <a:pt x="351" y="59"/>
                  </a:lnTo>
                  <a:lnTo>
                    <a:pt x="352" y="57"/>
                  </a:lnTo>
                  <a:lnTo>
                    <a:pt x="354" y="54"/>
                  </a:lnTo>
                  <a:lnTo>
                    <a:pt x="357" y="49"/>
                  </a:lnTo>
                  <a:lnTo>
                    <a:pt x="359" y="43"/>
                  </a:lnTo>
                  <a:lnTo>
                    <a:pt x="358" y="43"/>
                  </a:lnTo>
                  <a:lnTo>
                    <a:pt x="358" y="41"/>
                  </a:lnTo>
                  <a:lnTo>
                    <a:pt x="358" y="40"/>
                  </a:lnTo>
                  <a:lnTo>
                    <a:pt x="359" y="33"/>
                  </a:lnTo>
                  <a:lnTo>
                    <a:pt x="361" y="31"/>
                  </a:lnTo>
                  <a:lnTo>
                    <a:pt x="361" y="30"/>
                  </a:lnTo>
                  <a:lnTo>
                    <a:pt x="361" y="26"/>
                  </a:lnTo>
                  <a:lnTo>
                    <a:pt x="362" y="24"/>
                  </a:lnTo>
                  <a:lnTo>
                    <a:pt x="362" y="23"/>
                  </a:lnTo>
                  <a:lnTo>
                    <a:pt x="361" y="21"/>
                  </a:lnTo>
                  <a:lnTo>
                    <a:pt x="361" y="19"/>
                  </a:lnTo>
                  <a:lnTo>
                    <a:pt x="359" y="13"/>
                  </a:lnTo>
                  <a:lnTo>
                    <a:pt x="359" y="10"/>
                  </a:lnTo>
                  <a:lnTo>
                    <a:pt x="359" y="10"/>
                  </a:lnTo>
                  <a:lnTo>
                    <a:pt x="358" y="10"/>
                  </a:lnTo>
                  <a:lnTo>
                    <a:pt x="358" y="9"/>
                  </a:lnTo>
                  <a:lnTo>
                    <a:pt x="358" y="7"/>
                  </a:lnTo>
                  <a:lnTo>
                    <a:pt x="359" y="4"/>
                  </a:lnTo>
                  <a:lnTo>
                    <a:pt x="361" y="3"/>
                  </a:lnTo>
                  <a:lnTo>
                    <a:pt x="362" y="1"/>
                  </a:lnTo>
                  <a:lnTo>
                    <a:pt x="364" y="1"/>
                  </a:lnTo>
                  <a:lnTo>
                    <a:pt x="367" y="0"/>
                  </a:lnTo>
                  <a:lnTo>
                    <a:pt x="368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1"/>
                  </a:lnTo>
                  <a:lnTo>
                    <a:pt x="369" y="1"/>
                  </a:lnTo>
                  <a:lnTo>
                    <a:pt x="371" y="3"/>
                  </a:lnTo>
                  <a:lnTo>
                    <a:pt x="369" y="4"/>
                  </a:lnTo>
                  <a:lnTo>
                    <a:pt x="368" y="6"/>
                  </a:lnTo>
                  <a:lnTo>
                    <a:pt x="369" y="7"/>
                  </a:lnTo>
                  <a:lnTo>
                    <a:pt x="369" y="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6" name="Google Shape;296;p3"/>
            <p:cNvSpPr/>
            <p:nvPr/>
          </p:nvSpPr>
          <p:spPr>
            <a:xfrm>
              <a:off x="3247328" y="4569431"/>
              <a:ext cx="95377" cy="90401"/>
            </a:xfrm>
            <a:custGeom>
              <a:rect b="b" l="l" r="r" t="t"/>
              <a:pathLst>
                <a:path extrusionOk="0" h="144" w="136">
                  <a:moveTo>
                    <a:pt x="73" y="14"/>
                  </a:moveTo>
                  <a:lnTo>
                    <a:pt x="73" y="16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20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7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6" y="41"/>
                  </a:lnTo>
                  <a:lnTo>
                    <a:pt x="76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7"/>
                  </a:lnTo>
                  <a:lnTo>
                    <a:pt x="76" y="49"/>
                  </a:lnTo>
                  <a:lnTo>
                    <a:pt x="77" y="49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3" y="50"/>
                  </a:lnTo>
                  <a:lnTo>
                    <a:pt x="85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9" y="50"/>
                  </a:lnTo>
                  <a:lnTo>
                    <a:pt x="92" y="50"/>
                  </a:lnTo>
                  <a:lnTo>
                    <a:pt x="93" y="51"/>
                  </a:lnTo>
                  <a:lnTo>
                    <a:pt x="95" y="51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9" y="50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100" y="47"/>
                  </a:lnTo>
                  <a:lnTo>
                    <a:pt x="102" y="47"/>
                  </a:lnTo>
                  <a:lnTo>
                    <a:pt x="102" y="49"/>
                  </a:lnTo>
                  <a:lnTo>
                    <a:pt x="103" y="50"/>
                  </a:lnTo>
                  <a:lnTo>
                    <a:pt x="103" y="51"/>
                  </a:lnTo>
                  <a:lnTo>
                    <a:pt x="105" y="51"/>
                  </a:lnTo>
                  <a:lnTo>
                    <a:pt x="106" y="51"/>
                  </a:lnTo>
                  <a:lnTo>
                    <a:pt x="107" y="51"/>
                  </a:lnTo>
                  <a:lnTo>
                    <a:pt x="109" y="51"/>
                  </a:lnTo>
                  <a:lnTo>
                    <a:pt x="110" y="51"/>
                  </a:lnTo>
                  <a:lnTo>
                    <a:pt x="110" y="53"/>
                  </a:lnTo>
                  <a:lnTo>
                    <a:pt x="112" y="53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9"/>
                  </a:lnTo>
                  <a:lnTo>
                    <a:pt x="113" y="60"/>
                  </a:lnTo>
                  <a:lnTo>
                    <a:pt x="113" y="61"/>
                  </a:lnTo>
                  <a:lnTo>
                    <a:pt x="113" y="63"/>
                  </a:lnTo>
                  <a:lnTo>
                    <a:pt x="113" y="64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7"/>
                  </a:lnTo>
                  <a:lnTo>
                    <a:pt x="115" y="69"/>
                  </a:lnTo>
                  <a:lnTo>
                    <a:pt x="115" y="70"/>
                  </a:lnTo>
                  <a:lnTo>
                    <a:pt x="116" y="70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5" y="73"/>
                  </a:lnTo>
                  <a:lnTo>
                    <a:pt x="116" y="74"/>
                  </a:lnTo>
                  <a:lnTo>
                    <a:pt x="116" y="76"/>
                  </a:lnTo>
                  <a:lnTo>
                    <a:pt x="116" y="77"/>
                  </a:lnTo>
                  <a:lnTo>
                    <a:pt x="116" y="79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9" y="81"/>
                  </a:lnTo>
                  <a:lnTo>
                    <a:pt x="120" y="81"/>
                  </a:lnTo>
                  <a:lnTo>
                    <a:pt x="122" y="81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6" y="79"/>
                  </a:lnTo>
                  <a:lnTo>
                    <a:pt x="127" y="79"/>
                  </a:lnTo>
                  <a:lnTo>
                    <a:pt x="129" y="79"/>
                  </a:lnTo>
                  <a:lnTo>
                    <a:pt x="130" y="77"/>
                  </a:lnTo>
                  <a:lnTo>
                    <a:pt x="132" y="79"/>
                  </a:lnTo>
                  <a:lnTo>
                    <a:pt x="133" y="79"/>
                  </a:lnTo>
                  <a:lnTo>
                    <a:pt x="133" y="80"/>
                  </a:lnTo>
                  <a:lnTo>
                    <a:pt x="136" y="81"/>
                  </a:lnTo>
                  <a:lnTo>
                    <a:pt x="136" y="81"/>
                  </a:lnTo>
                  <a:lnTo>
                    <a:pt x="135" y="83"/>
                  </a:lnTo>
                  <a:lnTo>
                    <a:pt x="135" y="84"/>
                  </a:lnTo>
                  <a:lnTo>
                    <a:pt x="135" y="86"/>
                  </a:lnTo>
                  <a:lnTo>
                    <a:pt x="135" y="90"/>
                  </a:lnTo>
                  <a:lnTo>
                    <a:pt x="133" y="96"/>
                  </a:lnTo>
                  <a:lnTo>
                    <a:pt x="132" y="100"/>
                  </a:lnTo>
                  <a:lnTo>
                    <a:pt x="133" y="100"/>
                  </a:lnTo>
                  <a:lnTo>
                    <a:pt x="132" y="103"/>
                  </a:lnTo>
                  <a:lnTo>
                    <a:pt x="130" y="106"/>
                  </a:lnTo>
                  <a:lnTo>
                    <a:pt x="130" y="109"/>
                  </a:lnTo>
                  <a:lnTo>
                    <a:pt x="130" y="116"/>
                  </a:lnTo>
                  <a:lnTo>
                    <a:pt x="129" y="121"/>
                  </a:lnTo>
                  <a:lnTo>
                    <a:pt x="127" y="126"/>
                  </a:lnTo>
                  <a:lnTo>
                    <a:pt x="126" y="127"/>
                  </a:lnTo>
                  <a:lnTo>
                    <a:pt x="126" y="129"/>
                  </a:lnTo>
                  <a:lnTo>
                    <a:pt x="125" y="129"/>
                  </a:lnTo>
                  <a:lnTo>
                    <a:pt x="125" y="130"/>
                  </a:lnTo>
                  <a:lnTo>
                    <a:pt x="123" y="130"/>
                  </a:lnTo>
                  <a:lnTo>
                    <a:pt x="122" y="131"/>
                  </a:lnTo>
                  <a:lnTo>
                    <a:pt x="122" y="131"/>
                  </a:lnTo>
                  <a:lnTo>
                    <a:pt x="122" y="133"/>
                  </a:lnTo>
                  <a:lnTo>
                    <a:pt x="120" y="133"/>
                  </a:lnTo>
                  <a:lnTo>
                    <a:pt x="117" y="133"/>
                  </a:lnTo>
                  <a:lnTo>
                    <a:pt x="117" y="134"/>
                  </a:lnTo>
                  <a:lnTo>
                    <a:pt x="116" y="136"/>
                  </a:lnTo>
                  <a:lnTo>
                    <a:pt x="116" y="136"/>
                  </a:lnTo>
                  <a:lnTo>
                    <a:pt x="115" y="137"/>
                  </a:lnTo>
                  <a:lnTo>
                    <a:pt x="115" y="137"/>
                  </a:lnTo>
                  <a:lnTo>
                    <a:pt x="115" y="139"/>
                  </a:lnTo>
                  <a:lnTo>
                    <a:pt x="113" y="140"/>
                  </a:lnTo>
                  <a:lnTo>
                    <a:pt x="112" y="141"/>
                  </a:lnTo>
                  <a:lnTo>
                    <a:pt x="110" y="141"/>
                  </a:lnTo>
                  <a:lnTo>
                    <a:pt x="110" y="140"/>
                  </a:lnTo>
                  <a:lnTo>
                    <a:pt x="109" y="140"/>
                  </a:lnTo>
                  <a:lnTo>
                    <a:pt x="106" y="140"/>
                  </a:lnTo>
                  <a:lnTo>
                    <a:pt x="105" y="140"/>
                  </a:lnTo>
                  <a:lnTo>
                    <a:pt x="103" y="140"/>
                  </a:lnTo>
                  <a:lnTo>
                    <a:pt x="103" y="141"/>
                  </a:lnTo>
                  <a:lnTo>
                    <a:pt x="102" y="143"/>
                  </a:lnTo>
                  <a:lnTo>
                    <a:pt x="100" y="144"/>
                  </a:lnTo>
                  <a:lnTo>
                    <a:pt x="99" y="143"/>
                  </a:lnTo>
                  <a:lnTo>
                    <a:pt x="97" y="143"/>
                  </a:lnTo>
                  <a:lnTo>
                    <a:pt x="96" y="143"/>
                  </a:lnTo>
                  <a:lnTo>
                    <a:pt x="95" y="143"/>
                  </a:lnTo>
                  <a:lnTo>
                    <a:pt x="93" y="141"/>
                  </a:lnTo>
                  <a:lnTo>
                    <a:pt x="92" y="141"/>
                  </a:lnTo>
                  <a:lnTo>
                    <a:pt x="90" y="143"/>
                  </a:lnTo>
                  <a:lnTo>
                    <a:pt x="86" y="141"/>
                  </a:lnTo>
                  <a:lnTo>
                    <a:pt x="79" y="140"/>
                  </a:lnTo>
                  <a:lnTo>
                    <a:pt x="73" y="139"/>
                  </a:lnTo>
                  <a:lnTo>
                    <a:pt x="66" y="140"/>
                  </a:lnTo>
                  <a:lnTo>
                    <a:pt x="65" y="137"/>
                  </a:lnTo>
                  <a:lnTo>
                    <a:pt x="66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7" y="133"/>
                  </a:lnTo>
                  <a:lnTo>
                    <a:pt x="69" y="133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2" y="130"/>
                  </a:lnTo>
                  <a:lnTo>
                    <a:pt x="72" y="129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3" y="127"/>
                  </a:lnTo>
                  <a:lnTo>
                    <a:pt x="73" y="127"/>
                  </a:lnTo>
                  <a:lnTo>
                    <a:pt x="72" y="124"/>
                  </a:lnTo>
                  <a:lnTo>
                    <a:pt x="72" y="123"/>
                  </a:lnTo>
                  <a:lnTo>
                    <a:pt x="73" y="121"/>
                  </a:lnTo>
                  <a:lnTo>
                    <a:pt x="73" y="121"/>
                  </a:lnTo>
                  <a:lnTo>
                    <a:pt x="73" y="120"/>
                  </a:lnTo>
                  <a:lnTo>
                    <a:pt x="73" y="120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6" y="117"/>
                  </a:lnTo>
                  <a:lnTo>
                    <a:pt x="77" y="116"/>
                  </a:lnTo>
                  <a:lnTo>
                    <a:pt x="77" y="116"/>
                  </a:lnTo>
                  <a:lnTo>
                    <a:pt x="77" y="114"/>
                  </a:lnTo>
                  <a:lnTo>
                    <a:pt x="79" y="113"/>
                  </a:lnTo>
                  <a:lnTo>
                    <a:pt x="79" y="111"/>
                  </a:lnTo>
                  <a:lnTo>
                    <a:pt x="79" y="110"/>
                  </a:lnTo>
                  <a:lnTo>
                    <a:pt x="80" y="110"/>
                  </a:lnTo>
                  <a:lnTo>
                    <a:pt x="82" y="109"/>
                  </a:lnTo>
                  <a:lnTo>
                    <a:pt x="82" y="107"/>
                  </a:lnTo>
                  <a:lnTo>
                    <a:pt x="83" y="107"/>
                  </a:lnTo>
                  <a:lnTo>
                    <a:pt x="82" y="106"/>
                  </a:lnTo>
                  <a:lnTo>
                    <a:pt x="82" y="104"/>
                  </a:lnTo>
                  <a:lnTo>
                    <a:pt x="79" y="101"/>
                  </a:lnTo>
                  <a:lnTo>
                    <a:pt x="76" y="99"/>
                  </a:lnTo>
                  <a:lnTo>
                    <a:pt x="73" y="99"/>
                  </a:lnTo>
                  <a:lnTo>
                    <a:pt x="72" y="97"/>
                  </a:lnTo>
                  <a:lnTo>
                    <a:pt x="70" y="99"/>
                  </a:lnTo>
                  <a:lnTo>
                    <a:pt x="70" y="97"/>
                  </a:lnTo>
                  <a:lnTo>
                    <a:pt x="69" y="97"/>
                  </a:lnTo>
                  <a:lnTo>
                    <a:pt x="67" y="96"/>
                  </a:lnTo>
                  <a:lnTo>
                    <a:pt x="65" y="94"/>
                  </a:lnTo>
                  <a:lnTo>
                    <a:pt x="56" y="90"/>
                  </a:lnTo>
                  <a:lnTo>
                    <a:pt x="53" y="89"/>
                  </a:lnTo>
                  <a:lnTo>
                    <a:pt x="53" y="87"/>
                  </a:lnTo>
                  <a:lnTo>
                    <a:pt x="50" y="86"/>
                  </a:lnTo>
                  <a:lnTo>
                    <a:pt x="45" y="83"/>
                  </a:lnTo>
                  <a:lnTo>
                    <a:pt x="42" y="81"/>
                  </a:lnTo>
                  <a:lnTo>
                    <a:pt x="39" y="81"/>
                  </a:lnTo>
                  <a:lnTo>
                    <a:pt x="36" y="80"/>
                  </a:lnTo>
                  <a:lnTo>
                    <a:pt x="30" y="79"/>
                  </a:lnTo>
                  <a:lnTo>
                    <a:pt x="28" y="77"/>
                  </a:lnTo>
                  <a:lnTo>
                    <a:pt x="26" y="74"/>
                  </a:lnTo>
                  <a:lnTo>
                    <a:pt x="25" y="73"/>
                  </a:lnTo>
                  <a:lnTo>
                    <a:pt x="20" y="71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9" y="69"/>
                  </a:lnTo>
                  <a:lnTo>
                    <a:pt x="16" y="69"/>
                  </a:lnTo>
                  <a:lnTo>
                    <a:pt x="15" y="67"/>
                  </a:lnTo>
                  <a:lnTo>
                    <a:pt x="13" y="64"/>
                  </a:lnTo>
                  <a:lnTo>
                    <a:pt x="10" y="61"/>
                  </a:lnTo>
                  <a:lnTo>
                    <a:pt x="8" y="57"/>
                  </a:lnTo>
                  <a:lnTo>
                    <a:pt x="6" y="54"/>
                  </a:lnTo>
                  <a:lnTo>
                    <a:pt x="3" y="53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6"/>
                  </a:lnTo>
                  <a:lnTo>
                    <a:pt x="3" y="41"/>
                  </a:lnTo>
                  <a:lnTo>
                    <a:pt x="5" y="36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1"/>
                  </a:lnTo>
                  <a:lnTo>
                    <a:pt x="9" y="19"/>
                  </a:lnTo>
                  <a:lnTo>
                    <a:pt x="12" y="16"/>
                  </a:lnTo>
                  <a:lnTo>
                    <a:pt x="13" y="13"/>
                  </a:lnTo>
                  <a:lnTo>
                    <a:pt x="15" y="9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26" y="4"/>
                  </a:lnTo>
                  <a:lnTo>
                    <a:pt x="29" y="3"/>
                  </a:lnTo>
                  <a:lnTo>
                    <a:pt x="36" y="1"/>
                  </a:lnTo>
                  <a:lnTo>
                    <a:pt x="43" y="0"/>
                  </a:lnTo>
                  <a:lnTo>
                    <a:pt x="50" y="0"/>
                  </a:lnTo>
                  <a:lnTo>
                    <a:pt x="57" y="0"/>
                  </a:lnTo>
                  <a:lnTo>
                    <a:pt x="63" y="3"/>
                  </a:lnTo>
                  <a:lnTo>
                    <a:pt x="67" y="6"/>
                  </a:lnTo>
                  <a:lnTo>
                    <a:pt x="73" y="9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3" y="1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7" name="Google Shape;297;p3"/>
            <p:cNvSpPr/>
            <p:nvPr/>
          </p:nvSpPr>
          <p:spPr>
            <a:xfrm>
              <a:off x="4522287" y="4101732"/>
              <a:ext cx="9117" cy="17578"/>
            </a:xfrm>
            <a:custGeom>
              <a:rect b="b" l="l" r="r" t="t"/>
              <a:pathLst>
                <a:path extrusionOk="0" h="28" w="13">
                  <a:moveTo>
                    <a:pt x="7" y="27"/>
                  </a:moveTo>
                  <a:lnTo>
                    <a:pt x="5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1" y="26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1" y="8"/>
                  </a:lnTo>
                  <a:lnTo>
                    <a:pt x="3" y="3"/>
                  </a:lnTo>
                  <a:lnTo>
                    <a:pt x="5" y="1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1" y="4"/>
                  </a:lnTo>
                  <a:lnTo>
                    <a:pt x="13" y="7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1" y="23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8" name="Google Shape;298;p3"/>
            <p:cNvSpPr/>
            <p:nvPr/>
          </p:nvSpPr>
          <p:spPr>
            <a:xfrm>
              <a:off x="4178651" y="3820484"/>
              <a:ext cx="106597" cy="65918"/>
            </a:xfrm>
            <a:custGeom>
              <a:rect b="b" l="l" r="r" t="t"/>
              <a:pathLst>
                <a:path extrusionOk="0" h="105" w="152">
                  <a:moveTo>
                    <a:pt x="129" y="65"/>
                  </a:moveTo>
                  <a:lnTo>
                    <a:pt x="130" y="67"/>
                  </a:lnTo>
                  <a:lnTo>
                    <a:pt x="132" y="68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7" y="68"/>
                  </a:lnTo>
                  <a:lnTo>
                    <a:pt x="137" y="68"/>
                  </a:lnTo>
                  <a:lnTo>
                    <a:pt x="137" y="68"/>
                  </a:lnTo>
                  <a:lnTo>
                    <a:pt x="139" y="68"/>
                  </a:lnTo>
                  <a:lnTo>
                    <a:pt x="142" y="68"/>
                  </a:lnTo>
                  <a:lnTo>
                    <a:pt x="145" y="65"/>
                  </a:lnTo>
                  <a:lnTo>
                    <a:pt x="147" y="65"/>
                  </a:lnTo>
                  <a:lnTo>
                    <a:pt x="150" y="67"/>
                  </a:lnTo>
                  <a:lnTo>
                    <a:pt x="152" y="68"/>
                  </a:lnTo>
                  <a:lnTo>
                    <a:pt x="152" y="70"/>
                  </a:lnTo>
                  <a:lnTo>
                    <a:pt x="152" y="71"/>
                  </a:lnTo>
                  <a:lnTo>
                    <a:pt x="152" y="71"/>
                  </a:lnTo>
                  <a:lnTo>
                    <a:pt x="150" y="75"/>
                  </a:lnTo>
                  <a:lnTo>
                    <a:pt x="150" y="77"/>
                  </a:lnTo>
                  <a:lnTo>
                    <a:pt x="150" y="78"/>
                  </a:lnTo>
                  <a:lnTo>
                    <a:pt x="142" y="81"/>
                  </a:lnTo>
                  <a:lnTo>
                    <a:pt x="142" y="80"/>
                  </a:lnTo>
                  <a:lnTo>
                    <a:pt x="142" y="78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39" y="77"/>
                  </a:lnTo>
                  <a:lnTo>
                    <a:pt x="140" y="80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4"/>
                  </a:lnTo>
                  <a:lnTo>
                    <a:pt x="137" y="84"/>
                  </a:lnTo>
                  <a:lnTo>
                    <a:pt x="137" y="85"/>
                  </a:lnTo>
                  <a:lnTo>
                    <a:pt x="139" y="85"/>
                  </a:lnTo>
                  <a:lnTo>
                    <a:pt x="139" y="87"/>
                  </a:lnTo>
                  <a:lnTo>
                    <a:pt x="136" y="90"/>
                  </a:lnTo>
                  <a:lnTo>
                    <a:pt x="135" y="91"/>
                  </a:lnTo>
                  <a:lnTo>
                    <a:pt x="136" y="98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2" y="104"/>
                  </a:lnTo>
                  <a:lnTo>
                    <a:pt x="130" y="102"/>
                  </a:lnTo>
                  <a:lnTo>
                    <a:pt x="129" y="102"/>
                  </a:lnTo>
                  <a:lnTo>
                    <a:pt x="126" y="101"/>
                  </a:lnTo>
                  <a:lnTo>
                    <a:pt x="125" y="100"/>
                  </a:lnTo>
                  <a:lnTo>
                    <a:pt x="123" y="98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9" y="98"/>
                  </a:lnTo>
                  <a:lnTo>
                    <a:pt x="117" y="97"/>
                  </a:lnTo>
                  <a:lnTo>
                    <a:pt x="116" y="97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06" y="94"/>
                  </a:lnTo>
                  <a:lnTo>
                    <a:pt x="100" y="95"/>
                  </a:lnTo>
                  <a:lnTo>
                    <a:pt x="96" y="97"/>
                  </a:lnTo>
                  <a:lnTo>
                    <a:pt x="92" y="101"/>
                  </a:lnTo>
                  <a:lnTo>
                    <a:pt x="90" y="102"/>
                  </a:lnTo>
                  <a:lnTo>
                    <a:pt x="87" y="104"/>
                  </a:lnTo>
                  <a:lnTo>
                    <a:pt x="85" y="105"/>
                  </a:lnTo>
                  <a:lnTo>
                    <a:pt x="79" y="104"/>
                  </a:lnTo>
                  <a:lnTo>
                    <a:pt x="73" y="104"/>
                  </a:lnTo>
                  <a:lnTo>
                    <a:pt x="67" y="102"/>
                  </a:lnTo>
                  <a:lnTo>
                    <a:pt x="65" y="102"/>
                  </a:lnTo>
                  <a:lnTo>
                    <a:pt x="60" y="102"/>
                  </a:lnTo>
                  <a:lnTo>
                    <a:pt x="53" y="101"/>
                  </a:lnTo>
                  <a:lnTo>
                    <a:pt x="49" y="100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2" y="100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5"/>
                  </a:lnTo>
                  <a:lnTo>
                    <a:pt x="43" y="95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9" y="92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8" y="85"/>
                  </a:lnTo>
                  <a:lnTo>
                    <a:pt x="39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0" y="84"/>
                  </a:lnTo>
                  <a:lnTo>
                    <a:pt x="39" y="82"/>
                  </a:lnTo>
                  <a:lnTo>
                    <a:pt x="36" y="81"/>
                  </a:lnTo>
                  <a:lnTo>
                    <a:pt x="35" y="82"/>
                  </a:lnTo>
                  <a:lnTo>
                    <a:pt x="32" y="85"/>
                  </a:lnTo>
                  <a:lnTo>
                    <a:pt x="30" y="85"/>
                  </a:lnTo>
                  <a:lnTo>
                    <a:pt x="29" y="84"/>
                  </a:lnTo>
                  <a:lnTo>
                    <a:pt x="28" y="82"/>
                  </a:lnTo>
                  <a:lnTo>
                    <a:pt x="25" y="82"/>
                  </a:lnTo>
                  <a:lnTo>
                    <a:pt x="23" y="81"/>
                  </a:lnTo>
                  <a:lnTo>
                    <a:pt x="22" y="81"/>
                  </a:lnTo>
                  <a:lnTo>
                    <a:pt x="20" y="80"/>
                  </a:lnTo>
                  <a:lnTo>
                    <a:pt x="19" y="80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0" y="78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0" y="77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8" y="75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6" y="70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6" y="55"/>
                  </a:lnTo>
                  <a:lnTo>
                    <a:pt x="5" y="54"/>
                  </a:lnTo>
                  <a:lnTo>
                    <a:pt x="3" y="54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5" y="48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0" y="47"/>
                  </a:lnTo>
                  <a:lnTo>
                    <a:pt x="13" y="47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9" y="38"/>
                  </a:lnTo>
                  <a:lnTo>
                    <a:pt x="19" y="37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2" y="32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6" y="22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0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5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3" y="8"/>
                  </a:lnTo>
                  <a:lnTo>
                    <a:pt x="65" y="8"/>
                  </a:lnTo>
                  <a:lnTo>
                    <a:pt x="66" y="7"/>
                  </a:lnTo>
                  <a:lnTo>
                    <a:pt x="69" y="7"/>
                  </a:lnTo>
                  <a:lnTo>
                    <a:pt x="70" y="7"/>
                  </a:lnTo>
                  <a:lnTo>
                    <a:pt x="70" y="8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7" y="11"/>
                  </a:lnTo>
                  <a:lnTo>
                    <a:pt x="79" y="10"/>
                  </a:lnTo>
                  <a:lnTo>
                    <a:pt x="85" y="8"/>
                  </a:lnTo>
                  <a:lnTo>
                    <a:pt x="87" y="7"/>
                  </a:lnTo>
                  <a:lnTo>
                    <a:pt x="92" y="7"/>
                  </a:lnTo>
                  <a:lnTo>
                    <a:pt x="95" y="5"/>
                  </a:lnTo>
                  <a:lnTo>
                    <a:pt x="96" y="4"/>
                  </a:lnTo>
                  <a:lnTo>
                    <a:pt x="97" y="2"/>
                  </a:lnTo>
                  <a:lnTo>
                    <a:pt x="97" y="1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7" y="1"/>
                  </a:lnTo>
                  <a:lnTo>
                    <a:pt x="109" y="1"/>
                  </a:lnTo>
                  <a:lnTo>
                    <a:pt x="109" y="2"/>
                  </a:lnTo>
                  <a:lnTo>
                    <a:pt x="110" y="4"/>
                  </a:lnTo>
                  <a:lnTo>
                    <a:pt x="112" y="7"/>
                  </a:lnTo>
                  <a:lnTo>
                    <a:pt x="112" y="10"/>
                  </a:lnTo>
                  <a:lnTo>
                    <a:pt x="113" y="11"/>
                  </a:lnTo>
                  <a:lnTo>
                    <a:pt x="113" y="12"/>
                  </a:lnTo>
                  <a:lnTo>
                    <a:pt x="115" y="14"/>
                  </a:lnTo>
                  <a:lnTo>
                    <a:pt x="116" y="15"/>
                  </a:lnTo>
                  <a:lnTo>
                    <a:pt x="116" y="17"/>
                  </a:lnTo>
                  <a:lnTo>
                    <a:pt x="117" y="18"/>
                  </a:lnTo>
                  <a:lnTo>
                    <a:pt x="119" y="21"/>
                  </a:lnTo>
                  <a:lnTo>
                    <a:pt x="120" y="22"/>
                  </a:lnTo>
                  <a:lnTo>
                    <a:pt x="120" y="24"/>
                  </a:lnTo>
                  <a:lnTo>
                    <a:pt x="122" y="25"/>
                  </a:lnTo>
                  <a:lnTo>
                    <a:pt x="122" y="27"/>
                  </a:lnTo>
                  <a:lnTo>
                    <a:pt x="125" y="28"/>
                  </a:lnTo>
                  <a:lnTo>
                    <a:pt x="126" y="30"/>
                  </a:lnTo>
                  <a:lnTo>
                    <a:pt x="127" y="34"/>
                  </a:lnTo>
                  <a:lnTo>
                    <a:pt x="127" y="35"/>
                  </a:lnTo>
                  <a:lnTo>
                    <a:pt x="129" y="37"/>
                  </a:lnTo>
                  <a:lnTo>
                    <a:pt x="129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6" y="50"/>
                  </a:lnTo>
                  <a:lnTo>
                    <a:pt x="126" y="52"/>
                  </a:lnTo>
                  <a:lnTo>
                    <a:pt x="126" y="55"/>
                  </a:lnTo>
                  <a:lnTo>
                    <a:pt x="126" y="57"/>
                  </a:lnTo>
                  <a:lnTo>
                    <a:pt x="127" y="57"/>
                  </a:lnTo>
                  <a:lnTo>
                    <a:pt x="127" y="58"/>
                  </a:lnTo>
                  <a:lnTo>
                    <a:pt x="127" y="61"/>
                  </a:lnTo>
                  <a:lnTo>
                    <a:pt x="127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2"/>
                  </a:lnTo>
                  <a:lnTo>
                    <a:pt x="127" y="64"/>
                  </a:lnTo>
                  <a:lnTo>
                    <a:pt x="129" y="6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9" name="Google Shape;299;p3"/>
            <p:cNvSpPr/>
            <p:nvPr/>
          </p:nvSpPr>
          <p:spPr>
            <a:xfrm>
              <a:off x="4163223" y="3850618"/>
              <a:ext cx="46987" cy="54617"/>
            </a:xfrm>
            <a:custGeom>
              <a:rect b="b" l="l" r="r" t="t"/>
              <a:pathLst>
                <a:path extrusionOk="0" h="87" w="67">
                  <a:moveTo>
                    <a:pt x="14" y="0"/>
                  </a:moveTo>
                  <a:lnTo>
                    <a:pt x="17" y="2"/>
                  </a:lnTo>
                  <a:lnTo>
                    <a:pt x="18" y="0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2" y="17"/>
                  </a:lnTo>
                  <a:lnTo>
                    <a:pt x="34" y="19"/>
                  </a:lnTo>
                  <a:lnTo>
                    <a:pt x="35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8" y="2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2" y="32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7" y="34"/>
                  </a:lnTo>
                  <a:lnTo>
                    <a:pt x="50" y="34"/>
                  </a:lnTo>
                  <a:lnTo>
                    <a:pt x="51" y="36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7" y="34"/>
                  </a:lnTo>
                  <a:lnTo>
                    <a:pt x="58" y="33"/>
                  </a:lnTo>
                  <a:lnTo>
                    <a:pt x="61" y="34"/>
                  </a:lnTo>
                  <a:lnTo>
                    <a:pt x="62" y="36"/>
                  </a:lnTo>
                  <a:lnTo>
                    <a:pt x="62" y="37"/>
                  </a:lnTo>
                  <a:lnTo>
                    <a:pt x="62" y="37"/>
                  </a:lnTo>
                  <a:lnTo>
                    <a:pt x="61" y="37"/>
                  </a:lnTo>
                  <a:lnTo>
                    <a:pt x="60" y="37"/>
                  </a:lnTo>
                  <a:lnTo>
                    <a:pt x="58" y="39"/>
                  </a:lnTo>
                  <a:lnTo>
                    <a:pt x="58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7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7" y="50"/>
                  </a:lnTo>
                  <a:lnTo>
                    <a:pt x="57" y="53"/>
                  </a:lnTo>
                  <a:lnTo>
                    <a:pt x="57" y="54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60"/>
                  </a:lnTo>
                  <a:lnTo>
                    <a:pt x="60" y="62"/>
                  </a:lnTo>
                  <a:lnTo>
                    <a:pt x="62" y="63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5" y="70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2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58" y="74"/>
                  </a:lnTo>
                  <a:lnTo>
                    <a:pt x="58" y="76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58" y="81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4" y="86"/>
                  </a:lnTo>
                  <a:lnTo>
                    <a:pt x="52" y="86"/>
                  </a:lnTo>
                  <a:lnTo>
                    <a:pt x="51" y="87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7"/>
                  </a:lnTo>
                  <a:lnTo>
                    <a:pt x="47" y="87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2" y="86"/>
                  </a:lnTo>
                  <a:lnTo>
                    <a:pt x="44" y="86"/>
                  </a:lnTo>
                  <a:lnTo>
                    <a:pt x="44" y="84"/>
                  </a:lnTo>
                  <a:lnTo>
                    <a:pt x="45" y="84"/>
                  </a:lnTo>
                  <a:lnTo>
                    <a:pt x="47" y="80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1" y="77"/>
                  </a:lnTo>
                  <a:lnTo>
                    <a:pt x="41" y="76"/>
                  </a:lnTo>
                  <a:lnTo>
                    <a:pt x="40" y="74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7" y="70"/>
                  </a:lnTo>
                  <a:lnTo>
                    <a:pt x="35" y="70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6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0" y="66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9"/>
                  </a:lnTo>
                  <a:lnTo>
                    <a:pt x="30" y="69"/>
                  </a:lnTo>
                  <a:lnTo>
                    <a:pt x="30" y="70"/>
                  </a:lnTo>
                  <a:lnTo>
                    <a:pt x="28" y="70"/>
                  </a:lnTo>
                  <a:lnTo>
                    <a:pt x="27" y="73"/>
                  </a:lnTo>
                  <a:lnTo>
                    <a:pt x="25" y="73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4" y="76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2" y="73"/>
                  </a:lnTo>
                  <a:lnTo>
                    <a:pt x="21" y="72"/>
                  </a:lnTo>
                  <a:lnTo>
                    <a:pt x="18" y="70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4" y="67"/>
                  </a:lnTo>
                  <a:lnTo>
                    <a:pt x="12" y="67"/>
                  </a:lnTo>
                  <a:lnTo>
                    <a:pt x="11" y="67"/>
                  </a:lnTo>
                  <a:lnTo>
                    <a:pt x="10" y="64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8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9"/>
                  </a:lnTo>
                  <a:lnTo>
                    <a:pt x="11" y="57"/>
                  </a:lnTo>
                  <a:lnTo>
                    <a:pt x="11" y="56"/>
                  </a:lnTo>
                  <a:lnTo>
                    <a:pt x="8" y="53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1" y="50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1" y="47"/>
                  </a:lnTo>
                  <a:lnTo>
                    <a:pt x="10" y="46"/>
                  </a:lnTo>
                  <a:lnTo>
                    <a:pt x="8" y="44"/>
                  </a:lnTo>
                  <a:lnTo>
                    <a:pt x="7" y="43"/>
                  </a:lnTo>
                  <a:lnTo>
                    <a:pt x="5" y="43"/>
                  </a:lnTo>
                  <a:lnTo>
                    <a:pt x="5" y="42"/>
                  </a:lnTo>
                  <a:lnTo>
                    <a:pt x="4" y="42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7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7" y="29"/>
                  </a:lnTo>
                  <a:lnTo>
                    <a:pt x="5" y="29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0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9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0" name="Google Shape;300;p3"/>
            <p:cNvSpPr/>
            <p:nvPr/>
          </p:nvSpPr>
          <p:spPr>
            <a:xfrm>
              <a:off x="4171638" y="2854324"/>
              <a:ext cx="1917349" cy="1065351"/>
            </a:xfrm>
            <a:custGeom>
              <a:rect b="b" l="l" r="r" t="t"/>
              <a:pathLst>
                <a:path extrusionOk="0" h="1697" w="2734">
                  <a:moveTo>
                    <a:pt x="555" y="148"/>
                  </a:moveTo>
                  <a:lnTo>
                    <a:pt x="548" y="142"/>
                  </a:lnTo>
                  <a:lnTo>
                    <a:pt x="548" y="141"/>
                  </a:lnTo>
                  <a:lnTo>
                    <a:pt x="550" y="140"/>
                  </a:lnTo>
                  <a:lnTo>
                    <a:pt x="550" y="137"/>
                  </a:lnTo>
                  <a:lnTo>
                    <a:pt x="548" y="134"/>
                  </a:lnTo>
                  <a:lnTo>
                    <a:pt x="550" y="131"/>
                  </a:lnTo>
                  <a:lnTo>
                    <a:pt x="554" y="134"/>
                  </a:lnTo>
                  <a:lnTo>
                    <a:pt x="554" y="135"/>
                  </a:lnTo>
                  <a:lnTo>
                    <a:pt x="558" y="137"/>
                  </a:lnTo>
                  <a:lnTo>
                    <a:pt x="558" y="141"/>
                  </a:lnTo>
                  <a:lnTo>
                    <a:pt x="558" y="144"/>
                  </a:lnTo>
                  <a:lnTo>
                    <a:pt x="555" y="148"/>
                  </a:lnTo>
                  <a:close/>
                  <a:moveTo>
                    <a:pt x="513" y="729"/>
                  </a:moveTo>
                  <a:lnTo>
                    <a:pt x="511" y="733"/>
                  </a:lnTo>
                  <a:lnTo>
                    <a:pt x="510" y="736"/>
                  </a:lnTo>
                  <a:lnTo>
                    <a:pt x="510" y="742"/>
                  </a:lnTo>
                  <a:lnTo>
                    <a:pt x="510" y="745"/>
                  </a:lnTo>
                  <a:lnTo>
                    <a:pt x="511" y="751"/>
                  </a:lnTo>
                  <a:lnTo>
                    <a:pt x="513" y="755"/>
                  </a:lnTo>
                  <a:lnTo>
                    <a:pt x="514" y="758"/>
                  </a:lnTo>
                  <a:lnTo>
                    <a:pt x="515" y="759"/>
                  </a:lnTo>
                  <a:lnTo>
                    <a:pt x="518" y="759"/>
                  </a:lnTo>
                  <a:lnTo>
                    <a:pt x="523" y="759"/>
                  </a:lnTo>
                  <a:lnTo>
                    <a:pt x="525" y="756"/>
                  </a:lnTo>
                  <a:lnTo>
                    <a:pt x="530" y="758"/>
                  </a:lnTo>
                  <a:lnTo>
                    <a:pt x="534" y="759"/>
                  </a:lnTo>
                  <a:lnTo>
                    <a:pt x="541" y="756"/>
                  </a:lnTo>
                  <a:lnTo>
                    <a:pt x="541" y="756"/>
                  </a:lnTo>
                  <a:lnTo>
                    <a:pt x="541" y="759"/>
                  </a:lnTo>
                  <a:lnTo>
                    <a:pt x="540" y="763"/>
                  </a:lnTo>
                  <a:lnTo>
                    <a:pt x="541" y="766"/>
                  </a:lnTo>
                  <a:lnTo>
                    <a:pt x="544" y="766"/>
                  </a:lnTo>
                  <a:lnTo>
                    <a:pt x="545" y="766"/>
                  </a:lnTo>
                  <a:lnTo>
                    <a:pt x="544" y="769"/>
                  </a:lnTo>
                  <a:lnTo>
                    <a:pt x="550" y="773"/>
                  </a:lnTo>
                  <a:lnTo>
                    <a:pt x="554" y="778"/>
                  </a:lnTo>
                  <a:lnTo>
                    <a:pt x="552" y="778"/>
                  </a:lnTo>
                  <a:lnTo>
                    <a:pt x="550" y="776"/>
                  </a:lnTo>
                  <a:lnTo>
                    <a:pt x="548" y="778"/>
                  </a:lnTo>
                  <a:lnTo>
                    <a:pt x="548" y="779"/>
                  </a:lnTo>
                  <a:lnTo>
                    <a:pt x="545" y="779"/>
                  </a:lnTo>
                  <a:lnTo>
                    <a:pt x="544" y="781"/>
                  </a:lnTo>
                  <a:lnTo>
                    <a:pt x="544" y="783"/>
                  </a:lnTo>
                  <a:lnTo>
                    <a:pt x="545" y="786"/>
                  </a:lnTo>
                  <a:lnTo>
                    <a:pt x="545" y="788"/>
                  </a:lnTo>
                  <a:lnTo>
                    <a:pt x="543" y="788"/>
                  </a:lnTo>
                  <a:lnTo>
                    <a:pt x="541" y="789"/>
                  </a:lnTo>
                  <a:lnTo>
                    <a:pt x="547" y="792"/>
                  </a:lnTo>
                  <a:lnTo>
                    <a:pt x="554" y="795"/>
                  </a:lnTo>
                  <a:lnTo>
                    <a:pt x="557" y="796"/>
                  </a:lnTo>
                  <a:lnTo>
                    <a:pt x="560" y="798"/>
                  </a:lnTo>
                  <a:lnTo>
                    <a:pt x="561" y="799"/>
                  </a:lnTo>
                  <a:lnTo>
                    <a:pt x="561" y="798"/>
                  </a:lnTo>
                  <a:lnTo>
                    <a:pt x="561" y="796"/>
                  </a:lnTo>
                  <a:lnTo>
                    <a:pt x="565" y="799"/>
                  </a:lnTo>
                  <a:lnTo>
                    <a:pt x="568" y="799"/>
                  </a:lnTo>
                  <a:lnTo>
                    <a:pt x="571" y="799"/>
                  </a:lnTo>
                  <a:lnTo>
                    <a:pt x="578" y="798"/>
                  </a:lnTo>
                  <a:lnTo>
                    <a:pt x="578" y="799"/>
                  </a:lnTo>
                  <a:lnTo>
                    <a:pt x="578" y="801"/>
                  </a:lnTo>
                  <a:lnTo>
                    <a:pt x="580" y="802"/>
                  </a:lnTo>
                  <a:lnTo>
                    <a:pt x="581" y="802"/>
                  </a:lnTo>
                  <a:lnTo>
                    <a:pt x="582" y="801"/>
                  </a:lnTo>
                  <a:lnTo>
                    <a:pt x="584" y="802"/>
                  </a:lnTo>
                  <a:lnTo>
                    <a:pt x="585" y="801"/>
                  </a:lnTo>
                  <a:lnTo>
                    <a:pt x="585" y="801"/>
                  </a:lnTo>
                  <a:lnTo>
                    <a:pt x="590" y="805"/>
                  </a:lnTo>
                  <a:lnTo>
                    <a:pt x="591" y="805"/>
                  </a:lnTo>
                  <a:lnTo>
                    <a:pt x="592" y="803"/>
                  </a:lnTo>
                  <a:lnTo>
                    <a:pt x="590" y="799"/>
                  </a:lnTo>
                  <a:lnTo>
                    <a:pt x="588" y="799"/>
                  </a:lnTo>
                  <a:lnTo>
                    <a:pt x="587" y="798"/>
                  </a:lnTo>
                  <a:lnTo>
                    <a:pt x="590" y="796"/>
                  </a:lnTo>
                  <a:lnTo>
                    <a:pt x="591" y="796"/>
                  </a:lnTo>
                  <a:lnTo>
                    <a:pt x="592" y="798"/>
                  </a:lnTo>
                  <a:lnTo>
                    <a:pt x="592" y="801"/>
                  </a:lnTo>
                  <a:lnTo>
                    <a:pt x="594" y="801"/>
                  </a:lnTo>
                  <a:lnTo>
                    <a:pt x="601" y="803"/>
                  </a:lnTo>
                  <a:lnTo>
                    <a:pt x="604" y="802"/>
                  </a:lnTo>
                  <a:lnTo>
                    <a:pt x="604" y="801"/>
                  </a:lnTo>
                  <a:lnTo>
                    <a:pt x="607" y="799"/>
                  </a:lnTo>
                  <a:lnTo>
                    <a:pt x="610" y="796"/>
                  </a:lnTo>
                  <a:lnTo>
                    <a:pt x="608" y="795"/>
                  </a:lnTo>
                  <a:lnTo>
                    <a:pt x="607" y="793"/>
                  </a:lnTo>
                  <a:lnTo>
                    <a:pt x="600" y="789"/>
                  </a:lnTo>
                  <a:lnTo>
                    <a:pt x="598" y="786"/>
                  </a:lnTo>
                  <a:lnTo>
                    <a:pt x="591" y="778"/>
                  </a:lnTo>
                  <a:lnTo>
                    <a:pt x="584" y="766"/>
                  </a:lnTo>
                  <a:lnTo>
                    <a:pt x="580" y="758"/>
                  </a:lnTo>
                  <a:lnTo>
                    <a:pt x="577" y="749"/>
                  </a:lnTo>
                  <a:lnTo>
                    <a:pt x="575" y="743"/>
                  </a:lnTo>
                  <a:lnTo>
                    <a:pt x="575" y="739"/>
                  </a:lnTo>
                  <a:lnTo>
                    <a:pt x="572" y="736"/>
                  </a:lnTo>
                  <a:lnTo>
                    <a:pt x="574" y="732"/>
                  </a:lnTo>
                  <a:lnTo>
                    <a:pt x="574" y="728"/>
                  </a:lnTo>
                  <a:lnTo>
                    <a:pt x="575" y="723"/>
                  </a:lnTo>
                  <a:lnTo>
                    <a:pt x="575" y="721"/>
                  </a:lnTo>
                  <a:lnTo>
                    <a:pt x="574" y="716"/>
                  </a:lnTo>
                  <a:lnTo>
                    <a:pt x="574" y="713"/>
                  </a:lnTo>
                  <a:lnTo>
                    <a:pt x="572" y="712"/>
                  </a:lnTo>
                  <a:lnTo>
                    <a:pt x="572" y="708"/>
                  </a:lnTo>
                  <a:lnTo>
                    <a:pt x="574" y="706"/>
                  </a:lnTo>
                  <a:lnTo>
                    <a:pt x="574" y="703"/>
                  </a:lnTo>
                  <a:lnTo>
                    <a:pt x="574" y="702"/>
                  </a:lnTo>
                  <a:lnTo>
                    <a:pt x="577" y="701"/>
                  </a:lnTo>
                  <a:lnTo>
                    <a:pt x="578" y="698"/>
                  </a:lnTo>
                  <a:lnTo>
                    <a:pt x="578" y="695"/>
                  </a:lnTo>
                  <a:lnTo>
                    <a:pt x="578" y="692"/>
                  </a:lnTo>
                  <a:lnTo>
                    <a:pt x="580" y="691"/>
                  </a:lnTo>
                  <a:lnTo>
                    <a:pt x="584" y="691"/>
                  </a:lnTo>
                  <a:lnTo>
                    <a:pt x="585" y="691"/>
                  </a:lnTo>
                  <a:lnTo>
                    <a:pt x="585" y="688"/>
                  </a:lnTo>
                  <a:lnTo>
                    <a:pt x="587" y="685"/>
                  </a:lnTo>
                  <a:lnTo>
                    <a:pt x="585" y="681"/>
                  </a:lnTo>
                  <a:lnTo>
                    <a:pt x="587" y="678"/>
                  </a:lnTo>
                  <a:lnTo>
                    <a:pt x="588" y="673"/>
                  </a:lnTo>
                  <a:lnTo>
                    <a:pt x="590" y="672"/>
                  </a:lnTo>
                  <a:lnTo>
                    <a:pt x="590" y="668"/>
                  </a:lnTo>
                  <a:lnTo>
                    <a:pt x="588" y="666"/>
                  </a:lnTo>
                  <a:lnTo>
                    <a:pt x="585" y="665"/>
                  </a:lnTo>
                  <a:lnTo>
                    <a:pt x="580" y="665"/>
                  </a:lnTo>
                  <a:lnTo>
                    <a:pt x="572" y="662"/>
                  </a:lnTo>
                  <a:lnTo>
                    <a:pt x="570" y="659"/>
                  </a:lnTo>
                  <a:lnTo>
                    <a:pt x="567" y="658"/>
                  </a:lnTo>
                  <a:lnTo>
                    <a:pt x="564" y="658"/>
                  </a:lnTo>
                  <a:lnTo>
                    <a:pt x="562" y="659"/>
                  </a:lnTo>
                  <a:lnTo>
                    <a:pt x="557" y="663"/>
                  </a:lnTo>
                  <a:lnTo>
                    <a:pt x="554" y="663"/>
                  </a:lnTo>
                  <a:lnTo>
                    <a:pt x="552" y="665"/>
                  </a:lnTo>
                  <a:lnTo>
                    <a:pt x="550" y="663"/>
                  </a:lnTo>
                  <a:lnTo>
                    <a:pt x="547" y="663"/>
                  </a:lnTo>
                  <a:lnTo>
                    <a:pt x="545" y="665"/>
                  </a:lnTo>
                  <a:lnTo>
                    <a:pt x="544" y="666"/>
                  </a:lnTo>
                  <a:lnTo>
                    <a:pt x="541" y="668"/>
                  </a:lnTo>
                  <a:lnTo>
                    <a:pt x="540" y="669"/>
                  </a:lnTo>
                  <a:lnTo>
                    <a:pt x="538" y="672"/>
                  </a:lnTo>
                  <a:lnTo>
                    <a:pt x="538" y="673"/>
                  </a:lnTo>
                  <a:lnTo>
                    <a:pt x="538" y="679"/>
                  </a:lnTo>
                  <a:lnTo>
                    <a:pt x="540" y="681"/>
                  </a:lnTo>
                  <a:lnTo>
                    <a:pt x="541" y="683"/>
                  </a:lnTo>
                  <a:lnTo>
                    <a:pt x="540" y="685"/>
                  </a:lnTo>
                  <a:lnTo>
                    <a:pt x="537" y="685"/>
                  </a:lnTo>
                  <a:lnTo>
                    <a:pt x="535" y="685"/>
                  </a:lnTo>
                  <a:lnTo>
                    <a:pt x="534" y="685"/>
                  </a:lnTo>
                  <a:lnTo>
                    <a:pt x="533" y="686"/>
                  </a:lnTo>
                  <a:lnTo>
                    <a:pt x="528" y="691"/>
                  </a:lnTo>
                  <a:lnTo>
                    <a:pt x="528" y="692"/>
                  </a:lnTo>
                  <a:lnTo>
                    <a:pt x="528" y="693"/>
                  </a:lnTo>
                  <a:lnTo>
                    <a:pt x="528" y="695"/>
                  </a:lnTo>
                  <a:lnTo>
                    <a:pt x="530" y="696"/>
                  </a:lnTo>
                  <a:lnTo>
                    <a:pt x="534" y="698"/>
                  </a:lnTo>
                  <a:lnTo>
                    <a:pt x="533" y="701"/>
                  </a:lnTo>
                  <a:lnTo>
                    <a:pt x="533" y="702"/>
                  </a:lnTo>
                  <a:lnTo>
                    <a:pt x="533" y="703"/>
                  </a:lnTo>
                  <a:lnTo>
                    <a:pt x="531" y="708"/>
                  </a:lnTo>
                  <a:lnTo>
                    <a:pt x="531" y="709"/>
                  </a:lnTo>
                  <a:lnTo>
                    <a:pt x="531" y="712"/>
                  </a:lnTo>
                  <a:lnTo>
                    <a:pt x="530" y="715"/>
                  </a:lnTo>
                  <a:lnTo>
                    <a:pt x="530" y="718"/>
                  </a:lnTo>
                  <a:lnTo>
                    <a:pt x="528" y="718"/>
                  </a:lnTo>
                  <a:lnTo>
                    <a:pt x="527" y="719"/>
                  </a:lnTo>
                  <a:lnTo>
                    <a:pt x="525" y="722"/>
                  </a:lnTo>
                  <a:lnTo>
                    <a:pt x="524" y="725"/>
                  </a:lnTo>
                  <a:lnTo>
                    <a:pt x="523" y="726"/>
                  </a:lnTo>
                  <a:lnTo>
                    <a:pt x="520" y="726"/>
                  </a:lnTo>
                  <a:lnTo>
                    <a:pt x="517" y="725"/>
                  </a:lnTo>
                  <a:lnTo>
                    <a:pt x="515" y="725"/>
                  </a:lnTo>
                  <a:lnTo>
                    <a:pt x="514" y="728"/>
                  </a:lnTo>
                  <a:lnTo>
                    <a:pt x="513" y="729"/>
                  </a:lnTo>
                  <a:close/>
                  <a:moveTo>
                    <a:pt x="528" y="170"/>
                  </a:moveTo>
                  <a:lnTo>
                    <a:pt x="528" y="170"/>
                  </a:lnTo>
                  <a:lnTo>
                    <a:pt x="530" y="171"/>
                  </a:lnTo>
                  <a:lnTo>
                    <a:pt x="533" y="172"/>
                  </a:lnTo>
                  <a:lnTo>
                    <a:pt x="544" y="171"/>
                  </a:lnTo>
                  <a:lnTo>
                    <a:pt x="545" y="167"/>
                  </a:lnTo>
                  <a:lnTo>
                    <a:pt x="548" y="167"/>
                  </a:lnTo>
                  <a:lnTo>
                    <a:pt x="548" y="162"/>
                  </a:lnTo>
                  <a:lnTo>
                    <a:pt x="543" y="158"/>
                  </a:lnTo>
                  <a:lnTo>
                    <a:pt x="541" y="154"/>
                  </a:lnTo>
                  <a:lnTo>
                    <a:pt x="540" y="150"/>
                  </a:lnTo>
                  <a:lnTo>
                    <a:pt x="538" y="150"/>
                  </a:lnTo>
                  <a:lnTo>
                    <a:pt x="533" y="150"/>
                  </a:lnTo>
                  <a:lnTo>
                    <a:pt x="531" y="155"/>
                  </a:lnTo>
                  <a:lnTo>
                    <a:pt x="530" y="158"/>
                  </a:lnTo>
                  <a:lnTo>
                    <a:pt x="528" y="160"/>
                  </a:lnTo>
                  <a:lnTo>
                    <a:pt x="524" y="162"/>
                  </a:lnTo>
                  <a:lnTo>
                    <a:pt x="523" y="164"/>
                  </a:lnTo>
                  <a:lnTo>
                    <a:pt x="524" y="168"/>
                  </a:lnTo>
                  <a:lnTo>
                    <a:pt x="528" y="170"/>
                  </a:lnTo>
                  <a:close/>
                  <a:moveTo>
                    <a:pt x="578" y="71"/>
                  </a:moveTo>
                  <a:lnTo>
                    <a:pt x="587" y="68"/>
                  </a:lnTo>
                  <a:lnTo>
                    <a:pt x="590" y="72"/>
                  </a:lnTo>
                  <a:lnTo>
                    <a:pt x="591" y="72"/>
                  </a:lnTo>
                  <a:lnTo>
                    <a:pt x="594" y="70"/>
                  </a:lnTo>
                  <a:lnTo>
                    <a:pt x="597" y="67"/>
                  </a:lnTo>
                  <a:lnTo>
                    <a:pt x="601" y="72"/>
                  </a:lnTo>
                  <a:lnTo>
                    <a:pt x="607" y="77"/>
                  </a:lnTo>
                  <a:lnTo>
                    <a:pt x="611" y="74"/>
                  </a:lnTo>
                  <a:lnTo>
                    <a:pt x="614" y="71"/>
                  </a:lnTo>
                  <a:lnTo>
                    <a:pt x="615" y="64"/>
                  </a:lnTo>
                  <a:lnTo>
                    <a:pt x="614" y="60"/>
                  </a:lnTo>
                  <a:lnTo>
                    <a:pt x="612" y="52"/>
                  </a:lnTo>
                  <a:lnTo>
                    <a:pt x="621" y="51"/>
                  </a:lnTo>
                  <a:lnTo>
                    <a:pt x="624" y="47"/>
                  </a:lnTo>
                  <a:lnTo>
                    <a:pt x="622" y="42"/>
                  </a:lnTo>
                  <a:lnTo>
                    <a:pt x="615" y="40"/>
                  </a:lnTo>
                  <a:lnTo>
                    <a:pt x="612" y="37"/>
                  </a:lnTo>
                  <a:lnTo>
                    <a:pt x="612" y="32"/>
                  </a:lnTo>
                  <a:lnTo>
                    <a:pt x="611" y="31"/>
                  </a:lnTo>
                  <a:lnTo>
                    <a:pt x="607" y="34"/>
                  </a:lnTo>
                  <a:lnTo>
                    <a:pt x="605" y="34"/>
                  </a:lnTo>
                  <a:lnTo>
                    <a:pt x="601" y="34"/>
                  </a:lnTo>
                  <a:lnTo>
                    <a:pt x="598" y="37"/>
                  </a:lnTo>
                  <a:lnTo>
                    <a:pt x="595" y="47"/>
                  </a:lnTo>
                  <a:lnTo>
                    <a:pt x="590" y="50"/>
                  </a:lnTo>
                  <a:lnTo>
                    <a:pt x="585" y="60"/>
                  </a:lnTo>
                  <a:lnTo>
                    <a:pt x="580" y="57"/>
                  </a:lnTo>
                  <a:lnTo>
                    <a:pt x="574" y="58"/>
                  </a:lnTo>
                  <a:lnTo>
                    <a:pt x="577" y="67"/>
                  </a:lnTo>
                  <a:lnTo>
                    <a:pt x="578" y="71"/>
                  </a:lnTo>
                  <a:close/>
                  <a:moveTo>
                    <a:pt x="557" y="112"/>
                  </a:moveTo>
                  <a:lnTo>
                    <a:pt x="560" y="112"/>
                  </a:lnTo>
                  <a:lnTo>
                    <a:pt x="561" y="115"/>
                  </a:lnTo>
                  <a:lnTo>
                    <a:pt x="562" y="117"/>
                  </a:lnTo>
                  <a:lnTo>
                    <a:pt x="570" y="115"/>
                  </a:lnTo>
                  <a:lnTo>
                    <a:pt x="575" y="121"/>
                  </a:lnTo>
                  <a:lnTo>
                    <a:pt x="578" y="127"/>
                  </a:lnTo>
                  <a:lnTo>
                    <a:pt x="581" y="128"/>
                  </a:lnTo>
                  <a:lnTo>
                    <a:pt x="588" y="128"/>
                  </a:lnTo>
                  <a:lnTo>
                    <a:pt x="597" y="125"/>
                  </a:lnTo>
                  <a:lnTo>
                    <a:pt x="608" y="115"/>
                  </a:lnTo>
                  <a:lnTo>
                    <a:pt x="610" y="112"/>
                  </a:lnTo>
                  <a:lnTo>
                    <a:pt x="608" y="110"/>
                  </a:lnTo>
                  <a:lnTo>
                    <a:pt x="598" y="100"/>
                  </a:lnTo>
                  <a:lnTo>
                    <a:pt x="591" y="91"/>
                  </a:lnTo>
                  <a:lnTo>
                    <a:pt x="585" y="88"/>
                  </a:lnTo>
                  <a:lnTo>
                    <a:pt x="575" y="88"/>
                  </a:lnTo>
                  <a:lnTo>
                    <a:pt x="562" y="78"/>
                  </a:lnTo>
                  <a:lnTo>
                    <a:pt x="561" y="80"/>
                  </a:lnTo>
                  <a:lnTo>
                    <a:pt x="558" y="92"/>
                  </a:lnTo>
                  <a:lnTo>
                    <a:pt x="557" y="101"/>
                  </a:lnTo>
                  <a:lnTo>
                    <a:pt x="555" y="101"/>
                  </a:lnTo>
                  <a:lnTo>
                    <a:pt x="552" y="104"/>
                  </a:lnTo>
                  <a:lnTo>
                    <a:pt x="552" y="110"/>
                  </a:lnTo>
                  <a:lnTo>
                    <a:pt x="557" y="112"/>
                  </a:lnTo>
                  <a:close/>
                  <a:moveTo>
                    <a:pt x="615" y="17"/>
                  </a:moveTo>
                  <a:lnTo>
                    <a:pt x="620" y="14"/>
                  </a:lnTo>
                  <a:lnTo>
                    <a:pt x="637" y="10"/>
                  </a:lnTo>
                  <a:lnTo>
                    <a:pt x="637" y="7"/>
                  </a:lnTo>
                  <a:lnTo>
                    <a:pt x="638" y="2"/>
                  </a:lnTo>
                  <a:lnTo>
                    <a:pt x="635" y="0"/>
                  </a:lnTo>
                  <a:lnTo>
                    <a:pt x="617" y="2"/>
                  </a:lnTo>
                  <a:lnTo>
                    <a:pt x="615" y="5"/>
                  </a:lnTo>
                  <a:lnTo>
                    <a:pt x="614" y="11"/>
                  </a:lnTo>
                  <a:lnTo>
                    <a:pt x="614" y="14"/>
                  </a:lnTo>
                  <a:lnTo>
                    <a:pt x="614" y="15"/>
                  </a:lnTo>
                  <a:lnTo>
                    <a:pt x="615" y="17"/>
                  </a:lnTo>
                  <a:close/>
                  <a:moveTo>
                    <a:pt x="473" y="140"/>
                  </a:moveTo>
                  <a:lnTo>
                    <a:pt x="465" y="140"/>
                  </a:lnTo>
                  <a:lnTo>
                    <a:pt x="463" y="135"/>
                  </a:lnTo>
                  <a:lnTo>
                    <a:pt x="461" y="134"/>
                  </a:lnTo>
                  <a:lnTo>
                    <a:pt x="460" y="135"/>
                  </a:lnTo>
                  <a:lnTo>
                    <a:pt x="458" y="137"/>
                  </a:lnTo>
                  <a:lnTo>
                    <a:pt x="453" y="138"/>
                  </a:lnTo>
                  <a:lnTo>
                    <a:pt x="450" y="141"/>
                  </a:lnTo>
                  <a:lnTo>
                    <a:pt x="446" y="147"/>
                  </a:lnTo>
                  <a:lnTo>
                    <a:pt x="433" y="160"/>
                  </a:lnTo>
                  <a:lnTo>
                    <a:pt x="434" y="164"/>
                  </a:lnTo>
                  <a:lnTo>
                    <a:pt x="437" y="165"/>
                  </a:lnTo>
                  <a:lnTo>
                    <a:pt x="438" y="171"/>
                  </a:lnTo>
                  <a:lnTo>
                    <a:pt x="443" y="171"/>
                  </a:lnTo>
                  <a:lnTo>
                    <a:pt x="444" y="171"/>
                  </a:lnTo>
                  <a:lnTo>
                    <a:pt x="446" y="167"/>
                  </a:lnTo>
                  <a:lnTo>
                    <a:pt x="450" y="165"/>
                  </a:lnTo>
                  <a:lnTo>
                    <a:pt x="453" y="165"/>
                  </a:lnTo>
                  <a:lnTo>
                    <a:pt x="454" y="168"/>
                  </a:lnTo>
                  <a:lnTo>
                    <a:pt x="451" y="174"/>
                  </a:lnTo>
                  <a:lnTo>
                    <a:pt x="450" y="178"/>
                  </a:lnTo>
                  <a:lnTo>
                    <a:pt x="451" y="181"/>
                  </a:lnTo>
                  <a:lnTo>
                    <a:pt x="454" y="179"/>
                  </a:lnTo>
                  <a:lnTo>
                    <a:pt x="455" y="178"/>
                  </a:lnTo>
                  <a:lnTo>
                    <a:pt x="457" y="177"/>
                  </a:lnTo>
                  <a:lnTo>
                    <a:pt x="458" y="175"/>
                  </a:lnTo>
                  <a:lnTo>
                    <a:pt x="461" y="179"/>
                  </a:lnTo>
                  <a:lnTo>
                    <a:pt x="463" y="178"/>
                  </a:lnTo>
                  <a:lnTo>
                    <a:pt x="464" y="174"/>
                  </a:lnTo>
                  <a:lnTo>
                    <a:pt x="464" y="171"/>
                  </a:lnTo>
                  <a:lnTo>
                    <a:pt x="464" y="170"/>
                  </a:lnTo>
                  <a:lnTo>
                    <a:pt x="468" y="172"/>
                  </a:lnTo>
                  <a:lnTo>
                    <a:pt x="470" y="174"/>
                  </a:lnTo>
                  <a:lnTo>
                    <a:pt x="471" y="172"/>
                  </a:lnTo>
                  <a:lnTo>
                    <a:pt x="471" y="168"/>
                  </a:lnTo>
                  <a:lnTo>
                    <a:pt x="471" y="165"/>
                  </a:lnTo>
                  <a:lnTo>
                    <a:pt x="470" y="164"/>
                  </a:lnTo>
                  <a:lnTo>
                    <a:pt x="470" y="162"/>
                  </a:lnTo>
                  <a:lnTo>
                    <a:pt x="465" y="161"/>
                  </a:lnTo>
                  <a:lnTo>
                    <a:pt x="465" y="160"/>
                  </a:lnTo>
                  <a:lnTo>
                    <a:pt x="468" y="155"/>
                  </a:lnTo>
                  <a:lnTo>
                    <a:pt x="470" y="154"/>
                  </a:lnTo>
                  <a:lnTo>
                    <a:pt x="480" y="152"/>
                  </a:lnTo>
                  <a:lnTo>
                    <a:pt x="484" y="148"/>
                  </a:lnTo>
                  <a:lnTo>
                    <a:pt x="483" y="144"/>
                  </a:lnTo>
                  <a:lnTo>
                    <a:pt x="484" y="141"/>
                  </a:lnTo>
                  <a:lnTo>
                    <a:pt x="491" y="138"/>
                  </a:lnTo>
                  <a:lnTo>
                    <a:pt x="503" y="137"/>
                  </a:lnTo>
                  <a:lnTo>
                    <a:pt x="505" y="131"/>
                  </a:lnTo>
                  <a:lnTo>
                    <a:pt x="514" y="122"/>
                  </a:lnTo>
                  <a:lnTo>
                    <a:pt x="513" y="117"/>
                  </a:lnTo>
                  <a:lnTo>
                    <a:pt x="510" y="117"/>
                  </a:lnTo>
                  <a:lnTo>
                    <a:pt x="501" y="102"/>
                  </a:lnTo>
                  <a:lnTo>
                    <a:pt x="500" y="100"/>
                  </a:lnTo>
                  <a:lnTo>
                    <a:pt x="494" y="100"/>
                  </a:lnTo>
                  <a:lnTo>
                    <a:pt x="491" y="98"/>
                  </a:lnTo>
                  <a:lnTo>
                    <a:pt x="490" y="98"/>
                  </a:lnTo>
                  <a:lnTo>
                    <a:pt x="480" y="104"/>
                  </a:lnTo>
                  <a:lnTo>
                    <a:pt x="475" y="110"/>
                  </a:lnTo>
                  <a:lnTo>
                    <a:pt x="474" y="120"/>
                  </a:lnTo>
                  <a:lnTo>
                    <a:pt x="474" y="125"/>
                  </a:lnTo>
                  <a:lnTo>
                    <a:pt x="474" y="135"/>
                  </a:lnTo>
                  <a:lnTo>
                    <a:pt x="473" y="140"/>
                  </a:lnTo>
                  <a:close/>
                  <a:moveTo>
                    <a:pt x="494" y="82"/>
                  </a:moveTo>
                  <a:lnTo>
                    <a:pt x="495" y="87"/>
                  </a:lnTo>
                  <a:lnTo>
                    <a:pt x="497" y="87"/>
                  </a:lnTo>
                  <a:lnTo>
                    <a:pt x="500" y="85"/>
                  </a:lnTo>
                  <a:lnTo>
                    <a:pt x="500" y="84"/>
                  </a:lnTo>
                  <a:lnTo>
                    <a:pt x="503" y="80"/>
                  </a:lnTo>
                  <a:lnTo>
                    <a:pt x="501" y="75"/>
                  </a:lnTo>
                  <a:lnTo>
                    <a:pt x="498" y="74"/>
                  </a:lnTo>
                  <a:lnTo>
                    <a:pt x="497" y="74"/>
                  </a:lnTo>
                  <a:lnTo>
                    <a:pt x="495" y="74"/>
                  </a:lnTo>
                  <a:lnTo>
                    <a:pt x="495" y="75"/>
                  </a:lnTo>
                  <a:lnTo>
                    <a:pt x="494" y="78"/>
                  </a:lnTo>
                  <a:lnTo>
                    <a:pt x="493" y="78"/>
                  </a:lnTo>
                  <a:lnTo>
                    <a:pt x="493" y="80"/>
                  </a:lnTo>
                  <a:lnTo>
                    <a:pt x="494" y="82"/>
                  </a:lnTo>
                  <a:close/>
                  <a:moveTo>
                    <a:pt x="470" y="853"/>
                  </a:moveTo>
                  <a:lnTo>
                    <a:pt x="468" y="855"/>
                  </a:lnTo>
                  <a:lnTo>
                    <a:pt x="465" y="858"/>
                  </a:lnTo>
                  <a:lnTo>
                    <a:pt x="461" y="862"/>
                  </a:lnTo>
                  <a:lnTo>
                    <a:pt x="460" y="865"/>
                  </a:lnTo>
                  <a:lnTo>
                    <a:pt x="460" y="869"/>
                  </a:lnTo>
                  <a:lnTo>
                    <a:pt x="460" y="873"/>
                  </a:lnTo>
                  <a:lnTo>
                    <a:pt x="460" y="875"/>
                  </a:lnTo>
                  <a:lnTo>
                    <a:pt x="460" y="878"/>
                  </a:lnTo>
                  <a:lnTo>
                    <a:pt x="460" y="879"/>
                  </a:lnTo>
                  <a:lnTo>
                    <a:pt x="463" y="886"/>
                  </a:lnTo>
                  <a:lnTo>
                    <a:pt x="465" y="889"/>
                  </a:lnTo>
                  <a:lnTo>
                    <a:pt x="470" y="889"/>
                  </a:lnTo>
                  <a:lnTo>
                    <a:pt x="474" y="886"/>
                  </a:lnTo>
                  <a:lnTo>
                    <a:pt x="481" y="883"/>
                  </a:lnTo>
                  <a:lnTo>
                    <a:pt x="484" y="878"/>
                  </a:lnTo>
                  <a:lnTo>
                    <a:pt x="485" y="875"/>
                  </a:lnTo>
                  <a:lnTo>
                    <a:pt x="488" y="872"/>
                  </a:lnTo>
                  <a:lnTo>
                    <a:pt x="490" y="872"/>
                  </a:lnTo>
                  <a:lnTo>
                    <a:pt x="490" y="875"/>
                  </a:lnTo>
                  <a:lnTo>
                    <a:pt x="491" y="875"/>
                  </a:lnTo>
                  <a:lnTo>
                    <a:pt x="491" y="873"/>
                  </a:lnTo>
                  <a:lnTo>
                    <a:pt x="491" y="869"/>
                  </a:lnTo>
                  <a:lnTo>
                    <a:pt x="490" y="865"/>
                  </a:lnTo>
                  <a:lnTo>
                    <a:pt x="487" y="863"/>
                  </a:lnTo>
                  <a:lnTo>
                    <a:pt x="474" y="853"/>
                  </a:lnTo>
                  <a:lnTo>
                    <a:pt x="470" y="853"/>
                  </a:lnTo>
                  <a:close/>
                  <a:moveTo>
                    <a:pt x="413" y="135"/>
                  </a:moveTo>
                  <a:lnTo>
                    <a:pt x="417" y="137"/>
                  </a:lnTo>
                  <a:lnTo>
                    <a:pt x="423" y="134"/>
                  </a:lnTo>
                  <a:lnTo>
                    <a:pt x="423" y="137"/>
                  </a:lnTo>
                  <a:lnTo>
                    <a:pt x="424" y="142"/>
                  </a:lnTo>
                  <a:lnTo>
                    <a:pt x="426" y="145"/>
                  </a:lnTo>
                  <a:lnTo>
                    <a:pt x="428" y="145"/>
                  </a:lnTo>
                  <a:lnTo>
                    <a:pt x="431" y="142"/>
                  </a:lnTo>
                  <a:lnTo>
                    <a:pt x="433" y="137"/>
                  </a:lnTo>
                  <a:lnTo>
                    <a:pt x="434" y="135"/>
                  </a:lnTo>
                  <a:lnTo>
                    <a:pt x="440" y="135"/>
                  </a:lnTo>
                  <a:lnTo>
                    <a:pt x="441" y="130"/>
                  </a:lnTo>
                  <a:lnTo>
                    <a:pt x="443" y="130"/>
                  </a:lnTo>
                  <a:lnTo>
                    <a:pt x="444" y="131"/>
                  </a:lnTo>
                  <a:lnTo>
                    <a:pt x="446" y="124"/>
                  </a:lnTo>
                  <a:lnTo>
                    <a:pt x="447" y="122"/>
                  </a:lnTo>
                  <a:lnTo>
                    <a:pt x="448" y="117"/>
                  </a:lnTo>
                  <a:lnTo>
                    <a:pt x="450" y="115"/>
                  </a:lnTo>
                  <a:lnTo>
                    <a:pt x="451" y="115"/>
                  </a:lnTo>
                  <a:lnTo>
                    <a:pt x="455" y="124"/>
                  </a:lnTo>
                  <a:lnTo>
                    <a:pt x="465" y="128"/>
                  </a:lnTo>
                  <a:lnTo>
                    <a:pt x="465" y="128"/>
                  </a:lnTo>
                  <a:lnTo>
                    <a:pt x="465" y="120"/>
                  </a:lnTo>
                  <a:lnTo>
                    <a:pt x="464" y="114"/>
                  </a:lnTo>
                  <a:lnTo>
                    <a:pt x="463" y="111"/>
                  </a:lnTo>
                  <a:lnTo>
                    <a:pt x="461" y="110"/>
                  </a:lnTo>
                  <a:lnTo>
                    <a:pt x="458" y="108"/>
                  </a:lnTo>
                  <a:lnTo>
                    <a:pt x="454" y="110"/>
                  </a:lnTo>
                  <a:lnTo>
                    <a:pt x="446" y="105"/>
                  </a:lnTo>
                  <a:lnTo>
                    <a:pt x="444" y="105"/>
                  </a:lnTo>
                  <a:lnTo>
                    <a:pt x="440" y="110"/>
                  </a:lnTo>
                  <a:lnTo>
                    <a:pt x="436" y="115"/>
                  </a:lnTo>
                  <a:lnTo>
                    <a:pt x="428" y="118"/>
                  </a:lnTo>
                  <a:lnTo>
                    <a:pt x="408" y="125"/>
                  </a:lnTo>
                  <a:lnTo>
                    <a:pt x="406" y="130"/>
                  </a:lnTo>
                  <a:lnTo>
                    <a:pt x="410" y="131"/>
                  </a:lnTo>
                  <a:lnTo>
                    <a:pt x="413" y="135"/>
                  </a:lnTo>
                  <a:close/>
                  <a:moveTo>
                    <a:pt x="504" y="194"/>
                  </a:moveTo>
                  <a:lnTo>
                    <a:pt x="510" y="195"/>
                  </a:lnTo>
                  <a:lnTo>
                    <a:pt x="510" y="194"/>
                  </a:lnTo>
                  <a:lnTo>
                    <a:pt x="510" y="194"/>
                  </a:lnTo>
                  <a:lnTo>
                    <a:pt x="508" y="191"/>
                  </a:lnTo>
                  <a:lnTo>
                    <a:pt x="507" y="189"/>
                  </a:lnTo>
                  <a:lnTo>
                    <a:pt x="507" y="187"/>
                  </a:lnTo>
                  <a:lnTo>
                    <a:pt x="507" y="184"/>
                  </a:lnTo>
                  <a:lnTo>
                    <a:pt x="503" y="179"/>
                  </a:lnTo>
                  <a:lnTo>
                    <a:pt x="498" y="184"/>
                  </a:lnTo>
                  <a:lnTo>
                    <a:pt x="494" y="185"/>
                  </a:lnTo>
                  <a:lnTo>
                    <a:pt x="488" y="189"/>
                  </a:lnTo>
                  <a:lnTo>
                    <a:pt x="494" y="195"/>
                  </a:lnTo>
                  <a:lnTo>
                    <a:pt x="504" y="194"/>
                  </a:lnTo>
                  <a:close/>
                  <a:moveTo>
                    <a:pt x="488" y="181"/>
                  </a:moveTo>
                  <a:lnTo>
                    <a:pt x="488" y="178"/>
                  </a:lnTo>
                  <a:lnTo>
                    <a:pt x="493" y="172"/>
                  </a:lnTo>
                  <a:lnTo>
                    <a:pt x="493" y="171"/>
                  </a:lnTo>
                  <a:lnTo>
                    <a:pt x="491" y="168"/>
                  </a:lnTo>
                  <a:lnTo>
                    <a:pt x="485" y="167"/>
                  </a:lnTo>
                  <a:lnTo>
                    <a:pt x="480" y="174"/>
                  </a:lnTo>
                  <a:lnTo>
                    <a:pt x="480" y="175"/>
                  </a:lnTo>
                  <a:lnTo>
                    <a:pt x="487" y="182"/>
                  </a:lnTo>
                  <a:lnTo>
                    <a:pt x="488" y="181"/>
                  </a:lnTo>
                  <a:close/>
                  <a:moveTo>
                    <a:pt x="697" y="94"/>
                  </a:moveTo>
                  <a:lnTo>
                    <a:pt x="692" y="101"/>
                  </a:lnTo>
                  <a:lnTo>
                    <a:pt x="688" y="105"/>
                  </a:lnTo>
                  <a:lnTo>
                    <a:pt x="688" y="110"/>
                  </a:lnTo>
                  <a:lnTo>
                    <a:pt x="691" y="115"/>
                  </a:lnTo>
                  <a:lnTo>
                    <a:pt x="695" y="120"/>
                  </a:lnTo>
                  <a:lnTo>
                    <a:pt x="698" y="121"/>
                  </a:lnTo>
                  <a:lnTo>
                    <a:pt x="701" y="121"/>
                  </a:lnTo>
                  <a:lnTo>
                    <a:pt x="719" y="115"/>
                  </a:lnTo>
                  <a:lnTo>
                    <a:pt x="727" y="110"/>
                  </a:lnTo>
                  <a:lnTo>
                    <a:pt x="734" y="98"/>
                  </a:lnTo>
                  <a:lnTo>
                    <a:pt x="734" y="94"/>
                  </a:lnTo>
                  <a:lnTo>
                    <a:pt x="734" y="90"/>
                  </a:lnTo>
                  <a:lnTo>
                    <a:pt x="734" y="85"/>
                  </a:lnTo>
                  <a:lnTo>
                    <a:pt x="732" y="81"/>
                  </a:lnTo>
                  <a:lnTo>
                    <a:pt x="729" y="75"/>
                  </a:lnTo>
                  <a:lnTo>
                    <a:pt x="728" y="74"/>
                  </a:lnTo>
                  <a:lnTo>
                    <a:pt x="724" y="71"/>
                  </a:lnTo>
                  <a:lnTo>
                    <a:pt x="721" y="70"/>
                  </a:lnTo>
                  <a:lnTo>
                    <a:pt x="717" y="72"/>
                  </a:lnTo>
                  <a:lnTo>
                    <a:pt x="715" y="75"/>
                  </a:lnTo>
                  <a:lnTo>
                    <a:pt x="715" y="80"/>
                  </a:lnTo>
                  <a:lnTo>
                    <a:pt x="714" y="87"/>
                  </a:lnTo>
                  <a:lnTo>
                    <a:pt x="712" y="91"/>
                  </a:lnTo>
                  <a:lnTo>
                    <a:pt x="709" y="92"/>
                  </a:lnTo>
                  <a:lnTo>
                    <a:pt x="705" y="92"/>
                  </a:lnTo>
                  <a:lnTo>
                    <a:pt x="697" y="94"/>
                  </a:lnTo>
                  <a:close/>
                  <a:moveTo>
                    <a:pt x="578" y="178"/>
                  </a:moveTo>
                  <a:lnTo>
                    <a:pt x="580" y="179"/>
                  </a:lnTo>
                  <a:lnTo>
                    <a:pt x="587" y="181"/>
                  </a:lnTo>
                  <a:lnTo>
                    <a:pt x="600" y="181"/>
                  </a:lnTo>
                  <a:lnTo>
                    <a:pt x="601" y="179"/>
                  </a:lnTo>
                  <a:lnTo>
                    <a:pt x="600" y="175"/>
                  </a:lnTo>
                  <a:lnTo>
                    <a:pt x="601" y="170"/>
                  </a:lnTo>
                  <a:lnTo>
                    <a:pt x="601" y="158"/>
                  </a:lnTo>
                  <a:lnTo>
                    <a:pt x="601" y="155"/>
                  </a:lnTo>
                  <a:lnTo>
                    <a:pt x="598" y="154"/>
                  </a:lnTo>
                  <a:lnTo>
                    <a:pt x="594" y="154"/>
                  </a:lnTo>
                  <a:lnTo>
                    <a:pt x="594" y="157"/>
                  </a:lnTo>
                  <a:lnTo>
                    <a:pt x="584" y="155"/>
                  </a:lnTo>
                  <a:lnTo>
                    <a:pt x="582" y="158"/>
                  </a:lnTo>
                  <a:lnTo>
                    <a:pt x="584" y="170"/>
                  </a:lnTo>
                  <a:lnTo>
                    <a:pt x="582" y="172"/>
                  </a:lnTo>
                  <a:lnTo>
                    <a:pt x="578" y="178"/>
                  </a:lnTo>
                  <a:close/>
                  <a:moveTo>
                    <a:pt x="570" y="167"/>
                  </a:moveTo>
                  <a:lnTo>
                    <a:pt x="575" y="162"/>
                  </a:lnTo>
                  <a:lnTo>
                    <a:pt x="574" y="160"/>
                  </a:lnTo>
                  <a:lnTo>
                    <a:pt x="572" y="158"/>
                  </a:lnTo>
                  <a:lnTo>
                    <a:pt x="571" y="158"/>
                  </a:lnTo>
                  <a:lnTo>
                    <a:pt x="568" y="161"/>
                  </a:lnTo>
                  <a:lnTo>
                    <a:pt x="567" y="164"/>
                  </a:lnTo>
                  <a:lnTo>
                    <a:pt x="568" y="167"/>
                  </a:lnTo>
                  <a:lnTo>
                    <a:pt x="570" y="167"/>
                  </a:lnTo>
                  <a:close/>
                  <a:moveTo>
                    <a:pt x="632" y="61"/>
                  </a:moveTo>
                  <a:lnTo>
                    <a:pt x="637" y="60"/>
                  </a:lnTo>
                  <a:lnTo>
                    <a:pt x="637" y="57"/>
                  </a:lnTo>
                  <a:lnTo>
                    <a:pt x="635" y="52"/>
                  </a:lnTo>
                  <a:lnTo>
                    <a:pt x="632" y="50"/>
                  </a:lnTo>
                  <a:lnTo>
                    <a:pt x="630" y="50"/>
                  </a:lnTo>
                  <a:lnTo>
                    <a:pt x="625" y="52"/>
                  </a:lnTo>
                  <a:lnTo>
                    <a:pt x="625" y="55"/>
                  </a:lnTo>
                  <a:lnTo>
                    <a:pt x="627" y="58"/>
                  </a:lnTo>
                  <a:lnTo>
                    <a:pt x="632" y="61"/>
                  </a:lnTo>
                  <a:close/>
                  <a:moveTo>
                    <a:pt x="618" y="81"/>
                  </a:moveTo>
                  <a:lnTo>
                    <a:pt x="617" y="80"/>
                  </a:lnTo>
                  <a:lnTo>
                    <a:pt x="615" y="78"/>
                  </a:lnTo>
                  <a:lnTo>
                    <a:pt x="610" y="88"/>
                  </a:lnTo>
                  <a:lnTo>
                    <a:pt x="605" y="87"/>
                  </a:lnTo>
                  <a:lnTo>
                    <a:pt x="602" y="90"/>
                  </a:lnTo>
                  <a:lnTo>
                    <a:pt x="605" y="100"/>
                  </a:lnTo>
                  <a:lnTo>
                    <a:pt x="611" y="102"/>
                  </a:lnTo>
                  <a:lnTo>
                    <a:pt x="614" y="112"/>
                  </a:lnTo>
                  <a:lnTo>
                    <a:pt x="620" y="115"/>
                  </a:lnTo>
                  <a:lnTo>
                    <a:pt x="625" y="114"/>
                  </a:lnTo>
                  <a:lnTo>
                    <a:pt x="630" y="114"/>
                  </a:lnTo>
                  <a:lnTo>
                    <a:pt x="630" y="108"/>
                  </a:lnTo>
                  <a:lnTo>
                    <a:pt x="630" y="101"/>
                  </a:lnTo>
                  <a:lnTo>
                    <a:pt x="628" y="98"/>
                  </a:lnTo>
                  <a:lnTo>
                    <a:pt x="627" y="92"/>
                  </a:lnTo>
                  <a:lnTo>
                    <a:pt x="625" y="87"/>
                  </a:lnTo>
                  <a:lnTo>
                    <a:pt x="624" y="84"/>
                  </a:lnTo>
                  <a:lnTo>
                    <a:pt x="618" y="81"/>
                  </a:lnTo>
                  <a:close/>
                  <a:moveTo>
                    <a:pt x="637" y="130"/>
                  </a:moveTo>
                  <a:lnTo>
                    <a:pt x="635" y="134"/>
                  </a:lnTo>
                  <a:lnTo>
                    <a:pt x="637" y="138"/>
                  </a:lnTo>
                  <a:lnTo>
                    <a:pt x="637" y="140"/>
                  </a:lnTo>
                  <a:lnTo>
                    <a:pt x="641" y="147"/>
                  </a:lnTo>
                  <a:lnTo>
                    <a:pt x="645" y="145"/>
                  </a:lnTo>
                  <a:lnTo>
                    <a:pt x="651" y="141"/>
                  </a:lnTo>
                  <a:lnTo>
                    <a:pt x="658" y="147"/>
                  </a:lnTo>
                  <a:lnTo>
                    <a:pt x="664" y="148"/>
                  </a:lnTo>
                  <a:lnTo>
                    <a:pt x="668" y="140"/>
                  </a:lnTo>
                  <a:lnTo>
                    <a:pt x="672" y="137"/>
                  </a:lnTo>
                  <a:lnTo>
                    <a:pt x="674" y="132"/>
                  </a:lnTo>
                  <a:lnTo>
                    <a:pt x="675" y="131"/>
                  </a:lnTo>
                  <a:lnTo>
                    <a:pt x="681" y="130"/>
                  </a:lnTo>
                  <a:lnTo>
                    <a:pt x="681" y="122"/>
                  </a:lnTo>
                  <a:lnTo>
                    <a:pt x="682" y="118"/>
                  </a:lnTo>
                  <a:lnTo>
                    <a:pt x="682" y="111"/>
                  </a:lnTo>
                  <a:lnTo>
                    <a:pt x="682" y="108"/>
                  </a:lnTo>
                  <a:lnTo>
                    <a:pt x="681" y="104"/>
                  </a:lnTo>
                  <a:lnTo>
                    <a:pt x="677" y="102"/>
                  </a:lnTo>
                  <a:lnTo>
                    <a:pt x="672" y="102"/>
                  </a:lnTo>
                  <a:lnTo>
                    <a:pt x="668" y="105"/>
                  </a:lnTo>
                  <a:lnTo>
                    <a:pt x="661" y="108"/>
                  </a:lnTo>
                  <a:lnTo>
                    <a:pt x="655" y="111"/>
                  </a:lnTo>
                  <a:lnTo>
                    <a:pt x="651" y="111"/>
                  </a:lnTo>
                  <a:lnTo>
                    <a:pt x="651" y="107"/>
                  </a:lnTo>
                  <a:lnTo>
                    <a:pt x="648" y="107"/>
                  </a:lnTo>
                  <a:lnTo>
                    <a:pt x="642" y="108"/>
                  </a:lnTo>
                  <a:lnTo>
                    <a:pt x="641" y="110"/>
                  </a:lnTo>
                  <a:lnTo>
                    <a:pt x="640" y="112"/>
                  </a:lnTo>
                  <a:lnTo>
                    <a:pt x="640" y="114"/>
                  </a:lnTo>
                  <a:lnTo>
                    <a:pt x="637" y="120"/>
                  </a:lnTo>
                  <a:lnTo>
                    <a:pt x="637" y="130"/>
                  </a:lnTo>
                  <a:close/>
                  <a:moveTo>
                    <a:pt x="641" y="845"/>
                  </a:moveTo>
                  <a:lnTo>
                    <a:pt x="642" y="845"/>
                  </a:lnTo>
                  <a:lnTo>
                    <a:pt x="644" y="845"/>
                  </a:lnTo>
                  <a:lnTo>
                    <a:pt x="645" y="845"/>
                  </a:lnTo>
                  <a:lnTo>
                    <a:pt x="648" y="845"/>
                  </a:lnTo>
                  <a:lnTo>
                    <a:pt x="651" y="846"/>
                  </a:lnTo>
                  <a:lnTo>
                    <a:pt x="652" y="845"/>
                  </a:lnTo>
                  <a:lnTo>
                    <a:pt x="654" y="843"/>
                  </a:lnTo>
                  <a:lnTo>
                    <a:pt x="655" y="840"/>
                  </a:lnTo>
                  <a:lnTo>
                    <a:pt x="655" y="836"/>
                  </a:lnTo>
                  <a:lnTo>
                    <a:pt x="654" y="835"/>
                  </a:lnTo>
                  <a:lnTo>
                    <a:pt x="654" y="833"/>
                  </a:lnTo>
                  <a:lnTo>
                    <a:pt x="649" y="830"/>
                  </a:lnTo>
                  <a:lnTo>
                    <a:pt x="647" y="826"/>
                  </a:lnTo>
                  <a:lnTo>
                    <a:pt x="641" y="822"/>
                  </a:lnTo>
                  <a:lnTo>
                    <a:pt x="640" y="819"/>
                  </a:lnTo>
                  <a:lnTo>
                    <a:pt x="638" y="816"/>
                  </a:lnTo>
                  <a:lnTo>
                    <a:pt x="637" y="815"/>
                  </a:lnTo>
                  <a:lnTo>
                    <a:pt x="632" y="811"/>
                  </a:lnTo>
                  <a:lnTo>
                    <a:pt x="632" y="809"/>
                  </a:lnTo>
                  <a:lnTo>
                    <a:pt x="631" y="809"/>
                  </a:lnTo>
                  <a:lnTo>
                    <a:pt x="628" y="811"/>
                  </a:lnTo>
                  <a:lnTo>
                    <a:pt x="627" y="815"/>
                  </a:lnTo>
                  <a:lnTo>
                    <a:pt x="625" y="815"/>
                  </a:lnTo>
                  <a:lnTo>
                    <a:pt x="624" y="816"/>
                  </a:lnTo>
                  <a:lnTo>
                    <a:pt x="622" y="819"/>
                  </a:lnTo>
                  <a:lnTo>
                    <a:pt x="624" y="823"/>
                  </a:lnTo>
                  <a:lnTo>
                    <a:pt x="625" y="825"/>
                  </a:lnTo>
                  <a:lnTo>
                    <a:pt x="625" y="828"/>
                  </a:lnTo>
                  <a:lnTo>
                    <a:pt x="627" y="829"/>
                  </a:lnTo>
                  <a:lnTo>
                    <a:pt x="631" y="836"/>
                  </a:lnTo>
                  <a:lnTo>
                    <a:pt x="631" y="836"/>
                  </a:lnTo>
                  <a:lnTo>
                    <a:pt x="632" y="835"/>
                  </a:lnTo>
                  <a:lnTo>
                    <a:pt x="634" y="835"/>
                  </a:lnTo>
                  <a:lnTo>
                    <a:pt x="635" y="836"/>
                  </a:lnTo>
                  <a:lnTo>
                    <a:pt x="637" y="836"/>
                  </a:lnTo>
                  <a:lnTo>
                    <a:pt x="640" y="838"/>
                  </a:lnTo>
                  <a:lnTo>
                    <a:pt x="641" y="840"/>
                  </a:lnTo>
                  <a:lnTo>
                    <a:pt x="641" y="843"/>
                  </a:lnTo>
                  <a:lnTo>
                    <a:pt x="641" y="845"/>
                  </a:lnTo>
                  <a:close/>
                  <a:moveTo>
                    <a:pt x="731" y="465"/>
                  </a:moveTo>
                  <a:lnTo>
                    <a:pt x="728" y="465"/>
                  </a:lnTo>
                  <a:lnTo>
                    <a:pt x="727" y="466"/>
                  </a:lnTo>
                  <a:lnTo>
                    <a:pt x="722" y="471"/>
                  </a:lnTo>
                  <a:lnTo>
                    <a:pt x="718" y="474"/>
                  </a:lnTo>
                  <a:lnTo>
                    <a:pt x="704" y="478"/>
                  </a:lnTo>
                  <a:lnTo>
                    <a:pt x="695" y="484"/>
                  </a:lnTo>
                  <a:lnTo>
                    <a:pt x="692" y="482"/>
                  </a:lnTo>
                  <a:lnTo>
                    <a:pt x="687" y="484"/>
                  </a:lnTo>
                  <a:lnTo>
                    <a:pt x="682" y="484"/>
                  </a:lnTo>
                  <a:lnTo>
                    <a:pt x="675" y="479"/>
                  </a:lnTo>
                  <a:lnTo>
                    <a:pt x="672" y="479"/>
                  </a:lnTo>
                  <a:lnTo>
                    <a:pt x="667" y="481"/>
                  </a:lnTo>
                  <a:lnTo>
                    <a:pt x="665" y="481"/>
                  </a:lnTo>
                  <a:lnTo>
                    <a:pt x="664" y="484"/>
                  </a:lnTo>
                  <a:lnTo>
                    <a:pt x="664" y="488"/>
                  </a:lnTo>
                  <a:lnTo>
                    <a:pt x="664" y="491"/>
                  </a:lnTo>
                  <a:lnTo>
                    <a:pt x="664" y="494"/>
                  </a:lnTo>
                  <a:lnTo>
                    <a:pt x="662" y="495"/>
                  </a:lnTo>
                  <a:lnTo>
                    <a:pt x="659" y="495"/>
                  </a:lnTo>
                  <a:lnTo>
                    <a:pt x="659" y="492"/>
                  </a:lnTo>
                  <a:lnTo>
                    <a:pt x="657" y="492"/>
                  </a:lnTo>
                  <a:lnTo>
                    <a:pt x="651" y="492"/>
                  </a:lnTo>
                  <a:lnTo>
                    <a:pt x="649" y="495"/>
                  </a:lnTo>
                  <a:lnTo>
                    <a:pt x="648" y="501"/>
                  </a:lnTo>
                  <a:lnTo>
                    <a:pt x="644" y="502"/>
                  </a:lnTo>
                  <a:lnTo>
                    <a:pt x="637" y="505"/>
                  </a:lnTo>
                  <a:lnTo>
                    <a:pt x="632" y="508"/>
                  </a:lnTo>
                  <a:lnTo>
                    <a:pt x="631" y="508"/>
                  </a:lnTo>
                  <a:lnTo>
                    <a:pt x="630" y="509"/>
                  </a:lnTo>
                  <a:lnTo>
                    <a:pt x="625" y="514"/>
                  </a:lnTo>
                  <a:lnTo>
                    <a:pt x="622" y="518"/>
                  </a:lnTo>
                  <a:lnTo>
                    <a:pt x="617" y="521"/>
                  </a:lnTo>
                  <a:lnTo>
                    <a:pt x="617" y="524"/>
                  </a:lnTo>
                  <a:lnTo>
                    <a:pt x="617" y="525"/>
                  </a:lnTo>
                  <a:lnTo>
                    <a:pt x="611" y="531"/>
                  </a:lnTo>
                  <a:lnTo>
                    <a:pt x="611" y="535"/>
                  </a:lnTo>
                  <a:lnTo>
                    <a:pt x="610" y="541"/>
                  </a:lnTo>
                  <a:lnTo>
                    <a:pt x="608" y="542"/>
                  </a:lnTo>
                  <a:lnTo>
                    <a:pt x="604" y="539"/>
                  </a:lnTo>
                  <a:lnTo>
                    <a:pt x="601" y="539"/>
                  </a:lnTo>
                  <a:lnTo>
                    <a:pt x="600" y="539"/>
                  </a:lnTo>
                  <a:lnTo>
                    <a:pt x="597" y="541"/>
                  </a:lnTo>
                  <a:lnTo>
                    <a:pt x="597" y="542"/>
                  </a:lnTo>
                  <a:lnTo>
                    <a:pt x="597" y="546"/>
                  </a:lnTo>
                  <a:lnTo>
                    <a:pt x="597" y="548"/>
                  </a:lnTo>
                  <a:lnTo>
                    <a:pt x="592" y="556"/>
                  </a:lnTo>
                  <a:lnTo>
                    <a:pt x="591" y="558"/>
                  </a:lnTo>
                  <a:lnTo>
                    <a:pt x="590" y="555"/>
                  </a:lnTo>
                  <a:lnTo>
                    <a:pt x="588" y="554"/>
                  </a:lnTo>
                  <a:lnTo>
                    <a:pt x="585" y="552"/>
                  </a:lnTo>
                  <a:lnTo>
                    <a:pt x="584" y="551"/>
                  </a:lnTo>
                  <a:lnTo>
                    <a:pt x="582" y="552"/>
                  </a:lnTo>
                  <a:lnTo>
                    <a:pt x="580" y="555"/>
                  </a:lnTo>
                  <a:lnTo>
                    <a:pt x="580" y="558"/>
                  </a:lnTo>
                  <a:lnTo>
                    <a:pt x="581" y="559"/>
                  </a:lnTo>
                  <a:lnTo>
                    <a:pt x="582" y="564"/>
                  </a:lnTo>
                  <a:lnTo>
                    <a:pt x="588" y="562"/>
                  </a:lnTo>
                  <a:lnTo>
                    <a:pt x="590" y="565"/>
                  </a:lnTo>
                  <a:lnTo>
                    <a:pt x="591" y="566"/>
                  </a:lnTo>
                  <a:lnTo>
                    <a:pt x="587" y="569"/>
                  </a:lnTo>
                  <a:lnTo>
                    <a:pt x="581" y="575"/>
                  </a:lnTo>
                  <a:lnTo>
                    <a:pt x="578" y="584"/>
                  </a:lnTo>
                  <a:lnTo>
                    <a:pt x="577" y="586"/>
                  </a:lnTo>
                  <a:lnTo>
                    <a:pt x="577" y="588"/>
                  </a:lnTo>
                  <a:lnTo>
                    <a:pt x="578" y="591"/>
                  </a:lnTo>
                  <a:lnTo>
                    <a:pt x="580" y="591"/>
                  </a:lnTo>
                  <a:lnTo>
                    <a:pt x="582" y="591"/>
                  </a:lnTo>
                  <a:lnTo>
                    <a:pt x="585" y="594"/>
                  </a:lnTo>
                  <a:lnTo>
                    <a:pt x="584" y="595"/>
                  </a:lnTo>
                  <a:lnTo>
                    <a:pt x="574" y="598"/>
                  </a:lnTo>
                  <a:lnTo>
                    <a:pt x="572" y="598"/>
                  </a:lnTo>
                  <a:lnTo>
                    <a:pt x="567" y="612"/>
                  </a:lnTo>
                  <a:lnTo>
                    <a:pt x="565" y="615"/>
                  </a:lnTo>
                  <a:lnTo>
                    <a:pt x="564" y="618"/>
                  </a:lnTo>
                  <a:lnTo>
                    <a:pt x="562" y="621"/>
                  </a:lnTo>
                  <a:lnTo>
                    <a:pt x="561" y="625"/>
                  </a:lnTo>
                  <a:lnTo>
                    <a:pt x="561" y="626"/>
                  </a:lnTo>
                  <a:lnTo>
                    <a:pt x="557" y="626"/>
                  </a:lnTo>
                  <a:lnTo>
                    <a:pt x="554" y="629"/>
                  </a:lnTo>
                  <a:lnTo>
                    <a:pt x="551" y="633"/>
                  </a:lnTo>
                  <a:lnTo>
                    <a:pt x="548" y="635"/>
                  </a:lnTo>
                  <a:lnTo>
                    <a:pt x="547" y="636"/>
                  </a:lnTo>
                  <a:lnTo>
                    <a:pt x="548" y="641"/>
                  </a:lnTo>
                  <a:lnTo>
                    <a:pt x="554" y="649"/>
                  </a:lnTo>
                  <a:lnTo>
                    <a:pt x="554" y="652"/>
                  </a:lnTo>
                  <a:lnTo>
                    <a:pt x="555" y="661"/>
                  </a:lnTo>
                  <a:lnTo>
                    <a:pt x="560" y="656"/>
                  </a:lnTo>
                  <a:lnTo>
                    <a:pt x="564" y="655"/>
                  </a:lnTo>
                  <a:lnTo>
                    <a:pt x="567" y="655"/>
                  </a:lnTo>
                  <a:lnTo>
                    <a:pt x="571" y="658"/>
                  </a:lnTo>
                  <a:lnTo>
                    <a:pt x="575" y="659"/>
                  </a:lnTo>
                  <a:lnTo>
                    <a:pt x="584" y="661"/>
                  </a:lnTo>
                  <a:lnTo>
                    <a:pt x="587" y="662"/>
                  </a:lnTo>
                  <a:lnTo>
                    <a:pt x="590" y="663"/>
                  </a:lnTo>
                  <a:lnTo>
                    <a:pt x="594" y="662"/>
                  </a:lnTo>
                  <a:lnTo>
                    <a:pt x="598" y="659"/>
                  </a:lnTo>
                  <a:lnTo>
                    <a:pt x="601" y="652"/>
                  </a:lnTo>
                  <a:lnTo>
                    <a:pt x="607" y="645"/>
                  </a:lnTo>
                  <a:lnTo>
                    <a:pt x="608" y="642"/>
                  </a:lnTo>
                  <a:lnTo>
                    <a:pt x="607" y="638"/>
                  </a:lnTo>
                  <a:lnTo>
                    <a:pt x="604" y="633"/>
                  </a:lnTo>
                  <a:lnTo>
                    <a:pt x="604" y="632"/>
                  </a:lnTo>
                  <a:lnTo>
                    <a:pt x="607" y="633"/>
                  </a:lnTo>
                  <a:lnTo>
                    <a:pt x="608" y="636"/>
                  </a:lnTo>
                  <a:lnTo>
                    <a:pt x="610" y="636"/>
                  </a:lnTo>
                  <a:lnTo>
                    <a:pt x="611" y="636"/>
                  </a:lnTo>
                  <a:lnTo>
                    <a:pt x="612" y="635"/>
                  </a:lnTo>
                  <a:lnTo>
                    <a:pt x="612" y="632"/>
                  </a:lnTo>
                  <a:lnTo>
                    <a:pt x="612" y="629"/>
                  </a:lnTo>
                  <a:lnTo>
                    <a:pt x="611" y="625"/>
                  </a:lnTo>
                  <a:lnTo>
                    <a:pt x="611" y="622"/>
                  </a:lnTo>
                  <a:lnTo>
                    <a:pt x="622" y="615"/>
                  </a:lnTo>
                  <a:lnTo>
                    <a:pt x="625" y="609"/>
                  </a:lnTo>
                  <a:lnTo>
                    <a:pt x="625" y="606"/>
                  </a:lnTo>
                  <a:lnTo>
                    <a:pt x="625" y="603"/>
                  </a:lnTo>
                  <a:lnTo>
                    <a:pt x="624" y="598"/>
                  </a:lnTo>
                  <a:lnTo>
                    <a:pt x="624" y="596"/>
                  </a:lnTo>
                  <a:lnTo>
                    <a:pt x="624" y="594"/>
                  </a:lnTo>
                  <a:lnTo>
                    <a:pt x="630" y="596"/>
                  </a:lnTo>
                  <a:lnTo>
                    <a:pt x="632" y="595"/>
                  </a:lnTo>
                  <a:lnTo>
                    <a:pt x="632" y="594"/>
                  </a:lnTo>
                  <a:lnTo>
                    <a:pt x="634" y="591"/>
                  </a:lnTo>
                  <a:lnTo>
                    <a:pt x="634" y="586"/>
                  </a:lnTo>
                  <a:lnTo>
                    <a:pt x="634" y="584"/>
                  </a:lnTo>
                  <a:lnTo>
                    <a:pt x="635" y="582"/>
                  </a:lnTo>
                  <a:lnTo>
                    <a:pt x="641" y="586"/>
                  </a:lnTo>
                  <a:lnTo>
                    <a:pt x="642" y="586"/>
                  </a:lnTo>
                  <a:lnTo>
                    <a:pt x="644" y="585"/>
                  </a:lnTo>
                  <a:lnTo>
                    <a:pt x="644" y="584"/>
                  </a:lnTo>
                  <a:lnTo>
                    <a:pt x="642" y="582"/>
                  </a:lnTo>
                  <a:lnTo>
                    <a:pt x="644" y="579"/>
                  </a:lnTo>
                  <a:lnTo>
                    <a:pt x="647" y="579"/>
                  </a:lnTo>
                  <a:lnTo>
                    <a:pt x="648" y="578"/>
                  </a:lnTo>
                  <a:lnTo>
                    <a:pt x="651" y="575"/>
                  </a:lnTo>
                  <a:lnTo>
                    <a:pt x="652" y="574"/>
                  </a:lnTo>
                  <a:lnTo>
                    <a:pt x="654" y="571"/>
                  </a:lnTo>
                  <a:lnTo>
                    <a:pt x="655" y="569"/>
                  </a:lnTo>
                  <a:lnTo>
                    <a:pt x="654" y="566"/>
                  </a:lnTo>
                  <a:lnTo>
                    <a:pt x="651" y="565"/>
                  </a:lnTo>
                  <a:lnTo>
                    <a:pt x="651" y="562"/>
                  </a:lnTo>
                  <a:lnTo>
                    <a:pt x="655" y="559"/>
                  </a:lnTo>
                  <a:lnTo>
                    <a:pt x="655" y="559"/>
                  </a:lnTo>
                  <a:lnTo>
                    <a:pt x="658" y="559"/>
                  </a:lnTo>
                  <a:lnTo>
                    <a:pt x="658" y="559"/>
                  </a:lnTo>
                  <a:lnTo>
                    <a:pt x="661" y="556"/>
                  </a:lnTo>
                  <a:lnTo>
                    <a:pt x="662" y="554"/>
                  </a:lnTo>
                  <a:lnTo>
                    <a:pt x="665" y="549"/>
                  </a:lnTo>
                  <a:lnTo>
                    <a:pt x="667" y="545"/>
                  </a:lnTo>
                  <a:lnTo>
                    <a:pt x="669" y="544"/>
                  </a:lnTo>
                  <a:lnTo>
                    <a:pt x="671" y="544"/>
                  </a:lnTo>
                  <a:lnTo>
                    <a:pt x="674" y="544"/>
                  </a:lnTo>
                  <a:lnTo>
                    <a:pt x="681" y="536"/>
                  </a:lnTo>
                  <a:lnTo>
                    <a:pt x="697" y="526"/>
                  </a:lnTo>
                  <a:lnTo>
                    <a:pt x="701" y="525"/>
                  </a:lnTo>
                  <a:lnTo>
                    <a:pt x="705" y="521"/>
                  </a:lnTo>
                  <a:lnTo>
                    <a:pt x="708" y="521"/>
                  </a:lnTo>
                  <a:lnTo>
                    <a:pt x="715" y="518"/>
                  </a:lnTo>
                  <a:lnTo>
                    <a:pt x="724" y="514"/>
                  </a:lnTo>
                  <a:lnTo>
                    <a:pt x="731" y="509"/>
                  </a:lnTo>
                  <a:lnTo>
                    <a:pt x="737" y="505"/>
                  </a:lnTo>
                  <a:lnTo>
                    <a:pt x="748" y="501"/>
                  </a:lnTo>
                  <a:lnTo>
                    <a:pt x="754" y="496"/>
                  </a:lnTo>
                  <a:lnTo>
                    <a:pt x="758" y="495"/>
                  </a:lnTo>
                  <a:lnTo>
                    <a:pt x="761" y="492"/>
                  </a:lnTo>
                  <a:lnTo>
                    <a:pt x="765" y="488"/>
                  </a:lnTo>
                  <a:lnTo>
                    <a:pt x="772" y="484"/>
                  </a:lnTo>
                  <a:lnTo>
                    <a:pt x="778" y="481"/>
                  </a:lnTo>
                  <a:lnTo>
                    <a:pt x="779" y="478"/>
                  </a:lnTo>
                  <a:lnTo>
                    <a:pt x="784" y="469"/>
                  </a:lnTo>
                  <a:lnTo>
                    <a:pt x="789" y="461"/>
                  </a:lnTo>
                  <a:lnTo>
                    <a:pt x="789" y="458"/>
                  </a:lnTo>
                  <a:lnTo>
                    <a:pt x="789" y="455"/>
                  </a:lnTo>
                  <a:lnTo>
                    <a:pt x="791" y="451"/>
                  </a:lnTo>
                  <a:lnTo>
                    <a:pt x="789" y="448"/>
                  </a:lnTo>
                  <a:lnTo>
                    <a:pt x="789" y="445"/>
                  </a:lnTo>
                  <a:lnTo>
                    <a:pt x="786" y="439"/>
                  </a:lnTo>
                  <a:lnTo>
                    <a:pt x="784" y="435"/>
                  </a:lnTo>
                  <a:lnTo>
                    <a:pt x="775" y="431"/>
                  </a:lnTo>
                  <a:lnTo>
                    <a:pt x="769" y="429"/>
                  </a:lnTo>
                  <a:lnTo>
                    <a:pt x="768" y="429"/>
                  </a:lnTo>
                  <a:lnTo>
                    <a:pt x="764" y="434"/>
                  </a:lnTo>
                  <a:lnTo>
                    <a:pt x="756" y="436"/>
                  </a:lnTo>
                  <a:lnTo>
                    <a:pt x="749" y="444"/>
                  </a:lnTo>
                  <a:lnTo>
                    <a:pt x="744" y="448"/>
                  </a:lnTo>
                  <a:lnTo>
                    <a:pt x="742" y="452"/>
                  </a:lnTo>
                  <a:lnTo>
                    <a:pt x="741" y="458"/>
                  </a:lnTo>
                  <a:lnTo>
                    <a:pt x="739" y="459"/>
                  </a:lnTo>
                  <a:lnTo>
                    <a:pt x="738" y="459"/>
                  </a:lnTo>
                  <a:lnTo>
                    <a:pt x="735" y="461"/>
                  </a:lnTo>
                  <a:lnTo>
                    <a:pt x="732" y="464"/>
                  </a:lnTo>
                  <a:lnTo>
                    <a:pt x="731" y="465"/>
                  </a:lnTo>
                  <a:close/>
                  <a:moveTo>
                    <a:pt x="601" y="141"/>
                  </a:moveTo>
                  <a:lnTo>
                    <a:pt x="600" y="144"/>
                  </a:lnTo>
                  <a:lnTo>
                    <a:pt x="601" y="147"/>
                  </a:lnTo>
                  <a:lnTo>
                    <a:pt x="602" y="151"/>
                  </a:lnTo>
                  <a:lnTo>
                    <a:pt x="602" y="154"/>
                  </a:lnTo>
                  <a:lnTo>
                    <a:pt x="602" y="157"/>
                  </a:lnTo>
                  <a:lnTo>
                    <a:pt x="604" y="170"/>
                  </a:lnTo>
                  <a:lnTo>
                    <a:pt x="604" y="174"/>
                  </a:lnTo>
                  <a:lnTo>
                    <a:pt x="605" y="175"/>
                  </a:lnTo>
                  <a:lnTo>
                    <a:pt x="612" y="178"/>
                  </a:lnTo>
                  <a:lnTo>
                    <a:pt x="614" y="177"/>
                  </a:lnTo>
                  <a:lnTo>
                    <a:pt x="618" y="170"/>
                  </a:lnTo>
                  <a:lnTo>
                    <a:pt x="620" y="170"/>
                  </a:lnTo>
                  <a:lnTo>
                    <a:pt x="620" y="165"/>
                  </a:lnTo>
                  <a:lnTo>
                    <a:pt x="620" y="160"/>
                  </a:lnTo>
                  <a:lnTo>
                    <a:pt x="621" y="158"/>
                  </a:lnTo>
                  <a:lnTo>
                    <a:pt x="635" y="155"/>
                  </a:lnTo>
                  <a:lnTo>
                    <a:pt x="632" y="151"/>
                  </a:lnTo>
                  <a:lnTo>
                    <a:pt x="631" y="148"/>
                  </a:lnTo>
                  <a:lnTo>
                    <a:pt x="622" y="144"/>
                  </a:lnTo>
                  <a:lnTo>
                    <a:pt x="608" y="142"/>
                  </a:lnTo>
                  <a:lnTo>
                    <a:pt x="601" y="141"/>
                  </a:lnTo>
                  <a:close/>
                  <a:moveTo>
                    <a:pt x="661" y="98"/>
                  </a:moveTo>
                  <a:lnTo>
                    <a:pt x="665" y="95"/>
                  </a:lnTo>
                  <a:lnTo>
                    <a:pt x="671" y="90"/>
                  </a:lnTo>
                  <a:lnTo>
                    <a:pt x="672" y="85"/>
                  </a:lnTo>
                  <a:lnTo>
                    <a:pt x="671" y="80"/>
                  </a:lnTo>
                  <a:lnTo>
                    <a:pt x="657" y="82"/>
                  </a:lnTo>
                  <a:lnTo>
                    <a:pt x="649" y="90"/>
                  </a:lnTo>
                  <a:lnTo>
                    <a:pt x="648" y="91"/>
                  </a:lnTo>
                  <a:lnTo>
                    <a:pt x="648" y="92"/>
                  </a:lnTo>
                  <a:lnTo>
                    <a:pt x="652" y="95"/>
                  </a:lnTo>
                  <a:lnTo>
                    <a:pt x="661" y="98"/>
                  </a:lnTo>
                  <a:close/>
                  <a:moveTo>
                    <a:pt x="688" y="22"/>
                  </a:moveTo>
                  <a:lnTo>
                    <a:pt x="688" y="24"/>
                  </a:lnTo>
                  <a:lnTo>
                    <a:pt x="694" y="27"/>
                  </a:lnTo>
                  <a:lnTo>
                    <a:pt x="704" y="28"/>
                  </a:lnTo>
                  <a:lnTo>
                    <a:pt x="705" y="27"/>
                  </a:lnTo>
                  <a:lnTo>
                    <a:pt x="708" y="21"/>
                  </a:lnTo>
                  <a:lnTo>
                    <a:pt x="708" y="20"/>
                  </a:lnTo>
                  <a:lnTo>
                    <a:pt x="707" y="18"/>
                  </a:lnTo>
                  <a:lnTo>
                    <a:pt x="692" y="14"/>
                  </a:lnTo>
                  <a:lnTo>
                    <a:pt x="684" y="15"/>
                  </a:lnTo>
                  <a:lnTo>
                    <a:pt x="681" y="18"/>
                  </a:lnTo>
                  <a:lnTo>
                    <a:pt x="688" y="21"/>
                  </a:lnTo>
                  <a:lnTo>
                    <a:pt x="688" y="22"/>
                  </a:lnTo>
                  <a:close/>
                  <a:moveTo>
                    <a:pt x="630" y="189"/>
                  </a:moveTo>
                  <a:lnTo>
                    <a:pt x="632" y="191"/>
                  </a:lnTo>
                  <a:lnTo>
                    <a:pt x="634" y="192"/>
                  </a:lnTo>
                  <a:lnTo>
                    <a:pt x="634" y="194"/>
                  </a:lnTo>
                  <a:lnTo>
                    <a:pt x="637" y="195"/>
                  </a:lnTo>
                  <a:lnTo>
                    <a:pt x="642" y="192"/>
                  </a:lnTo>
                  <a:lnTo>
                    <a:pt x="645" y="188"/>
                  </a:lnTo>
                  <a:lnTo>
                    <a:pt x="644" y="181"/>
                  </a:lnTo>
                  <a:lnTo>
                    <a:pt x="640" y="177"/>
                  </a:lnTo>
                  <a:lnTo>
                    <a:pt x="631" y="182"/>
                  </a:lnTo>
                  <a:lnTo>
                    <a:pt x="631" y="184"/>
                  </a:lnTo>
                  <a:lnTo>
                    <a:pt x="630" y="189"/>
                  </a:lnTo>
                  <a:close/>
                  <a:moveTo>
                    <a:pt x="50" y="1374"/>
                  </a:moveTo>
                  <a:lnTo>
                    <a:pt x="52" y="1369"/>
                  </a:lnTo>
                  <a:lnTo>
                    <a:pt x="52" y="1367"/>
                  </a:lnTo>
                  <a:lnTo>
                    <a:pt x="50" y="1366"/>
                  </a:lnTo>
                  <a:lnTo>
                    <a:pt x="49" y="1364"/>
                  </a:lnTo>
                  <a:lnTo>
                    <a:pt x="48" y="1363"/>
                  </a:lnTo>
                  <a:lnTo>
                    <a:pt x="45" y="1363"/>
                  </a:lnTo>
                  <a:lnTo>
                    <a:pt x="40" y="1363"/>
                  </a:lnTo>
                  <a:lnTo>
                    <a:pt x="40" y="1363"/>
                  </a:lnTo>
                  <a:lnTo>
                    <a:pt x="36" y="1362"/>
                  </a:lnTo>
                  <a:lnTo>
                    <a:pt x="33" y="1360"/>
                  </a:lnTo>
                  <a:lnTo>
                    <a:pt x="32" y="1359"/>
                  </a:lnTo>
                  <a:lnTo>
                    <a:pt x="30" y="1357"/>
                  </a:lnTo>
                  <a:lnTo>
                    <a:pt x="29" y="1356"/>
                  </a:lnTo>
                  <a:lnTo>
                    <a:pt x="28" y="1357"/>
                  </a:lnTo>
                  <a:lnTo>
                    <a:pt x="26" y="1357"/>
                  </a:lnTo>
                  <a:lnTo>
                    <a:pt x="26" y="1362"/>
                  </a:lnTo>
                  <a:lnTo>
                    <a:pt x="26" y="1366"/>
                  </a:lnTo>
                  <a:lnTo>
                    <a:pt x="22" y="1367"/>
                  </a:lnTo>
                  <a:lnTo>
                    <a:pt x="20" y="1367"/>
                  </a:lnTo>
                  <a:lnTo>
                    <a:pt x="19" y="1366"/>
                  </a:lnTo>
                  <a:lnTo>
                    <a:pt x="18" y="1366"/>
                  </a:lnTo>
                  <a:lnTo>
                    <a:pt x="16" y="1364"/>
                  </a:lnTo>
                  <a:lnTo>
                    <a:pt x="20" y="1359"/>
                  </a:lnTo>
                  <a:lnTo>
                    <a:pt x="22" y="1356"/>
                  </a:lnTo>
                  <a:lnTo>
                    <a:pt x="20" y="1356"/>
                  </a:lnTo>
                  <a:lnTo>
                    <a:pt x="20" y="1357"/>
                  </a:lnTo>
                  <a:lnTo>
                    <a:pt x="18" y="1362"/>
                  </a:lnTo>
                  <a:lnTo>
                    <a:pt x="15" y="1364"/>
                  </a:lnTo>
                  <a:lnTo>
                    <a:pt x="13" y="1366"/>
                  </a:lnTo>
                  <a:lnTo>
                    <a:pt x="9" y="1366"/>
                  </a:lnTo>
                  <a:lnTo>
                    <a:pt x="6" y="1366"/>
                  </a:lnTo>
                  <a:lnTo>
                    <a:pt x="6" y="1369"/>
                  </a:lnTo>
                  <a:lnTo>
                    <a:pt x="6" y="1372"/>
                  </a:lnTo>
                  <a:lnTo>
                    <a:pt x="5" y="1374"/>
                  </a:lnTo>
                  <a:lnTo>
                    <a:pt x="3" y="1377"/>
                  </a:lnTo>
                  <a:lnTo>
                    <a:pt x="0" y="1379"/>
                  </a:lnTo>
                  <a:lnTo>
                    <a:pt x="0" y="1380"/>
                  </a:lnTo>
                  <a:lnTo>
                    <a:pt x="5" y="1380"/>
                  </a:lnTo>
                  <a:lnTo>
                    <a:pt x="10" y="1380"/>
                  </a:lnTo>
                  <a:lnTo>
                    <a:pt x="18" y="1380"/>
                  </a:lnTo>
                  <a:lnTo>
                    <a:pt x="25" y="1382"/>
                  </a:lnTo>
                  <a:lnTo>
                    <a:pt x="33" y="1382"/>
                  </a:lnTo>
                  <a:lnTo>
                    <a:pt x="42" y="1382"/>
                  </a:lnTo>
                  <a:lnTo>
                    <a:pt x="50" y="1382"/>
                  </a:lnTo>
                  <a:lnTo>
                    <a:pt x="50" y="1382"/>
                  </a:lnTo>
                  <a:lnTo>
                    <a:pt x="50" y="1380"/>
                  </a:lnTo>
                  <a:lnTo>
                    <a:pt x="49" y="1379"/>
                  </a:lnTo>
                  <a:lnTo>
                    <a:pt x="49" y="1376"/>
                  </a:lnTo>
                  <a:lnTo>
                    <a:pt x="50" y="1374"/>
                  </a:lnTo>
                  <a:close/>
                  <a:moveTo>
                    <a:pt x="538" y="775"/>
                  </a:moveTo>
                  <a:lnTo>
                    <a:pt x="538" y="772"/>
                  </a:lnTo>
                  <a:lnTo>
                    <a:pt x="537" y="772"/>
                  </a:lnTo>
                  <a:lnTo>
                    <a:pt x="537" y="772"/>
                  </a:lnTo>
                  <a:lnTo>
                    <a:pt x="535" y="769"/>
                  </a:lnTo>
                  <a:lnTo>
                    <a:pt x="534" y="765"/>
                  </a:lnTo>
                  <a:lnTo>
                    <a:pt x="531" y="763"/>
                  </a:lnTo>
                  <a:lnTo>
                    <a:pt x="531" y="763"/>
                  </a:lnTo>
                  <a:lnTo>
                    <a:pt x="531" y="763"/>
                  </a:lnTo>
                  <a:lnTo>
                    <a:pt x="531" y="766"/>
                  </a:lnTo>
                  <a:lnTo>
                    <a:pt x="528" y="765"/>
                  </a:lnTo>
                  <a:lnTo>
                    <a:pt x="527" y="765"/>
                  </a:lnTo>
                  <a:lnTo>
                    <a:pt x="524" y="765"/>
                  </a:lnTo>
                  <a:lnTo>
                    <a:pt x="523" y="768"/>
                  </a:lnTo>
                  <a:lnTo>
                    <a:pt x="523" y="769"/>
                  </a:lnTo>
                  <a:lnTo>
                    <a:pt x="524" y="771"/>
                  </a:lnTo>
                  <a:lnTo>
                    <a:pt x="525" y="772"/>
                  </a:lnTo>
                  <a:lnTo>
                    <a:pt x="528" y="771"/>
                  </a:lnTo>
                  <a:lnTo>
                    <a:pt x="531" y="775"/>
                  </a:lnTo>
                  <a:lnTo>
                    <a:pt x="531" y="778"/>
                  </a:lnTo>
                  <a:lnTo>
                    <a:pt x="533" y="779"/>
                  </a:lnTo>
                  <a:lnTo>
                    <a:pt x="534" y="781"/>
                  </a:lnTo>
                  <a:lnTo>
                    <a:pt x="535" y="783"/>
                  </a:lnTo>
                  <a:lnTo>
                    <a:pt x="535" y="785"/>
                  </a:lnTo>
                  <a:lnTo>
                    <a:pt x="537" y="785"/>
                  </a:lnTo>
                  <a:lnTo>
                    <a:pt x="537" y="783"/>
                  </a:lnTo>
                  <a:lnTo>
                    <a:pt x="535" y="782"/>
                  </a:lnTo>
                  <a:lnTo>
                    <a:pt x="537" y="781"/>
                  </a:lnTo>
                  <a:lnTo>
                    <a:pt x="538" y="775"/>
                  </a:lnTo>
                  <a:close/>
                  <a:moveTo>
                    <a:pt x="1249" y="172"/>
                  </a:moveTo>
                  <a:lnTo>
                    <a:pt x="1241" y="174"/>
                  </a:lnTo>
                  <a:lnTo>
                    <a:pt x="1230" y="178"/>
                  </a:lnTo>
                  <a:lnTo>
                    <a:pt x="1229" y="178"/>
                  </a:lnTo>
                  <a:lnTo>
                    <a:pt x="1226" y="179"/>
                  </a:lnTo>
                  <a:lnTo>
                    <a:pt x="1221" y="178"/>
                  </a:lnTo>
                  <a:lnTo>
                    <a:pt x="1216" y="178"/>
                  </a:lnTo>
                  <a:lnTo>
                    <a:pt x="1214" y="181"/>
                  </a:lnTo>
                  <a:lnTo>
                    <a:pt x="1213" y="184"/>
                  </a:lnTo>
                  <a:lnTo>
                    <a:pt x="1212" y="185"/>
                  </a:lnTo>
                  <a:lnTo>
                    <a:pt x="1207" y="179"/>
                  </a:lnTo>
                  <a:lnTo>
                    <a:pt x="1207" y="179"/>
                  </a:lnTo>
                  <a:lnTo>
                    <a:pt x="1204" y="185"/>
                  </a:lnTo>
                  <a:lnTo>
                    <a:pt x="1203" y="187"/>
                  </a:lnTo>
                  <a:lnTo>
                    <a:pt x="1197" y="194"/>
                  </a:lnTo>
                  <a:lnTo>
                    <a:pt x="1196" y="204"/>
                  </a:lnTo>
                  <a:lnTo>
                    <a:pt x="1192" y="211"/>
                  </a:lnTo>
                  <a:lnTo>
                    <a:pt x="1189" y="215"/>
                  </a:lnTo>
                  <a:lnTo>
                    <a:pt x="1182" y="221"/>
                  </a:lnTo>
                  <a:lnTo>
                    <a:pt x="1177" y="234"/>
                  </a:lnTo>
                  <a:lnTo>
                    <a:pt x="1180" y="237"/>
                  </a:lnTo>
                  <a:lnTo>
                    <a:pt x="1183" y="237"/>
                  </a:lnTo>
                  <a:lnTo>
                    <a:pt x="1187" y="237"/>
                  </a:lnTo>
                  <a:lnTo>
                    <a:pt x="1194" y="241"/>
                  </a:lnTo>
                  <a:lnTo>
                    <a:pt x="1197" y="249"/>
                  </a:lnTo>
                  <a:lnTo>
                    <a:pt x="1199" y="258"/>
                  </a:lnTo>
                  <a:lnTo>
                    <a:pt x="1202" y="259"/>
                  </a:lnTo>
                  <a:lnTo>
                    <a:pt x="1202" y="264"/>
                  </a:lnTo>
                  <a:lnTo>
                    <a:pt x="1202" y="265"/>
                  </a:lnTo>
                  <a:lnTo>
                    <a:pt x="1204" y="268"/>
                  </a:lnTo>
                  <a:lnTo>
                    <a:pt x="1209" y="271"/>
                  </a:lnTo>
                  <a:lnTo>
                    <a:pt x="1210" y="272"/>
                  </a:lnTo>
                  <a:lnTo>
                    <a:pt x="1214" y="268"/>
                  </a:lnTo>
                  <a:lnTo>
                    <a:pt x="1216" y="268"/>
                  </a:lnTo>
                  <a:lnTo>
                    <a:pt x="1219" y="275"/>
                  </a:lnTo>
                  <a:lnTo>
                    <a:pt x="1220" y="275"/>
                  </a:lnTo>
                  <a:lnTo>
                    <a:pt x="1229" y="275"/>
                  </a:lnTo>
                  <a:lnTo>
                    <a:pt x="1230" y="275"/>
                  </a:lnTo>
                  <a:lnTo>
                    <a:pt x="1237" y="277"/>
                  </a:lnTo>
                  <a:lnTo>
                    <a:pt x="1237" y="279"/>
                  </a:lnTo>
                  <a:lnTo>
                    <a:pt x="1239" y="281"/>
                  </a:lnTo>
                  <a:lnTo>
                    <a:pt x="1244" y="287"/>
                  </a:lnTo>
                  <a:lnTo>
                    <a:pt x="1249" y="291"/>
                  </a:lnTo>
                  <a:lnTo>
                    <a:pt x="1250" y="291"/>
                  </a:lnTo>
                  <a:lnTo>
                    <a:pt x="1254" y="292"/>
                  </a:lnTo>
                  <a:lnTo>
                    <a:pt x="1257" y="291"/>
                  </a:lnTo>
                  <a:lnTo>
                    <a:pt x="1260" y="294"/>
                  </a:lnTo>
                  <a:lnTo>
                    <a:pt x="1263" y="294"/>
                  </a:lnTo>
                  <a:lnTo>
                    <a:pt x="1269" y="291"/>
                  </a:lnTo>
                  <a:lnTo>
                    <a:pt x="1279" y="289"/>
                  </a:lnTo>
                  <a:lnTo>
                    <a:pt x="1280" y="288"/>
                  </a:lnTo>
                  <a:lnTo>
                    <a:pt x="1287" y="279"/>
                  </a:lnTo>
                  <a:lnTo>
                    <a:pt x="1286" y="275"/>
                  </a:lnTo>
                  <a:lnTo>
                    <a:pt x="1284" y="268"/>
                  </a:lnTo>
                  <a:lnTo>
                    <a:pt x="1284" y="267"/>
                  </a:lnTo>
                  <a:lnTo>
                    <a:pt x="1280" y="265"/>
                  </a:lnTo>
                  <a:lnTo>
                    <a:pt x="1277" y="257"/>
                  </a:lnTo>
                  <a:lnTo>
                    <a:pt x="1273" y="251"/>
                  </a:lnTo>
                  <a:lnTo>
                    <a:pt x="1273" y="249"/>
                  </a:lnTo>
                  <a:lnTo>
                    <a:pt x="1274" y="249"/>
                  </a:lnTo>
                  <a:lnTo>
                    <a:pt x="1279" y="252"/>
                  </a:lnTo>
                  <a:lnTo>
                    <a:pt x="1280" y="252"/>
                  </a:lnTo>
                  <a:lnTo>
                    <a:pt x="1283" y="248"/>
                  </a:lnTo>
                  <a:lnTo>
                    <a:pt x="1283" y="244"/>
                  </a:lnTo>
                  <a:lnTo>
                    <a:pt x="1283" y="237"/>
                  </a:lnTo>
                  <a:lnTo>
                    <a:pt x="1283" y="234"/>
                  </a:lnTo>
                  <a:lnTo>
                    <a:pt x="1284" y="232"/>
                  </a:lnTo>
                  <a:lnTo>
                    <a:pt x="1284" y="227"/>
                  </a:lnTo>
                  <a:lnTo>
                    <a:pt x="1284" y="222"/>
                  </a:lnTo>
                  <a:lnTo>
                    <a:pt x="1284" y="219"/>
                  </a:lnTo>
                  <a:lnTo>
                    <a:pt x="1286" y="218"/>
                  </a:lnTo>
                  <a:lnTo>
                    <a:pt x="1286" y="212"/>
                  </a:lnTo>
                  <a:lnTo>
                    <a:pt x="1289" y="208"/>
                  </a:lnTo>
                  <a:lnTo>
                    <a:pt x="1287" y="202"/>
                  </a:lnTo>
                  <a:lnTo>
                    <a:pt x="1284" y="197"/>
                  </a:lnTo>
                  <a:lnTo>
                    <a:pt x="1283" y="195"/>
                  </a:lnTo>
                  <a:lnTo>
                    <a:pt x="1280" y="194"/>
                  </a:lnTo>
                  <a:lnTo>
                    <a:pt x="1279" y="191"/>
                  </a:lnTo>
                  <a:lnTo>
                    <a:pt x="1277" y="189"/>
                  </a:lnTo>
                  <a:lnTo>
                    <a:pt x="1276" y="187"/>
                  </a:lnTo>
                  <a:lnTo>
                    <a:pt x="1270" y="184"/>
                  </a:lnTo>
                  <a:lnTo>
                    <a:pt x="1266" y="184"/>
                  </a:lnTo>
                  <a:lnTo>
                    <a:pt x="1264" y="184"/>
                  </a:lnTo>
                  <a:lnTo>
                    <a:pt x="1263" y="187"/>
                  </a:lnTo>
                  <a:lnTo>
                    <a:pt x="1264" y="192"/>
                  </a:lnTo>
                  <a:lnTo>
                    <a:pt x="1261" y="198"/>
                  </a:lnTo>
                  <a:lnTo>
                    <a:pt x="1260" y="199"/>
                  </a:lnTo>
                  <a:lnTo>
                    <a:pt x="1257" y="197"/>
                  </a:lnTo>
                  <a:lnTo>
                    <a:pt x="1253" y="201"/>
                  </a:lnTo>
                  <a:lnTo>
                    <a:pt x="1251" y="208"/>
                  </a:lnTo>
                  <a:lnTo>
                    <a:pt x="1250" y="209"/>
                  </a:lnTo>
                  <a:lnTo>
                    <a:pt x="1249" y="208"/>
                  </a:lnTo>
                  <a:lnTo>
                    <a:pt x="1250" y="202"/>
                  </a:lnTo>
                  <a:lnTo>
                    <a:pt x="1251" y="198"/>
                  </a:lnTo>
                  <a:lnTo>
                    <a:pt x="1253" y="192"/>
                  </a:lnTo>
                  <a:lnTo>
                    <a:pt x="1254" y="188"/>
                  </a:lnTo>
                  <a:lnTo>
                    <a:pt x="1256" y="185"/>
                  </a:lnTo>
                  <a:lnTo>
                    <a:pt x="1254" y="179"/>
                  </a:lnTo>
                  <a:lnTo>
                    <a:pt x="1250" y="174"/>
                  </a:lnTo>
                  <a:lnTo>
                    <a:pt x="1249" y="172"/>
                  </a:lnTo>
                  <a:close/>
                  <a:moveTo>
                    <a:pt x="1233" y="485"/>
                  </a:moveTo>
                  <a:lnTo>
                    <a:pt x="1233" y="482"/>
                  </a:lnTo>
                  <a:lnTo>
                    <a:pt x="1231" y="481"/>
                  </a:lnTo>
                  <a:lnTo>
                    <a:pt x="1229" y="479"/>
                  </a:lnTo>
                  <a:lnTo>
                    <a:pt x="1226" y="481"/>
                  </a:lnTo>
                  <a:lnTo>
                    <a:pt x="1220" y="479"/>
                  </a:lnTo>
                  <a:lnTo>
                    <a:pt x="1217" y="482"/>
                  </a:lnTo>
                  <a:lnTo>
                    <a:pt x="1214" y="479"/>
                  </a:lnTo>
                  <a:lnTo>
                    <a:pt x="1213" y="482"/>
                  </a:lnTo>
                  <a:lnTo>
                    <a:pt x="1213" y="485"/>
                  </a:lnTo>
                  <a:lnTo>
                    <a:pt x="1219" y="486"/>
                  </a:lnTo>
                  <a:lnTo>
                    <a:pt x="1221" y="488"/>
                  </a:lnTo>
                  <a:lnTo>
                    <a:pt x="1226" y="489"/>
                  </a:lnTo>
                  <a:lnTo>
                    <a:pt x="1229" y="491"/>
                  </a:lnTo>
                  <a:lnTo>
                    <a:pt x="1229" y="488"/>
                  </a:lnTo>
                  <a:lnTo>
                    <a:pt x="1229" y="485"/>
                  </a:lnTo>
                  <a:lnTo>
                    <a:pt x="1231" y="484"/>
                  </a:lnTo>
                  <a:lnTo>
                    <a:pt x="1233" y="485"/>
                  </a:lnTo>
                  <a:close/>
                  <a:moveTo>
                    <a:pt x="1237" y="475"/>
                  </a:moveTo>
                  <a:lnTo>
                    <a:pt x="1237" y="476"/>
                  </a:lnTo>
                  <a:lnTo>
                    <a:pt x="1237" y="478"/>
                  </a:lnTo>
                  <a:lnTo>
                    <a:pt x="1236" y="482"/>
                  </a:lnTo>
                  <a:lnTo>
                    <a:pt x="1236" y="485"/>
                  </a:lnTo>
                  <a:lnTo>
                    <a:pt x="1236" y="486"/>
                  </a:lnTo>
                  <a:lnTo>
                    <a:pt x="1236" y="486"/>
                  </a:lnTo>
                  <a:lnTo>
                    <a:pt x="1237" y="486"/>
                  </a:lnTo>
                  <a:lnTo>
                    <a:pt x="1239" y="484"/>
                  </a:lnTo>
                  <a:lnTo>
                    <a:pt x="1240" y="479"/>
                  </a:lnTo>
                  <a:lnTo>
                    <a:pt x="1240" y="478"/>
                  </a:lnTo>
                  <a:lnTo>
                    <a:pt x="1240" y="476"/>
                  </a:lnTo>
                  <a:lnTo>
                    <a:pt x="1237" y="475"/>
                  </a:lnTo>
                  <a:close/>
                  <a:moveTo>
                    <a:pt x="1287" y="218"/>
                  </a:moveTo>
                  <a:lnTo>
                    <a:pt x="1286" y="224"/>
                  </a:lnTo>
                  <a:lnTo>
                    <a:pt x="1290" y="222"/>
                  </a:lnTo>
                  <a:lnTo>
                    <a:pt x="1293" y="218"/>
                  </a:lnTo>
                  <a:lnTo>
                    <a:pt x="1290" y="217"/>
                  </a:lnTo>
                  <a:lnTo>
                    <a:pt x="1289" y="215"/>
                  </a:lnTo>
                  <a:lnTo>
                    <a:pt x="1287" y="217"/>
                  </a:lnTo>
                  <a:lnTo>
                    <a:pt x="1287" y="218"/>
                  </a:lnTo>
                  <a:close/>
                  <a:moveTo>
                    <a:pt x="1244" y="452"/>
                  </a:moveTo>
                  <a:lnTo>
                    <a:pt x="1246" y="456"/>
                  </a:lnTo>
                  <a:lnTo>
                    <a:pt x="1247" y="459"/>
                  </a:lnTo>
                  <a:lnTo>
                    <a:pt x="1249" y="459"/>
                  </a:lnTo>
                  <a:lnTo>
                    <a:pt x="1249" y="458"/>
                  </a:lnTo>
                  <a:lnTo>
                    <a:pt x="1246" y="451"/>
                  </a:lnTo>
                  <a:lnTo>
                    <a:pt x="1244" y="452"/>
                  </a:lnTo>
                  <a:close/>
                  <a:moveTo>
                    <a:pt x="1410" y="406"/>
                  </a:moveTo>
                  <a:lnTo>
                    <a:pt x="1407" y="405"/>
                  </a:lnTo>
                  <a:lnTo>
                    <a:pt x="1405" y="405"/>
                  </a:lnTo>
                  <a:lnTo>
                    <a:pt x="1404" y="409"/>
                  </a:lnTo>
                  <a:lnTo>
                    <a:pt x="1404" y="414"/>
                  </a:lnTo>
                  <a:lnTo>
                    <a:pt x="1407" y="414"/>
                  </a:lnTo>
                  <a:lnTo>
                    <a:pt x="1411" y="411"/>
                  </a:lnTo>
                  <a:lnTo>
                    <a:pt x="1410" y="409"/>
                  </a:lnTo>
                  <a:lnTo>
                    <a:pt x="1410" y="408"/>
                  </a:lnTo>
                  <a:lnTo>
                    <a:pt x="1410" y="406"/>
                  </a:lnTo>
                  <a:close/>
                  <a:moveTo>
                    <a:pt x="1291" y="307"/>
                  </a:moveTo>
                  <a:lnTo>
                    <a:pt x="1291" y="311"/>
                  </a:lnTo>
                  <a:lnTo>
                    <a:pt x="1291" y="314"/>
                  </a:lnTo>
                  <a:lnTo>
                    <a:pt x="1290" y="317"/>
                  </a:lnTo>
                  <a:lnTo>
                    <a:pt x="1290" y="319"/>
                  </a:lnTo>
                  <a:lnTo>
                    <a:pt x="1289" y="327"/>
                  </a:lnTo>
                  <a:lnTo>
                    <a:pt x="1289" y="329"/>
                  </a:lnTo>
                  <a:lnTo>
                    <a:pt x="1283" y="338"/>
                  </a:lnTo>
                  <a:lnTo>
                    <a:pt x="1280" y="342"/>
                  </a:lnTo>
                  <a:lnTo>
                    <a:pt x="1279" y="349"/>
                  </a:lnTo>
                  <a:lnTo>
                    <a:pt x="1276" y="354"/>
                  </a:lnTo>
                  <a:lnTo>
                    <a:pt x="1279" y="357"/>
                  </a:lnTo>
                  <a:lnTo>
                    <a:pt x="1280" y="358"/>
                  </a:lnTo>
                  <a:lnTo>
                    <a:pt x="1286" y="359"/>
                  </a:lnTo>
                  <a:lnTo>
                    <a:pt x="1289" y="358"/>
                  </a:lnTo>
                  <a:lnTo>
                    <a:pt x="1296" y="352"/>
                  </a:lnTo>
                  <a:lnTo>
                    <a:pt x="1304" y="345"/>
                  </a:lnTo>
                  <a:lnTo>
                    <a:pt x="1307" y="341"/>
                  </a:lnTo>
                  <a:lnTo>
                    <a:pt x="1314" y="341"/>
                  </a:lnTo>
                  <a:lnTo>
                    <a:pt x="1323" y="341"/>
                  </a:lnTo>
                  <a:lnTo>
                    <a:pt x="1330" y="339"/>
                  </a:lnTo>
                  <a:lnTo>
                    <a:pt x="1330" y="341"/>
                  </a:lnTo>
                  <a:lnTo>
                    <a:pt x="1331" y="342"/>
                  </a:lnTo>
                  <a:lnTo>
                    <a:pt x="1333" y="342"/>
                  </a:lnTo>
                  <a:lnTo>
                    <a:pt x="1336" y="337"/>
                  </a:lnTo>
                  <a:lnTo>
                    <a:pt x="1347" y="337"/>
                  </a:lnTo>
                  <a:lnTo>
                    <a:pt x="1357" y="331"/>
                  </a:lnTo>
                  <a:lnTo>
                    <a:pt x="1360" y="329"/>
                  </a:lnTo>
                  <a:lnTo>
                    <a:pt x="1364" y="329"/>
                  </a:lnTo>
                  <a:lnTo>
                    <a:pt x="1366" y="329"/>
                  </a:lnTo>
                  <a:lnTo>
                    <a:pt x="1373" y="317"/>
                  </a:lnTo>
                  <a:lnTo>
                    <a:pt x="1373" y="309"/>
                  </a:lnTo>
                  <a:lnTo>
                    <a:pt x="1373" y="304"/>
                  </a:lnTo>
                  <a:lnTo>
                    <a:pt x="1371" y="298"/>
                  </a:lnTo>
                  <a:lnTo>
                    <a:pt x="1371" y="294"/>
                  </a:lnTo>
                  <a:lnTo>
                    <a:pt x="1370" y="291"/>
                  </a:lnTo>
                  <a:lnTo>
                    <a:pt x="1368" y="289"/>
                  </a:lnTo>
                  <a:lnTo>
                    <a:pt x="1366" y="288"/>
                  </a:lnTo>
                  <a:lnTo>
                    <a:pt x="1361" y="289"/>
                  </a:lnTo>
                  <a:lnTo>
                    <a:pt x="1358" y="287"/>
                  </a:lnTo>
                  <a:lnTo>
                    <a:pt x="1360" y="282"/>
                  </a:lnTo>
                  <a:lnTo>
                    <a:pt x="1358" y="279"/>
                  </a:lnTo>
                  <a:lnTo>
                    <a:pt x="1358" y="278"/>
                  </a:lnTo>
                  <a:lnTo>
                    <a:pt x="1353" y="275"/>
                  </a:lnTo>
                  <a:lnTo>
                    <a:pt x="1351" y="271"/>
                  </a:lnTo>
                  <a:lnTo>
                    <a:pt x="1350" y="265"/>
                  </a:lnTo>
                  <a:lnTo>
                    <a:pt x="1348" y="264"/>
                  </a:lnTo>
                  <a:lnTo>
                    <a:pt x="1347" y="264"/>
                  </a:lnTo>
                  <a:lnTo>
                    <a:pt x="1343" y="265"/>
                  </a:lnTo>
                  <a:lnTo>
                    <a:pt x="1338" y="269"/>
                  </a:lnTo>
                  <a:lnTo>
                    <a:pt x="1337" y="271"/>
                  </a:lnTo>
                  <a:lnTo>
                    <a:pt x="1336" y="271"/>
                  </a:lnTo>
                  <a:lnTo>
                    <a:pt x="1333" y="275"/>
                  </a:lnTo>
                  <a:lnTo>
                    <a:pt x="1331" y="281"/>
                  </a:lnTo>
                  <a:lnTo>
                    <a:pt x="1328" y="287"/>
                  </a:lnTo>
                  <a:lnTo>
                    <a:pt x="1326" y="289"/>
                  </a:lnTo>
                  <a:lnTo>
                    <a:pt x="1327" y="287"/>
                  </a:lnTo>
                  <a:lnTo>
                    <a:pt x="1331" y="267"/>
                  </a:lnTo>
                  <a:lnTo>
                    <a:pt x="1333" y="261"/>
                  </a:lnTo>
                  <a:lnTo>
                    <a:pt x="1334" y="254"/>
                  </a:lnTo>
                  <a:lnTo>
                    <a:pt x="1334" y="252"/>
                  </a:lnTo>
                  <a:lnTo>
                    <a:pt x="1337" y="252"/>
                  </a:lnTo>
                  <a:lnTo>
                    <a:pt x="1337" y="251"/>
                  </a:lnTo>
                  <a:lnTo>
                    <a:pt x="1337" y="248"/>
                  </a:lnTo>
                  <a:lnTo>
                    <a:pt x="1333" y="242"/>
                  </a:lnTo>
                  <a:lnTo>
                    <a:pt x="1326" y="239"/>
                  </a:lnTo>
                  <a:lnTo>
                    <a:pt x="1324" y="239"/>
                  </a:lnTo>
                  <a:lnTo>
                    <a:pt x="1323" y="241"/>
                  </a:lnTo>
                  <a:lnTo>
                    <a:pt x="1323" y="244"/>
                  </a:lnTo>
                  <a:lnTo>
                    <a:pt x="1323" y="249"/>
                  </a:lnTo>
                  <a:lnTo>
                    <a:pt x="1324" y="254"/>
                  </a:lnTo>
                  <a:lnTo>
                    <a:pt x="1321" y="255"/>
                  </a:lnTo>
                  <a:lnTo>
                    <a:pt x="1320" y="254"/>
                  </a:lnTo>
                  <a:lnTo>
                    <a:pt x="1318" y="249"/>
                  </a:lnTo>
                  <a:lnTo>
                    <a:pt x="1317" y="244"/>
                  </a:lnTo>
                  <a:lnTo>
                    <a:pt x="1316" y="244"/>
                  </a:lnTo>
                  <a:lnTo>
                    <a:pt x="1314" y="245"/>
                  </a:lnTo>
                  <a:lnTo>
                    <a:pt x="1313" y="247"/>
                  </a:lnTo>
                  <a:lnTo>
                    <a:pt x="1313" y="249"/>
                  </a:lnTo>
                  <a:lnTo>
                    <a:pt x="1313" y="254"/>
                  </a:lnTo>
                  <a:lnTo>
                    <a:pt x="1309" y="257"/>
                  </a:lnTo>
                  <a:lnTo>
                    <a:pt x="1307" y="258"/>
                  </a:lnTo>
                  <a:lnTo>
                    <a:pt x="1306" y="262"/>
                  </a:lnTo>
                  <a:lnTo>
                    <a:pt x="1304" y="265"/>
                  </a:lnTo>
                  <a:lnTo>
                    <a:pt x="1304" y="268"/>
                  </a:lnTo>
                  <a:lnTo>
                    <a:pt x="1304" y="274"/>
                  </a:lnTo>
                  <a:lnTo>
                    <a:pt x="1303" y="275"/>
                  </a:lnTo>
                  <a:lnTo>
                    <a:pt x="1303" y="278"/>
                  </a:lnTo>
                  <a:lnTo>
                    <a:pt x="1301" y="282"/>
                  </a:lnTo>
                  <a:lnTo>
                    <a:pt x="1301" y="285"/>
                  </a:lnTo>
                  <a:lnTo>
                    <a:pt x="1301" y="292"/>
                  </a:lnTo>
                  <a:lnTo>
                    <a:pt x="1303" y="294"/>
                  </a:lnTo>
                  <a:lnTo>
                    <a:pt x="1301" y="294"/>
                  </a:lnTo>
                  <a:lnTo>
                    <a:pt x="1297" y="292"/>
                  </a:lnTo>
                  <a:lnTo>
                    <a:pt x="1296" y="294"/>
                  </a:lnTo>
                  <a:lnTo>
                    <a:pt x="1294" y="297"/>
                  </a:lnTo>
                  <a:lnTo>
                    <a:pt x="1293" y="302"/>
                  </a:lnTo>
                  <a:lnTo>
                    <a:pt x="1291" y="307"/>
                  </a:lnTo>
                  <a:close/>
                  <a:moveTo>
                    <a:pt x="1388" y="341"/>
                  </a:moveTo>
                  <a:lnTo>
                    <a:pt x="1391" y="338"/>
                  </a:lnTo>
                  <a:lnTo>
                    <a:pt x="1391" y="337"/>
                  </a:lnTo>
                  <a:lnTo>
                    <a:pt x="1394" y="335"/>
                  </a:lnTo>
                  <a:lnTo>
                    <a:pt x="1396" y="335"/>
                  </a:lnTo>
                  <a:lnTo>
                    <a:pt x="1396" y="334"/>
                  </a:lnTo>
                  <a:lnTo>
                    <a:pt x="1396" y="332"/>
                  </a:lnTo>
                  <a:lnTo>
                    <a:pt x="1394" y="329"/>
                  </a:lnTo>
                  <a:lnTo>
                    <a:pt x="1391" y="329"/>
                  </a:lnTo>
                  <a:lnTo>
                    <a:pt x="1390" y="335"/>
                  </a:lnTo>
                  <a:lnTo>
                    <a:pt x="1384" y="335"/>
                  </a:lnTo>
                  <a:lnTo>
                    <a:pt x="1384" y="339"/>
                  </a:lnTo>
                  <a:lnTo>
                    <a:pt x="1386" y="341"/>
                  </a:lnTo>
                  <a:lnTo>
                    <a:pt x="1388" y="341"/>
                  </a:lnTo>
                  <a:close/>
                  <a:moveTo>
                    <a:pt x="1186" y="205"/>
                  </a:moveTo>
                  <a:lnTo>
                    <a:pt x="1189" y="197"/>
                  </a:lnTo>
                  <a:lnTo>
                    <a:pt x="1183" y="194"/>
                  </a:lnTo>
                  <a:lnTo>
                    <a:pt x="1169" y="188"/>
                  </a:lnTo>
                  <a:lnTo>
                    <a:pt x="1163" y="184"/>
                  </a:lnTo>
                  <a:lnTo>
                    <a:pt x="1156" y="184"/>
                  </a:lnTo>
                  <a:lnTo>
                    <a:pt x="1150" y="184"/>
                  </a:lnTo>
                  <a:lnTo>
                    <a:pt x="1147" y="185"/>
                  </a:lnTo>
                  <a:lnTo>
                    <a:pt x="1144" y="189"/>
                  </a:lnTo>
                  <a:lnTo>
                    <a:pt x="1146" y="197"/>
                  </a:lnTo>
                  <a:lnTo>
                    <a:pt x="1150" y="202"/>
                  </a:lnTo>
                  <a:lnTo>
                    <a:pt x="1154" y="207"/>
                  </a:lnTo>
                  <a:lnTo>
                    <a:pt x="1162" y="217"/>
                  </a:lnTo>
                  <a:lnTo>
                    <a:pt x="1167" y="218"/>
                  </a:lnTo>
                  <a:lnTo>
                    <a:pt x="1170" y="217"/>
                  </a:lnTo>
                  <a:lnTo>
                    <a:pt x="1174" y="215"/>
                  </a:lnTo>
                  <a:lnTo>
                    <a:pt x="1179" y="212"/>
                  </a:lnTo>
                  <a:lnTo>
                    <a:pt x="1182" y="208"/>
                  </a:lnTo>
                  <a:lnTo>
                    <a:pt x="1186" y="205"/>
                  </a:lnTo>
                  <a:close/>
                  <a:moveTo>
                    <a:pt x="1075" y="572"/>
                  </a:moveTo>
                  <a:lnTo>
                    <a:pt x="1079" y="574"/>
                  </a:lnTo>
                  <a:lnTo>
                    <a:pt x="1080" y="572"/>
                  </a:lnTo>
                  <a:lnTo>
                    <a:pt x="1082" y="566"/>
                  </a:lnTo>
                  <a:lnTo>
                    <a:pt x="1080" y="564"/>
                  </a:lnTo>
                  <a:lnTo>
                    <a:pt x="1079" y="564"/>
                  </a:lnTo>
                  <a:lnTo>
                    <a:pt x="1075" y="565"/>
                  </a:lnTo>
                  <a:lnTo>
                    <a:pt x="1075" y="565"/>
                  </a:lnTo>
                  <a:lnTo>
                    <a:pt x="1073" y="564"/>
                  </a:lnTo>
                  <a:lnTo>
                    <a:pt x="1072" y="565"/>
                  </a:lnTo>
                  <a:lnTo>
                    <a:pt x="1069" y="566"/>
                  </a:lnTo>
                  <a:lnTo>
                    <a:pt x="1067" y="569"/>
                  </a:lnTo>
                  <a:lnTo>
                    <a:pt x="1070" y="572"/>
                  </a:lnTo>
                  <a:lnTo>
                    <a:pt x="1075" y="572"/>
                  </a:lnTo>
                  <a:close/>
                  <a:moveTo>
                    <a:pt x="2003" y="1523"/>
                  </a:moveTo>
                  <a:lnTo>
                    <a:pt x="2002" y="1521"/>
                  </a:lnTo>
                  <a:lnTo>
                    <a:pt x="1999" y="1519"/>
                  </a:lnTo>
                  <a:lnTo>
                    <a:pt x="1997" y="1516"/>
                  </a:lnTo>
                  <a:lnTo>
                    <a:pt x="1996" y="1513"/>
                  </a:lnTo>
                  <a:lnTo>
                    <a:pt x="1996" y="1510"/>
                  </a:lnTo>
                  <a:lnTo>
                    <a:pt x="1996" y="1507"/>
                  </a:lnTo>
                  <a:lnTo>
                    <a:pt x="1995" y="1504"/>
                  </a:lnTo>
                  <a:lnTo>
                    <a:pt x="1993" y="1499"/>
                  </a:lnTo>
                  <a:lnTo>
                    <a:pt x="1989" y="1489"/>
                  </a:lnTo>
                  <a:lnTo>
                    <a:pt x="1987" y="1483"/>
                  </a:lnTo>
                  <a:lnTo>
                    <a:pt x="1985" y="1464"/>
                  </a:lnTo>
                  <a:lnTo>
                    <a:pt x="1985" y="1463"/>
                  </a:lnTo>
                  <a:lnTo>
                    <a:pt x="1983" y="1463"/>
                  </a:lnTo>
                  <a:lnTo>
                    <a:pt x="1983" y="1460"/>
                  </a:lnTo>
                  <a:lnTo>
                    <a:pt x="1983" y="1459"/>
                  </a:lnTo>
                  <a:lnTo>
                    <a:pt x="1983" y="1457"/>
                  </a:lnTo>
                  <a:lnTo>
                    <a:pt x="1982" y="1456"/>
                  </a:lnTo>
                  <a:lnTo>
                    <a:pt x="1980" y="1454"/>
                  </a:lnTo>
                  <a:lnTo>
                    <a:pt x="1980" y="1451"/>
                  </a:lnTo>
                  <a:lnTo>
                    <a:pt x="1980" y="1449"/>
                  </a:lnTo>
                  <a:lnTo>
                    <a:pt x="1979" y="1446"/>
                  </a:lnTo>
                  <a:lnTo>
                    <a:pt x="1979" y="1443"/>
                  </a:lnTo>
                  <a:lnTo>
                    <a:pt x="1979" y="1436"/>
                  </a:lnTo>
                  <a:lnTo>
                    <a:pt x="1979" y="1433"/>
                  </a:lnTo>
                  <a:lnTo>
                    <a:pt x="1980" y="1433"/>
                  </a:lnTo>
                  <a:lnTo>
                    <a:pt x="1980" y="1432"/>
                  </a:lnTo>
                  <a:lnTo>
                    <a:pt x="1982" y="1429"/>
                  </a:lnTo>
                  <a:lnTo>
                    <a:pt x="1982" y="1426"/>
                  </a:lnTo>
                  <a:lnTo>
                    <a:pt x="1982" y="1420"/>
                  </a:lnTo>
                  <a:lnTo>
                    <a:pt x="1980" y="1414"/>
                  </a:lnTo>
                  <a:lnTo>
                    <a:pt x="1980" y="1413"/>
                  </a:lnTo>
                  <a:lnTo>
                    <a:pt x="1980" y="1410"/>
                  </a:lnTo>
                  <a:lnTo>
                    <a:pt x="1977" y="1406"/>
                  </a:lnTo>
                  <a:lnTo>
                    <a:pt x="1975" y="1397"/>
                  </a:lnTo>
                  <a:lnTo>
                    <a:pt x="1975" y="1397"/>
                  </a:lnTo>
                  <a:lnTo>
                    <a:pt x="1975" y="1394"/>
                  </a:lnTo>
                  <a:lnTo>
                    <a:pt x="1975" y="1393"/>
                  </a:lnTo>
                  <a:lnTo>
                    <a:pt x="1976" y="1392"/>
                  </a:lnTo>
                  <a:lnTo>
                    <a:pt x="1976" y="1389"/>
                  </a:lnTo>
                  <a:lnTo>
                    <a:pt x="1976" y="1387"/>
                  </a:lnTo>
                  <a:lnTo>
                    <a:pt x="1972" y="1382"/>
                  </a:lnTo>
                  <a:lnTo>
                    <a:pt x="1972" y="1380"/>
                  </a:lnTo>
                  <a:lnTo>
                    <a:pt x="1970" y="1382"/>
                  </a:lnTo>
                  <a:lnTo>
                    <a:pt x="1970" y="1383"/>
                  </a:lnTo>
                  <a:lnTo>
                    <a:pt x="1969" y="1384"/>
                  </a:lnTo>
                  <a:lnTo>
                    <a:pt x="1966" y="1384"/>
                  </a:lnTo>
                  <a:lnTo>
                    <a:pt x="1968" y="1387"/>
                  </a:lnTo>
                  <a:lnTo>
                    <a:pt x="1970" y="1393"/>
                  </a:lnTo>
                  <a:lnTo>
                    <a:pt x="1972" y="1394"/>
                  </a:lnTo>
                  <a:lnTo>
                    <a:pt x="1972" y="1397"/>
                  </a:lnTo>
                  <a:lnTo>
                    <a:pt x="1970" y="1399"/>
                  </a:lnTo>
                  <a:lnTo>
                    <a:pt x="1972" y="1399"/>
                  </a:lnTo>
                  <a:lnTo>
                    <a:pt x="1972" y="1400"/>
                  </a:lnTo>
                  <a:lnTo>
                    <a:pt x="1969" y="1402"/>
                  </a:lnTo>
                  <a:lnTo>
                    <a:pt x="1969" y="1403"/>
                  </a:lnTo>
                  <a:lnTo>
                    <a:pt x="1969" y="1404"/>
                  </a:lnTo>
                  <a:lnTo>
                    <a:pt x="1969" y="1407"/>
                  </a:lnTo>
                  <a:lnTo>
                    <a:pt x="1968" y="1407"/>
                  </a:lnTo>
                  <a:lnTo>
                    <a:pt x="1966" y="1407"/>
                  </a:lnTo>
                  <a:lnTo>
                    <a:pt x="1965" y="1407"/>
                  </a:lnTo>
                  <a:lnTo>
                    <a:pt x="1963" y="1406"/>
                  </a:lnTo>
                  <a:lnTo>
                    <a:pt x="1963" y="1406"/>
                  </a:lnTo>
                  <a:lnTo>
                    <a:pt x="1960" y="1406"/>
                  </a:lnTo>
                  <a:lnTo>
                    <a:pt x="1958" y="1409"/>
                  </a:lnTo>
                  <a:lnTo>
                    <a:pt x="1958" y="1410"/>
                  </a:lnTo>
                  <a:lnTo>
                    <a:pt x="1958" y="1414"/>
                  </a:lnTo>
                  <a:lnTo>
                    <a:pt x="1959" y="1417"/>
                  </a:lnTo>
                  <a:lnTo>
                    <a:pt x="1958" y="1424"/>
                  </a:lnTo>
                  <a:lnTo>
                    <a:pt x="1958" y="1430"/>
                  </a:lnTo>
                  <a:lnTo>
                    <a:pt x="1956" y="1433"/>
                  </a:lnTo>
                  <a:lnTo>
                    <a:pt x="1955" y="1436"/>
                  </a:lnTo>
                  <a:lnTo>
                    <a:pt x="1955" y="1437"/>
                  </a:lnTo>
                  <a:lnTo>
                    <a:pt x="1955" y="1447"/>
                  </a:lnTo>
                  <a:lnTo>
                    <a:pt x="1956" y="1449"/>
                  </a:lnTo>
                  <a:lnTo>
                    <a:pt x="1958" y="1450"/>
                  </a:lnTo>
                  <a:lnTo>
                    <a:pt x="1956" y="1451"/>
                  </a:lnTo>
                  <a:lnTo>
                    <a:pt x="1956" y="1451"/>
                  </a:lnTo>
                  <a:lnTo>
                    <a:pt x="1956" y="1453"/>
                  </a:lnTo>
                  <a:lnTo>
                    <a:pt x="1958" y="1454"/>
                  </a:lnTo>
                  <a:lnTo>
                    <a:pt x="1960" y="1457"/>
                  </a:lnTo>
                  <a:lnTo>
                    <a:pt x="1962" y="1460"/>
                  </a:lnTo>
                  <a:lnTo>
                    <a:pt x="1963" y="1464"/>
                  </a:lnTo>
                  <a:lnTo>
                    <a:pt x="1963" y="1470"/>
                  </a:lnTo>
                  <a:lnTo>
                    <a:pt x="1963" y="1473"/>
                  </a:lnTo>
                  <a:lnTo>
                    <a:pt x="1962" y="1476"/>
                  </a:lnTo>
                  <a:lnTo>
                    <a:pt x="1962" y="1480"/>
                  </a:lnTo>
                  <a:lnTo>
                    <a:pt x="1962" y="1483"/>
                  </a:lnTo>
                  <a:lnTo>
                    <a:pt x="1963" y="1487"/>
                  </a:lnTo>
                  <a:lnTo>
                    <a:pt x="1963" y="1490"/>
                  </a:lnTo>
                  <a:lnTo>
                    <a:pt x="1963" y="1506"/>
                  </a:lnTo>
                  <a:lnTo>
                    <a:pt x="1962" y="1510"/>
                  </a:lnTo>
                  <a:lnTo>
                    <a:pt x="1962" y="1513"/>
                  </a:lnTo>
                  <a:lnTo>
                    <a:pt x="1960" y="1519"/>
                  </a:lnTo>
                  <a:lnTo>
                    <a:pt x="1960" y="1521"/>
                  </a:lnTo>
                  <a:lnTo>
                    <a:pt x="1958" y="1526"/>
                  </a:lnTo>
                  <a:lnTo>
                    <a:pt x="1958" y="1527"/>
                  </a:lnTo>
                  <a:lnTo>
                    <a:pt x="1959" y="1529"/>
                  </a:lnTo>
                  <a:lnTo>
                    <a:pt x="1960" y="1533"/>
                  </a:lnTo>
                  <a:lnTo>
                    <a:pt x="1962" y="1537"/>
                  </a:lnTo>
                  <a:lnTo>
                    <a:pt x="1963" y="1544"/>
                  </a:lnTo>
                  <a:lnTo>
                    <a:pt x="1963" y="1547"/>
                  </a:lnTo>
                  <a:lnTo>
                    <a:pt x="1962" y="1549"/>
                  </a:lnTo>
                  <a:lnTo>
                    <a:pt x="1960" y="1551"/>
                  </a:lnTo>
                  <a:lnTo>
                    <a:pt x="1960" y="1554"/>
                  </a:lnTo>
                  <a:lnTo>
                    <a:pt x="1959" y="1556"/>
                  </a:lnTo>
                  <a:lnTo>
                    <a:pt x="1960" y="1560"/>
                  </a:lnTo>
                  <a:lnTo>
                    <a:pt x="1960" y="1563"/>
                  </a:lnTo>
                  <a:lnTo>
                    <a:pt x="1960" y="1564"/>
                  </a:lnTo>
                  <a:lnTo>
                    <a:pt x="1960" y="1567"/>
                  </a:lnTo>
                  <a:lnTo>
                    <a:pt x="1958" y="1576"/>
                  </a:lnTo>
                  <a:lnTo>
                    <a:pt x="1958" y="1581"/>
                  </a:lnTo>
                  <a:lnTo>
                    <a:pt x="1959" y="1587"/>
                  </a:lnTo>
                  <a:lnTo>
                    <a:pt x="1959" y="1589"/>
                  </a:lnTo>
                  <a:lnTo>
                    <a:pt x="1959" y="1591"/>
                  </a:lnTo>
                  <a:lnTo>
                    <a:pt x="1960" y="1591"/>
                  </a:lnTo>
                  <a:lnTo>
                    <a:pt x="1962" y="1593"/>
                  </a:lnTo>
                  <a:lnTo>
                    <a:pt x="1963" y="1591"/>
                  </a:lnTo>
                  <a:lnTo>
                    <a:pt x="1963" y="1589"/>
                  </a:lnTo>
                  <a:lnTo>
                    <a:pt x="1965" y="1583"/>
                  </a:lnTo>
                  <a:lnTo>
                    <a:pt x="1966" y="1580"/>
                  </a:lnTo>
                  <a:lnTo>
                    <a:pt x="1966" y="1579"/>
                  </a:lnTo>
                  <a:lnTo>
                    <a:pt x="1968" y="1576"/>
                  </a:lnTo>
                  <a:lnTo>
                    <a:pt x="1969" y="1574"/>
                  </a:lnTo>
                  <a:lnTo>
                    <a:pt x="1970" y="1574"/>
                  </a:lnTo>
                  <a:lnTo>
                    <a:pt x="1972" y="1574"/>
                  </a:lnTo>
                  <a:lnTo>
                    <a:pt x="1972" y="1576"/>
                  </a:lnTo>
                  <a:lnTo>
                    <a:pt x="1973" y="1577"/>
                  </a:lnTo>
                  <a:lnTo>
                    <a:pt x="1973" y="1577"/>
                  </a:lnTo>
                  <a:lnTo>
                    <a:pt x="1977" y="1577"/>
                  </a:lnTo>
                  <a:lnTo>
                    <a:pt x="1980" y="1579"/>
                  </a:lnTo>
                  <a:lnTo>
                    <a:pt x="1982" y="1580"/>
                  </a:lnTo>
                  <a:lnTo>
                    <a:pt x="1982" y="1583"/>
                  </a:lnTo>
                  <a:lnTo>
                    <a:pt x="1983" y="1586"/>
                  </a:lnTo>
                  <a:lnTo>
                    <a:pt x="1983" y="1590"/>
                  </a:lnTo>
                  <a:lnTo>
                    <a:pt x="1983" y="1590"/>
                  </a:lnTo>
                  <a:lnTo>
                    <a:pt x="1985" y="1589"/>
                  </a:lnTo>
                  <a:lnTo>
                    <a:pt x="1985" y="1587"/>
                  </a:lnTo>
                  <a:lnTo>
                    <a:pt x="1985" y="1586"/>
                  </a:lnTo>
                  <a:lnTo>
                    <a:pt x="1986" y="1583"/>
                  </a:lnTo>
                  <a:lnTo>
                    <a:pt x="1986" y="1581"/>
                  </a:lnTo>
                  <a:lnTo>
                    <a:pt x="1985" y="1579"/>
                  </a:lnTo>
                  <a:lnTo>
                    <a:pt x="1985" y="1574"/>
                  </a:lnTo>
                  <a:lnTo>
                    <a:pt x="1983" y="1573"/>
                  </a:lnTo>
                  <a:lnTo>
                    <a:pt x="1982" y="1573"/>
                  </a:lnTo>
                  <a:lnTo>
                    <a:pt x="1982" y="1573"/>
                  </a:lnTo>
                  <a:lnTo>
                    <a:pt x="1980" y="1573"/>
                  </a:lnTo>
                  <a:lnTo>
                    <a:pt x="1979" y="1571"/>
                  </a:lnTo>
                  <a:lnTo>
                    <a:pt x="1977" y="1569"/>
                  </a:lnTo>
                  <a:lnTo>
                    <a:pt x="1976" y="1563"/>
                  </a:lnTo>
                  <a:lnTo>
                    <a:pt x="1975" y="1560"/>
                  </a:lnTo>
                  <a:lnTo>
                    <a:pt x="1975" y="1560"/>
                  </a:lnTo>
                  <a:lnTo>
                    <a:pt x="1975" y="1559"/>
                  </a:lnTo>
                  <a:lnTo>
                    <a:pt x="1973" y="1559"/>
                  </a:lnTo>
                  <a:lnTo>
                    <a:pt x="1972" y="1557"/>
                  </a:lnTo>
                  <a:lnTo>
                    <a:pt x="1970" y="1556"/>
                  </a:lnTo>
                  <a:lnTo>
                    <a:pt x="1969" y="1551"/>
                  </a:lnTo>
                  <a:lnTo>
                    <a:pt x="1969" y="1550"/>
                  </a:lnTo>
                  <a:lnTo>
                    <a:pt x="1969" y="1547"/>
                  </a:lnTo>
                  <a:lnTo>
                    <a:pt x="1969" y="1543"/>
                  </a:lnTo>
                  <a:lnTo>
                    <a:pt x="1970" y="1539"/>
                  </a:lnTo>
                  <a:lnTo>
                    <a:pt x="1976" y="1523"/>
                  </a:lnTo>
                  <a:lnTo>
                    <a:pt x="1976" y="1517"/>
                  </a:lnTo>
                  <a:lnTo>
                    <a:pt x="1977" y="1516"/>
                  </a:lnTo>
                  <a:lnTo>
                    <a:pt x="1980" y="1514"/>
                  </a:lnTo>
                  <a:lnTo>
                    <a:pt x="1982" y="1513"/>
                  </a:lnTo>
                  <a:lnTo>
                    <a:pt x="1987" y="1513"/>
                  </a:lnTo>
                  <a:lnTo>
                    <a:pt x="1989" y="1513"/>
                  </a:lnTo>
                  <a:lnTo>
                    <a:pt x="1992" y="1513"/>
                  </a:lnTo>
                  <a:lnTo>
                    <a:pt x="1993" y="1514"/>
                  </a:lnTo>
                  <a:lnTo>
                    <a:pt x="1995" y="1516"/>
                  </a:lnTo>
                  <a:lnTo>
                    <a:pt x="1997" y="1519"/>
                  </a:lnTo>
                  <a:lnTo>
                    <a:pt x="1999" y="1520"/>
                  </a:lnTo>
                  <a:lnTo>
                    <a:pt x="2000" y="1523"/>
                  </a:lnTo>
                  <a:lnTo>
                    <a:pt x="2002" y="1524"/>
                  </a:lnTo>
                  <a:lnTo>
                    <a:pt x="2003" y="1529"/>
                  </a:lnTo>
                  <a:lnTo>
                    <a:pt x="2003" y="1529"/>
                  </a:lnTo>
                  <a:lnTo>
                    <a:pt x="2003" y="1524"/>
                  </a:lnTo>
                  <a:lnTo>
                    <a:pt x="2003" y="1523"/>
                  </a:lnTo>
                  <a:close/>
                  <a:moveTo>
                    <a:pt x="1043" y="599"/>
                  </a:moveTo>
                  <a:lnTo>
                    <a:pt x="1043" y="596"/>
                  </a:lnTo>
                  <a:lnTo>
                    <a:pt x="1046" y="592"/>
                  </a:lnTo>
                  <a:lnTo>
                    <a:pt x="1042" y="594"/>
                  </a:lnTo>
                  <a:lnTo>
                    <a:pt x="1040" y="594"/>
                  </a:lnTo>
                  <a:lnTo>
                    <a:pt x="1037" y="596"/>
                  </a:lnTo>
                  <a:lnTo>
                    <a:pt x="1039" y="598"/>
                  </a:lnTo>
                  <a:lnTo>
                    <a:pt x="1043" y="599"/>
                  </a:lnTo>
                  <a:close/>
                  <a:moveTo>
                    <a:pt x="1022" y="621"/>
                  </a:moveTo>
                  <a:lnTo>
                    <a:pt x="1023" y="621"/>
                  </a:lnTo>
                  <a:lnTo>
                    <a:pt x="1023" y="621"/>
                  </a:lnTo>
                  <a:lnTo>
                    <a:pt x="1025" y="619"/>
                  </a:lnTo>
                  <a:lnTo>
                    <a:pt x="1025" y="618"/>
                  </a:lnTo>
                  <a:lnTo>
                    <a:pt x="1023" y="616"/>
                  </a:lnTo>
                  <a:lnTo>
                    <a:pt x="1018" y="615"/>
                  </a:lnTo>
                  <a:lnTo>
                    <a:pt x="1013" y="615"/>
                  </a:lnTo>
                  <a:lnTo>
                    <a:pt x="1013" y="618"/>
                  </a:lnTo>
                  <a:lnTo>
                    <a:pt x="1018" y="619"/>
                  </a:lnTo>
                  <a:lnTo>
                    <a:pt x="1022" y="621"/>
                  </a:lnTo>
                  <a:close/>
                  <a:moveTo>
                    <a:pt x="1154" y="162"/>
                  </a:moveTo>
                  <a:lnTo>
                    <a:pt x="1157" y="165"/>
                  </a:lnTo>
                  <a:lnTo>
                    <a:pt x="1162" y="167"/>
                  </a:lnTo>
                  <a:lnTo>
                    <a:pt x="1163" y="171"/>
                  </a:lnTo>
                  <a:lnTo>
                    <a:pt x="1176" y="178"/>
                  </a:lnTo>
                  <a:lnTo>
                    <a:pt x="1186" y="187"/>
                  </a:lnTo>
                  <a:lnTo>
                    <a:pt x="1190" y="187"/>
                  </a:lnTo>
                  <a:lnTo>
                    <a:pt x="1197" y="181"/>
                  </a:lnTo>
                  <a:lnTo>
                    <a:pt x="1200" y="177"/>
                  </a:lnTo>
                  <a:lnTo>
                    <a:pt x="1202" y="177"/>
                  </a:lnTo>
                  <a:lnTo>
                    <a:pt x="1207" y="174"/>
                  </a:lnTo>
                  <a:lnTo>
                    <a:pt x="1221" y="171"/>
                  </a:lnTo>
                  <a:lnTo>
                    <a:pt x="1243" y="165"/>
                  </a:lnTo>
                  <a:lnTo>
                    <a:pt x="1244" y="162"/>
                  </a:lnTo>
                  <a:lnTo>
                    <a:pt x="1246" y="158"/>
                  </a:lnTo>
                  <a:lnTo>
                    <a:pt x="1244" y="155"/>
                  </a:lnTo>
                  <a:lnTo>
                    <a:pt x="1244" y="154"/>
                  </a:lnTo>
                  <a:lnTo>
                    <a:pt x="1241" y="141"/>
                  </a:lnTo>
                  <a:lnTo>
                    <a:pt x="1241" y="138"/>
                  </a:lnTo>
                  <a:lnTo>
                    <a:pt x="1240" y="137"/>
                  </a:lnTo>
                  <a:lnTo>
                    <a:pt x="1241" y="130"/>
                  </a:lnTo>
                  <a:lnTo>
                    <a:pt x="1243" y="125"/>
                  </a:lnTo>
                  <a:lnTo>
                    <a:pt x="1250" y="124"/>
                  </a:lnTo>
                  <a:lnTo>
                    <a:pt x="1251" y="121"/>
                  </a:lnTo>
                  <a:lnTo>
                    <a:pt x="1253" y="121"/>
                  </a:lnTo>
                  <a:lnTo>
                    <a:pt x="1253" y="115"/>
                  </a:lnTo>
                  <a:lnTo>
                    <a:pt x="1253" y="111"/>
                  </a:lnTo>
                  <a:lnTo>
                    <a:pt x="1251" y="108"/>
                  </a:lnTo>
                  <a:lnTo>
                    <a:pt x="1246" y="107"/>
                  </a:lnTo>
                  <a:lnTo>
                    <a:pt x="1236" y="95"/>
                  </a:lnTo>
                  <a:lnTo>
                    <a:pt x="1234" y="91"/>
                  </a:lnTo>
                  <a:lnTo>
                    <a:pt x="1233" y="88"/>
                  </a:lnTo>
                  <a:lnTo>
                    <a:pt x="1231" y="82"/>
                  </a:lnTo>
                  <a:lnTo>
                    <a:pt x="1231" y="81"/>
                  </a:lnTo>
                  <a:lnTo>
                    <a:pt x="1227" y="72"/>
                  </a:lnTo>
                  <a:lnTo>
                    <a:pt x="1224" y="71"/>
                  </a:lnTo>
                  <a:lnTo>
                    <a:pt x="1223" y="70"/>
                  </a:lnTo>
                  <a:lnTo>
                    <a:pt x="1221" y="64"/>
                  </a:lnTo>
                  <a:lnTo>
                    <a:pt x="1220" y="61"/>
                  </a:lnTo>
                  <a:lnTo>
                    <a:pt x="1210" y="62"/>
                  </a:lnTo>
                  <a:lnTo>
                    <a:pt x="1209" y="71"/>
                  </a:lnTo>
                  <a:lnTo>
                    <a:pt x="1204" y="77"/>
                  </a:lnTo>
                  <a:lnTo>
                    <a:pt x="1202" y="80"/>
                  </a:lnTo>
                  <a:lnTo>
                    <a:pt x="1197" y="80"/>
                  </a:lnTo>
                  <a:lnTo>
                    <a:pt x="1194" y="81"/>
                  </a:lnTo>
                  <a:lnTo>
                    <a:pt x="1190" y="85"/>
                  </a:lnTo>
                  <a:lnTo>
                    <a:pt x="1186" y="87"/>
                  </a:lnTo>
                  <a:lnTo>
                    <a:pt x="1183" y="87"/>
                  </a:lnTo>
                  <a:lnTo>
                    <a:pt x="1182" y="88"/>
                  </a:lnTo>
                  <a:lnTo>
                    <a:pt x="1177" y="92"/>
                  </a:lnTo>
                  <a:lnTo>
                    <a:pt x="1174" y="98"/>
                  </a:lnTo>
                  <a:lnTo>
                    <a:pt x="1172" y="101"/>
                  </a:lnTo>
                  <a:lnTo>
                    <a:pt x="1172" y="104"/>
                  </a:lnTo>
                  <a:lnTo>
                    <a:pt x="1169" y="110"/>
                  </a:lnTo>
                  <a:lnTo>
                    <a:pt x="1169" y="112"/>
                  </a:lnTo>
                  <a:lnTo>
                    <a:pt x="1172" y="114"/>
                  </a:lnTo>
                  <a:lnTo>
                    <a:pt x="1180" y="112"/>
                  </a:lnTo>
                  <a:lnTo>
                    <a:pt x="1176" y="121"/>
                  </a:lnTo>
                  <a:lnTo>
                    <a:pt x="1173" y="130"/>
                  </a:lnTo>
                  <a:lnTo>
                    <a:pt x="1169" y="138"/>
                  </a:lnTo>
                  <a:lnTo>
                    <a:pt x="1163" y="141"/>
                  </a:lnTo>
                  <a:lnTo>
                    <a:pt x="1157" y="142"/>
                  </a:lnTo>
                  <a:lnTo>
                    <a:pt x="1154" y="148"/>
                  </a:lnTo>
                  <a:lnTo>
                    <a:pt x="1152" y="154"/>
                  </a:lnTo>
                  <a:lnTo>
                    <a:pt x="1154" y="162"/>
                  </a:lnTo>
                  <a:close/>
                  <a:moveTo>
                    <a:pt x="1390" y="345"/>
                  </a:moveTo>
                  <a:lnTo>
                    <a:pt x="1400" y="349"/>
                  </a:lnTo>
                  <a:lnTo>
                    <a:pt x="1405" y="349"/>
                  </a:lnTo>
                  <a:lnTo>
                    <a:pt x="1407" y="352"/>
                  </a:lnTo>
                  <a:lnTo>
                    <a:pt x="1410" y="349"/>
                  </a:lnTo>
                  <a:lnTo>
                    <a:pt x="1411" y="347"/>
                  </a:lnTo>
                  <a:lnTo>
                    <a:pt x="1408" y="342"/>
                  </a:lnTo>
                  <a:lnTo>
                    <a:pt x="1408" y="342"/>
                  </a:lnTo>
                  <a:lnTo>
                    <a:pt x="1393" y="344"/>
                  </a:lnTo>
                  <a:lnTo>
                    <a:pt x="1390" y="345"/>
                  </a:lnTo>
                  <a:close/>
                  <a:moveTo>
                    <a:pt x="1219" y="429"/>
                  </a:moveTo>
                  <a:lnTo>
                    <a:pt x="1220" y="431"/>
                  </a:lnTo>
                  <a:lnTo>
                    <a:pt x="1221" y="432"/>
                  </a:lnTo>
                  <a:lnTo>
                    <a:pt x="1226" y="431"/>
                  </a:lnTo>
                  <a:lnTo>
                    <a:pt x="1227" y="431"/>
                  </a:lnTo>
                  <a:lnTo>
                    <a:pt x="1227" y="429"/>
                  </a:lnTo>
                  <a:lnTo>
                    <a:pt x="1229" y="428"/>
                  </a:lnTo>
                  <a:lnTo>
                    <a:pt x="1230" y="425"/>
                  </a:lnTo>
                  <a:lnTo>
                    <a:pt x="1233" y="421"/>
                  </a:lnTo>
                  <a:lnTo>
                    <a:pt x="1233" y="419"/>
                  </a:lnTo>
                  <a:lnTo>
                    <a:pt x="1231" y="415"/>
                  </a:lnTo>
                  <a:lnTo>
                    <a:pt x="1221" y="424"/>
                  </a:lnTo>
                  <a:lnTo>
                    <a:pt x="1214" y="426"/>
                  </a:lnTo>
                  <a:lnTo>
                    <a:pt x="1212" y="429"/>
                  </a:lnTo>
                  <a:lnTo>
                    <a:pt x="1213" y="429"/>
                  </a:lnTo>
                  <a:lnTo>
                    <a:pt x="1219" y="429"/>
                  </a:lnTo>
                  <a:close/>
                  <a:moveTo>
                    <a:pt x="1127" y="80"/>
                  </a:moveTo>
                  <a:lnTo>
                    <a:pt x="1147" y="84"/>
                  </a:lnTo>
                  <a:lnTo>
                    <a:pt x="1153" y="77"/>
                  </a:lnTo>
                  <a:lnTo>
                    <a:pt x="1152" y="72"/>
                  </a:lnTo>
                  <a:lnTo>
                    <a:pt x="1146" y="70"/>
                  </a:lnTo>
                  <a:lnTo>
                    <a:pt x="1129" y="68"/>
                  </a:lnTo>
                  <a:lnTo>
                    <a:pt x="1126" y="74"/>
                  </a:lnTo>
                  <a:lnTo>
                    <a:pt x="1126" y="75"/>
                  </a:lnTo>
                  <a:lnTo>
                    <a:pt x="1127" y="80"/>
                  </a:lnTo>
                  <a:close/>
                  <a:moveTo>
                    <a:pt x="1863" y="538"/>
                  </a:moveTo>
                  <a:lnTo>
                    <a:pt x="1865" y="535"/>
                  </a:lnTo>
                  <a:lnTo>
                    <a:pt x="1863" y="532"/>
                  </a:lnTo>
                  <a:lnTo>
                    <a:pt x="1863" y="531"/>
                  </a:lnTo>
                  <a:lnTo>
                    <a:pt x="1866" y="525"/>
                  </a:lnTo>
                  <a:lnTo>
                    <a:pt x="1866" y="524"/>
                  </a:lnTo>
                  <a:lnTo>
                    <a:pt x="1862" y="519"/>
                  </a:lnTo>
                  <a:lnTo>
                    <a:pt x="1862" y="516"/>
                  </a:lnTo>
                  <a:lnTo>
                    <a:pt x="1861" y="512"/>
                  </a:lnTo>
                  <a:lnTo>
                    <a:pt x="1859" y="509"/>
                  </a:lnTo>
                  <a:lnTo>
                    <a:pt x="1858" y="515"/>
                  </a:lnTo>
                  <a:lnTo>
                    <a:pt x="1858" y="518"/>
                  </a:lnTo>
                  <a:lnTo>
                    <a:pt x="1858" y="524"/>
                  </a:lnTo>
                  <a:lnTo>
                    <a:pt x="1858" y="526"/>
                  </a:lnTo>
                  <a:lnTo>
                    <a:pt x="1856" y="532"/>
                  </a:lnTo>
                  <a:lnTo>
                    <a:pt x="1856" y="534"/>
                  </a:lnTo>
                  <a:lnTo>
                    <a:pt x="1855" y="539"/>
                  </a:lnTo>
                  <a:lnTo>
                    <a:pt x="1861" y="539"/>
                  </a:lnTo>
                  <a:lnTo>
                    <a:pt x="1863" y="538"/>
                  </a:lnTo>
                  <a:close/>
                  <a:moveTo>
                    <a:pt x="1880" y="548"/>
                  </a:moveTo>
                  <a:lnTo>
                    <a:pt x="1883" y="555"/>
                  </a:lnTo>
                  <a:lnTo>
                    <a:pt x="1888" y="559"/>
                  </a:lnTo>
                  <a:lnTo>
                    <a:pt x="1889" y="561"/>
                  </a:lnTo>
                  <a:lnTo>
                    <a:pt x="1890" y="562"/>
                  </a:lnTo>
                  <a:lnTo>
                    <a:pt x="1895" y="571"/>
                  </a:lnTo>
                  <a:lnTo>
                    <a:pt x="1896" y="574"/>
                  </a:lnTo>
                  <a:lnTo>
                    <a:pt x="1898" y="575"/>
                  </a:lnTo>
                  <a:lnTo>
                    <a:pt x="1910" y="582"/>
                  </a:lnTo>
                  <a:lnTo>
                    <a:pt x="1912" y="584"/>
                  </a:lnTo>
                  <a:lnTo>
                    <a:pt x="1913" y="584"/>
                  </a:lnTo>
                  <a:lnTo>
                    <a:pt x="1916" y="584"/>
                  </a:lnTo>
                  <a:lnTo>
                    <a:pt x="1918" y="582"/>
                  </a:lnTo>
                  <a:lnTo>
                    <a:pt x="1919" y="578"/>
                  </a:lnTo>
                  <a:lnTo>
                    <a:pt x="1920" y="574"/>
                  </a:lnTo>
                  <a:lnTo>
                    <a:pt x="1920" y="569"/>
                  </a:lnTo>
                  <a:lnTo>
                    <a:pt x="1922" y="566"/>
                  </a:lnTo>
                  <a:lnTo>
                    <a:pt x="1923" y="565"/>
                  </a:lnTo>
                  <a:lnTo>
                    <a:pt x="1925" y="565"/>
                  </a:lnTo>
                  <a:lnTo>
                    <a:pt x="1929" y="569"/>
                  </a:lnTo>
                  <a:lnTo>
                    <a:pt x="1932" y="572"/>
                  </a:lnTo>
                  <a:lnTo>
                    <a:pt x="1936" y="572"/>
                  </a:lnTo>
                  <a:lnTo>
                    <a:pt x="1939" y="571"/>
                  </a:lnTo>
                  <a:lnTo>
                    <a:pt x="1949" y="568"/>
                  </a:lnTo>
                  <a:lnTo>
                    <a:pt x="1953" y="566"/>
                  </a:lnTo>
                  <a:lnTo>
                    <a:pt x="1956" y="564"/>
                  </a:lnTo>
                  <a:lnTo>
                    <a:pt x="1960" y="564"/>
                  </a:lnTo>
                  <a:lnTo>
                    <a:pt x="1962" y="566"/>
                  </a:lnTo>
                  <a:lnTo>
                    <a:pt x="1963" y="569"/>
                  </a:lnTo>
                  <a:lnTo>
                    <a:pt x="1965" y="572"/>
                  </a:lnTo>
                  <a:lnTo>
                    <a:pt x="1966" y="574"/>
                  </a:lnTo>
                  <a:lnTo>
                    <a:pt x="1968" y="574"/>
                  </a:lnTo>
                  <a:lnTo>
                    <a:pt x="1970" y="574"/>
                  </a:lnTo>
                  <a:lnTo>
                    <a:pt x="1973" y="571"/>
                  </a:lnTo>
                  <a:lnTo>
                    <a:pt x="1979" y="565"/>
                  </a:lnTo>
                  <a:lnTo>
                    <a:pt x="1975" y="559"/>
                  </a:lnTo>
                  <a:lnTo>
                    <a:pt x="1972" y="556"/>
                  </a:lnTo>
                  <a:lnTo>
                    <a:pt x="1970" y="555"/>
                  </a:lnTo>
                  <a:lnTo>
                    <a:pt x="1965" y="542"/>
                  </a:lnTo>
                  <a:lnTo>
                    <a:pt x="1963" y="538"/>
                  </a:lnTo>
                  <a:lnTo>
                    <a:pt x="1963" y="535"/>
                  </a:lnTo>
                  <a:lnTo>
                    <a:pt x="1962" y="521"/>
                  </a:lnTo>
                  <a:lnTo>
                    <a:pt x="1965" y="519"/>
                  </a:lnTo>
                  <a:lnTo>
                    <a:pt x="1969" y="518"/>
                  </a:lnTo>
                  <a:lnTo>
                    <a:pt x="1975" y="518"/>
                  </a:lnTo>
                  <a:lnTo>
                    <a:pt x="1976" y="521"/>
                  </a:lnTo>
                  <a:lnTo>
                    <a:pt x="1976" y="524"/>
                  </a:lnTo>
                  <a:lnTo>
                    <a:pt x="1975" y="526"/>
                  </a:lnTo>
                  <a:lnTo>
                    <a:pt x="1972" y="529"/>
                  </a:lnTo>
                  <a:lnTo>
                    <a:pt x="1972" y="535"/>
                  </a:lnTo>
                  <a:lnTo>
                    <a:pt x="1972" y="542"/>
                  </a:lnTo>
                  <a:lnTo>
                    <a:pt x="1973" y="546"/>
                  </a:lnTo>
                  <a:lnTo>
                    <a:pt x="1975" y="549"/>
                  </a:lnTo>
                  <a:lnTo>
                    <a:pt x="1979" y="556"/>
                  </a:lnTo>
                  <a:lnTo>
                    <a:pt x="1983" y="558"/>
                  </a:lnTo>
                  <a:lnTo>
                    <a:pt x="1986" y="558"/>
                  </a:lnTo>
                  <a:lnTo>
                    <a:pt x="1993" y="561"/>
                  </a:lnTo>
                  <a:lnTo>
                    <a:pt x="1996" y="559"/>
                  </a:lnTo>
                  <a:lnTo>
                    <a:pt x="1999" y="556"/>
                  </a:lnTo>
                  <a:lnTo>
                    <a:pt x="2006" y="546"/>
                  </a:lnTo>
                  <a:lnTo>
                    <a:pt x="2005" y="542"/>
                  </a:lnTo>
                  <a:lnTo>
                    <a:pt x="2003" y="541"/>
                  </a:lnTo>
                  <a:lnTo>
                    <a:pt x="2005" y="536"/>
                  </a:lnTo>
                  <a:lnTo>
                    <a:pt x="2009" y="532"/>
                  </a:lnTo>
                  <a:lnTo>
                    <a:pt x="2015" y="529"/>
                  </a:lnTo>
                  <a:lnTo>
                    <a:pt x="2013" y="528"/>
                  </a:lnTo>
                  <a:lnTo>
                    <a:pt x="2012" y="526"/>
                  </a:lnTo>
                  <a:lnTo>
                    <a:pt x="1987" y="508"/>
                  </a:lnTo>
                  <a:lnTo>
                    <a:pt x="1985" y="508"/>
                  </a:lnTo>
                  <a:lnTo>
                    <a:pt x="1982" y="511"/>
                  </a:lnTo>
                  <a:lnTo>
                    <a:pt x="1979" y="511"/>
                  </a:lnTo>
                  <a:lnTo>
                    <a:pt x="1975" y="511"/>
                  </a:lnTo>
                  <a:lnTo>
                    <a:pt x="1970" y="508"/>
                  </a:lnTo>
                  <a:lnTo>
                    <a:pt x="1968" y="505"/>
                  </a:lnTo>
                  <a:lnTo>
                    <a:pt x="1960" y="496"/>
                  </a:lnTo>
                  <a:lnTo>
                    <a:pt x="1956" y="492"/>
                  </a:lnTo>
                  <a:lnTo>
                    <a:pt x="1952" y="489"/>
                  </a:lnTo>
                  <a:lnTo>
                    <a:pt x="1949" y="495"/>
                  </a:lnTo>
                  <a:lnTo>
                    <a:pt x="1945" y="499"/>
                  </a:lnTo>
                  <a:lnTo>
                    <a:pt x="1943" y="502"/>
                  </a:lnTo>
                  <a:lnTo>
                    <a:pt x="1943" y="504"/>
                  </a:lnTo>
                  <a:lnTo>
                    <a:pt x="1943" y="508"/>
                  </a:lnTo>
                  <a:lnTo>
                    <a:pt x="1943" y="512"/>
                  </a:lnTo>
                  <a:lnTo>
                    <a:pt x="1943" y="515"/>
                  </a:lnTo>
                  <a:lnTo>
                    <a:pt x="1943" y="519"/>
                  </a:lnTo>
                  <a:lnTo>
                    <a:pt x="1942" y="522"/>
                  </a:lnTo>
                  <a:lnTo>
                    <a:pt x="1942" y="524"/>
                  </a:lnTo>
                  <a:lnTo>
                    <a:pt x="1939" y="524"/>
                  </a:lnTo>
                  <a:lnTo>
                    <a:pt x="1938" y="522"/>
                  </a:lnTo>
                  <a:lnTo>
                    <a:pt x="1938" y="521"/>
                  </a:lnTo>
                  <a:lnTo>
                    <a:pt x="1936" y="519"/>
                  </a:lnTo>
                  <a:lnTo>
                    <a:pt x="1935" y="512"/>
                  </a:lnTo>
                  <a:lnTo>
                    <a:pt x="1933" y="511"/>
                  </a:lnTo>
                  <a:lnTo>
                    <a:pt x="1930" y="512"/>
                  </a:lnTo>
                  <a:lnTo>
                    <a:pt x="1929" y="511"/>
                  </a:lnTo>
                  <a:lnTo>
                    <a:pt x="1925" y="502"/>
                  </a:lnTo>
                  <a:lnTo>
                    <a:pt x="1920" y="498"/>
                  </a:lnTo>
                  <a:lnTo>
                    <a:pt x="1916" y="494"/>
                  </a:lnTo>
                  <a:lnTo>
                    <a:pt x="1913" y="492"/>
                  </a:lnTo>
                  <a:lnTo>
                    <a:pt x="1912" y="488"/>
                  </a:lnTo>
                  <a:lnTo>
                    <a:pt x="1910" y="486"/>
                  </a:lnTo>
                  <a:lnTo>
                    <a:pt x="1909" y="486"/>
                  </a:lnTo>
                  <a:lnTo>
                    <a:pt x="1903" y="491"/>
                  </a:lnTo>
                  <a:lnTo>
                    <a:pt x="1899" y="492"/>
                  </a:lnTo>
                  <a:lnTo>
                    <a:pt x="1898" y="494"/>
                  </a:lnTo>
                  <a:lnTo>
                    <a:pt x="1896" y="496"/>
                  </a:lnTo>
                  <a:lnTo>
                    <a:pt x="1896" y="498"/>
                  </a:lnTo>
                  <a:lnTo>
                    <a:pt x="1892" y="498"/>
                  </a:lnTo>
                  <a:lnTo>
                    <a:pt x="1890" y="499"/>
                  </a:lnTo>
                  <a:lnTo>
                    <a:pt x="1889" y="502"/>
                  </a:lnTo>
                  <a:lnTo>
                    <a:pt x="1888" y="505"/>
                  </a:lnTo>
                  <a:lnTo>
                    <a:pt x="1889" y="511"/>
                  </a:lnTo>
                  <a:lnTo>
                    <a:pt x="1892" y="515"/>
                  </a:lnTo>
                  <a:lnTo>
                    <a:pt x="1886" y="514"/>
                  </a:lnTo>
                  <a:lnTo>
                    <a:pt x="1885" y="515"/>
                  </a:lnTo>
                  <a:lnTo>
                    <a:pt x="1883" y="528"/>
                  </a:lnTo>
                  <a:lnTo>
                    <a:pt x="1885" y="541"/>
                  </a:lnTo>
                  <a:lnTo>
                    <a:pt x="1883" y="541"/>
                  </a:lnTo>
                  <a:lnTo>
                    <a:pt x="1880" y="541"/>
                  </a:lnTo>
                  <a:lnTo>
                    <a:pt x="1879" y="542"/>
                  </a:lnTo>
                  <a:lnTo>
                    <a:pt x="1879" y="546"/>
                  </a:lnTo>
                  <a:lnTo>
                    <a:pt x="1880" y="548"/>
                  </a:lnTo>
                  <a:close/>
                  <a:moveTo>
                    <a:pt x="2259" y="793"/>
                  </a:moveTo>
                  <a:lnTo>
                    <a:pt x="2260" y="792"/>
                  </a:lnTo>
                  <a:lnTo>
                    <a:pt x="2259" y="789"/>
                  </a:lnTo>
                  <a:lnTo>
                    <a:pt x="2257" y="788"/>
                  </a:lnTo>
                  <a:lnTo>
                    <a:pt x="2256" y="786"/>
                  </a:lnTo>
                  <a:lnTo>
                    <a:pt x="2256" y="788"/>
                  </a:lnTo>
                  <a:lnTo>
                    <a:pt x="2256" y="791"/>
                  </a:lnTo>
                  <a:lnTo>
                    <a:pt x="2257" y="792"/>
                  </a:lnTo>
                  <a:lnTo>
                    <a:pt x="2259" y="793"/>
                  </a:lnTo>
                  <a:close/>
                  <a:moveTo>
                    <a:pt x="2076" y="454"/>
                  </a:moveTo>
                  <a:lnTo>
                    <a:pt x="2076" y="448"/>
                  </a:lnTo>
                  <a:lnTo>
                    <a:pt x="2079" y="446"/>
                  </a:lnTo>
                  <a:lnTo>
                    <a:pt x="2067" y="448"/>
                  </a:lnTo>
                  <a:lnTo>
                    <a:pt x="2063" y="454"/>
                  </a:lnTo>
                  <a:lnTo>
                    <a:pt x="2063" y="455"/>
                  </a:lnTo>
                  <a:lnTo>
                    <a:pt x="2074" y="455"/>
                  </a:lnTo>
                  <a:lnTo>
                    <a:pt x="2076" y="454"/>
                  </a:lnTo>
                  <a:close/>
                  <a:moveTo>
                    <a:pt x="2039" y="559"/>
                  </a:moveTo>
                  <a:lnTo>
                    <a:pt x="2043" y="564"/>
                  </a:lnTo>
                  <a:lnTo>
                    <a:pt x="2045" y="564"/>
                  </a:lnTo>
                  <a:lnTo>
                    <a:pt x="2050" y="565"/>
                  </a:lnTo>
                  <a:lnTo>
                    <a:pt x="2052" y="568"/>
                  </a:lnTo>
                  <a:lnTo>
                    <a:pt x="2056" y="572"/>
                  </a:lnTo>
                  <a:lnTo>
                    <a:pt x="2057" y="574"/>
                  </a:lnTo>
                  <a:lnTo>
                    <a:pt x="2062" y="575"/>
                  </a:lnTo>
                  <a:lnTo>
                    <a:pt x="2073" y="576"/>
                  </a:lnTo>
                  <a:lnTo>
                    <a:pt x="2082" y="576"/>
                  </a:lnTo>
                  <a:lnTo>
                    <a:pt x="2086" y="576"/>
                  </a:lnTo>
                  <a:lnTo>
                    <a:pt x="2093" y="571"/>
                  </a:lnTo>
                  <a:lnTo>
                    <a:pt x="2097" y="568"/>
                  </a:lnTo>
                  <a:lnTo>
                    <a:pt x="2099" y="566"/>
                  </a:lnTo>
                  <a:lnTo>
                    <a:pt x="2102" y="554"/>
                  </a:lnTo>
                  <a:lnTo>
                    <a:pt x="2100" y="554"/>
                  </a:lnTo>
                  <a:lnTo>
                    <a:pt x="2099" y="554"/>
                  </a:lnTo>
                  <a:lnTo>
                    <a:pt x="2099" y="555"/>
                  </a:lnTo>
                  <a:lnTo>
                    <a:pt x="2097" y="556"/>
                  </a:lnTo>
                  <a:lnTo>
                    <a:pt x="2094" y="555"/>
                  </a:lnTo>
                  <a:lnTo>
                    <a:pt x="2093" y="554"/>
                  </a:lnTo>
                  <a:lnTo>
                    <a:pt x="2090" y="549"/>
                  </a:lnTo>
                  <a:lnTo>
                    <a:pt x="2083" y="548"/>
                  </a:lnTo>
                  <a:lnTo>
                    <a:pt x="2073" y="546"/>
                  </a:lnTo>
                  <a:lnTo>
                    <a:pt x="2070" y="549"/>
                  </a:lnTo>
                  <a:lnTo>
                    <a:pt x="2066" y="548"/>
                  </a:lnTo>
                  <a:lnTo>
                    <a:pt x="2065" y="546"/>
                  </a:lnTo>
                  <a:lnTo>
                    <a:pt x="2065" y="544"/>
                  </a:lnTo>
                  <a:lnTo>
                    <a:pt x="2065" y="542"/>
                  </a:lnTo>
                  <a:lnTo>
                    <a:pt x="2065" y="539"/>
                  </a:lnTo>
                  <a:lnTo>
                    <a:pt x="2063" y="538"/>
                  </a:lnTo>
                  <a:lnTo>
                    <a:pt x="2049" y="535"/>
                  </a:lnTo>
                  <a:lnTo>
                    <a:pt x="2047" y="535"/>
                  </a:lnTo>
                  <a:lnTo>
                    <a:pt x="2042" y="541"/>
                  </a:lnTo>
                  <a:lnTo>
                    <a:pt x="2037" y="539"/>
                  </a:lnTo>
                  <a:lnTo>
                    <a:pt x="2036" y="536"/>
                  </a:lnTo>
                  <a:lnTo>
                    <a:pt x="2036" y="531"/>
                  </a:lnTo>
                  <a:lnTo>
                    <a:pt x="2033" y="526"/>
                  </a:lnTo>
                  <a:lnTo>
                    <a:pt x="2032" y="528"/>
                  </a:lnTo>
                  <a:lnTo>
                    <a:pt x="2030" y="534"/>
                  </a:lnTo>
                  <a:lnTo>
                    <a:pt x="2029" y="538"/>
                  </a:lnTo>
                  <a:lnTo>
                    <a:pt x="2027" y="545"/>
                  </a:lnTo>
                  <a:lnTo>
                    <a:pt x="2026" y="551"/>
                  </a:lnTo>
                  <a:lnTo>
                    <a:pt x="2036" y="556"/>
                  </a:lnTo>
                  <a:lnTo>
                    <a:pt x="2039" y="559"/>
                  </a:lnTo>
                  <a:close/>
                  <a:moveTo>
                    <a:pt x="2134" y="491"/>
                  </a:moveTo>
                  <a:lnTo>
                    <a:pt x="2134" y="488"/>
                  </a:lnTo>
                  <a:lnTo>
                    <a:pt x="2134" y="486"/>
                  </a:lnTo>
                  <a:lnTo>
                    <a:pt x="2133" y="486"/>
                  </a:lnTo>
                  <a:lnTo>
                    <a:pt x="2130" y="488"/>
                  </a:lnTo>
                  <a:lnTo>
                    <a:pt x="2129" y="489"/>
                  </a:lnTo>
                  <a:lnTo>
                    <a:pt x="2133" y="494"/>
                  </a:lnTo>
                  <a:lnTo>
                    <a:pt x="2134" y="491"/>
                  </a:lnTo>
                  <a:close/>
                  <a:moveTo>
                    <a:pt x="2549" y="792"/>
                  </a:moveTo>
                  <a:lnTo>
                    <a:pt x="2551" y="792"/>
                  </a:lnTo>
                  <a:lnTo>
                    <a:pt x="2555" y="789"/>
                  </a:lnTo>
                  <a:lnTo>
                    <a:pt x="2564" y="788"/>
                  </a:lnTo>
                  <a:lnTo>
                    <a:pt x="2567" y="785"/>
                  </a:lnTo>
                  <a:lnTo>
                    <a:pt x="2568" y="783"/>
                  </a:lnTo>
                  <a:lnTo>
                    <a:pt x="2572" y="785"/>
                  </a:lnTo>
                  <a:lnTo>
                    <a:pt x="2577" y="788"/>
                  </a:lnTo>
                  <a:lnTo>
                    <a:pt x="2578" y="788"/>
                  </a:lnTo>
                  <a:lnTo>
                    <a:pt x="2582" y="786"/>
                  </a:lnTo>
                  <a:lnTo>
                    <a:pt x="2592" y="782"/>
                  </a:lnTo>
                  <a:lnTo>
                    <a:pt x="2599" y="781"/>
                  </a:lnTo>
                  <a:lnTo>
                    <a:pt x="2604" y="781"/>
                  </a:lnTo>
                  <a:lnTo>
                    <a:pt x="2608" y="775"/>
                  </a:lnTo>
                  <a:lnTo>
                    <a:pt x="2609" y="772"/>
                  </a:lnTo>
                  <a:lnTo>
                    <a:pt x="2608" y="771"/>
                  </a:lnTo>
                  <a:lnTo>
                    <a:pt x="2608" y="769"/>
                  </a:lnTo>
                  <a:lnTo>
                    <a:pt x="2604" y="766"/>
                  </a:lnTo>
                  <a:lnTo>
                    <a:pt x="2601" y="763"/>
                  </a:lnTo>
                  <a:lnTo>
                    <a:pt x="2599" y="762"/>
                  </a:lnTo>
                  <a:lnTo>
                    <a:pt x="2598" y="761"/>
                  </a:lnTo>
                  <a:lnTo>
                    <a:pt x="2598" y="759"/>
                  </a:lnTo>
                  <a:lnTo>
                    <a:pt x="2595" y="756"/>
                  </a:lnTo>
                  <a:lnTo>
                    <a:pt x="2594" y="756"/>
                  </a:lnTo>
                  <a:lnTo>
                    <a:pt x="2587" y="755"/>
                  </a:lnTo>
                  <a:lnTo>
                    <a:pt x="2585" y="753"/>
                  </a:lnTo>
                  <a:lnTo>
                    <a:pt x="2582" y="753"/>
                  </a:lnTo>
                  <a:lnTo>
                    <a:pt x="2581" y="755"/>
                  </a:lnTo>
                  <a:lnTo>
                    <a:pt x="2578" y="755"/>
                  </a:lnTo>
                  <a:lnTo>
                    <a:pt x="2577" y="755"/>
                  </a:lnTo>
                  <a:lnTo>
                    <a:pt x="2574" y="755"/>
                  </a:lnTo>
                  <a:lnTo>
                    <a:pt x="2571" y="756"/>
                  </a:lnTo>
                  <a:lnTo>
                    <a:pt x="2568" y="756"/>
                  </a:lnTo>
                  <a:lnTo>
                    <a:pt x="2567" y="758"/>
                  </a:lnTo>
                  <a:lnTo>
                    <a:pt x="2564" y="761"/>
                  </a:lnTo>
                  <a:lnTo>
                    <a:pt x="2561" y="761"/>
                  </a:lnTo>
                  <a:lnTo>
                    <a:pt x="2557" y="768"/>
                  </a:lnTo>
                  <a:lnTo>
                    <a:pt x="2551" y="772"/>
                  </a:lnTo>
                  <a:lnTo>
                    <a:pt x="2549" y="775"/>
                  </a:lnTo>
                  <a:lnTo>
                    <a:pt x="2548" y="778"/>
                  </a:lnTo>
                  <a:lnTo>
                    <a:pt x="2547" y="781"/>
                  </a:lnTo>
                  <a:lnTo>
                    <a:pt x="2547" y="783"/>
                  </a:lnTo>
                  <a:lnTo>
                    <a:pt x="2549" y="792"/>
                  </a:lnTo>
                  <a:close/>
                  <a:moveTo>
                    <a:pt x="2267" y="868"/>
                  </a:moveTo>
                  <a:lnTo>
                    <a:pt x="2267" y="872"/>
                  </a:lnTo>
                  <a:lnTo>
                    <a:pt x="2267" y="873"/>
                  </a:lnTo>
                  <a:lnTo>
                    <a:pt x="2270" y="875"/>
                  </a:lnTo>
                  <a:lnTo>
                    <a:pt x="2271" y="878"/>
                  </a:lnTo>
                  <a:lnTo>
                    <a:pt x="2271" y="879"/>
                  </a:lnTo>
                  <a:lnTo>
                    <a:pt x="2271" y="882"/>
                  </a:lnTo>
                  <a:lnTo>
                    <a:pt x="2271" y="882"/>
                  </a:lnTo>
                  <a:lnTo>
                    <a:pt x="2273" y="880"/>
                  </a:lnTo>
                  <a:lnTo>
                    <a:pt x="2273" y="879"/>
                  </a:lnTo>
                  <a:lnTo>
                    <a:pt x="2273" y="876"/>
                  </a:lnTo>
                  <a:lnTo>
                    <a:pt x="2271" y="872"/>
                  </a:lnTo>
                  <a:lnTo>
                    <a:pt x="2270" y="868"/>
                  </a:lnTo>
                  <a:lnTo>
                    <a:pt x="2270" y="863"/>
                  </a:lnTo>
                  <a:lnTo>
                    <a:pt x="2270" y="860"/>
                  </a:lnTo>
                  <a:lnTo>
                    <a:pt x="2270" y="858"/>
                  </a:lnTo>
                  <a:lnTo>
                    <a:pt x="2273" y="858"/>
                  </a:lnTo>
                  <a:lnTo>
                    <a:pt x="2274" y="855"/>
                  </a:lnTo>
                  <a:lnTo>
                    <a:pt x="2274" y="850"/>
                  </a:lnTo>
                  <a:lnTo>
                    <a:pt x="2273" y="848"/>
                  </a:lnTo>
                  <a:lnTo>
                    <a:pt x="2273" y="848"/>
                  </a:lnTo>
                  <a:lnTo>
                    <a:pt x="2271" y="850"/>
                  </a:lnTo>
                  <a:lnTo>
                    <a:pt x="2270" y="852"/>
                  </a:lnTo>
                  <a:lnTo>
                    <a:pt x="2266" y="856"/>
                  </a:lnTo>
                  <a:lnTo>
                    <a:pt x="2266" y="859"/>
                  </a:lnTo>
                  <a:lnTo>
                    <a:pt x="2267" y="862"/>
                  </a:lnTo>
                  <a:lnTo>
                    <a:pt x="2267" y="868"/>
                  </a:lnTo>
                  <a:close/>
                  <a:moveTo>
                    <a:pt x="2377" y="842"/>
                  </a:moveTo>
                  <a:lnTo>
                    <a:pt x="2378" y="845"/>
                  </a:lnTo>
                  <a:lnTo>
                    <a:pt x="2383" y="846"/>
                  </a:lnTo>
                  <a:lnTo>
                    <a:pt x="2391" y="850"/>
                  </a:lnTo>
                  <a:lnTo>
                    <a:pt x="2395" y="850"/>
                  </a:lnTo>
                  <a:lnTo>
                    <a:pt x="2397" y="849"/>
                  </a:lnTo>
                  <a:lnTo>
                    <a:pt x="2397" y="849"/>
                  </a:lnTo>
                  <a:lnTo>
                    <a:pt x="2397" y="843"/>
                  </a:lnTo>
                  <a:lnTo>
                    <a:pt x="2398" y="842"/>
                  </a:lnTo>
                  <a:lnTo>
                    <a:pt x="2400" y="842"/>
                  </a:lnTo>
                  <a:lnTo>
                    <a:pt x="2400" y="839"/>
                  </a:lnTo>
                  <a:lnTo>
                    <a:pt x="2400" y="838"/>
                  </a:lnTo>
                  <a:lnTo>
                    <a:pt x="2398" y="836"/>
                  </a:lnTo>
                  <a:lnTo>
                    <a:pt x="2383" y="830"/>
                  </a:lnTo>
                  <a:lnTo>
                    <a:pt x="2380" y="830"/>
                  </a:lnTo>
                  <a:lnTo>
                    <a:pt x="2377" y="832"/>
                  </a:lnTo>
                  <a:lnTo>
                    <a:pt x="2374" y="836"/>
                  </a:lnTo>
                  <a:lnTo>
                    <a:pt x="2374" y="838"/>
                  </a:lnTo>
                  <a:lnTo>
                    <a:pt x="2373" y="839"/>
                  </a:lnTo>
                  <a:lnTo>
                    <a:pt x="2374" y="839"/>
                  </a:lnTo>
                  <a:lnTo>
                    <a:pt x="2377" y="842"/>
                  </a:lnTo>
                  <a:close/>
                  <a:moveTo>
                    <a:pt x="1483" y="462"/>
                  </a:moveTo>
                  <a:lnTo>
                    <a:pt x="1484" y="462"/>
                  </a:lnTo>
                  <a:lnTo>
                    <a:pt x="1487" y="466"/>
                  </a:lnTo>
                  <a:lnTo>
                    <a:pt x="1488" y="469"/>
                  </a:lnTo>
                  <a:lnTo>
                    <a:pt x="1490" y="469"/>
                  </a:lnTo>
                  <a:lnTo>
                    <a:pt x="1490" y="466"/>
                  </a:lnTo>
                  <a:lnTo>
                    <a:pt x="1490" y="465"/>
                  </a:lnTo>
                  <a:lnTo>
                    <a:pt x="1491" y="465"/>
                  </a:lnTo>
                  <a:lnTo>
                    <a:pt x="1490" y="462"/>
                  </a:lnTo>
                  <a:lnTo>
                    <a:pt x="1487" y="456"/>
                  </a:lnTo>
                  <a:lnTo>
                    <a:pt x="1487" y="455"/>
                  </a:lnTo>
                  <a:lnTo>
                    <a:pt x="1484" y="458"/>
                  </a:lnTo>
                  <a:lnTo>
                    <a:pt x="1480" y="456"/>
                  </a:lnTo>
                  <a:lnTo>
                    <a:pt x="1480" y="456"/>
                  </a:lnTo>
                  <a:lnTo>
                    <a:pt x="1480" y="458"/>
                  </a:lnTo>
                  <a:lnTo>
                    <a:pt x="1483" y="462"/>
                  </a:lnTo>
                  <a:close/>
                  <a:moveTo>
                    <a:pt x="1855" y="612"/>
                  </a:moveTo>
                  <a:lnTo>
                    <a:pt x="1858" y="616"/>
                  </a:lnTo>
                  <a:lnTo>
                    <a:pt x="1859" y="619"/>
                  </a:lnTo>
                  <a:lnTo>
                    <a:pt x="1865" y="628"/>
                  </a:lnTo>
                  <a:lnTo>
                    <a:pt x="1866" y="629"/>
                  </a:lnTo>
                  <a:lnTo>
                    <a:pt x="1868" y="628"/>
                  </a:lnTo>
                  <a:lnTo>
                    <a:pt x="1868" y="623"/>
                  </a:lnTo>
                  <a:lnTo>
                    <a:pt x="1865" y="618"/>
                  </a:lnTo>
                  <a:lnTo>
                    <a:pt x="1858" y="611"/>
                  </a:lnTo>
                  <a:lnTo>
                    <a:pt x="1855" y="608"/>
                  </a:lnTo>
                  <a:lnTo>
                    <a:pt x="1855" y="611"/>
                  </a:lnTo>
                  <a:lnTo>
                    <a:pt x="1855" y="612"/>
                  </a:lnTo>
                  <a:close/>
                  <a:moveTo>
                    <a:pt x="1679" y="632"/>
                  </a:moveTo>
                  <a:lnTo>
                    <a:pt x="1681" y="632"/>
                  </a:lnTo>
                  <a:lnTo>
                    <a:pt x="1682" y="629"/>
                  </a:lnTo>
                  <a:lnTo>
                    <a:pt x="1682" y="629"/>
                  </a:lnTo>
                  <a:lnTo>
                    <a:pt x="1681" y="626"/>
                  </a:lnTo>
                  <a:lnTo>
                    <a:pt x="1679" y="626"/>
                  </a:lnTo>
                  <a:lnTo>
                    <a:pt x="1678" y="628"/>
                  </a:lnTo>
                  <a:lnTo>
                    <a:pt x="1678" y="628"/>
                  </a:lnTo>
                  <a:lnTo>
                    <a:pt x="1678" y="631"/>
                  </a:lnTo>
                  <a:lnTo>
                    <a:pt x="1679" y="632"/>
                  </a:lnTo>
                  <a:close/>
                  <a:moveTo>
                    <a:pt x="1923" y="656"/>
                  </a:moveTo>
                  <a:lnTo>
                    <a:pt x="1925" y="659"/>
                  </a:lnTo>
                  <a:lnTo>
                    <a:pt x="1928" y="659"/>
                  </a:lnTo>
                  <a:lnTo>
                    <a:pt x="1929" y="659"/>
                  </a:lnTo>
                  <a:lnTo>
                    <a:pt x="1935" y="655"/>
                  </a:lnTo>
                  <a:lnTo>
                    <a:pt x="1939" y="655"/>
                  </a:lnTo>
                  <a:lnTo>
                    <a:pt x="1940" y="655"/>
                  </a:lnTo>
                  <a:lnTo>
                    <a:pt x="1948" y="658"/>
                  </a:lnTo>
                  <a:lnTo>
                    <a:pt x="1953" y="662"/>
                  </a:lnTo>
                  <a:lnTo>
                    <a:pt x="1962" y="663"/>
                  </a:lnTo>
                  <a:lnTo>
                    <a:pt x="1966" y="665"/>
                  </a:lnTo>
                  <a:lnTo>
                    <a:pt x="1969" y="665"/>
                  </a:lnTo>
                  <a:lnTo>
                    <a:pt x="1973" y="666"/>
                  </a:lnTo>
                  <a:lnTo>
                    <a:pt x="1979" y="668"/>
                  </a:lnTo>
                  <a:lnTo>
                    <a:pt x="1983" y="666"/>
                  </a:lnTo>
                  <a:lnTo>
                    <a:pt x="1985" y="666"/>
                  </a:lnTo>
                  <a:lnTo>
                    <a:pt x="1983" y="653"/>
                  </a:lnTo>
                  <a:lnTo>
                    <a:pt x="1983" y="651"/>
                  </a:lnTo>
                  <a:lnTo>
                    <a:pt x="1982" y="648"/>
                  </a:lnTo>
                  <a:lnTo>
                    <a:pt x="1970" y="635"/>
                  </a:lnTo>
                  <a:lnTo>
                    <a:pt x="1968" y="632"/>
                  </a:lnTo>
                  <a:lnTo>
                    <a:pt x="1963" y="629"/>
                  </a:lnTo>
                  <a:lnTo>
                    <a:pt x="1959" y="628"/>
                  </a:lnTo>
                  <a:lnTo>
                    <a:pt x="1955" y="629"/>
                  </a:lnTo>
                  <a:lnTo>
                    <a:pt x="1949" y="631"/>
                  </a:lnTo>
                  <a:lnTo>
                    <a:pt x="1948" y="631"/>
                  </a:lnTo>
                  <a:lnTo>
                    <a:pt x="1946" y="631"/>
                  </a:lnTo>
                  <a:lnTo>
                    <a:pt x="1943" y="633"/>
                  </a:lnTo>
                  <a:lnTo>
                    <a:pt x="1942" y="636"/>
                  </a:lnTo>
                  <a:lnTo>
                    <a:pt x="1939" y="645"/>
                  </a:lnTo>
                  <a:lnTo>
                    <a:pt x="1938" y="648"/>
                  </a:lnTo>
                  <a:lnTo>
                    <a:pt x="1935" y="652"/>
                  </a:lnTo>
                  <a:lnTo>
                    <a:pt x="1930" y="653"/>
                  </a:lnTo>
                  <a:lnTo>
                    <a:pt x="1928" y="655"/>
                  </a:lnTo>
                  <a:lnTo>
                    <a:pt x="1923" y="656"/>
                  </a:lnTo>
                  <a:close/>
                  <a:moveTo>
                    <a:pt x="1608" y="676"/>
                  </a:moveTo>
                  <a:lnTo>
                    <a:pt x="1612" y="675"/>
                  </a:lnTo>
                  <a:lnTo>
                    <a:pt x="1612" y="673"/>
                  </a:lnTo>
                  <a:lnTo>
                    <a:pt x="1609" y="671"/>
                  </a:lnTo>
                  <a:lnTo>
                    <a:pt x="1608" y="671"/>
                  </a:lnTo>
                  <a:lnTo>
                    <a:pt x="1604" y="671"/>
                  </a:lnTo>
                  <a:lnTo>
                    <a:pt x="1602" y="672"/>
                  </a:lnTo>
                  <a:lnTo>
                    <a:pt x="1605" y="676"/>
                  </a:lnTo>
                  <a:lnTo>
                    <a:pt x="1608" y="676"/>
                  </a:lnTo>
                  <a:close/>
                  <a:moveTo>
                    <a:pt x="1935" y="628"/>
                  </a:moveTo>
                  <a:lnTo>
                    <a:pt x="1936" y="628"/>
                  </a:lnTo>
                  <a:lnTo>
                    <a:pt x="1945" y="623"/>
                  </a:lnTo>
                  <a:lnTo>
                    <a:pt x="1945" y="621"/>
                  </a:lnTo>
                  <a:lnTo>
                    <a:pt x="1946" y="613"/>
                  </a:lnTo>
                  <a:lnTo>
                    <a:pt x="1946" y="611"/>
                  </a:lnTo>
                  <a:lnTo>
                    <a:pt x="1945" y="609"/>
                  </a:lnTo>
                  <a:lnTo>
                    <a:pt x="1943" y="608"/>
                  </a:lnTo>
                  <a:lnTo>
                    <a:pt x="1942" y="606"/>
                  </a:lnTo>
                  <a:lnTo>
                    <a:pt x="1935" y="608"/>
                  </a:lnTo>
                  <a:lnTo>
                    <a:pt x="1933" y="608"/>
                  </a:lnTo>
                  <a:lnTo>
                    <a:pt x="1932" y="609"/>
                  </a:lnTo>
                  <a:lnTo>
                    <a:pt x="1930" y="612"/>
                  </a:lnTo>
                  <a:lnTo>
                    <a:pt x="1930" y="623"/>
                  </a:lnTo>
                  <a:lnTo>
                    <a:pt x="1935" y="628"/>
                  </a:lnTo>
                  <a:close/>
                  <a:moveTo>
                    <a:pt x="1008" y="619"/>
                  </a:moveTo>
                  <a:lnTo>
                    <a:pt x="1009" y="619"/>
                  </a:lnTo>
                  <a:lnTo>
                    <a:pt x="1010" y="618"/>
                  </a:lnTo>
                  <a:lnTo>
                    <a:pt x="1010" y="616"/>
                  </a:lnTo>
                  <a:lnTo>
                    <a:pt x="1009" y="615"/>
                  </a:lnTo>
                  <a:lnTo>
                    <a:pt x="1008" y="613"/>
                  </a:lnTo>
                  <a:lnTo>
                    <a:pt x="1006" y="615"/>
                  </a:lnTo>
                  <a:lnTo>
                    <a:pt x="1005" y="615"/>
                  </a:lnTo>
                  <a:lnTo>
                    <a:pt x="1006" y="618"/>
                  </a:lnTo>
                  <a:lnTo>
                    <a:pt x="1008" y="619"/>
                  </a:lnTo>
                  <a:close/>
                  <a:moveTo>
                    <a:pt x="1893" y="753"/>
                  </a:moveTo>
                  <a:lnTo>
                    <a:pt x="1885" y="755"/>
                  </a:lnTo>
                  <a:lnTo>
                    <a:pt x="1883" y="755"/>
                  </a:lnTo>
                  <a:lnTo>
                    <a:pt x="1882" y="755"/>
                  </a:lnTo>
                  <a:lnTo>
                    <a:pt x="1882" y="756"/>
                  </a:lnTo>
                  <a:lnTo>
                    <a:pt x="1880" y="756"/>
                  </a:lnTo>
                  <a:lnTo>
                    <a:pt x="1882" y="758"/>
                  </a:lnTo>
                  <a:lnTo>
                    <a:pt x="1885" y="761"/>
                  </a:lnTo>
                  <a:lnTo>
                    <a:pt x="1886" y="761"/>
                  </a:lnTo>
                  <a:lnTo>
                    <a:pt x="1886" y="759"/>
                  </a:lnTo>
                  <a:lnTo>
                    <a:pt x="1888" y="759"/>
                  </a:lnTo>
                  <a:lnTo>
                    <a:pt x="1888" y="759"/>
                  </a:lnTo>
                  <a:lnTo>
                    <a:pt x="1890" y="762"/>
                  </a:lnTo>
                  <a:lnTo>
                    <a:pt x="1892" y="762"/>
                  </a:lnTo>
                  <a:lnTo>
                    <a:pt x="1896" y="758"/>
                  </a:lnTo>
                  <a:lnTo>
                    <a:pt x="1895" y="756"/>
                  </a:lnTo>
                  <a:lnTo>
                    <a:pt x="1893" y="755"/>
                  </a:lnTo>
                  <a:lnTo>
                    <a:pt x="1893" y="753"/>
                  </a:lnTo>
                  <a:close/>
                  <a:moveTo>
                    <a:pt x="1116" y="418"/>
                  </a:moveTo>
                  <a:lnTo>
                    <a:pt x="1120" y="416"/>
                  </a:lnTo>
                  <a:lnTo>
                    <a:pt x="1122" y="412"/>
                  </a:lnTo>
                  <a:lnTo>
                    <a:pt x="1123" y="411"/>
                  </a:lnTo>
                  <a:lnTo>
                    <a:pt x="1122" y="408"/>
                  </a:lnTo>
                  <a:lnTo>
                    <a:pt x="1116" y="409"/>
                  </a:lnTo>
                  <a:lnTo>
                    <a:pt x="1115" y="411"/>
                  </a:lnTo>
                  <a:lnTo>
                    <a:pt x="1115" y="414"/>
                  </a:lnTo>
                  <a:lnTo>
                    <a:pt x="1115" y="415"/>
                  </a:lnTo>
                  <a:lnTo>
                    <a:pt x="1116" y="418"/>
                  </a:lnTo>
                  <a:close/>
                  <a:moveTo>
                    <a:pt x="2353" y="1366"/>
                  </a:moveTo>
                  <a:lnTo>
                    <a:pt x="2351" y="1364"/>
                  </a:lnTo>
                  <a:lnTo>
                    <a:pt x="2348" y="1360"/>
                  </a:lnTo>
                  <a:lnTo>
                    <a:pt x="2348" y="1357"/>
                  </a:lnTo>
                  <a:lnTo>
                    <a:pt x="2348" y="1356"/>
                  </a:lnTo>
                  <a:lnTo>
                    <a:pt x="2348" y="1354"/>
                  </a:lnTo>
                  <a:lnTo>
                    <a:pt x="2344" y="1354"/>
                  </a:lnTo>
                  <a:lnTo>
                    <a:pt x="2341" y="1356"/>
                  </a:lnTo>
                  <a:lnTo>
                    <a:pt x="2341" y="1356"/>
                  </a:lnTo>
                  <a:lnTo>
                    <a:pt x="2344" y="1359"/>
                  </a:lnTo>
                  <a:lnTo>
                    <a:pt x="2346" y="1360"/>
                  </a:lnTo>
                  <a:lnTo>
                    <a:pt x="2346" y="1362"/>
                  </a:lnTo>
                  <a:lnTo>
                    <a:pt x="2347" y="1363"/>
                  </a:lnTo>
                  <a:lnTo>
                    <a:pt x="2348" y="1366"/>
                  </a:lnTo>
                  <a:lnTo>
                    <a:pt x="2350" y="1367"/>
                  </a:lnTo>
                  <a:lnTo>
                    <a:pt x="2351" y="1369"/>
                  </a:lnTo>
                  <a:lnTo>
                    <a:pt x="2353" y="1369"/>
                  </a:lnTo>
                  <a:lnTo>
                    <a:pt x="2353" y="1370"/>
                  </a:lnTo>
                  <a:lnTo>
                    <a:pt x="2356" y="1373"/>
                  </a:lnTo>
                  <a:lnTo>
                    <a:pt x="2356" y="1369"/>
                  </a:lnTo>
                  <a:lnTo>
                    <a:pt x="2354" y="1367"/>
                  </a:lnTo>
                  <a:lnTo>
                    <a:pt x="2353" y="1366"/>
                  </a:lnTo>
                  <a:close/>
                  <a:moveTo>
                    <a:pt x="2162" y="1511"/>
                  </a:moveTo>
                  <a:lnTo>
                    <a:pt x="2162" y="1513"/>
                  </a:lnTo>
                  <a:lnTo>
                    <a:pt x="2164" y="1514"/>
                  </a:lnTo>
                  <a:lnTo>
                    <a:pt x="2166" y="1513"/>
                  </a:lnTo>
                  <a:lnTo>
                    <a:pt x="2166" y="1511"/>
                  </a:lnTo>
                  <a:lnTo>
                    <a:pt x="2166" y="1509"/>
                  </a:lnTo>
                  <a:lnTo>
                    <a:pt x="2167" y="1506"/>
                  </a:lnTo>
                  <a:lnTo>
                    <a:pt x="2167" y="1504"/>
                  </a:lnTo>
                  <a:lnTo>
                    <a:pt x="2166" y="1504"/>
                  </a:lnTo>
                  <a:lnTo>
                    <a:pt x="2162" y="1511"/>
                  </a:lnTo>
                  <a:close/>
                  <a:moveTo>
                    <a:pt x="2137" y="1549"/>
                  </a:moveTo>
                  <a:lnTo>
                    <a:pt x="2136" y="1551"/>
                  </a:lnTo>
                  <a:lnTo>
                    <a:pt x="2136" y="1551"/>
                  </a:lnTo>
                  <a:lnTo>
                    <a:pt x="2137" y="1551"/>
                  </a:lnTo>
                  <a:lnTo>
                    <a:pt x="2139" y="1550"/>
                  </a:lnTo>
                  <a:lnTo>
                    <a:pt x="2137" y="1549"/>
                  </a:lnTo>
                  <a:lnTo>
                    <a:pt x="2137" y="1549"/>
                  </a:lnTo>
                  <a:close/>
                  <a:moveTo>
                    <a:pt x="2184" y="1477"/>
                  </a:moveTo>
                  <a:lnTo>
                    <a:pt x="2183" y="1479"/>
                  </a:lnTo>
                  <a:lnTo>
                    <a:pt x="2181" y="1483"/>
                  </a:lnTo>
                  <a:lnTo>
                    <a:pt x="2179" y="1486"/>
                  </a:lnTo>
                  <a:lnTo>
                    <a:pt x="2176" y="1486"/>
                  </a:lnTo>
                  <a:lnTo>
                    <a:pt x="2173" y="1489"/>
                  </a:lnTo>
                  <a:lnTo>
                    <a:pt x="2171" y="1489"/>
                  </a:lnTo>
                  <a:lnTo>
                    <a:pt x="2171" y="1489"/>
                  </a:lnTo>
                  <a:lnTo>
                    <a:pt x="2173" y="1490"/>
                  </a:lnTo>
                  <a:lnTo>
                    <a:pt x="2173" y="1493"/>
                  </a:lnTo>
                  <a:lnTo>
                    <a:pt x="2173" y="1494"/>
                  </a:lnTo>
                  <a:lnTo>
                    <a:pt x="2174" y="1494"/>
                  </a:lnTo>
                  <a:lnTo>
                    <a:pt x="2176" y="1494"/>
                  </a:lnTo>
                  <a:lnTo>
                    <a:pt x="2177" y="1491"/>
                  </a:lnTo>
                  <a:lnTo>
                    <a:pt x="2179" y="1491"/>
                  </a:lnTo>
                  <a:lnTo>
                    <a:pt x="2181" y="1490"/>
                  </a:lnTo>
                  <a:lnTo>
                    <a:pt x="2183" y="1489"/>
                  </a:lnTo>
                  <a:lnTo>
                    <a:pt x="2186" y="1484"/>
                  </a:lnTo>
                  <a:lnTo>
                    <a:pt x="2186" y="1481"/>
                  </a:lnTo>
                  <a:lnTo>
                    <a:pt x="2186" y="1479"/>
                  </a:lnTo>
                  <a:lnTo>
                    <a:pt x="2186" y="1476"/>
                  </a:lnTo>
                  <a:lnTo>
                    <a:pt x="2184" y="1477"/>
                  </a:lnTo>
                  <a:close/>
                  <a:moveTo>
                    <a:pt x="2190" y="1474"/>
                  </a:moveTo>
                  <a:lnTo>
                    <a:pt x="2187" y="1476"/>
                  </a:lnTo>
                  <a:lnTo>
                    <a:pt x="2187" y="1477"/>
                  </a:lnTo>
                  <a:lnTo>
                    <a:pt x="2187" y="1479"/>
                  </a:lnTo>
                  <a:lnTo>
                    <a:pt x="2190" y="1480"/>
                  </a:lnTo>
                  <a:lnTo>
                    <a:pt x="2190" y="1480"/>
                  </a:lnTo>
                  <a:lnTo>
                    <a:pt x="2191" y="1479"/>
                  </a:lnTo>
                  <a:lnTo>
                    <a:pt x="2191" y="1477"/>
                  </a:lnTo>
                  <a:lnTo>
                    <a:pt x="2193" y="1474"/>
                  </a:lnTo>
                  <a:lnTo>
                    <a:pt x="2191" y="1474"/>
                  </a:lnTo>
                  <a:lnTo>
                    <a:pt x="2190" y="1474"/>
                  </a:lnTo>
                  <a:close/>
                  <a:moveTo>
                    <a:pt x="993" y="542"/>
                  </a:moveTo>
                  <a:lnTo>
                    <a:pt x="993" y="545"/>
                  </a:lnTo>
                  <a:lnTo>
                    <a:pt x="995" y="545"/>
                  </a:lnTo>
                  <a:lnTo>
                    <a:pt x="998" y="544"/>
                  </a:lnTo>
                  <a:lnTo>
                    <a:pt x="998" y="546"/>
                  </a:lnTo>
                  <a:lnTo>
                    <a:pt x="999" y="548"/>
                  </a:lnTo>
                  <a:lnTo>
                    <a:pt x="1000" y="542"/>
                  </a:lnTo>
                  <a:lnTo>
                    <a:pt x="1002" y="542"/>
                  </a:lnTo>
                  <a:lnTo>
                    <a:pt x="1003" y="541"/>
                  </a:lnTo>
                  <a:lnTo>
                    <a:pt x="1003" y="539"/>
                  </a:lnTo>
                  <a:lnTo>
                    <a:pt x="1002" y="536"/>
                  </a:lnTo>
                  <a:lnTo>
                    <a:pt x="1002" y="531"/>
                  </a:lnTo>
                  <a:lnTo>
                    <a:pt x="1000" y="531"/>
                  </a:lnTo>
                  <a:lnTo>
                    <a:pt x="998" y="532"/>
                  </a:lnTo>
                  <a:lnTo>
                    <a:pt x="998" y="534"/>
                  </a:lnTo>
                  <a:lnTo>
                    <a:pt x="998" y="538"/>
                  </a:lnTo>
                  <a:lnTo>
                    <a:pt x="998" y="538"/>
                  </a:lnTo>
                  <a:lnTo>
                    <a:pt x="995" y="535"/>
                  </a:lnTo>
                  <a:lnTo>
                    <a:pt x="992" y="541"/>
                  </a:lnTo>
                  <a:lnTo>
                    <a:pt x="992" y="542"/>
                  </a:lnTo>
                  <a:lnTo>
                    <a:pt x="993" y="542"/>
                  </a:lnTo>
                  <a:close/>
                  <a:moveTo>
                    <a:pt x="2177" y="1476"/>
                  </a:moveTo>
                  <a:lnTo>
                    <a:pt x="2179" y="1474"/>
                  </a:lnTo>
                  <a:lnTo>
                    <a:pt x="2179" y="1474"/>
                  </a:lnTo>
                  <a:lnTo>
                    <a:pt x="2179" y="1473"/>
                  </a:lnTo>
                  <a:lnTo>
                    <a:pt x="2177" y="1471"/>
                  </a:lnTo>
                  <a:lnTo>
                    <a:pt x="2176" y="1473"/>
                  </a:lnTo>
                  <a:lnTo>
                    <a:pt x="2176" y="1474"/>
                  </a:lnTo>
                  <a:lnTo>
                    <a:pt x="2177" y="1474"/>
                  </a:lnTo>
                  <a:lnTo>
                    <a:pt x="2177" y="1476"/>
                  </a:lnTo>
                  <a:close/>
                  <a:moveTo>
                    <a:pt x="2123" y="1566"/>
                  </a:moveTo>
                  <a:lnTo>
                    <a:pt x="2122" y="1567"/>
                  </a:lnTo>
                  <a:lnTo>
                    <a:pt x="2119" y="1571"/>
                  </a:lnTo>
                  <a:lnTo>
                    <a:pt x="2116" y="1571"/>
                  </a:lnTo>
                  <a:lnTo>
                    <a:pt x="2116" y="1571"/>
                  </a:lnTo>
                  <a:lnTo>
                    <a:pt x="2116" y="1573"/>
                  </a:lnTo>
                  <a:lnTo>
                    <a:pt x="2117" y="1573"/>
                  </a:lnTo>
                  <a:lnTo>
                    <a:pt x="2120" y="1570"/>
                  </a:lnTo>
                  <a:lnTo>
                    <a:pt x="2124" y="1564"/>
                  </a:lnTo>
                  <a:lnTo>
                    <a:pt x="2124" y="1564"/>
                  </a:lnTo>
                  <a:lnTo>
                    <a:pt x="2123" y="1566"/>
                  </a:lnTo>
                  <a:close/>
                  <a:moveTo>
                    <a:pt x="2154" y="1523"/>
                  </a:moveTo>
                  <a:lnTo>
                    <a:pt x="2154" y="1524"/>
                  </a:lnTo>
                  <a:lnTo>
                    <a:pt x="2153" y="1526"/>
                  </a:lnTo>
                  <a:lnTo>
                    <a:pt x="2153" y="1526"/>
                  </a:lnTo>
                  <a:lnTo>
                    <a:pt x="2153" y="1527"/>
                  </a:lnTo>
                  <a:lnTo>
                    <a:pt x="2154" y="1526"/>
                  </a:lnTo>
                  <a:lnTo>
                    <a:pt x="2156" y="1524"/>
                  </a:lnTo>
                  <a:lnTo>
                    <a:pt x="2156" y="1523"/>
                  </a:lnTo>
                  <a:lnTo>
                    <a:pt x="2156" y="1523"/>
                  </a:lnTo>
                  <a:lnTo>
                    <a:pt x="2154" y="1523"/>
                  </a:lnTo>
                  <a:close/>
                  <a:moveTo>
                    <a:pt x="2025" y="1649"/>
                  </a:moveTo>
                  <a:lnTo>
                    <a:pt x="2025" y="1649"/>
                  </a:lnTo>
                  <a:lnTo>
                    <a:pt x="2025" y="1650"/>
                  </a:lnTo>
                  <a:lnTo>
                    <a:pt x="2025" y="1650"/>
                  </a:lnTo>
                  <a:lnTo>
                    <a:pt x="2026" y="1649"/>
                  </a:lnTo>
                  <a:lnTo>
                    <a:pt x="2026" y="1649"/>
                  </a:lnTo>
                  <a:lnTo>
                    <a:pt x="2026" y="1649"/>
                  </a:lnTo>
                  <a:lnTo>
                    <a:pt x="2026" y="1649"/>
                  </a:lnTo>
                  <a:lnTo>
                    <a:pt x="2025" y="1649"/>
                  </a:lnTo>
                  <a:close/>
                  <a:moveTo>
                    <a:pt x="2030" y="1644"/>
                  </a:moveTo>
                  <a:lnTo>
                    <a:pt x="2029" y="1644"/>
                  </a:lnTo>
                  <a:lnTo>
                    <a:pt x="2029" y="1644"/>
                  </a:lnTo>
                  <a:lnTo>
                    <a:pt x="2029" y="1644"/>
                  </a:lnTo>
                  <a:lnTo>
                    <a:pt x="2029" y="1644"/>
                  </a:lnTo>
                  <a:lnTo>
                    <a:pt x="2030" y="1644"/>
                  </a:lnTo>
                  <a:lnTo>
                    <a:pt x="2030" y="1644"/>
                  </a:lnTo>
                  <a:lnTo>
                    <a:pt x="2030" y="1644"/>
                  </a:lnTo>
                  <a:lnTo>
                    <a:pt x="2030" y="1644"/>
                  </a:lnTo>
                  <a:close/>
                  <a:moveTo>
                    <a:pt x="2027" y="1626"/>
                  </a:moveTo>
                  <a:lnTo>
                    <a:pt x="2026" y="1626"/>
                  </a:lnTo>
                  <a:lnTo>
                    <a:pt x="2023" y="1630"/>
                  </a:lnTo>
                  <a:lnTo>
                    <a:pt x="2023" y="1631"/>
                  </a:lnTo>
                  <a:lnTo>
                    <a:pt x="2022" y="1633"/>
                  </a:lnTo>
                  <a:lnTo>
                    <a:pt x="2020" y="1634"/>
                  </a:lnTo>
                  <a:lnTo>
                    <a:pt x="2020" y="1634"/>
                  </a:lnTo>
                  <a:lnTo>
                    <a:pt x="2019" y="1637"/>
                  </a:lnTo>
                  <a:lnTo>
                    <a:pt x="2016" y="1640"/>
                  </a:lnTo>
                  <a:lnTo>
                    <a:pt x="2015" y="1640"/>
                  </a:lnTo>
                  <a:lnTo>
                    <a:pt x="2015" y="1643"/>
                  </a:lnTo>
                  <a:lnTo>
                    <a:pt x="2017" y="1644"/>
                  </a:lnTo>
                  <a:lnTo>
                    <a:pt x="2017" y="1640"/>
                  </a:lnTo>
                  <a:lnTo>
                    <a:pt x="2020" y="1637"/>
                  </a:lnTo>
                  <a:lnTo>
                    <a:pt x="2023" y="1636"/>
                  </a:lnTo>
                  <a:lnTo>
                    <a:pt x="2023" y="1634"/>
                  </a:lnTo>
                  <a:lnTo>
                    <a:pt x="2026" y="1631"/>
                  </a:lnTo>
                  <a:lnTo>
                    <a:pt x="2027" y="1630"/>
                  </a:lnTo>
                  <a:lnTo>
                    <a:pt x="2029" y="1630"/>
                  </a:lnTo>
                  <a:lnTo>
                    <a:pt x="2032" y="1629"/>
                  </a:lnTo>
                  <a:lnTo>
                    <a:pt x="2033" y="1629"/>
                  </a:lnTo>
                  <a:lnTo>
                    <a:pt x="2033" y="1627"/>
                  </a:lnTo>
                  <a:lnTo>
                    <a:pt x="2030" y="1627"/>
                  </a:lnTo>
                  <a:lnTo>
                    <a:pt x="2027" y="1626"/>
                  </a:lnTo>
                  <a:close/>
                  <a:moveTo>
                    <a:pt x="2023" y="1649"/>
                  </a:moveTo>
                  <a:lnTo>
                    <a:pt x="2023" y="1649"/>
                  </a:lnTo>
                  <a:lnTo>
                    <a:pt x="2023" y="1649"/>
                  </a:lnTo>
                  <a:lnTo>
                    <a:pt x="2022" y="1649"/>
                  </a:lnTo>
                  <a:lnTo>
                    <a:pt x="2022" y="1649"/>
                  </a:lnTo>
                  <a:lnTo>
                    <a:pt x="2022" y="1649"/>
                  </a:lnTo>
                  <a:lnTo>
                    <a:pt x="2022" y="1649"/>
                  </a:lnTo>
                  <a:lnTo>
                    <a:pt x="2023" y="1649"/>
                  </a:lnTo>
                  <a:lnTo>
                    <a:pt x="2023" y="1649"/>
                  </a:lnTo>
                  <a:lnTo>
                    <a:pt x="2023" y="1649"/>
                  </a:lnTo>
                  <a:lnTo>
                    <a:pt x="2023" y="1649"/>
                  </a:lnTo>
                  <a:lnTo>
                    <a:pt x="2023" y="1649"/>
                  </a:lnTo>
                  <a:lnTo>
                    <a:pt x="2023" y="1649"/>
                  </a:lnTo>
                  <a:lnTo>
                    <a:pt x="2023" y="1649"/>
                  </a:lnTo>
                  <a:close/>
                  <a:moveTo>
                    <a:pt x="2070" y="1604"/>
                  </a:moveTo>
                  <a:lnTo>
                    <a:pt x="2070" y="1603"/>
                  </a:lnTo>
                  <a:lnTo>
                    <a:pt x="2069" y="1603"/>
                  </a:lnTo>
                  <a:lnTo>
                    <a:pt x="2069" y="1601"/>
                  </a:lnTo>
                  <a:lnTo>
                    <a:pt x="2067" y="1603"/>
                  </a:lnTo>
                  <a:lnTo>
                    <a:pt x="2066" y="1603"/>
                  </a:lnTo>
                  <a:lnTo>
                    <a:pt x="2062" y="1607"/>
                  </a:lnTo>
                  <a:lnTo>
                    <a:pt x="2059" y="1609"/>
                  </a:lnTo>
                  <a:lnTo>
                    <a:pt x="2057" y="1609"/>
                  </a:lnTo>
                  <a:lnTo>
                    <a:pt x="2056" y="1606"/>
                  </a:lnTo>
                  <a:lnTo>
                    <a:pt x="2055" y="1606"/>
                  </a:lnTo>
                  <a:lnTo>
                    <a:pt x="2055" y="1607"/>
                  </a:lnTo>
                  <a:lnTo>
                    <a:pt x="2055" y="1609"/>
                  </a:lnTo>
                  <a:lnTo>
                    <a:pt x="2053" y="1610"/>
                  </a:lnTo>
                  <a:lnTo>
                    <a:pt x="2050" y="1611"/>
                  </a:lnTo>
                  <a:lnTo>
                    <a:pt x="2049" y="1613"/>
                  </a:lnTo>
                  <a:lnTo>
                    <a:pt x="2047" y="1616"/>
                  </a:lnTo>
                  <a:lnTo>
                    <a:pt x="2045" y="1617"/>
                  </a:lnTo>
                  <a:lnTo>
                    <a:pt x="2043" y="1620"/>
                  </a:lnTo>
                  <a:lnTo>
                    <a:pt x="2043" y="1621"/>
                  </a:lnTo>
                  <a:lnTo>
                    <a:pt x="2040" y="1624"/>
                  </a:lnTo>
                  <a:lnTo>
                    <a:pt x="2039" y="1626"/>
                  </a:lnTo>
                  <a:lnTo>
                    <a:pt x="2039" y="1627"/>
                  </a:lnTo>
                  <a:lnTo>
                    <a:pt x="2042" y="1624"/>
                  </a:lnTo>
                  <a:lnTo>
                    <a:pt x="2043" y="1624"/>
                  </a:lnTo>
                  <a:lnTo>
                    <a:pt x="2045" y="1621"/>
                  </a:lnTo>
                  <a:lnTo>
                    <a:pt x="2049" y="1617"/>
                  </a:lnTo>
                  <a:lnTo>
                    <a:pt x="2050" y="1617"/>
                  </a:lnTo>
                  <a:lnTo>
                    <a:pt x="2050" y="1616"/>
                  </a:lnTo>
                  <a:lnTo>
                    <a:pt x="2050" y="1614"/>
                  </a:lnTo>
                  <a:lnTo>
                    <a:pt x="2053" y="1614"/>
                  </a:lnTo>
                  <a:lnTo>
                    <a:pt x="2055" y="1614"/>
                  </a:lnTo>
                  <a:lnTo>
                    <a:pt x="2056" y="1613"/>
                  </a:lnTo>
                  <a:lnTo>
                    <a:pt x="2060" y="1609"/>
                  </a:lnTo>
                  <a:lnTo>
                    <a:pt x="2063" y="1609"/>
                  </a:lnTo>
                  <a:lnTo>
                    <a:pt x="2066" y="1607"/>
                  </a:lnTo>
                  <a:lnTo>
                    <a:pt x="2069" y="1607"/>
                  </a:lnTo>
                  <a:lnTo>
                    <a:pt x="2070" y="1606"/>
                  </a:lnTo>
                  <a:lnTo>
                    <a:pt x="2069" y="1604"/>
                  </a:lnTo>
                  <a:lnTo>
                    <a:pt x="2070" y="1604"/>
                  </a:lnTo>
                  <a:close/>
                  <a:moveTo>
                    <a:pt x="2093" y="1587"/>
                  </a:moveTo>
                  <a:lnTo>
                    <a:pt x="2087" y="1591"/>
                  </a:lnTo>
                  <a:lnTo>
                    <a:pt x="2084" y="1594"/>
                  </a:lnTo>
                  <a:lnTo>
                    <a:pt x="2083" y="1594"/>
                  </a:lnTo>
                  <a:lnTo>
                    <a:pt x="2079" y="1600"/>
                  </a:lnTo>
                  <a:lnTo>
                    <a:pt x="2082" y="1600"/>
                  </a:lnTo>
                  <a:lnTo>
                    <a:pt x="2083" y="1600"/>
                  </a:lnTo>
                  <a:lnTo>
                    <a:pt x="2086" y="1596"/>
                  </a:lnTo>
                  <a:lnTo>
                    <a:pt x="2087" y="1596"/>
                  </a:lnTo>
                  <a:lnTo>
                    <a:pt x="2089" y="1594"/>
                  </a:lnTo>
                  <a:lnTo>
                    <a:pt x="2092" y="1593"/>
                  </a:lnTo>
                  <a:lnTo>
                    <a:pt x="2092" y="1591"/>
                  </a:lnTo>
                  <a:lnTo>
                    <a:pt x="2097" y="1586"/>
                  </a:lnTo>
                  <a:lnTo>
                    <a:pt x="2094" y="1586"/>
                  </a:lnTo>
                  <a:lnTo>
                    <a:pt x="2093" y="1587"/>
                  </a:lnTo>
                  <a:close/>
                  <a:moveTo>
                    <a:pt x="2037" y="1640"/>
                  </a:moveTo>
                  <a:lnTo>
                    <a:pt x="2035" y="1640"/>
                  </a:lnTo>
                  <a:lnTo>
                    <a:pt x="2035" y="1641"/>
                  </a:lnTo>
                  <a:lnTo>
                    <a:pt x="2035" y="1643"/>
                  </a:lnTo>
                  <a:lnTo>
                    <a:pt x="2035" y="1643"/>
                  </a:lnTo>
                  <a:lnTo>
                    <a:pt x="2036" y="1643"/>
                  </a:lnTo>
                  <a:lnTo>
                    <a:pt x="2039" y="1641"/>
                  </a:lnTo>
                  <a:lnTo>
                    <a:pt x="2039" y="1640"/>
                  </a:lnTo>
                  <a:lnTo>
                    <a:pt x="2037" y="1640"/>
                  </a:lnTo>
                  <a:close/>
                  <a:moveTo>
                    <a:pt x="2099" y="1242"/>
                  </a:moveTo>
                  <a:lnTo>
                    <a:pt x="2097" y="1243"/>
                  </a:lnTo>
                  <a:lnTo>
                    <a:pt x="2096" y="1244"/>
                  </a:lnTo>
                  <a:lnTo>
                    <a:pt x="2096" y="1246"/>
                  </a:lnTo>
                  <a:lnTo>
                    <a:pt x="2096" y="1246"/>
                  </a:lnTo>
                  <a:lnTo>
                    <a:pt x="2097" y="1246"/>
                  </a:lnTo>
                  <a:lnTo>
                    <a:pt x="2100" y="1243"/>
                  </a:lnTo>
                  <a:lnTo>
                    <a:pt x="2100" y="1243"/>
                  </a:lnTo>
                  <a:lnTo>
                    <a:pt x="2099" y="1242"/>
                  </a:lnTo>
                  <a:close/>
                  <a:moveTo>
                    <a:pt x="2321" y="1240"/>
                  </a:moveTo>
                  <a:lnTo>
                    <a:pt x="2321" y="1239"/>
                  </a:lnTo>
                  <a:lnTo>
                    <a:pt x="2316" y="1243"/>
                  </a:lnTo>
                  <a:lnTo>
                    <a:pt x="2308" y="1246"/>
                  </a:lnTo>
                  <a:lnTo>
                    <a:pt x="2308" y="1247"/>
                  </a:lnTo>
                  <a:lnTo>
                    <a:pt x="2308" y="1249"/>
                  </a:lnTo>
                  <a:lnTo>
                    <a:pt x="2308" y="1253"/>
                  </a:lnTo>
                  <a:lnTo>
                    <a:pt x="2306" y="1257"/>
                  </a:lnTo>
                  <a:lnTo>
                    <a:pt x="2303" y="1260"/>
                  </a:lnTo>
                  <a:lnTo>
                    <a:pt x="2303" y="1260"/>
                  </a:lnTo>
                  <a:lnTo>
                    <a:pt x="2304" y="1262"/>
                  </a:lnTo>
                  <a:lnTo>
                    <a:pt x="2304" y="1262"/>
                  </a:lnTo>
                  <a:lnTo>
                    <a:pt x="2307" y="1259"/>
                  </a:lnTo>
                  <a:lnTo>
                    <a:pt x="2311" y="1254"/>
                  </a:lnTo>
                  <a:lnTo>
                    <a:pt x="2317" y="1252"/>
                  </a:lnTo>
                  <a:lnTo>
                    <a:pt x="2323" y="1250"/>
                  </a:lnTo>
                  <a:lnTo>
                    <a:pt x="2323" y="1247"/>
                  </a:lnTo>
                  <a:lnTo>
                    <a:pt x="2323" y="1243"/>
                  </a:lnTo>
                  <a:lnTo>
                    <a:pt x="2321" y="1240"/>
                  </a:lnTo>
                  <a:close/>
                  <a:moveTo>
                    <a:pt x="906" y="227"/>
                  </a:moveTo>
                  <a:lnTo>
                    <a:pt x="911" y="229"/>
                  </a:lnTo>
                  <a:lnTo>
                    <a:pt x="913" y="229"/>
                  </a:lnTo>
                  <a:lnTo>
                    <a:pt x="913" y="234"/>
                  </a:lnTo>
                  <a:lnTo>
                    <a:pt x="916" y="234"/>
                  </a:lnTo>
                  <a:lnTo>
                    <a:pt x="929" y="232"/>
                  </a:lnTo>
                  <a:lnTo>
                    <a:pt x="928" y="231"/>
                  </a:lnTo>
                  <a:lnTo>
                    <a:pt x="925" y="228"/>
                  </a:lnTo>
                  <a:lnTo>
                    <a:pt x="911" y="221"/>
                  </a:lnTo>
                  <a:lnTo>
                    <a:pt x="909" y="222"/>
                  </a:lnTo>
                  <a:lnTo>
                    <a:pt x="908" y="219"/>
                  </a:lnTo>
                  <a:lnTo>
                    <a:pt x="906" y="218"/>
                  </a:lnTo>
                  <a:lnTo>
                    <a:pt x="905" y="221"/>
                  </a:lnTo>
                  <a:lnTo>
                    <a:pt x="905" y="222"/>
                  </a:lnTo>
                  <a:lnTo>
                    <a:pt x="906" y="227"/>
                  </a:lnTo>
                  <a:close/>
                  <a:moveTo>
                    <a:pt x="906" y="649"/>
                  </a:moveTo>
                  <a:lnTo>
                    <a:pt x="905" y="651"/>
                  </a:lnTo>
                  <a:lnTo>
                    <a:pt x="908" y="653"/>
                  </a:lnTo>
                  <a:lnTo>
                    <a:pt x="913" y="655"/>
                  </a:lnTo>
                  <a:lnTo>
                    <a:pt x="915" y="655"/>
                  </a:lnTo>
                  <a:lnTo>
                    <a:pt x="908" y="649"/>
                  </a:lnTo>
                  <a:lnTo>
                    <a:pt x="906" y="649"/>
                  </a:lnTo>
                  <a:close/>
                  <a:moveTo>
                    <a:pt x="901" y="653"/>
                  </a:moveTo>
                  <a:lnTo>
                    <a:pt x="902" y="652"/>
                  </a:lnTo>
                  <a:lnTo>
                    <a:pt x="905" y="649"/>
                  </a:lnTo>
                  <a:lnTo>
                    <a:pt x="903" y="648"/>
                  </a:lnTo>
                  <a:lnTo>
                    <a:pt x="902" y="648"/>
                  </a:lnTo>
                  <a:lnTo>
                    <a:pt x="896" y="649"/>
                  </a:lnTo>
                  <a:lnTo>
                    <a:pt x="893" y="653"/>
                  </a:lnTo>
                  <a:lnTo>
                    <a:pt x="893" y="655"/>
                  </a:lnTo>
                  <a:lnTo>
                    <a:pt x="895" y="653"/>
                  </a:lnTo>
                  <a:lnTo>
                    <a:pt x="901" y="653"/>
                  </a:lnTo>
                  <a:close/>
                  <a:moveTo>
                    <a:pt x="878" y="685"/>
                  </a:moveTo>
                  <a:lnTo>
                    <a:pt x="881" y="686"/>
                  </a:lnTo>
                  <a:lnTo>
                    <a:pt x="882" y="686"/>
                  </a:lnTo>
                  <a:lnTo>
                    <a:pt x="882" y="686"/>
                  </a:lnTo>
                  <a:lnTo>
                    <a:pt x="882" y="685"/>
                  </a:lnTo>
                  <a:lnTo>
                    <a:pt x="882" y="683"/>
                  </a:lnTo>
                  <a:lnTo>
                    <a:pt x="882" y="681"/>
                  </a:lnTo>
                  <a:lnTo>
                    <a:pt x="883" y="678"/>
                  </a:lnTo>
                  <a:lnTo>
                    <a:pt x="886" y="676"/>
                  </a:lnTo>
                  <a:lnTo>
                    <a:pt x="883" y="673"/>
                  </a:lnTo>
                  <a:lnTo>
                    <a:pt x="881" y="673"/>
                  </a:lnTo>
                  <a:lnTo>
                    <a:pt x="878" y="672"/>
                  </a:lnTo>
                  <a:lnTo>
                    <a:pt x="875" y="673"/>
                  </a:lnTo>
                  <a:lnTo>
                    <a:pt x="873" y="675"/>
                  </a:lnTo>
                  <a:lnTo>
                    <a:pt x="873" y="678"/>
                  </a:lnTo>
                  <a:lnTo>
                    <a:pt x="875" y="681"/>
                  </a:lnTo>
                  <a:lnTo>
                    <a:pt x="878" y="685"/>
                  </a:lnTo>
                  <a:close/>
                  <a:moveTo>
                    <a:pt x="953" y="110"/>
                  </a:moveTo>
                  <a:lnTo>
                    <a:pt x="968" y="107"/>
                  </a:lnTo>
                  <a:lnTo>
                    <a:pt x="973" y="104"/>
                  </a:lnTo>
                  <a:lnTo>
                    <a:pt x="973" y="102"/>
                  </a:lnTo>
                  <a:lnTo>
                    <a:pt x="975" y="98"/>
                  </a:lnTo>
                  <a:lnTo>
                    <a:pt x="972" y="95"/>
                  </a:lnTo>
                  <a:lnTo>
                    <a:pt x="965" y="94"/>
                  </a:lnTo>
                  <a:lnTo>
                    <a:pt x="955" y="95"/>
                  </a:lnTo>
                  <a:lnTo>
                    <a:pt x="953" y="98"/>
                  </a:lnTo>
                  <a:lnTo>
                    <a:pt x="950" y="107"/>
                  </a:lnTo>
                  <a:lnTo>
                    <a:pt x="952" y="108"/>
                  </a:lnTo>
                  <a:lnTo>
                    <a:pt x="953" y="110"/>
                  </a:lnTo>
                  <a:close/>
                  <a:moveTo>
                    <a:pt x="809" y="676"/>
                  </a:moveTo>
                  <a:lnTo>
                    <a:pt x="812" y="678"/>
                  </a:lnTo>
                  <a:lnTo>
                    <a:pt x="814" y="676"/>
                  </a:lnTo>
                  <a:lnTo>
                    <a:pt x="818" y="675"/>
                  </a:lnTo>
                  <a:lnTo>
                    <a:pt x="822" y="673"/>
                  </a:lnTo>
                  <a:lnTo>
                    <a:pt x="829" y="671"/>
                  </a:lnTo>
                  <a:lnTo>
                    <a:pt x="833" y="671"/>
                  </a:lnTo>
                  <a:lnTo>
                    <a:pt x="833" y="668"/>
                  </a:lnTo>
                  <a:lnTo>
                    <a:pt x="832" y="663"/>
                  </a:lnTo>
                  <a:lnTo>
                    <a:pt x="831" y="661"/>
                  </a:lnTo>
                  <a:lnTo>
                    <a:pt x="829" y="659"/>
                  </a:lnTo>
                  <a:lnTo>
                    <a:pt x="826" y="655"/>
                  </a:lnTo>
                  <a:lnTo>
                    <a:pt x="825" y="653"/>
                  </a:lnTo>
                  <a:lnTo>
                    <a:pt x="824" y="652"/>
                  </a:lnTo>
                  <a:lnTo>
                    <a:pt x="822" y="651"/>
                  </a:lnTo>
                  <a:lnTo>
                    <a:pt x="814" y="653"/>
                  </a:lnTo>
                  <a:lnTo>
                    <a:pt x="809" y="655"/>
                  </a:lnTo>
                  <a:lnTo>
                    <a:pt x="808" y="659"/>
                  </a:lnTo>
                  <a:lnTo>
                    <a:pt x="808" y="668"/>
                  </a:lnTo>
                  <a:lnTo>
                    <a:pt x="806" y="671"/>
                  </a:lnTo>
                  <a:lnTo>
                    <a:pt x="806" y="672"/>
                  </a:lnTo>
                  <a:lnTo>
                    <a:pt x="806" y="675"/>
                  </a:lnTo>
                  <a:lnTo>
                    <a:pt x="808" y="678"/>
                  </a:lnTo>
                  <a:lnTo>
                    <a:pt x="809" y="676"/>
                  </a:lnTo>
                  <a:close/>
                  <a:moveTo>
                    <a:pt x="949" y="693"/>
                  </a:moveTo>
                  <a:lnTo>
                    <a:pt x="958" y="695"/>
                  </a:lnTo>
                  <a:lnTo>
                    <a:pt x="959" y="695"/>
                  </a:lnTo>
                  <a:lnTo>
                    <a:pt x="960" y="692"/>
                  </a:lnTo>
                  <a:lnTo>
                    <a:pt x="960" y="683"/>
                  </a:lnTo>
                  <a:lnTo>
                    <a:pt x="958" y="681"/>
                  </a:lnTo>
                  <a:lnTo>
                    <a:pt x="958" y="678"/>
                  </a:lnTo>
                  <a:lnTo>
                    <a:pt x="955" y="675"/>
                  </a:lnTo>
                  <a:lnTo>
                    <a:pt x="946" y="685"/>
                  </a:lnTo>
                  <a:lnTo>
                    <a:pt x="946" y="688"/>
                  </a:lnTo>
                  <a:lnTo>
                    <a:pt x="946" y="691"/>
                  </a:lnTo>
                  <a:lnTo>
                    <a:pt x="949" y="693"/>
                  </a:lnTo>
                  <a:close/>
                  <a:moveTo>
                    <a:pt x="2374" y="1373"/>
                  </a:moveTo>
                  <a:lnTo>
                    <a:pt x="2373" y="1370"/>
                  </a:lnTo>
                  <a:lnTo>
                    <a:pt x="2370" y="1370"/>
                  </a:lnTo>
                  <a:lnTo>
                    <a:pt x="2368" y="1369"/>
                  </a:lnTo>
                  <a:lnTo>
                    <a:pt x="2367" y="1369"/>
                  </a:lnTo>
                  <a:lnTo>
                    <a:pt x="2368" y="1370"/>
                  </a:lnTo>
                  <a:lnTo>
                    <a:pt x="2371" y="1373"/>
                  </a:lnTo>
                  <a:lnTo>
                    <a:pt x="2378" y="1377"/>
                  </a:lnTo>
                  <a:lnTo>
                    <a:pt x="2377" y="1376"/>
                  </a:lnTo>
                  <a:lnTo>
                    <a:pt x="2374" y="1373"/>
                  </a:lnTo>
                  <a:close/>
                  <a:moveTo>
                    <a:pt x="925" y="703"/>
                  </a:moveTo>
                  <a:lnTo>
                    <a:pt x="923" y="708"/>
                  </a:lnTo>
                  <a:lnTo>
                    <a:pt x="922" y="709"/>
                  </a:lnTo>
                  <a:lnTo>
                    <a:pt x="918" y="713"/>
                  </a:lnTo>
                  <a:lnTo>
                    <a:pt x="918" y="716"/>
                  </a:lnTo>
                  <a:lnTo>
                    <a:pt x="918" y="718"/>
                  </a:lnTo>
                  <a:lnTo>
                    <a:pt x="922" y="718"/>
                  </a:lnTo>
                  <a:lnTo>
                    <a:pt x="929" y="718"/>
                  </a:lnTo>
                  <a:lnTo>
                    <a:pt x="932" y="716"/>
                  </a:lnTo>
                  <a:lnTo>
                    <a:pt x="936" y="712"/>
                  </a:lnTo>
                  <a:lnTo>
                    <a:pt x="938" y="711"/>
                  </a:lnTo>
                  <a:lnTo>
                    <a:pt x="942" y="708"/>
                  </a:lnTo>
                  <a:lnTo>
                    <a:pt x="940" y="706"/>
                  </a:lnTo>
                  <a:lnTo>
                    <a:pt x="940" y="703"/>
                  </a:lnTo>
                  <a:lnTo>
                    <a:pt x="932" y="699"/>
                  </a:lnTo>
                  <a:lnTo>
                    <a:pt x="929" y="699"/>
                  </a:lnTo>
                  <a:lnTo>
                    <a:pt x="925" y="703"/>
                  </a:lnTo>
                  <a:close/>
                  <a:moveTo>
                    <a:pt x="1880" y="1362"/>
                  </a:moveTo>
                  <a:lnTo>
                    <a:pt x="1876" y="1364"/>
                  </a:lnTo>
                  <a:lnTo>
                    <a:pt x="1876" y="1366"/>
                  </a:lnTo>
                  <a:lnTo>
                    <a:pt x="1876" y="1366"/>
                  </a:lnTo>
                  <a:lnTo>
                    <a:pt x="1879" y="1366"/>
                  </a:lnTo>
                  <a:lnTo>
                    <a:pt x="1879" y="1366"/>
                  </a:lnTo>
                  <a:lnTo>
                    <a:pt x="1880" y="1366"/>
                  </a:lnTo>
                  <a:lnTo>
                    <a:pt x="1883" y="1362"/>
                  </a:lnTo>
                  <a:lnTo>
                    <a:pt x="1883" y="1362"/>
                  </a:lnTo>
                  <a:lnTo>
                    <a:pt x="1882" y="1362"/>
                  </a:lnTo>
                  <a:lnTo>
                    <a:pt x="1880" y="1362"/>
                  </a:lnTo>
                  <a:close/>
                  <a:moveTo>
                    <a:pt x="1896" y="1363"/>
                  </a:moveTo>
                  <a:lnTo>
                    <a:pt x="1895" y="1362"/>
                  </a:lnTo>
                  <a:lnTo>
                    <a:pt x="1895" y="1362"/>
                  </a:lnTo>
                  <a:lnTo>
                    <a:pt x="1889" y="1359"/>
                  </a:lnTo>
                  <a:lnTo>
                    <a:pt x="1889" y="1360"/>
                  </a:lnTo>
                  <a:lnTo>
                    <a:pt x="1888" y="1364"/>
                  </a:lnTo>
                  <a:lnTo>
                    <a:pt x="1886" y="1364"/>
                  </a:lnTo>
                  <a:lnTo>
                    <a:pt x="1885" y="1367"/>
                  </a:lnTo>
                  <a:lnTo>
                    <a:pt x="1883" y="1370"/>
                  </a:lnTo>
                  <a:lnTo>
                    <a:pt x="1885" y="1370"/>
                  </a:lnTo>
                  <a:lnTo>
                    <a:pt x="1888" y="1367"/>
                  </a:lnTo>
                  <a:lnTo>
                    <a:pt x="1889" y="1369"/>
                  </a:lnTo>
                  <a:lnTo>
                    <a:pt x="1890" y="1374"/>
                  </a:lnTo>
                  <a:lnTo>
                    <a:pt x="1892" y="1373"/>
                  </a:lnTo>
                  <a:lnTo>
                    <a:pt x="1893" y="1373"/>
                  </a:lnTo>
                  <a:lnTo>
                    <a:pt x="1895" y="1372"/>
                  </a:lnTo>
                  <a:lnTo>
                    <a:pt x="1896" y="1370"/>
                  </a:lnTo>
                  <a:lnTo>
                    <a:pt x="1896" y="1369"/>
                  </a:lnTo>
                  <a:lnTo>
                    <a:pt x="1896" y="1367"/>
                  </a:lnTo>
                  <a:lnTo>
                    <a:pt x="1898" y="1364"/>
                  </a:lnTo>
                  <a:lnTo>
                    <a:pt x="1899" y="1363"/>
                  </a:lnTo>
                  <a:lnTo>
                    <a:pt x="1899" y="1363"/>
                  </a:lnTo>
                  <a:lnTo>
                    <a:pt x="1896" y="1363"/>
                  </a:lnTo>
                  <a:close/>
                  <a:moveTo>
                    <a:pt x="2732" y="998"/>
                  </a:moveTo>
                  <a:lnTo>
                    <a:pt x="2731" y="996"/>
                  </a:lnTo>
                  <a:lnTo>
                    <a:pt x="2725" y="996"/>
                  </a:lnTo>
                  <a:lnTo>
                    <a:pt x="2726" y="995"/>
                  </a:lnTo>
                  <a:lnTo>
                    <a:pt x="2725" y="993"/>
                  </a:lnTo>
                  <a:lnTo>
                    <a:pt x="2725" y="992"/>
                  </a:lnTo>
                  <a:lnTo>
                    <a:pt x="2724" y="990"/>
                  </a:lnTo>
                  <a:lnTo>
                    <a:pt x="2724" y="990"/>
                  </a:lnTo>
                  <a:lnTo>
                    <a:pt x="2721" y="992"/>
                  </a:lnTo>
                  <a:lnTo>
                    <a:pt x="2719" y="993"/>
                  </a:lnTo>
                  <a:lnTo>
                    <a:pt x="2721" y="992"/>
                  </a:lnTo>
                  <a:lnTo>
                    <a:pt x="2721" y="990"/>
                  </a:lnTo>
                  <a:lnTo>
                    <a:pt x="2721" y="989"/>
                  </a:lnTo>
                  <a:lnTo>
                    <a:pt x="2719" y="989"/>
                  </a:lnTo>
                  <a:lnTo>
                    <a:pt x="2714" y="982"/>
                  </a:lnTo>
                  <a:lnTo>
                    <a:pt x="2711" y="979"/>
                  </a:lnTo>
                  <a:lnTo>
                    <a:pt x="2706" y="976"/>
                  </a:lnTo>
                  <a:lnTo>
                    <a:pt x="2704" y="970"/>
                  </a:lnTo>
                  <a:lnTo>
                    <a:pt x="2701" y="965"/>
                  </a:lnTo>
                  <a:lnTo>
                    <a:pt x="2696" y="963"/>
                  </a:lnTo>
                  <a:lnTo>
                    <a:pt x="2692" y="963"/>
                  </a:lnTo>
                  <a:lnTo>
                    <a:pt x="2689" y="963"/>
                  </a:lnTo>
                  <a:lnTo>
                    <a:pt x="2686" y="962"/>
                  </a:lnTo>
                  <a:lnTo>
                    <a:pt x="2681" y="960"/>
                  </a:lnTo>
                  <a:lnTo>
                    <a:pt x="2681" y="960"/>
                  </a:lnTo>
                  <a:lnTo>
                    <a:pt x="2688" y="963"/>
                  </a:lnTo>
                  <a:lnTo>
                    <a:pt x="2688" y="965"/>
                  </a:lnTo>
                  <a:lnTo>
                    <a:pt x="2688" y="965"/>
                  </a:lnTo>
                  <a:lnTo>
                    <a:pt x="2686" y="966"/>
                  </a:lnTo>
                  <a:lnTo>
                    <a:pt x="2681" y="965"/>
                  </a:lnTo>
                  <a:lnTo>
                    <a:pt x="2679" y="965"/>
                  </a:lnTo>
                  <a:lnTo>
                    <a:pt x="2678" y="962"/>
                  </a:lnTo>
                  <a:lnTo>
                    <a:pt x="2678" y="963"/>
                  </a:lnTo>
                  <a:lnTo>
                    <a:pt x="2676" y="963"/>
                  </a:lnTo>
                  <a:lnTo>
                    <a:pt x="2678" y="966"/>
                  </a:lnTo>
                  <a:lnTo>
                    <a:pt x="2678" y="968"/>
                  </a:lnTo>
                  <a:lnTo>
                    <a:pt x="2676" y="969"/>
                  </a:lnTo>
                  <a:lnTo>
                    <a:pt x="2675" y="969"/>
                  </a:lnTo>
                  <a:lnTo>
                    <a:pt x="2675" y="966"/>
                  </a:lnTo>
                  <a:lnTo>
                    <a:pt x="2675" y="965"/>
                  </a:lnTo>
                  <a:lnTo>
                    <a:pt x="2678" y="960"/>
                  </a:lnTo>
                  <a:lnTo>
                    <a:pt x="2678" y="960"/>
                  </a:lnTo>
                  <a:lnTo>
                    <a:pt x="2678" y="959"/>
                  </a:lnTo>
                  <a:lnTo>
                    <a:pt x="2672" y="958"/>
                  </a:lnTo>
                  <a:lnTo>
                    <a:pt x="2671" y="958"/>
                  </a:lnTo>
                  <a:lnTo>
                    <a:pt x="2669" y="956"/>
                  </a:lnTo>
                  <a:lnTo>
                    <a:pt x="2666" y="958"/>
                  </a:lnTo>
                  <a:lnTo>
                    <a:pt x="2658" y="958"/>
                  </a:lnTo>
                  <a:lnTo>
                    <a:pt x="2656" y="959"/>
                  </a:lnTo>
                  <a:lnTo>
                    <a:pt x="2656" y="960"/>
                  </a:lnTo>
                  <a:lnTo>
                    <a:pt x="2656" y="960"/>
                  </a:lnTo>
                  <a:lnTo>
                    <a:pt x="2658" y="960"/>
                  </a:lnTo>
                  <a:lnTo>
                    <a:pt x="2659" y="960"/>
                  </a:lnTo>
                  <a:lnTo>
                    <a:pt x="2661" y="962"/>
                  </a:lnTo>
                  <a:lnTo>
                    <a:pt x="2662" y="963"/>
                  </a:lnTo>
                  <a:lnTo>
                    <a:pt x="2664" y="965"/>
                  </a:lnTo>
                  <a:lnTo>
                    <a:pt x="2664" y="968"/>
                  </a:lnTo>
                  <a:lnTo>
                    <a:pt x="2665" y="969"/>
                  </a:lnTo>
                  <a:lnTo>
                    <a:pt x="2665" y="972"/>
                  </a:lnTo>
                  <a:lnTo>
                    <a:pt x="2664" y="975"/>
                  </a:lnTo>
                  <a:lnTo>
                    <a:pt x="2662" y="976"/>
                  </a:lnTo>
                  <a:lnTo>
                    <a:pt x="2661" y="978"/>
                  </a:lnTo>
                  <a:lnTo>
                    <a:pt x="2662" y="979"/>
                  </a:lnTo>
                  <a:lnTo>
                    <a:pt x="2664" y="982"/>
                  </a:lnTo>
                  <a:lnTo>
                    <a:pt x="2666" y="982"/>
                  </a:lnTo>
                  <a:lnTo>
                    <a:pt x="2668" y="983"/>
                  </a:lnTo>
                  <a:lnTo>
                    <a:pt x="2668" y="985"/>
                  </a:lnTo>
                  <a:lnTo>
                    <a:pt x="2668" y="988"/>
                  </a:lnTo>
                  <a:lnTo>
                    <a:pt x="2666" y="990"/>
                  </a:lnTo>
                  <a:lnTo>
                    <a:pt x="2665" y="992"/>
                  </a:lnTo>
                  <a:lnTo>
                    <a:pt x="2665" y="993"/>
                  </a:lnTo>
                  <a:lnTo>
                    <a:pt x="2665" y="993"/>
                  </a:lnTo>
                  <a:lnTo>
                    <a:pt x="2664" y="993"/>
                  </a:lnTo>
                  <a:lnTo>
                    <a:pt x="2665" y="988"/>
                  </a:lnTo>
                  <a:lnTo>
                    <a:pt x="2664" y="983"/>
                  </a:lnTo>
                  <a:lnTo>
                    <a:pt x="2662" y="985"/>
                  </a:lnTo>
                  <a:lnTo>
                    <a:pt x="2661" y="986"/>
                  </a:lnTo>
                  <a:lnTo>
                    <a:pt x="2659" y="989"/>
                  </a:lnTo>
                  <a:lnTo>
                    <a:pt x="2658" y="989"/>
                  </a:lnTo>
                  <a:lnTo>
                    <a:pt x="2658" y="988"/>
                  </a:lnTo>
                  <a:lnTo>
                    <a:pt x="2658" y="986"/>
                  </a:lnTo>
                  <a:lnTo>
                    <a:pt x="2656" y="983"/>
                  </a:lnTo>
                  <a:lnTo>
                    <a:pt x="2656" y="982"/>
                  </a:lnTo>
                  <a:lnTo>
                    <a:pt x="2655" y="979"/>
                  </a:lnTo>
                  <a:lnTo>
                    <a:pt x="2654" y="979"/>
                  </a:lnTo>
                  <a:lnTo>
                    <a:pt x="2651" y="978"/>
                  </a:lnTo>
                  <a:lnTo>
                    <a:pt x="2649" y="978"/>
                  </a:lnTo>
                  <a:lnTo>
                    <a:pt x="2651" y="973"/>
                  </a:lnTo>
                  <a:lnTo>
                    <a:pt x="2652" y="972"/>
                  </a:lnTo>
                  <a:lnTo>
                    <a:pt x="2652" y="966"/>
                  </a:lnTo>
                  <a:lnTo>
                    <a:pt x="2652" y="965"/>
                  </a:lnTo>
                  <a:lnTo>
                    <a:pt x="2651" y="962"/>
                  </a:lnTo>
                  <a:lnTo>
                    <a:pt x="2649" y="959"/>
                  </a:lnTo>
                  <a:lnTo>
                    <a:pt x="2649" y="955"/>
                  </a:lnTo>
                  <a:lnTo>
                    <a:pt x="2651" y="952"/>
                  </a:lnTo>
                  <a:lnTo>
                    <a:pt x="2651" y="948"/>
                  </a:lnTo>
                  <a:lnTo>
                    <a:pt x="2651" y="946"/>
                  </a:lnTo>
                  <a:lnTo>
                    <a:pt x="2649" y="945"/>
                  </a:lnTo>
                  <a:lnTo>
                    <a:pt x="2648" y="945"/>
                  </a:lnTo>
                  <a:lnTo>
                    <a:pt x="2646" y="948"/>
                  </a:lnTo>
                  <a:lnTo>
                    <a:pt x="2646" y="948"/>
                  </a:lnTo>
                  <a:lnTo>
                    <a:pt x="2642" y="948"/>
                  </a:lnTo>
                  <a:lnTo>
                    <a:pt x="2645" y="945"/>
                  </a:lnTo>
                  <a:lnTo>
                    <a:pt x="2645" y="940"/>
                  </a:lnTo>
                  <a:lnTo>
                    <a:pt x="2645" y="939"/>
                  </a:lnTo>
                  <a:lnTo>
                    <a:pt x="2644" y="938"/>
                  </a:lnTo>
                  <a:lnTo>
                    <a:pt x="2644" y="935"/>
                  </a:lnTo>
                  <a:lnTo>
                    <a:pt x="2618" y="916"/>
                  </a:lnTo>
                  <a:lnTo>
                    <a:pt x="2614" y="913"/>
                  </a:lnTo>
                  <a:lnTo>
                    <a:pt x="2612" y="910"/>
                  </a:lnTo>
                  <a:lnTo>
                    <a:pt x="2611" y="910"/>
                  </a:lnTo>
                  <a:lnTo>
                    <a:pt x="2608" y="910"/>
                  </a:lnTo>
                  <a:lnTo>
                    <a:pt x="2608" y="910"/>
                  </a:lnTo>
                  <a:lnTo>
                    <a:pt x="2607" y="910"/>
                  </a:lnTo>
                  <a:lnTo>
                    <a:pt x="2607" y="909"/>
                  </a:lnTo>
                  <a:lnTo>
                    <a:pt x="2608" y="908"/>
                  </a:lnTo>
                  <a:lnTo>
                    <a:pt x="2605" y="905"/>
                  </a:lnTo>
                  <a:lnTo>
                    <a:pt x="2597" y="898"/>
                  </a:lnTo>
                  <a:lnTo>
                    <a:pt x="2595" y="896"/>
                  </a:lnTo>
                  <a:lnTo>
                    <a:pt x="2597" y="898"/>
                  </a:lnTo>
                  <a:lnTo>
                    <a:pt x="2602" y="905"/>
                  </a:lnTo>
                  <a:lnTo>
                    <a:pt x="2604" y="906"/>
                  </a:lnTo>
                  <a:lnTo>
                    <a:pt x="2602" y="909"/>
                  </a:lnTo>
                  <a:lnTo>
                    <a:pt x="2599" y="909"/>
                  </a:lnTo>
                  <a:lnTo>
                    <a:pt x="2601" y="906"/>
                  </a:lnTo>
                  <a:lnTo>
                    <a:pt x="2599" y="903"/>
                  </a:lnTo>
                  <a:lnTo>
                    <a:pt x="2599" y="902"/>
                  </a:lnTo>
                  <a:lnTo>
                    <a:pt x="2597" y="900"/>
                  </a:lnTo>
                  <a:lnTo>
                    <a:pt x="2594" y="899"/>
                  </a:lnTo>
                  <a:lnTo>
                    <a:pt x="2589" y="898"/>
                  </a:lnTo>
                  <a:lnTo>
                    <a:pt x="2589" y="895"/>
                  </a:lnTo>
                  <a:lnTo>
                    <a:pt x="2588" y="892"/>
                  </a:lnTo>
                  <a:lnTo>
                    <a:pt x="2591" y="895"/>
                  </a:lnTo>
                  <a:lnTo>
                    <a:pt x="2592" y="895"/>
                  </a:lnTo>
                  <a:lnTo>
                    <a:pt x="2589" y="892"/>
                  </a:lnTo>
                  <a:lnTo>
                    <a:pt x="2587" y="888"/>
                  </a:lnTo>
                  <a:lnTo>
                    <a:pt x="2581" y="885"/>
                  </a:lnTo>
                  <a:lnTo>
                    <a:pt x="2579" y="883"/>
                  </a:lnTo>
                  <a:lnTo>
                    <a:pt x="2577" y="880"/>
                  </a:lnTo>
                  <a:lnTo>
                    <a:pt x="2577" y="880"/>
                  </a:lnTo>
                  <a:lnTo>
                    <a:pt x="2575" y="880"/>
                  </a:lnTo>
                  <a:lnTo>
                    <a:pt x="2572" y="879"/>
                  </a:lnTo>
                  <a:lnTo>
                    <a:pt x="2568" y="878"/>
                  </a:lnTo>
                  <a:lnTo>
                    <a:pt x="2567" y="876"/>
                  </a:lnTo>
                  <a:lnTo>
                    <a:pt x="2557" y="865"/>
                  </a:lnTo>
                  <a:lnTo>
                    <a:pt x="2552" y="863"/>
                  </a:lnTo>
                  <a:lnTo>
                    <a:pt x="2551" y="862"/>
                  </a:lnTo>
                  <a:lnTo>
                    <a:pt x="2551" y="860"/>
                  </a:lnTo>
                  <a:lnTo>
                    <a:pt x="2551" y="859"/>
                  </a:lnTo>
                  <a:lnTo>
                    <a:pt x="2544" y="856"/>
                  </a:lnTo>
                  <a:lnTo>
                    <a:pt x="2535" y="855"/>
                  </a:lnTo>
                  <a:lnTo>
                    <a:pt x="2527" y="849"/>
                  </a:lnTo>
                  <a:lnTo>
                    <a:pt x="2520" y="848"/>
                  </a:lnTo>
                  <a:lnTo>
                    <a:pt x="2511" y="842"/>
                  </a:lnTo>
                  <a:lnTo>
                    <a:pt x="2507" y="838"/>
                  </a:lnTo>
                  <a:lnTo>
                    <a:pt x="2504" y="836"/>
                  </a:lnTo>
                  <a:lnTo>
                    <a:pt x="2501" y="836"/>
                  </a:lnTo>
                  <a:lnTo>
                    <a:pt x="2494" y="838"/>
                  </a:lnTo>
                  <a:lnTo>
                    <a:pt x="2485" y="838"/>
                  </a:lnTo>
                  <a:lnTo>
                    <a:pt x="2478" y="836"/>
                  </a:lnTo>
                  <a:lnTo>
                    <a:pt x="2472" y="838"/>
                  </a:lnTo>
                  <a:lnTo>
                    <a:pt x="2468" y="836"/>
                  </a:lnTo>
                  <a:lnTo>
                    <a:pt x="2464" y="833"/>
                  </a:lnTo>
                  <a:lnTo>
                    <a:pt x="2462" y="835"/>
                  </a:lnTo>
                  <a:lnTo>
                    <a:pt x="2461" y="839"/>
                  </a:lnTo>
                  <a:lnTo>
                    <a:pt x="2458" y="838"/>
                  </a:lnTo>
                  <a:lnTo>
                    <a:pt x="2454" y="835"/>
                  </a:lnTo>
                  <a:lnTo>
                    <a:pt x="2450" y="833"/>
                  </a:lnTo>
                  <a:lnTo>
                    <a:pt x="2440" y="832"/>
                  </a:lnTo>
                  <a:lnTo>
                    <a:pt x="2428" y="828"/>
                  </a:lnTo>
                  <a:lnTo>
                    <a:pt x="2423" y="826"/>
                  </a:lnTo>
                  <a:lnTo>
                    <a:pt x="2417" y="826"/>
                  </a:lnTo>
                  <a:lnTo>
                    <a:pt x="2417" y="835"/>
                  </a:lnTo>
                  <a:lnTo>
                    <a:pt x="2417" y="838"/>
                  </a:lnTo>
                  <a:lnTo>
                    <a:pt x="2414" y="843"/>
                  </a:lnTo>
                  <a:lnTo>
                    <a:pt x="2411" y="846"/>
                  </a:lnTo>
                  <a:lnTo>
                    <a:pt x="2411" y="849"/>
                  </a:lnTo>
                  <a:lnTo>
                    <a:pt x="2418" y="850"/>
                  </a:lnTo>
                  <a:lnTo>
                    <a:pt x="2420" y="859"/>
                  </a:lnTo>
                  <a:lnTo>
                    <a:pt x="2423" y="865"/>
                  </a:lnTo>
                  <a:lnTo>
                    <a:pt x="2424" y="870"/>
                  </a:lnTo>
                  <a:lnTo>
                    <a:pt x="2424" y="875"/>
                  </a:lnTo>
                  <a:lnTo>
                    <a:pt x="2417" y="885"/>
                  </a:lnTo>
                  <a:lnTo>
                    <a:pt x="2410" y="886"/>
                  </a:lnTo>
                  <a:lnTo>
                    <a:pt x="2403" y="886"/>
                  </a:lnTo>
                  <a:lnTo>
                    <a:pt x="2400" y="880"/>
                  </a:lnTo>
                  <a:lnTo>
                    <a:pt x="2397" y="873"/>
                  </a:lnTo>
                  <a:lnTo>
                    <a:pt x="2391" y="869"/>
                  </a:lnTo>
                  <a:lnTo>
                    <a:pt x="2385" y="866"/>
                  </a:lnTo>
                  <a:lnTo>
                    <a:pt x="2384" y="866"/>
                  </a:lnTo>
                  <a:lnTo>
                    <a:pt x="2381" y="865"/>
                  </a:lnTo>
                  <a:lnTo>
                    <a:pt x="2380" y="856"/>
                  </a:lnTo>
                  <a:lnTo>
                    <a:pt x="2378" y="850"/>
                  </a:lnTo>
                  <a:lnTo>
                    <a:pt x="2377" y="849"/>
                  </a:lnTo>
                  <a:lnTo>
                    <a:pt x="2375" y="845"/>
                  </a:lnTo>
                  <a:lnTo>
                    <a:pt x="2374" y="843"/>
                  </a:lnTo>
                  <a:lnTo>
                    <a:pt x="2371" y="843"/>
                  </a:lnTo>
                  <a:lnTo>
                    <a:pt x="2361" y="852"/>
                  </a:lnTo>
                  <a:lnTo>
                    <a:pt x="2358" y="855"/>
                  </a:lnTo>
                  <a:lnTo>
                    <a:pt x="2358" y="855"/>
                  </a:lnTo>
                  <a:lnTo>
                    <a:pt x="2344" y="852"/>
                  </a:lnTo>
                  <a:lnTo>
                    <a:pt x="2341" y="850"/>
                  </a:lnTo>
                  <a:lnTo>
                    <a:pt x="2321" y="849"/>
                  </a:lnTo>
                  <a:lnTo>
                    <a:pt x="2316" y="845"/>
                  </a:lnTo>
                  <a:lnTo>
                    <a:pt x="2311" y="843"/>
                  </a:lnTo>
                  <a:lnTo>
                    <a:pt x="2308" y="845"/>
                  </a:lnTo>
                  <a:lnTo>
                    <a:pt x="2304" y="846"/>
                  </a:lnTo>
                  <a:lnTo>
                    <a:pt x="2300" y="845"/>
                  </a:lnTo>
                  <a:lnTo>
                    <a:pt x="2296" y="846"/>
                  </a:lnTo>
                  <a:lnTo>
                    <a:pt x="2287" y="848"/>
                  </a:lnTo>
                  <a:lnTo>
                    <a:pt x="2283" y="849"/>
                  </a:lnTo>
                  <a:lnTo>
                    <a:pt x="2280" y="852"/>
                  </a:lnTo>
                  <a:lnTo>
                    <a:pt x="2273" y="860"/>
                  </a:lnTo>
                  <a:lnTo>
                    <a:pt x="2273" y="863"/>
                  </a:lnTo>
                  <a:lnTo>
                    <a:pt x="2273" y="868"/>
                  </a:lnTo>
                  <a:lnTo>
                    <a:pt x="2274" y="875"/>
                  </a:lnTo>
                  <a:lnTo>
                    <a:pt x="2274" y="882"/>
                  </a:lnTo>
                  <a:lnTo>
                    <a:pt x="2273" y="883"/>
                  </a:lnTo>
                  <a:lnTo>
                    <a:pt x="2270" y="885"/>
                  </a:lnTo>
                  <a:lnTo>
                    <a:pt x="2268" y="892"/>
                  </a:lnTo>
                  <a:lnTo>
                    <a:pt x="2266" y="896"/>
                  </a:lnTo>
                  <a:lnTo>
                    <a:pt x="2263" y="898"/>
                  </a:lnTo>
                  <a:lnTo>
                    <a:pt x="2264" y="895"/>
                  </a:lnTo>
                  <a:lnTo>
                    <a:pt x="2267" y="892"/>
                  </a:lnTo>
                  <a:lnTo>
                    <a:pt x="2270" y="882"/>
                  </a:lnTo>
                  <a:lnTo>
                    <a:pt x="2270" y="878"/>
                  </a:lnTo>
                  <a:lnTo>
                    <a:pt x="2267" y="875"/>
                  </a:lnTo>
                  <a:lnTo>
                    <a:pt x="2266" y="872"/>
                  </a:lnTo>
                  <a:lnTo>
                    <a:pt x="2264" y="862"/>
                  </a:lnTo>
                  <a:lnTo>
                    <a:pt x="2263" y="856"/>
                  </a:lnTo>
                  <a:lnTo>
                    <a:pt x="2263" y="849"/>
                  </a:lnTo>
                  <a:lnTo>
                    <a:pt x="2260" y="848"/>
                  </a:lnTo>
                  <a:lnTo>
                    <a:pt x="2250" y="843"/>
                  </a:lnTo>
                  <a:lnTo>
                    <a:pt x="2246" y="842"/>
                  </a:lnTo>
                  <a:lnTo>
                    <a:pt x="2244" y="838"/>
                  </a:lnTo>
                  <a:lnTo>
                    <a:pt x="2246" y="832"/>
                  </a:lnTo>
                  <a:lnTo>
                    <a:pt x="2246" y="828"/>
                  </a:lnTo>
                  <a:lnTo>
                    <a:pt x="2247" y="823"/>
                  </a:lnTo>
                  <a:lnTo>
                    <a:pt x="2249" y="820"/>
                  </a:lnTo>
                  <a:lnTo>
                    <a:pt x="2249" y="816"/>
                  </a:lnTo>
                  <a:lnTo>
                    <a:pt x="2249" y="811"/>
                  </a:lnTo>
                  <a:lnTo>
                    <a:pt x="2247" y="808"/>
                  </a:lnTo>
                  <a:lnTo>
                    <a:pt x="2246" y="802"/>
                  </a:lnTo>
                  <a:lnTo>
                    <a:pt x="2244" y="801"/>
                  </a:lnTo>
                  <a:lnTo>
                    <a:pt x="2239" y="793"/>
                  </a:lnTo>
                  <a:lnTo>
                    <a:pt x="2227" y="786"/>
                  </a:lnTo>
                  <a:lnTo>
                    <a:pt x="2217" y="782"/>
                  </a:lnTo>
                  <a:lnTo>
                    <a:pt x="2207" y="779"/>
                  </a:lnTo>
                  <a:lnTo>
                    <a:pt x="2196" y="779"/>
                  </a:lnTo>
                  <a:lnTo>
                    <a:pt x="2183" y="779"/>
                  </a:lnTo>
                  <a:lnTo>
                    <a:pt x="2179" y="782"/>
                  </a:lnTo>
                  <a:lnTo>
                    <a:pt x="2169" y="782"/>
                  </a:lnTo>
                  <a:lnTo>
                    <a:pt x="2159" y="785"/>
                  </a:lnTo>
                  <a:lnTo>
                    <a:pt x="2149" y="789"/>
                  </a:lnTo>
                  <a:lnTo>
                    <a:pt x="2144" y="789"/>
                  </a:lnTo>
                  <a:lnTo>
                    <a:pt x="2133" y="792"/>
                  </a:lnTo>
                  <a:lnTo>
                    <a:pt x="2129" y="792"/>
                  </a:lnTo>
                  <a:lnTo>
                    <a:pt x="2116" y="785"/>
                  </a:lnTo>
                  <a:lnTo>
                    <a:pt x="2120" y="783"/>
                  </a:lnTo>
                  <a:lnTo>
                    <a:pt x="2122" y="782"/>
                  </a:lnTo>
                  <a:lnTo>
                    <a:pt x="2116" y="772"/>
                  </a:lnTo>
                  <a:lnTo>
                    <a:pt x="2113" y="769"/>
                  </a:lnTo>
                  <a:lnTo>
                    <a:pt x="2107" y="765"/>
                  </a:lnTo>
                  <a:lnTo>
                    <a:pt x="2104" y="765"/>
                  </a:lnTo>
                  <a:lnTo>
                    <a:pt x="2102" y="765"/>
                  </a:lnTo>
                  <a:lnTo>
                    <a:pt x="2092" y="771"/>
                  </a:lnTo>
                  <a:lnTo>
                    <a:pt x="2090" y="772"/>
                  </a:lnTo>
                  <a:lnTo>
                    <a:pt x="2094" y="766"/>
                  </a:lnTo>
                  <a:lnTo>
                    <a:pt x="2097" y="763"/>
                  </a:lnTo>
                  <a:lnTo>
                    <a:pt x="2099" y="761"/>
                  </a:lnTo>
                  <a:lnTo>
                    <a:pt x="2099" y="759"/>
                  </a:lnTo>
                  <a:lnTo>
                    <a:pt x="2097" y="758"/>
                  </a:lnTo>
                  <a:lnTo>
                    <a:pt x="2089" y="758"/>
                  </a:lnTo>
                  <a:lnTo>
                    <a:pt x="2089" y="758"/>
                  </a:lnTo>
                  <a:lnTo>
                    <a:pt x="2087" y="755"/>
                  </a:lnTo>
                  <a:lnTo>
                    <a:pt x="2086" y="753"/>
                  </a:lnTo>
                  <a:lnTo>
                    <a:pt x="2080" y="751"/>
                  </a:lnTo>
                  <a:lnTo>
                    <a:pt x="2076" y="749"/>
                  </a:lnTo>
                  <a:lnTo>
                    <a:pt x="2072" y="749"/>
                  </a:lnTo>
                  <a:lnTo>
                    <a:pt x="2072" y="748"/>
                  </a:lnTo>
                  <a:lnTo>
                    <a:pt x="2072" y="746"/>
                  </a:lnTo>
                  <a:lnTo>
                    <a:pt x="2072" y="745"/>
                  </a:lnTo>
                  <a:lnTo>
                    <a:pt x="2073" y="743"/>
                  </a:lnTo>
                  <a:lnTo>
                    <a:pt x="2077" y="742"/>
                  </a:lnTo>
                  <a:lnTo>
                    <a:pt x="2086" y="741"/>
                  </a:lnTo>
                  <a:lnTo>
                    <a:pt x="2089" y="738"/>
                  </a:lnTo>
                  <a:lnTo>
                    <a:pt x="2089" y="735"/>
                  </a:lnTo>
                  <a:lnTo>
                    <a:pt x="2087" y="733"/>
                  </a:lnTo>
                  <a:lnTo>
                    <a:pt x="2084" y="728"/>
                  </a:lnTo>
                  <a:lnTo>
                    <a:pt x="2080" y="725"/>
                  </a:lnTo>
                  <a:lnTo>
                    <a:pt x="2072" y="719"/>
                  </a:lnTo>
                  <a:lnTo>
                    <a:pt x="2063" y="716"/>
                  </a:lnTo>
                  <a:lnTo>
                    <a:pt x="2047" y="715"/>
                  </a:lnTo>
                  <a:lnTo>
                    <a:pt x="2045" y="716"/>
                  </a:lnTo>
                  <a:lnTo>
                    <a:pt x="2042" y="718"/>
                  </a:lnTo>
                  <a:lnTo>
                    <a:pt x="2039" y="722"/>
                  </a:lnTo>
                  <a:lnTo>
                    <a:pt x="2030" y="736"/>
                  </a:lnTo>
                  <a:lnTo>
                    <a:pt x="2026" y="742"/>
                  </a:lnTo>
                  <a:lnTo>
                    <a:pt x="2022" y="746"/>
                  </a:lnTo>
                  <a:lnTo>
                    <a:pt x="2012" y="749"/>
                  </a:lnTo>
                  <a:lnTo>
                    <a:pt x="2009" y="748"/>
                  </a:lnTo>
                  <a:lnTo>
                    <a:pt x="2007" y="745"/>
                  </a:lnTo>
                  <a:lnTo>
                    <a:pt x="2009" y="743"/>
                  </a:lnTo>
                  <a:lnTo>
                    <a:pt x="2009" y="742"/>
                  </a:lnTo>
                  <a:lnTo>
                    <a:pt x="2009" y="741"/>
                  </a:lnTo>
                  <a:lnTo>
                    <a:pt x="2009" y="738"/>
                  </a:lnTo>
                  <a:lnTo>
                    <a:pt x="2009" y="736"/>
                  </a:lnTo>
                  <a:lnTo>
                    <a:pt x="2010" y="736"/>
                  </a:lnTo>
                  <a:lnTo>
                    <a:pt x="2013" y="738"/>
                  </a:lnTo>
                  <a:lnTo>
                    <a:pt x="2015" y="739"/>
                  </a:lnTo>
                  <a:lnTo>
                    <a:pt x="2020" y="736"/>
                  </a:lnTo>
                  <a:lnTo>
                    <a:pt x="2020" y="732"/>
                  </a:lnTo>
                  <a:lnTo>
                    <a:pt x="2019" y="729"/>
                  </a:lnTo>
                  <a:lnTo>
                    <a:pt x="2020" y="723"/>
                  </a:lnTo>
                  <a:lnTo>
                    <a:pt x="2020" y="722"/>
                  </a:lnTo>
                  <a:lnTo>
                    <a:pt x="2020" y="721"/>
                  </a:lnTo>
                  <a:lnTo>
                    <a:pt x="2022" y="721"/>
                  </a:lnTo>
                  <a:lnTo>
                    <a:pt x="2025" y="725"/>
                  </a:lnTo>
                  <a:lnTo>
                    <a:pt x="2026" y="725"/>
                  </a:lnTo>
                  <a:lnTo>
                    <a:pt x="2027" y="726"/>
                  </a:lnTo>
                  <a:lnTo>
                    <a:pt x="2025" y="736"/>
                  </a:lnTo>
                  <a:lnTo>
                    <a:pt x="2026" y="736"/>
                  </a:lnTo>
                  <a:lnTo>
                    <a:pt x="2030" y="731"/>
                  </a:lnTo>
                  <a:lnTo>
                    <a:pt x="2035" y="726"/>
                  </a:lnTo>
                  <a:lnTo>
                    <a:pt x="2037" y="721"/>
                  </a:lnTo>
                  <a:lnTo>
                    <a:pt x="2037" y="718"/>
                  </a:lnTo>
                  <a:lnTo>
                    <a:pt x="2033" y="716"/>
                  </a:lnTo>
                  <a:lnTo>
                    <a:pt x="2009" y="719"/>
                  </a:lnTo>
                  <a:lnTo>
                    <a:pt x="2000" y="723"/>
                  </a:lnTo>
                  <a:lnTo>
                    <a:pt x="1997" y="723"/>
                  </a:lnTo>
                  <a:lnTo>
                    <a:pt x="1995" y="719"/>
                  </a:lnTo>
                  <a:lnTo>
                    <a:pt x="1997" y="719"/>
                  </a:lnTo>
                  <a:lnTo>
                    <a:pt x="2002" y="716"/>
                  </a:lnTo>
                  <a:lnTo>
                    <a:pt x="2005" y="713"/>
                  </a:lnTo>
                  <a:lnTo>
                    <a:pt x="2006" y="712"/>
                  </a:lnTo>
                  <a:lnTo>
                    <a:pt x="2012" y="712"/>
                  </a:lnTo>
                  <a:lnTo>
                    <a:pt x="2016" y="713"/>
                  </a:lnTo>
                  <a:lnTo>
                    <a:pt x="2027" y="715"/>
                  </a:lnTo>
                  <a:lnTo>
                    <a:pt x="2029" y="709"/>
                  </a:lnTo>
                  <a:lnTo>
                    <a:pt x="2026" y="708"/>
                  </a:lnTo>
                  <a:lnTo>
                    <a:pt x="2020" y="706"/>
                  </a:lnTo>
                  <a:lnTo>
                    <a:pt x="2016" y="705"/>
                  </a:lnTo>
                  <a:lnTo>
                    <a:pt x="2012" y="703"/>
                  </a:lnTo>
                  <a:lnTo>
                    <a:pt x="2002" y="701"/>
                  </a:lnTo>
                  <a:lnTo>
                    <a:pt x="1997" y="699"/>
                  </a:lnTo>
                  <a:lnTo>
                    <a:pt x="1987" y="698"/>
                  </a:lnTo>
                  <a:lnTo>
                    <a:pt x="1985" y="696"/>
                  </a:lnTo>
                  <a:lnTo>
                    <a:pt x="1962" y="695"/>
                  </a:lnTo>
                  <a:lnTo>
                    <a:pt x="1952" y="691"/>
                  </a:lnTo>
                  <a:lnTo>
                    <a:pt x="1949" y="688"/>
                  </a:lnTo>
                  <a:lnTo>
                    <a:pt x="1942" y="685"/>
                  </a:lnTo>
                  <a:lnTo>
                    <a:pt x="1939" y="685"/>
                  </a:lnTo>
                  <a:lnTo>
                    <a:pt x="1939" y="686"/>
                  </a:lnTo>
                  <a:lnTo>
                    <a:pt x="1939" y="688"/>
                  </a:lnTo>
                  <a:lnTo>
                    <a:pt x="1943" y="695"/>
                  </a:lnTo>
                  <a:lnTo>
                    <a:pt x="1943" y="699"/>
                  </a:lnTo>
                  <a:lnTo>
                    <a:pt x="1946" y="702"/>
                  </a:lnTo>
                  <a:lnTo>
                    <a:pt x="1939" y="705"/>
                  </a:lnTo>
                  <a:lnTo>
                    <a:pt x="1935" y="706"/>
                  </a:lnTo>
                  <a:lnTo>
                    <a:pt x="1922" y="706"/>
                  </a:lnTo>
                  <a:lnTo>
                    <a:pt x="1920" y="708"/>
                  </a:lnTo>
                  <a:lnTo>
                    <a:pt x="1915" y="715"/>
                  </a:lnTo>
                  <a:lnTo>
                    <a:pt x="1915" y="719"/>
                  </a:lnTo>
                  <a:lnTo>
                    <a:pt x="1915" y="725"/>
                  </a:lnTo>
                  <a:lnTo>
                    <a:pt x="1919" y="725"/>
                  </a:lnTo>
                  <a:lnTo>
                    <a:pt x="1920" y="722"/>
                  </a:lnTo>
                  <a:lnTo>
                    <a:pt x="1922" y="721"/>
                  </a:lnTo>
                  <a:lnTo>
                    <a:pt x="1930" y="722"/>
                  </a:lnTo>
                  <a:lnTo>
                    <a:pt x="1932" y="723"/>
                  </a:lnTo>
                  <a:lnTo>
                    <a:pt x="1929" y="725"/>
                  </a:lnTo>
                  <a:lnTo>
                    <a:pt x="1926" y="725"/>
                  </a:lnTo>
                  <a:lnTo>
                    <a:pt x="1922" y="733"/>
                  </a:lnTo>
                  <a:lnTo>
                    <a:pt x="1918" y="735"/>
                  </a:lnTo>
                  <a:lnTo>
                    <a:pt x="1920" y="736"/>
                  </a:lnTo>
                  <a:lnTo>
                    <a:pt x="1923" y="739"/>
                  </a:lnTo>
                  <a:lnTo>
                    <a:pt x="1923" y="748"/>
                  </a:lnTo>
                  <a:lnTo>
                    <a:pt x="1928" y="755"/>
                  </a:lnTo>
                  <a:lnTo>
                    <a:pt x="1928" y="759"/>
                  </a:lnTo>
                  <a:lnTo>
                    <a:pt x="1922" y="759"/>
                  </a:lnTo>
                  <a:lnTo>
                    <a:pt x="1918" y="761"/>
                  </a:lnTo>
                  <a:lnTo>
                    <a:pt x="1916" y="761"/>
                  </a:lnTo>
                  <a:lnTo>
                    <a:pt x="1912" y="755"/>
                  </a:lnTo>
                  <a:lnTo>
                    <a:pt x="1909" y="752"/>
                  </a:lnTo>
                  <a:lnTo>
                    <a:pt x="1906" y="752"/>
                  </a:lnTo>
                  <a:lnTo>
                    <a:pt x="1905" y="755"/>
                  </a:lnTo>
                  <a:lnTo>
                    <a:pt x="1902" y="753"/>
                  </a:lnTo>
                  <a:lnTo>
                    <a:pt x="1900" y="753"/>
                  </a:lnTo>
                  <a:lnTo>
                    <a:pt x="1898" y="755"/>
                  </a:lnTo>
                  <a:lnTo>
                    <a:pt x="1898" y="758"/>
                  </a:lnTo>
                  <a:lnTo>
                    <a:pt x="1896" y="761"/>
                  </a:lnTo>
                  <a:lnTo>
                    <a:pt x="1895" y="762"/>
                  </a:lnTo>
                  <a:lnTo>
                    <a:pt x="1895" y="765"/>
                  </a:lnTo>
                  <a:lnTo>
                    <a:pt x="1896" y="765"/>
                  </a:lnTo>
                  <a:lnTo>
                    <a:pt x="1898" y="765"/>
                  </a:lnTo>
                  <a:lnTo>
                    <a:pt x="1902" y="768"/>
                  </a:lnTo>
                  <a:lnTo>
                    <a:pt x="1898" y="768"/>
                  </a:lnTo>
                  <a:lnTo>
                    <a:pt x="1896" y="769"/>
                  </a:lnTo>
                  <a:lnTo>
                    <a:pt x="1896" y="771"/>
                  </a:lnTo>
                  <a:lnTo>
                    <a:pt x="1893" y="772"/>
                  </a:lnTo>
                  <a:lnTo>
                    <a:pt x="1895" y="773"/>
                  </a:lnTo>
                  <a:lnTo>
                    <a:pt x="1896" y="775"/>
                  </a:lnTo>
                  <a:lnTo>
                    <a:pt x="1896" y="776"/>
                  </a:lnTo>
                  <a:lnTo>
                    <a:pt x="1895" y="776"/>
                  </a:lnTo>
                  <a:lnTo>
                    <a:pt x="1893" y="775"/>
                  </a:lnTo>
                  <a:lnTo>
                    <a:pt x="1890" y="773"/>
                  </a:lnTo>
                  <a:lnTo>
                    <a:pt x="1886" y="769"/>
                  </a:lnTo>
                  <a:lnTo>
                    <a:pt x="1885" y="765"/>
                  </a:lnTo>
                  <a:lnTo>
                    <a:pt x="1882" y="762"/>
                  </a:lnTo>
                  <a:lnTo>
                    <a:pt x="1871" y="755"/>
                  </a:lnTo>
                  <a:lnTo>
                    <a:pt x="1866" y="752"/>
                  </a:lnTo>
                  <a:lnTo>
                    <a:pt x="1862" y="752"/>
                  </a:lnTo>
                  <a:lnTo>
                    <a:pt x="1858" y="753"/>
                  </a:lnTo>
                  <a:lnTo>
                    <a:pt x="1853" y="756"/>
                  </a:lnTo>
                  <a:lnTo>
                    <a:pt x="1849" y="758"/>
                  </a:lnTo>
                  <a:lnTo>
                    <a:pt x="1845" y="761"/>
                  </a:lnTo>
                  <a:lnTo>
                    <a:pt x="1843" y="763"/>
                  </a:lnTo>
                  <a:lnTo>
                    <a:pt x="1833" y="765"/>
                  </a:lnTo>
                  <a:lnTo>
                    <a:pt x="1828" y="762"/>
                  </a:lnTo>
                  <a:lnTo>
                    <a:pt x="1823" y="759"/>
                  </a:lnTo>
                  <a:lnTo>
                    <a:pt x="1818" y="753"/>
                  </a:lnTo>
                  <a:lnTo>
                    <a:pt x="1813" y="745"/>
                  </a:lnTo>
                  <a:lnTo>
                    <a:pt x="1813" y="745"/>
                  </a:lnTo>
                  <a:lnTo>
                    <a:pt x="1812" y="743"/>
                  </a:lnTo>
                  <a:lnTo>
                    <a:pt x="1812" y="739"/>
                  </a:lnTo>
                  <a:lnTo>
                    <a:pt x="1811" y="736"/>
                  </a:lnTo>
                  <a:lnTo>
                    <a:pt x="1809" y="738"/>
                  </a:lnTo>
                  <a:lnTo>
                    <a:pt x="1805" y="746"/>
                  </a:lnTo>
                  <a:lnTo>
                    <a:pt x="1803" y="751"/>
                  </a:lnTo>
                  <a:lnTo>
                    <a:pt x="1802" y="759"/>
                  </a:lnTo>
                  <a:lnTo>
                    <a:pt x="1801" y="766"/>
                  </a:lnTo>
                  <a:lnTo>
                    <a:pt x="1801" y="769"/>
                  </a:lnTo>
                  <a:lnTo>
                    <a:pt x="1801" y="771"/>
                  </a:lnTo>
                  <a:lnTo>
                    <a:pt x="1799" y="773"/>
                  </a:lnTo>
                  <a:lnTo>
                    <a:pt x="1796" y="778"/>
                  </a:lnTo>
                  <a:lnTo>
                    <a:pt x="1793" y="788"/>
                  </a:lnTo>
                  <a:lnTo>
                    <a:pt x="1791" y="792"/>
                  </a:lnTo>
                  <a:lnTo>
                    <a:pt x="1788" y="795"/>
                  </a:lnTo>
                  <a:lnTo>
                    <a:pt x="1786" y="796"/>
                  </a:lnTo>
                  <a:lnTo>
                    <a:pt x="1785" y="796"/>
                  </a:lnTo>
                  <a:lnTo>
                    <a:pt x="1782" y="793"/>
                  </a:lnTo>
                  <a:lnTo>
                    <a:pt x="1782" y="786"/>
                  </a:lnTo>
                  <a:lnTo>
                    <a:pt x="1781" y="785"/>
                  </a:lnTo>
                  <a:lnTo>
                    <a:pt x="1779" y="789"/>
                  </a:lnTo>
                  <a:lnTo>
                    <a:pt x="1776" y="789"/>
                  </a:lnTo>
                  <a:lnTo>
                    <a:pt x="1772" y="786"/>
                  </a:lnTo>
                  <a:lnTo>
                    <a:pt x="1768" y="781"/>
                  </a:lnTo>
                  <a:lnTo>
                    <a:pt x="1765" y="778"/>
                  </a:lnTo>
                  <a:lnTo>
                    <a:pt x="1758" y="763"/>
                  </a:lnTo>
                  <a:lnTo>
                    <a:pt x="1755" y="758"/>
                  </a:lnTo>
                  <a:lnTo>
                    <a:pt x="1754" y="753"/>
                  </a:lnTo>
                  <a:lnTo>
                    <a:pt x="1751" y="753"/>
                  </a:lnTo>
                  <a:lnTo>
                    <a:pt x="1749" y="751"/>
                  </a:lnTo>
                  <a:lnTo>
                    <a:pt x="1751" y="748"/>
                  </a:lnTo>
                  <a:lnTo>
                    <a:pt x="1756" y="746"/>
                  </a:lnTo>
                  <a:lnTo>
                    <a:pt x="1759" y="746"/>
                  </a:lnTo>
                  <a:lnTo>
                    <a:pt x="1756" y="741"/>
                  </a:lnTo>
                  <a:lnTo>
                    <a:pt x="1755" y="738"/>
                  </a:lnTo>
                  <a:lnTo>
                    <a:pt x="1754" y="735"/>
                  </a:lnTo>
                  <a:lnTo>
                    <a:pt x="1755" y="739"/>
                  </a:lnTo>
                  <a:lnTo>
                    <a:pt x="1754" y="742"/>
                  </a:lnTo>
                  <a:lnTo>
                    <a:pt x="1752" y="743"/>
                  </a:lnTo>
                  <a:lnTo>
                    <a:pt x="1751" y="745"/>
                  </a:lnTo>
                  <a:lnTo>
                    <a:pt x="1742" y="728"/>
                  </a:lnTo>
                  <a:lnTo>
                    <a:pt x="1736" y="719"/>
                  </a:lnTo>
                  <a:lnTo>
                    <a:pt x="1734" y="716"/>
                  </a:lnTo>
                  <a:lnTo>
                    <a:pt x="1732" y="711"/>
                  </a:lnTo>
                  <a:lnTo>
                    <a:pt x="1734" y="711"/>
                  </a:lnTo>
                  <a:lnTo>
                    <a:pt x="1739" y="716"/>
                  </a:lnTo>
                  <a:lnTo>
                    <a:pt x="1744" y="721"/>
                  </a:lnTo>
                  <a:lnTo>
                    <a:pt x="1751" y="729"/>
                  </a:lnTo>
                  <a:lnTo>
                    <a:pt x="1756" y="728"/>
                  </a:lnTo>
                  <a:lnTo>
                    <a:pt x="1759" y="723"/>
                  </a:lnTo>
                  <a:lnTo>
                    <a:pt x="1759" y="716"/>
                  </a:lnTo>
                  <a:lnTo>
                    <a:pt x="1756" y="709"/>
                  </a:lnTo>
                  <a:lnTo>
                    <a:pt x="1754" y="708"/>
                  </a:lnTo>
                  <a:lnTo>
                    <a:pt x="1745" y="706"/>
                  </a:lnTo>
                  <a:lnTo>
                    <a:pt x="1742" y="705"/>
                  </a:lnTo>
                  <a:lnTo>
                    <a:pt x="1744" y="703"/>
                  </a:lnTo>
                  <a:lnTo>
                    <a:pt x="1746" y="703"/>
                  </a:lnTo>
                  <a:lnTo>
                    <a:pt x="1749" y="702"/>
                  </a:lnTo>
                  <a:lnTo>
                    <a:pt x="1754" y="698"/>
                  </a:lnTo>
                  <a:lnTo>
                    <a:pt x="1756" y="695"/>
                  </a:lnTo>
                  <a:lnTo>
                    <a:pt x="1756" y="692"/>
                  </a:lnTo>
                  <a:lnTo>
                    <a:pt x="1752" y="686"/>
                  </a:lnTo>
                  <a:lnTo>
                    <a:pt x="1746" y="686"/>
                  </a:lnTo>
                  <a:lnTo>
                    <a:pt x="1745" y="685"/>
                  </a:lnTo>
                  <a:lnTo>
                    <a:pt x="1748" y="682"/>
                  </a:lnTo>
                  <a:lnTo>
                    <a:pt x="1749" y="681"/>
                  </a:lnTo>
                  <a:lnTo>
                    <a:pt x="1754" y="676"/>
                  </a:lnTo>
                  <a:lnTo>
                    <a:pt x="1754" y="673"/>
                  </a:lnTo>
                  <a:lnTo>
                    <a:pt x="1754" y="673"/>
                  </a:lnTo>
                  <a:lnTo>
                    <a:pt x="1751" y="673"/>
                  </a:lnTo>
                  <a:lnTo>
                    <a:pt x="1751" y="672"/>
                  </a:lnTo>
                  <a:lnTo>
                    <a:pt x="1751" y="669"/>
                  </a:lnTo>
                  <a:lnTo>
                    <a:pt x="1748" y="666"/>
                  </a:lnTo>
                  <a:lnTo>
                    <a:pt x="1745" y="665"/>
                  </a:lnTo>
                  <a:lnTo>
                    <a:pt x="1741" y="665"/>
                  </a:lnTo>
                  <a:lnTo>
                    <a:pt x="1741" y="663"/>
                  </a:lnTo>
                  <a:lnTo>
                    <a:pt x="1741" y="661"/>
                  </a:lnTo>
                  <a:lnTo>
                    <a:pt x="1738" y="661"/>
                  </a:lnTo>
                  <a:lnTo>
                    <a:pt x="1736" y="658"/>
                  </a:lnTo>
                  <a:lnTo>
                    <a:pt x="1736" y="656"/>
                  </a:lnTo>
                  <a:lnTo>
                    <a:pt x="1735" y="655"/>
                  </a:lnTo>
                  <a:lnTo>
                    <a:pt x="1732" y="653"/>
                  </a:lnTo>
                  <a:lnTo>
                    <a:pt x="1721" y="649"/>
                  </a:lnTo>
                  <a:lnTo>
                    <a:pt x="1719" y="651"/>
                  </a:lnTo>
                  <a:lnTo>
                    <a:pt x="1718" y="655"/>
                  </a:lnTo>
                  <a:lnTo>
                    <a:pt x="1712" y="661"/>
                  </a:lnTo>
                  <a:lnTo>
                    <a:pt x="1709" y="658"/>
                  </a:lnTo>
                  <a:lnTo>
                    <a:pt x="1709" y="658"/>
                  </a:lnTo>
                  <a:lnTo>
                    <a:pt x="1708" y="656"/>
                  </a:lnTo>
                  <a:lnTo>
                    <a:pt x="1709" y="653"/>
                  </a:lnTo>
                  <a:lnTo>
                    <a:pt x="1709" y="652"/>
                  </a:lnTo>
                  <a:lnTo>
                    <a:pt x="1709" y="649"/>
                  </a:lnTo>
                  <a:lnTo>
                    <a:pt x="1708" y="649"/>
                  </a:lnTo>
                  <a:lnTo>
                    <a:pt x="1705" y="651"/>
                  </a:lnTo>
                  <a:lnTo>
                    <a:pt x="1702" y="652"/>
                  </a:lnTo>
                  <a:lnTo>
                    <a:pt x="1701" y="653"/>
                  </a:lnTo>
                  <a:lnTo>
                    <a:pt x="1698" y="655"/>
                  </a:lnTo>
                  <a:lnTo>
                    <a:pt x="1698" y="651"/>
                  </a:lnTo>
                  <a:lnTo>
                    <a:pt x="1685" y="639"/>
                  </a:lnTo>
                  <a:lnTo>
                    <a:pt x="1681" y="638"/>
                  </a:lnTo>
                  <a:lnTo>
                    <a:pt x="1678" y="638"/>
                  </a:lnTo>
                  <a:lnTo>
                    <a:pt x="1672" y="639"/>
                  </a:lnTo>
                  <a:lnTo>
                    <a:pt x="1671" y="641"/>
                  </a:lnTo>
                  <a:lnTo>
                    <a:pt x="1669" y="645"/>
                  </a:lnTo>
                  <a:lnTo>
                    <a:pt x="1664" y="642"/>
                  </a:lnTo>
                  <a:lnTo>
                    <a:pt x="1662" y="643"/>
                  </a:lnTo>
                  <a:lnTo>
                    <a:pt x="1661" y="649"/>
                  </a:lnTo>
                  <a:lnTo>
                    <a:pt x="1661" y="656"/>
                  </a:lnTo>
                  <a:lnTo>
                    <a:pt x="1662" y="658"/>
                  </a:lnTo>
                  <a:lnTo>
                    <a:pt x="1662" y="661"/>
                  </a:lnTo>
                  <a:lnTo>
                    <a:pt x="1664" y="665"/>
                  </a:lnTo>
                  <a:lnTo>
                    <a:pt x="1667" y="669"/>
                  </a:lnTo>
                  <a:lnTo>
                    <a:pt x="1665" y="669"/>
                  </a:lnTo>
                  <a:lnTo>
                    <a:pt x="1664" y="671"/>
                  </a:lnTo>
                  <a:lnTo>
                    <a:pt x="1664" y="672"/>
                  </a:lnTo>
                  <a:lnTo>
                    <a:pt x="1662" y="675"/>
                  </a:lnTo>
                  <a:lnTo>
                    <a:pt x="1661" y="679"/>
                  </a:lnTo>
                  <a:lnTo>
                    <a:pt x="1658" y="682"/>
                  </a:lnTo>
                  <a:lnTo>
                    <a:pt x="1657" y="682"/>
                  </a:lnTo>
                  <a:lnTo>
                    <a:pt x="1649" y="678"/>
                  </a:lnTo>
                  <a:lnTo>
                    <a:pt x="1648" y="679"/>
                  </a:lnTo>
                  <a:lnTo>
                    <a:pt x="1648" y="681"/>
                  </a:lnTo>
                  <a:lnTo>
                    <a:pt x="1652" y="683"/>
                  </a:lnTo>
                  <a:lnTo>
                    <a:pt x="1652" y="685"/>
                  </a:lnTo>
                  <a:lnTo>
                    <a:pt x="1651" y="685"/>
                  </a:lnTo>
                  <a:lnTo>
                    <a:pt x="1648" y="686"/>
                  </a:lnTo>
                  <a:lnTo>
                    <a:pt x="1644" y="686"/>
                  </a:lnTo>
                  <a:lnTo>
                    <a:pt x="1641" y="685"/>
                  </a:lnTo>
                  <a:lnTo>
                    <a:pt x="1638" y="682"/>
                  </a:lnTo>
                  <a:lnTo>
                    <a:pt x="1637" y="681"/>
                  </a:lnTo>
                  <a:lnTo>
                    <a:pt x="1629" y="681"/>
                  </a:lnTo>
                  <a:lnTo>
                    <a:pt x="1624" y="683"/>
                  </a:lnTo>
                  <a:lnTo>
                    <a:pt x="1618" y="681"/>
                  </a:lnTo>
                  <a:lnTo>
                    <a:pt x="1607" y="681"/>
                  </a:lnTo>
                  <a:lnTo>
                    <a:pt x="1604" y="681"/>
                  </a:lnTo>
                  <a:lnTo>
                    <a:pt x="1598" y="676"/>
                  </a:lnTo>
                  <a:lnTo>
                    <a:pt x="1591" y="673"/>
                  </a:lnTo>
                  <a:lnTo>
                    <a:pt x="1582" y="666"/>
                  </a:lnTo>
                  <a:lnTo>
                    <a:pt x="1582" y="659"/>
                  </a:lnTo>
                  <a:lnTo>
                    <a:pt x="1584" y="653"/>
                  </a:lnTo>
                  <a:lnTo>
                    <a:pt x="1588" y="653"/>
                  </a:lnTo>
                  <a:lnTo>
                    <a:pt x="1591" y="653"/>
                  </a:lnTo>
                  <a:lnTo>
                    <a:pt x="1591" y="651"/>
                  </a:lnTo>
                  <a:lnTo>
                    <a:pt x="1590" y="649"/>
                  </a:lnTo>
                  <a:lnTo>
                    <a:pt x="1584" y="646"/>
                  </a:lnTo>
                  <a:lnTo>
                    <a:pt x="1565" y="646"/>
                  </a:lnTo>
                  <a:lnTo>
                    <a:pt x="1552" y="642"/>
                  </a:lnTo>
                  <a:lnTo>
                    <a:pt x="1534" y="641"/>
                  </a:lnTo>
                  <a:lnTo>
                    <a:pt x="1525" y="646"/>
                  </a:lnTo>
                  <a:lnTo>
                    <a:pt x="1512" y="646"/>
                  </a:lnTo>
                  <a:lnTo>
                    <a:pt x="1510" y="649"/>
                  </a:lnTo>
                  <a:lnTo>
                    <a:pt x="1504" y="652"/>
                  </a:lnTo>
                  <a:lnTo>
                    <a:pt x="1504" y="655"/>
                  </a:lnTo>
                  <a:lnTo>
                    <a:pt x="1507" y="659"/>
                  </a:lnTo>
                  <a:lnTo>
                    <a:pt x="1508" y="659"/>
                  </a:lnTo>
                  <a:lnTo>
                    <a:pt x="1510" y="661"/>
                  </a:lnTo>
                  <a:lnTo>
                    <a:pt x="1510" y="662"/>
                  </a:lnTo>
                  <a:lnTo>
                    <a:pt x="1508" y="662"/>
                  </a:lnTo>
                  <a:lnTo>
                    <a:pt x="1507" y="665"/>
                  </a:lnTo>
                  <a:lnTo>
                    <a:pt x="1505" y="666"/>
                  </a:lnTo>
                  <a:lnTo>
                    <a:pt x="1505" y="672"/>
                  </a:lnTo>
                  <a:lnTo>
                    <a:pt x="1504" y="676"/>
                  </a:lnTo>
                  <a:lnTo>
                    <a:pt x="1502" y="683"/>
                  </a:lnTo>
                  <a:lnTo>
                    <a:pt x="1501" y="686"/>
                  </a:lnTo>
                  <a:lnTo>
                    <a:pt x="1500" y="691"/>
                  </a:lnTo>
                  <a:lnTo>
                    <a:pt x="1501" y="693"/>
                  </a:lnTo>
                  <a:lnTo>
                    <a:pt x="1502" y="695"/>
                  </a:lnTo>
                  <a:lnTo>
                    <a:pt x="1505" y="698"/>
                  </a:lnTo>
                  <a:lnTo>
                    <a:pt x="1507" y="698"/>
                  </a:lnTo>
                  <a:lnTo>
                    <a:pt x="1507" y="699"/>
                  </a:lnTo>
                  <a:lnTo>
                    <a:pt x="1501" y="698"/>
                  </a:lnTo>
                  <a:lnTo>
                    <a:pt x="1498" y="695"/>
                  </a:lnTo>
                  <a:lnTo>
                    <a:pt x="1498" y="692"/>
                  </a:lnTo>
                  <a:lnTo>
                    <a:pt x="1498" y="689"/>
                  </a:lnTo>
                  <a:lnTo>
                    <a:pt x="1500" y="685"/>
                  </a:lnTo>
                  <a:lnTo>
                    <a:pt x="1502" y="682"/>
                  </a:lnTo>
                  <a:lnTo>
                    <a:pt x="1504" y="676"/>
                  </a:lnTo>
                  <a:lnTo>
                    <a:pt x="1504" y="672"/>
                  </a:lnTo>
                  <a:lnTo>
                    <a:pt x="1504" y="661"/>
                  </a:lnTo>
                  <a:lnTo>
                    <a:pt x="1500" y="658"/>
                  </a:lnTo>
                  <a:lnTo>
                    <a:pt x="1498" y="653"/>
                  </a:lnTo>
                  <a:lnTo>
                    <a:pt x="1501" y="646"/>
                  </a:lnTo>
                  <a:lnTo>
                    <a:pt x="1502" y="643"/>
                  </a:lnTo>
                  <a:lnTo>
                    <a:pt x="1501" y="641"/>
                  </a:lnTo>
                  <a:lnTo>
                    <a:pt x="1498" y="632"/>
                  </a:lnTo>
                  <a:lnTo>
                    <a:pt x="1497" y="628"/>
                  </a:lnTo>
                  <a:lnTo>
                    <a:pt x="1495" y="626"/>
                  </a:lnTo>
                  <a:lnTo>
                    <a:pt x="1494" y="625"/>
                  </a:lnTo>
                  <a:lnTo>
                    <a:pt x="1495" y="632"/>
                  </a:lnTo>
                  <a:lnTo>
                    <a:pt x="1494" y="636"/>
                  </a:lnTo>
                  <a:lnTo>
                    <a:pt x="1493" y="638"/>
                  </a:lnTo>
                  <a:lnTo>
                    <a:pt x="1487" y="639"/>
                  </a:lnTo>
                  <a:lnTo>
                    <a:pt x="1483" y="639"/>
                  </a:lnTo>
                  <a:lnTo>
                    <a:pt x="1477" y="638"/>
                  </a:lnTo>
                  <a:lnTo>
                    <a:pt x="1470" y="633"/>
                  </a:lnTo>
                  <a:lnTo>
                    <a:pt x="1468" y="629"/>
                  </a:lnTo>
                  <a:lnTo>
                    <a:pt x="1467" y="625"/>
                  </a:lnTo>
                  <a:lnTo>
                    <a:pt x="1471" y="623"/>
                  </a:lnTo>
                  <a:lnTo>
                    <a:pt x="1473" y="622"/>
                  </a:lnTo>
                  <a:lnTo>
                    <a:pt x="1470" y="621"/>
                  </a:lnTo>
                  <a:lnTo>
                    <a:pt x="1465" y="621"/>
                  </a:lnTo>
                  <a:lnTo>
                    <a:pt x="1465" y="626"/>
                  </a:lnTo>
                  <a:lnTo>
                    <a:pt x="1463" y="626"/>
                  </a:lnTo>
                  <a:lnTo>
                    <a:pt x="1453" y="622"/>
                  </a:lnTo>
                  <a:lnTo>
                    <a:pt x="1450" y="623"/>
                  </a:lnTo>
                  <a:lnTo>
                    <a:pt x="1445" y="628"/>
                  </a:lnTo>
                  <a:lnTo>
                    <a:pt x="1444" y="631"/>
                  </a:lnTo>
                  <a:lnTo>
                    <a:pt x="1443" y="635"/>
                  </a:lnTo>
                  <a:lnTo>
                    <a:pt x="1443" y="638"/>
                  </a:lnTo>
                  <a:lnTo>
                    <a:pt x="1444" y="639"/>
                  </a:lnTo>
                  <a:lnTo>
                    <a:pt x="1450" y="639"/>
                  </a:lnTo>
                  <a:lnTo>
                    <a:pt x="1454" y="639"/>
                  </a:lnTo>
                  <a:lnTo>
                    <a:pt x="1460" y="636"/>
                  </a:lnTo>
                  <a:lnTo>
                    <a:pt x="1461" y="636"/>
                  </a:lnTo>
                  <a:lnTo>
                    <a:pt x="1461" y="639"/>
                  </a:lnTo>
                  <a:lnTo>
                    <a:pt x="1460" y="641"/>
                  </a:lnTo>
                  <a:lnTo>
                    <a:pt x="1454" y="645"/>
                  </a:lnTo>
                  <a:lnTo>
                    <a:pt x="1445" y="653"/>
                  </a:lnTo>
                  <a:lnTo>
                    <a:pt x="1443" y="655"/>
                  </a:lnTo>
                  <a:lnTo>
                    <a:pt x="1437" y="652"/>
                  </a:lnTo>
                  <a:lnTo>
                    <a:pt x="1434" y="658"/>
                  </a:lnTo>
                  <a:lnTo>
                    <a:pt x="1433" y="659"/>
                  </a:lnTo>
                  <a:lnTo>
                    <a:pt x="1425" y="662"/>
                  </a:lnTo>
                  <a:lnTo>
                    <a:pt x="1421" y="662"/>
                  </a:lnTo>
                  <a:lnTo>
                    <a:pt x="1420" y="665"/>
                  </a:lnTo>
                  <a:lnTo>
                    <a:pt x="1418" y="665"/>
                  </a:lnTo>
                  <a:lnTo>
                    <a:pt x="1415" y="666"/>
                  </a:lnTo>
                  <a:lnTo>
                    <a:pt x="1411" y="671"/>
                  </a:lnTo>
                  <a:lnTo>
                    <a:pt x="1405" y="671"/>
                  </a:lnTo>
                  <a:lnTo>
                    <a:pt x="1401" y="669"/>
                  </a:lnTo>
                  <a:lnTo>
                    <a:pt x="1391" y="672"/>
                  </a:lnTo>
                  <a:lnTo>
                    <a:pt x="1388" y="673"/>
                  </a:lnTo>
                  <a:lnTo>
                    <a:pt x="1387" y="676"/>
                  </a:lnTo>
                  <a:lnTo>
                    <a:pt x="1387" y="679"/>
                  </a:lnTo>
                  <a:lnTo>
                    <a:pt x="1386" y="682"/>
                  </a:lnTo>
                  <a:lnTo>
                    <a:pt x="1378" y="688"/>
                  </a:lnTo>
                  <a:lnTo>
                    <a:pt x="1374" y="691"/>
                  </a:lnTo>
                  <a:lnTo>
                    <a:pt x="1370" y="692"/>
                  </a:lnTo>
                  <a:lnTo>
                    <a:pt x="1374" y="688"/>
                  </a:lnTo>
                  <a:lnTo>
                    <a:pt x="1378" y="682"/>
                  </a:lnTo>
                  <a:lnTo>
                    <a:pt x="1387" y="662"/>
                  </a:lnTo>
                  <a:lnTo>
                    <a:pt x="1394" y="661"/>
                  </a:lnTo>
                  <a:lnTo>
                    <a:pt x="1397" y="659"/>
                  </a:lnTo>
                  <a:lnTo>
                    <a:pt x="1403" y="646"/>
                  </a:lnTo>
                  <a:lnTo>
                    <a:pt x="1404" y="645"/>
                  </a:lnTo>
                  <a:lnTo>
                    <a:pt x="1413" y="645"/>
                  </a:lnTo>
                  <a:lnTo>
                    <a:pt x="1418" y="641"/>
                  </a:lnTo>
                  <a:lnTo>
                    <a:pt x="1433" y="621"/>
                  </a:lnTo>
                  <a:lnTo>
                    <a:pt x="1440" y="618"/>
                  </a:lnTo>
                  <a:lnTo>
                    <a:pt x="1445" y="613"/>
                  </a:lnTo>
                  <a:lnTo>
                    <a:pt x="1445" y="611"/>
                  </a:lnTo>
                  <a:lnTo>
                    <a:pt x="1447" y="608"/>
                  </a:lnTo>
                  <a:lnTo>
                    <a:pt x="1445" y="606"/>
                  </a:lnTo>
                  <a:lnTo>
                    <a:pt x="1445" y="603"/>
                  </a:lnTo>
                  <a:lnTo>
                    <a:pt x="1451" y="601"/>
                  </a:lnTo>
                  <a:lnTo>
                    <a:pt x="1454" y="595"/>
                  </a:lnTo>
                  <a:lnTo>
                    <a:pt x="1463" y="591"/>
                  </a:lnTo>
                  <a:lnTo>
                    <a:pt x="1468" y="584"/>
                  </a:lnTo>
                  <a:lnTo>
                    <a:pt x="1478" y="579"/>
                  </a:lnTo>
                  <a:lnTo>
                    <a:pt x="1483" y="572"/>
                  </a:lnTo>
                  <a:lnTo>
                    <a:pt x="1495" y="562"/>
                  </a:lnTo>
                  <a:lnTo>
                    <a:pt x="1505" y="545"/>
                  </a:lnTo>
                  <a:lnTo>
                    <a:pt x="1508" y="535"/>
                  </a:lnTo>
                  <a:lnTo>
                    <a:pt x="1505" y="532"/>
                  </a:lnTo>
                  <a:lnTo>
                    <a:pt x="1501" y="529"/>
                  </a:lnTo>
                  <a:lnTo>
                    <a:pt x="1500" y="525"/>
                  </a:lnTo>
                  <a:lnTo>
                    <a:pt x="1498" y="524"/>
                  </a:lnTo>
                  <a:lnTo>
                    <a:pt x="1495" y="526"/>
                  </a:lnTo>
                  <a:lnTo>
                    <a:pt x="1491" y="516"/>
                  </a:lnTo>
                  <a:lnTo>
                    <a:pt x="1487" y="511"/>
                  </a:lnTo>
                  <a:lnTo>
                    <a:pt x="1487" y="509"/>
                  </a:lnTo>
                  <a:lnTo>
                    <a:pt x="1488" y="509"/>
                  </a:lnTo>
                  <a:lnTo>
                    <a:pt x="1490" y="509"/>
                  </a:lnTo>
                  <a:lnTo>
                    <a:pt x="1498" y="519"/>
                  </a:lnTo>
                  <a:lnTo>
                    <a:pt x="1502" y="521"/>
                  </a:lnTo>
                  <a:lnTo>
                    <a:pt x="1504" y="522"/>
                  </a:lnTo>
                  <a:lnTo>
                    <a:pt x="1504" y="524"/>
                  </a:lnTo>
                  <a:lnTo>
                    <a:pt x="1504" y="528"/>
                  </a:lnTo>
                  <a:lnTo>
                    <a:pt x="1505" y="528"/>
                  </a:lnTo>
                  <a:lnTo>
                    <a:pt x="1505" y="526"/>
                  </a:lnTo>
                  <a:lnTo>
                    <a:pt x="1508" y="518"/>
                  </a:lnTo>
                  <a:lnTo>
                    <a:pt x="1510" y="509"/>
                  </a:lnTo>
                  <a:lnTo>
                    <a:pt x="1510" y="505"/>
                  </a:lnTo>
                  <a:lnTo>
                    <a:pt x="1505" y="506"/>
                  </a:lnTo>
                  <a:lnTo>
                    <a:pt x="1502" y="492"/>
                  </a:lnTo>
                  <a:lnTo>
                    <a:pt x="1501" y="488"/>
                  </a:lnTo>
                  <a:lnTo>
                    <a:pt x="1500" y="482"/>
                  </a:lnTo>
                  <a:lnTo>
                    <a:pt x="1497" y="482"/>
                  </a:lnTo>
                  <a:lnTo>
                    <a:pt x="1495" y="484"/>
                  </a:lnTo>
                  <a:lnTo>
                    <a:pt x="1497" y="485"/>
                  </a:lnTo>
                  <a:lnTo>
                    <a:pt x="1498" y="488"/>
                  </a:lnTo>
                  <a:lnTo>
                    <a:pt x="1497" y="491"/>
                  </a:lnTo>
                  <a:lnTo>
                    <a:pt x="1497" y="492"/>
                  </a:lnTo>
                  <a:lnTo>
                    <a:pt x="1493" y="495"/>
                  </a:lnTo>
                  <a:lnTo>
                    <a:pt x="1490" y="495"/>
                  </a:lnTo>
                  <a:lnTo>
                    <a:pt x="1491" y="494"/>
                  </a:lnTo>
                  <a:lnTo>
                    <a:pt x="1493" y="491"/>
                  </a:lnTo>
                  <a:lnTo>
                    <a:pt x="1491" y="486"/>
                  </a:lnTo>
                  <a:lnTo>
                    <a:pt x="1491" y="485"/>
                  </a:lnTo>
                  <a:lnTo>
                    <a:pt x="1490" y="474"/>
                  </a:lnTo>
                  <a:lnTo>
                    <a:pt x="1487" y="472"/>
                  </a:lnTo>
                  <a:lnTo>
                    <a:pt x="1484" y="469"/>
                  </a:lnTo>
                  <a:lnTo>
                    <a:pt x="1483" y="471"/>
                  </a:lnTo>
                  <a:lnTo>
                    <a:pt x="1478" y="474"/>
                  </a:lnTo>
                  <a:lnTo>
                    <a:pt x="1480" y="471"/>
                  </a:lnTo>
                  <a:lnTo>
                    <a:pt x="1481" y="466"/>
                  </a:lnTo>
                  <a:lnTo>
                    <a:pt x="1478" y="462"/>
                  </a:lnTo>
                  <a:lnTo>
                    <a:pt x="1477" y="458"/>
                  </a:lnTo>
                  <a:lnTo>
                    <a:pt x="1474" y="456"/>
                  </a:lnTo>
                  <a:lnTo>
                    <a:pt x="1470" y="452"/>
                  </a:lnTo>
                  <a:lnTo>
                    <a:pt x="1465" y="449"/>
                  </a:lnTo>
                  <a:lnTo>
                    <a:pt x="1455" y="448"/>
                  </a:lnTo>
                  <a:lnTo>
                    <a:pt x="1447" y="451"/>
                  </a:lnTo>
                  <a:lnTo>
                    <a:pt x="1438" y="448"/>
                  </a:lnTo>
                  <a:lnTo>
                    <a:pt x="1425" y="451"/>
                  </a:lnTo>
                  <a:lnTo>
                    <a:pt x="1421" y="451"/>
                  </a:lnTo>
                  <a:lnTo>
                    <a:pt x="1418" y="449"/>
                  </a:lnTo>
                  <a:lnTo>
                    <a:pt x="1417" y="451"/>
                  </a:lnTo>
                  <a:lnTo>
                    <a:pt x="1415" y="454"/>
                  </a:lnTo>
                  <a:lnTo>
                    <a:pt x="1414" y="461"/>
                  </a:lnTo>
                  <a:lnTo>
                    <a:pt x="1411" y="464"/>
                  </a:lnTo>
                  <a:lnTo>
                    <a:pt x="1410" y="465"/>
                  </a:lnTo>
                  <a:lnTo>
                    <a:pt x="1403" y="464"/>
                  </a:lnTo>
                  <a:lnTo>
                    <a:pt x="1397" y="466"/>
                  </a:lnTo>
                  <a:lnTo>
                    <a:pt x="1394" y="465"/>
                  </a:lnTo>
                  <a:lnTo>
                    <a:pt x="1390" y="465"/>
                  </a:lnTo>
                  <a:lnTo>
                    <a:pt x="1390" y="459"/>
                  </a:lnTo>
                  <a:lnTo>
                    <a:pt x="1393" y="459"/>
                  </a:lnTo>
                  <a:lnTo>
                    <a:pt x="1394" y="461"/>
                  </a:lnTo>
                  <a:lnTo>
                    <a:pt x="1398" y="449"/>
                  </a:lnTo>
                  <a:lnTo>
                    <a:pt x="1403" y="444"/>
                  </a:lnTo>
                  <a:lnTo>
                    <a:pt x="1407" y="435"/>
                  </a:lnTo>
                  <a:lnTo>
                    <a:pt x="1404" y="431"/>
                  </a:lnTo>
                  <a:lnTo>
                    <a:pt x="1398" y="428"/>
                  </a:lnTo>
                  <a:lnTo>
                    <a:pt x="1397" y="428"/>
                  </a:lnTo>
                  <a:lnTo>
                    <a:pt x="1396" y="429"/>
                  </a:lnTo>
                  <a:lnTo>
                    <a:pt x="1390" y="426"/>
                  </a:lnTo>
                  <a:lnTo>
                    <a:pt x="1386" y="428"/>
                  </a:lnTo>
                  <a:lnTo>
                    <a:pt x="1381" y="431"/>
                  </a:lnTo>
                  <a:lnTo>
                    <a:pt x="1380" y="431"/>
                  </a:lnTo>
                  <a:lnTo>
                    <a:pt x="1378" y="424"/>
                  </a:lnTo>
                  <a:lnTo>
                    <a:pt x="1373" y="424"/>
                  </a:lnTo>
                  <a:lnTo>
                    <a:pt x="1356" y="424"/>
                  </a:lnTo>
                  <a:lnTo>
                    <a:pt x="1357" y="421"/>
                  </a:lnTo>
                  <a:lnTo>
                    <a:pt x="1367" y="418"/>
                  </a:lnTo>
                  <a:lnTo>
                    <a:pt x="1374" y="414"/>
                  </a:lnTo>
                  <a:lnTo>
                    <a:pt x="1380" y="405"/>
                  </a:lnTo>
                  <a:lnTo>
                    <a:pt x="1384" y="402"/>
                  </a:lnTo>
                  <a:lnTo>
                    <a:pt x="1384" y="398"/>
                  </a:lnTo>
                  <a:lnTo>
                    <a:pt x="1383" y="395"/>
                  </a:lnTo>
                  <a:lnTo>
                    <a:pt x="1378" y="392"/>
                  </a:lnTo>
                  <a:lnTo>
                    <a:pt x="1373" y="391"/>
                  </a:lnTo>
                  <a:lnTo>
                    <a:pt x="1367" y="387"/>
                  </a:lnTo>
                  <a:lnTo>
                    <a:pt x="1364" y="382"/>
                  </a:lnTo>
                  <a:lnTo>
                    <a:pt x="1354" y="377"/>
                  </a:lnTo>
                  <a:lnTo>
                    <a:pt x="1351" y="377"/>
                  </a:lnTo>
                  <a:lnTo>
                    <a:pt x="1344" y="384"/>
                  </a:lnTo>
                  <a:lnTo>
                    <a:pt x="1341" y="384"/>
                  </a:lnTo>
                  <a:lnTo>
                    <a:pt x="1338" y="385"/>
                  </a:lnTo>
                  <a:lnTo>
                    <a:pt x="1330" y="394"/>
                  </a:lnTo>
                  <a:lnTo>
                    <a:pt x="1311" y="416"/>
                  </a:lnTo>
                  <a:lnTo>
                    <a:pt x="1309" y="424"/>
                  </a:lnTo>
                  <a:lnTo>
                    <a:pt x="1307" y="428"/>
                  </a:lnTo>
                  <a:lnTo>
                    <a:pt x="1303" y="431"/>
                  </a:lnTo>
                  <a:lnTo>
                    <a:pt x="1303" y="438"/>
                  </a:lnTo>
                  <a:lnTo>
                    <a:pt x="1303" y="444"/>
                  </a:lnTo>
                  <a:lnTo>
                    <a:pt x="1304" y="446"/>
                  </a:lnTo>
                  <a:lnTo>
                    <a:pt x="1306" y="451"/>
                  </a:lnTo>
                  <a:lnTo>
                    <a:pt x="1304" y="458"/>
                  </a:lnTo>
                  <a:lnTo>
                    <a:pt x="1303" y="462"/>
                  </a:lnTo>
                  <a:lnTo>
                    <a:pt x="1304" y="464"/>
                  </a:lnTo>
                  <a:lnTo>
                    <a:pt x="1307" y="464"/>
                  </a:lnTo>
                  <a:lnTo>
                    <a:pt x="1314" y="466"/>
                  </a:lnTo>
                  <a:lnTo>
                    <a:pt x="1313" y="469"/>
                  </a:lnTo>
                  <a:lnTo>
                    <a:pt x="1309" y="466"/>
                  </a:lnTo>
                  <a:lnTo>
                    <a:pt x="1304" y="466"/>
                  </a:lnTo>
                  <a:lnTo>
                    <a:pt x="1301" y="464"/>
                  </a:lnTo>
                  <a:lnTo>
                    <a:pt x="1293" y="466"/>
                  </a:lnTo>
                  <a:lnTo>
                    <a:pt x="1287" y="466"/>
                  </a:lnTo>
                  <a:lnTo>
                    <a:pt x="1281" y="468"/>
                  </a:lnTo>
                  <a:lnTo>
                    <a:pt x="1270" y="465"/>
                  </a:lnTo>
                  <a:lnTo>
                    <a:pt x="1269" y="466"/>
                  </a:lnTo>
                  <a:lnTo>
                    <a:pt x="1271" y="471"/>
                  </a:lnTo>
                  <a:lnTo>
                    <a:pt x="1273" y="474"/>
                  </a:lnTo>
                  <a:lnTo>
                    <a:pt x="1279" y="481"/>
                  </a:lnTo>
                  <a:lnTo>
                    <a:pt x="1281" y="484"/>
                  </a:lnTo>
                  <a:lnTo>
                    <a:pt x="1284" y="491"/>
                  </a:lnTo>
                  <a:lnTo>
                    <a:pt x="1286" y="504"/>
                  </a:lnTo>
                  <a:lnTo>
                    <a:pt x="1283" y="506"/>
                  </a:lnTo>
                  <a:lnTo>
                    <a:pt x="1281" y="512"/>
                  </a:lnTo>
                  <a:lnTo>
                    <a:pt x="1280" y="512"/>
                  </a:lnTo>
                  <a:lnTo>
                    <a:pt x="1279" y="512"/>
                  </a:lnTo>
                  <a:lnTo>
                    <a:pt x="1281" y="509"/>
                  </a:lnTo>
                  <a:lnTo>
                    <a:pt x="1283" y="502"/>
                  </a:lnTo>
                  <a:lnTo>
                    <a:pt x="1284" y="498"/>
                  </a:lnTo>
                  <a:lnTo>
                    <a:pt x="1283" y="494"/>
                  </a:lnTo>
                  <a:lnTo>
                    <a:pt x="1281" y="494"/>
                  </a:lnTo>
                  <a:lnTo>
                    <a:pt x="1280" y="492"/>
                  </a:lnTo>
                  <a:lnTo>
                    <a:pt x="1274" y="488"/>
                  </a:lnTo>
                  <a:lnTo>
                    <a:pt x="1271" y="485"/>
                  </a:lnTo>
                  <a:lnTo>
                    <a:pt x="1269" y="484"/>
                  </a:lnTo>
                  <a:lnTo>
                    <a:pt x="1266" y="484"/>
                  </a:lnTo>
                  <a:lnTo>
                    <a:pt x="1261" y="486"/>
                  </a:lnTo>
                  <a:lnTo>
                    <a:pt x="1259" y="488"/>
                  </a:lnTo>
                  <a:lnTo>
                    <a:pt x="1256" y="491"/>
                  </a:lnTo>
                  <a:lnTo>
                    <a:pt x="1254" y="494"/>
                  </a:lnTo>
                  <a:lnTo>
                    <a:pt x="1250" y="494"/>
                  </a:lnTo>
                  <a:lnTo>
                    <a:pt x="1250" y="498"/>
                  </a:lnTo>
                  <a:lnTo>
                    <a:pt x="1247" y="501"/>
                  </a:lnTo>
                  <a:lnTo>
                    <a:pt x="1246" y="496"/>
                  </a:lnTo>
                  <a:lnTo>
                    <a:pt x="1243" y="498"/>
                  </a:lnTo>
                  <a:lnTo>
                    <a:pt x="1237" y="504"/>
                  </a:lnTo>
                  <a:lnTo>
                    <a:pt x="1231" y="506"/>
                  </a:lnTo>
                  <a:lnTo>
                    <a:pt x="1233" y="504"/>
                  </a:lnTo>
                  <a:lnTo>
                    <a:pt x="1233" y="499"/>
                  </a:lnTo>
                  <a:lnTo>
                    <a:pt x="1231" y="499"/>
                  </a:lnTo>
                  <a:lnTo>
                    <a:pt x="1223" y="504"/>
                  </a:lnTo>
                  <a:lnTo>
                    <a:pt x="1220" y="508"/>
                  </a:lnTo>
                  <a:lnTo>
                    <a:pt x="1219" y="506"/>
                  </a:lnTo>
                  <a:lnTo>
                    <a:pt x="1223" y="498"/>
                  </a:lnTo>
                  <a:lnTo>
                    <a:pt x="1224" y="494"/>
                  </a:lnTo>
                  <a:lnTo>
                    <a:pt x="1223" y="492"/>
                  </a:lnTo>
                  <a:lnTo>
                    <a:pt x="1217" y="489"/>
                  </a:lnTo>
                  <a:lnTo>
                    <a:pt x="1213" y="489"/>
                  </a:lnTo>
                  <a:lnTo>
                    <a:pt x="1209" y="492"/>
                  </a:lnTo>
                  <a:lnTo>
                    <a:pt x="1200" y="489"/>
                  </a:lnTo>
                  <a:lnTo>
                    <a:pt x="1200" y="492"/>
                  </a:lnTo>
                  <a:lnTo>
                    <a:pt x="1197" y="492"/>
                  </a:lnTo>
                  <a:lnTo>
                    <a:pt x="1193" y="491"/>
                  </a:lnTo>
                  <a:lnTo>
                    <a:pt x="1189" y="492"/>
                  </a:lnTo>
                  <a:lnTo>
                    <a:pt x="1186" y="495"/>
                  </a:lnTo>
                  <a:lnTo>
                    <a:pt x="1182" y="492"/>
                  </a:lnTo>
                  <a:lnTo>
                    <a:pt x="1180" y="492"/>
                  </a:lnTo>
                  <a:lnTo>
                    <a:pt x="1177" y="498"/>
                  </a:lnTo>
                  <a:lnTo>
                    <a:pt x="1174" y="494"/>
                  </a:lnTo>
                  <a:lnTo>
                    <a:pt x="1173" y="501"/>
                  </a:lnTo>
                  <a:lnTo>
                    <a:pt x="1174" y="505"/>
                  </a:lnTo>
                  <a:lnTo>
                    <a:pt x="1176" y="505"/>
                  </a:lnTo>
                  <a:lnTo>
                    <a:pt x="1177" y="505"/>
                  </a:lnTo>
                  <a:lnTo>
                    <a:pt x="1177" y="502"/>
                  </a:lnTo>
                  <a:lnTo>
                    <a:pt x="1179" y="502"/>
                  </a:lnTo>
                  <a:lnTo>
                    <a:pt x="1182" y="505"/>
                  </a:lnTo>
                  <a:lnTo>
                    <a:pt x="1183" y="504"/>
                  </a:lnTo>
                  <a:lnTo>
                    <a:pt x="1184" y="502"/>
                  </a:lnTo>
                  <a:lnTo>
                    <a:pt x="1187" y="504"/>
                  </a:lnTo>
                  <a:lnTo>
                    <a:pt x="1194" y="502"/>
                  </a:lnTo>
                  <a:lnTo>
                    <a:pt x="1193" y="505"/>
                  </a:lnTo>
                  <a:lnTo>
                    <a:pt x="1184" y="509"/>
                  </a:lnTo>
                  <a:lnTo>
                    <a:pt x="1169" y="514"/>
                  </a:lnTo>
                  <a:lnTo>
                    <a:pt x="1166" y="515"/>
                  </a:lnTo>
                  <a:lnTo>
                    <a:pt x="1157" y="518"/>
                  </a:lnTo>
                  <a:lnTo>
                    <a:pt x="1152" y="522"/>
                  </a:lnTo>
                  <a:lnTo>
                    <a:pt x="1143" y="522"/>
                  </a:lnTo>
                  <a:lnTo>
                    <a:pt x="1130" y="526"/>
                  </a:lnTo>
                  <a:lnTo>
                    <a:pt x="1122" y="535"/>
                  </a:lnTo>
                  <a:lnTo>
                    <a:pt x="1116" y="534"/>
                  </a:lnTo>
                  <a:lnTo>
                    <a:pt x="1107" y="539"/>
                  </a:lnTo>
                  <a:lnTo>
                    <a:pt x="1103" y="545"/>
                  </a:lnTo>
                  <a:lnTo>
                    <a:pt x="1090" y="555"/>
                  </a:lnTo>
                  <a:lnTo>
                    <a:pt x="1082" y="551"/>
                  </a:lnTo>
                  <a:lnTo>
                    <a:pt x="1079" y="552"/>
                  </a:lnTo>
                  <a:lnTo>
                    <a:pt x="1079" y="556"/>
                  </a:lnTo>
                  <a:lnTo>
                    <a:pt x="1079" y="559"/>
                  </a:lnTo>
                  <a:lnTo>
                    <a:pt x="1082" y="559"/>
                  </a:lnTo>
                  <a:lnTo>
                    <a:pt x="1085" y="559"/>
                  </a:lnTo>
                  <a:lnTo>
                    <a:pt x="1087" y="562"/>
                  </a:lnTo>
                  <a:lnTo>
                    <a:pt x="1086" y="566"/>
                  </a:lnTo>
                  <a:lnTo>
                    <a:pt x="1080" y="576"/>
                  </a:lnTo>
                  <a:lnTo>
                    <a:pt x="1077" y="581"/>
                  </a:lnTo>
                  <a:lnTo>
                    <a:pt x="1075" y="582"/>
                  </a:lnTo>
                  <a:lnTo>
                    <a:pt x="1066" y="575"/>
                  </a:lnTo>
                  <a:lnTo>
                    <a:pt x="1066" y="578"/>
                  </a:lnTo>
                  <a:lnTo>
                    <a:pt x="1065" y="579"/>
                  </a:lnTo>
                  <a:lnTo>
                    <a:pt x="1062" y="579"/>
                  </a:lnTo>
                  <a:lnTo>
                    <a:pt x="1060" y="585"/>
                  </a:lnTo>
                  <a:lnTo>
                    <a:pt x="1065" y="586"/>
                  </a:lnTo>
                  <a:lnTo>
                    <a:pt x="1070" y="588"/>
                  </a:lnTo>
                  <a:lnTo>
                    <a:pt x="1075" y="592"/>
                  </a:lnTo>
                  <a:lnTo>
                    <a:pt x="1077" y="596"/>
                  </a:lnTo>
                  <a:lnTo>
                    <a:pt x="1082" y="599"/>
                  </a:lnTo>
                  <a:lnTo>
                    <a:pt x="1083" y="602"/>
                  </a:lnTo>
                  <a:lnTo>
                    <a:pt x="1077" y="603"/>
                  </a:lnTo>
                  <a:lnTo>
                    <a:pt x="1075" y="599"/>
                  </a:lnTo>
                  <a:lnTo>
                    <a:pt x="1072" y="596"/>
                  </a:lnTo>
                  <a:lnTo>
                    <a:pt x="1070" y="596"/>
                  </a:lnTo>
                  <a:lnTo>
                    <a:pt x="1066" y="598"/>
                  </a:lnTo>
                  <a:lnTo>
                    <a:pt x="1063" y="605"/>
                  </a:lnTo>
                  <a:lnTo>
                    <a:pt x="1066" y="606"/>
                  </a:lnTo>
                  <a:lnTo>
                    <a:pt x="1073" y="609"/>
                  </a:lnTo>
                  <a:lnTo>
                    <a:pt x="1075" y="612"/>
                  </a:lnTo>
                  <a:lnTo>
                    <a:pt x="1083" y="631"/>
                  </a:lnTo>
                  <a:lnTo>
                    <a:pt x="1085" y="632"/>
                  </a:lnTo>
                  <a:lnTo>
                    <a:pt x="1087" y="632"/>
                  </a:lnTo>
                  <a:lnTo>
                    <a:pt x="1089" y="633"/>
                  </a:lnTo>
                  <a:lnTo>
                    <a:pt x="1086" y="638"/>
                  </a:lnTo>
                  <a:lnTo>
                    <a:pt x="1085" y="641"/>
                  </a:lnTo>
                  <a:lnTo>
                    <a:pt x="1082" y="645"/>
                  </a:lnTo>
                  <a:lnTo>
                    <a:pt x="1069" y="648"/>
                  </a:lnTo>
                  <a:lnTo>
                    <a:pt x="1066" y="649"/>
                  </a:lnTo>
                  <a:lnTo>
                    <a:pt x="1065" y="651"/>
                  </a:lnTo>
                  <a:lnTo>
                    <a:pt x="1063" y="652"/>
                  </a:lnTo>
                  <a:lnTo>
                    <a:pt x="1063" y="653"/>
                  </a:lnTo>
                  <a:lnTo>
                    <a:pt x="1062" y="658"/>
                  </a:lnTo>
                  <a:lnTo>
                    <a:pt x="1063" y="661"/>
                  </a:lnTo>
                  <a:lnTo>
                    <a:pt x="1066" y="662"/>
                  </a:lnTo>
                  <a:lnTo>
                    <a:pt x="1075" y="672"/>
                  </a:lnTo>
                  <a:lnTo>
                    <a:pt x="1075" y="673"/>
                  </a:lnTo>
                  <a:lnTo>
                    <a:pt x="1072" y="672"/>
                  </a:lnTo>
                  <a:lnTo>
                    <a:pt x="1069" y="669"/>
                  </a:lnTo>
                  <a:lnTo>
                    <a:pt x="1065" y="665"/>
                  </a:lnTo>
                  <a:lnTo>
                    <a:pt x="1060" y="662"/>
                  </a:lnTo>
                  <a:lnTo>
                    <a:pt x="1060" y="659"/>
                  </a:lnTo>
                  <a:lnTo>
                    <a:pt x="1060" y="655"/>
                  </a:lnTo>
                  <a:lnTo>
                    <a:pt x="1060" y="653"/>
                  </a:lnTo>
                  <a:lnTo>
                    <a:pt x="1060" y="652"/>
                  </a:lnTo>
                  <a:lnTo>
                    <a:pt x="1065" y="648"/>
                  </a:lnTo>
                  <a:lnTo>
                    <a:pt x="1069" y="645"/>
                  </a:lnTo>
                  <a:lnTo>
                    <a:pt x="1075" y="639"/>
                  </a:lnTo>
                  <a:lnTo>
                    <a:pt x="1080" y="633"/>
                  </a:lnTo>
                  <a:lnTo>
                    <a:pt x="1079" y="631"/>
                  </a:lnTo>
                  <a:lnTo>
                    <a:pt x="1077" y="629"/>
                  </a:lnTo>
                  <a:lnTo>
                    <a:pt x="1073" y="629"/>
                  </a:lnTo>
                  <a:lnTo>
                    <a:pt x="1063" y="632"/>
                  </a:lnTo>
                  <a:lnTo>
                    <a:pt x="1057" y="633"/>
                  </a:lnTo>
                  <a:lnTo>
                    <a:pt x="1055" y="638"/>
                  </a:lnTo>
                  <a:lnTo>
                    <a:pt x="1050" y="639"/>
                  </a:lnTo>
                  <a:lnTo>
                    <a:pt x="1049" y="639"/>
                  </a:lnTo>
                  <a:lnTo>
                    <a:pt x="1043" y="636"/>
                  </a:lnTo>
                  <a:lnTo>
                    <a:pt x="1037" y="639"/>
                  </a:lnTo>
                  <a:lnTo>
                    <a:pt x="1026" y="641"/>
                  </a:lnTo>
                  <a:lnTo>
                    <a:pt x="1025" y="642"/>
                  </a:lnTo>
                  <a:lnTo>
                    <a:pt x="996" y="642"/>
                  </a:lnTo>
                  <a:lnTo>
                    <a:pt x="990" y="643"/>
                  </a:lnTo>
                  <a:lnTo>
                    <a:pt x="976" y="648"/>
                  </a:lnTo>
                  <a:lnTo>
                    <a:pt x="976" y="651"/>
                  </a:lnTo>
                  <a:lnTo>
                    <a:pt x="978" y="653"/>
                  </a:lnTo>
                  <a:lnTo>
                    <a:pt x="975" y="656"/>
                  </a:lnTo>
                  <a:lnTo>
                    <a:pt x="973" y="659"/>
                  </a:lnTo>
                  <a:lnTo>
                    <a:pt x="975" y="663"/>
                  </a:lnTo>
                  <a:lnTo>
                    <a:pt x="975" y="666"/>
                  </a:lnTo>
                  <a:lnTo>
                    <a:pt x="975" y="671"/>
                  </a:lnTo>
                  <a:lnTo>
                    <a:pt x="976" y="675"/>
                  </a:lnTo>
                  <a:lnTo>
                    <a:pt x="978" y="676"/>
                  </a:lnTo>
                  <a:lnTo>
                    <a:pt x="979" y="678"/>
                  </a:lnTo>
                  <a:lnTo>
                    <a:pt x="980" y="682"/>
                  </a:lnTo>
                  <a:lnTo>
                    <a:pt x="980" y="688"/>
                  </a:lnTo>
                  <a:lnTo>
                    <a:pt x="978" y="692"/>
                  </a:lnTo>
                  <a:lnTo>
                    <a:pt x="978" y="695"/>
                  </a:lnTo>
                  <a:lnTo>
                    <a:pt x="979" y="699"/>
                  </a:lnTo>
                  <a:lnTo>
                    <a:pt x="980" y="705"/>
                  </a:lnTo>
                  <a:lnTo>
                    <a:pt x="980" y="708"/>
                  </a:lnTo>
                  <a:lnTo>
                    <a:pt x="985" y="712"/>
                  </a:lnTo>
                  <a:lnTo>
                    <a:pt x="988" y="713"/>
                  </a:lnTo>
                  <a:lnTo>
                    <a:pt x="993" y="715"/>
                  </a:lnTo>
                  <a:lnTo>
                    <a:pt x="996" y="716"/>
                  </a:lnTo>
                  <a:lnTo>
                    <a:pt x="1000" y="719"/>
                  </a:lnTo>
                  <a:lnTo>
                    <a:pt x="1002" y="721"/>
                  </a:lnTo>
                  <a:lnTo>
                    <a:pt x="1003" y="722"/>
                  </a:lnTo>
                  <a:lnTo>
                    <a:pt x="1003" y="728"/>
                  </a:lnTo>
                  <a:lnTo>
                    <a:pt x="1005" y="729"/>
                  </a:lnTo>
                  <a:lnTo>
                    <a:pt x="1010" y="736"/>
                  </a:lnTo>
                  <a:lnTo>
                    <a:pt x="1012" y="738"/>
                  </a:lnTo>
                  <a:lnTo>
                    <a:pt x="1019" y="739"/>
                  </a:lnTo>
                  <a:lnTo>
                    <a:pt x="1020" y="742"/>
                  </a:lnTo>
                  <a:lnTo>
                    <a:pt x="1025" y="749"/>
                  </a:lnTo>
                  <a:lnTo>
                    <a:pt x="1025" y="751"/>
                  </a:lnTo>
                  <a:lnTo>
                    <a:pt x="1025" y="753"/>
                  </a:lnTo>
                  <a:lnTo>
                    <a:pt x="1025" y="756"/>
                  </a:lnTo>
                  <a:lnTo>
                    <a:pt x="1025" y="758"/>
                  </a:lnTo>
                  <a:lnTo>
                    <a:pt x="1023" y="761"/>
                  </a:lnTo>
                  <a:lnTo>
                    <a:pt x="1020" y="769"/>
                  </a:lnTo>
                  <a:lnTo>
                    <a:pt x="1018" y="778"/>
                  </a:lnTo>
                  <a:lnTo>
                    <a:pt x="1020" y="783"/>
                  </a:lnTo>
                  <a:lnTo>
                    <a:pt x="1025" y="795"/>
                  </a:lnTo>
                  <a:lnTo>
                    <a:pt x="1026" y="799"/>
                  </a:lnTo>
                  <a:lnTo>
                    <a:pt x="1027" y="805"/>
                  </a:lnTo>
                  <a:lnTo>
                    <a:pt x="1026" y="809"/>
                  </a:lnTo>
                  <a:lnTo>
                    <a:pt x="1026" y="812"/>
                  </a:lnTo>
                  <a:lnTo>
                    <a:pt x="1023" y="815"/>
                  </a:lnTo>
                  <a:lnTo>
                    <a:pt x="1020" y="816"/>
                  </a:lnTo>
                  <a:lnTo>
                    <a:pt x="1016" y="818"/>
                  </a:lnTo>
                  <a:lnTo>
                    <a:pt x="1018" y="820"/>
                  </a:lnTo>
                  <a:lnTo>
                    <a:pt x="1018" y="823"/>
                  </a:lnTo>
                  <a:lnTo>
                    <a:pt x="1018" y="826"/>
                  </a:lnTo>
                  <a:lnTo>
                    <a:pt x="1016" y="826"/>
                  </a:lnTo>
                  <a:lnTo>
                    <a:pt x="1015" y="828"/>
                  </a:lnTo>
                  <a:lnTo>
                    <a:pt x="1013" y="826"/>
                  </a:lnTo>
                  <a:lnTo>
                    <a:pt x="1012" y="823"/>
                  </a:lnTo>
                  <a:lnTo>
                    <a:pt x="1010" y="820"/>
                  </a:lnTo>
                  <a:lnTo>
                    <a:pt x="1012" y="818"/>
                  </a:lnTo>
                  <a:lnTo>
                    <a:pt x="1015" y="812"/>
                  </a:lnTo>
                  <a:lnTo>
                    <a:pt x="1016" y="803"/>
                  </a:lnTo>
                  <a:lnTo>
                    <a:pt x="1016" y="798"/>
                  </a:lnTo>
                  <a:lnTo>
                    <a:pt x="1016" y="792"/>
                  </a:lnTo>
                  <a:lnTo>
                    <a:pt x="1016" y="789"/>
                  </a:lnTo>
                  <a:lnTo>
                    <a:pt x="1013" y="785"/>
                  </a:lnTo>
                  <a:lnTo>
                    <a:pt x="1012" y="786"/>
                  </a:lnTo>
                  <a:lnTo>
                    <a:pt x="1009" y="789"/>
                  </a:lnTo>
                  <a:lnTo>
                    <a:pt x="1006" y="799"/>
                  </a:lnTo>
                  <a:lnTo>
                    <a:pt x="1003" y="805"/>
                  </a:lnTo>
                  <a:lnTo>
                    <a:pt x="1003" y="809"/>
                  </a:lnTo>
                  <a:lnTo>
                    <a:pt x="1003" y="811"/>
                  </a:lnTo>
                  <a:lnTo>
                    <a:pt x="1003" y="812"/>
                  </a:lnTo>
                  <a:lnTo>
                    <a:pt x="1002" y="808"/>
                  </a:lnTo>
                  <a:lnTo>
                    <a:pt x="1002" y="803"/>
                  </a:lnTo>
                  <a:lnTo>
                    <a:pt x="1003" y="798"/>
                  </a:lnTo>
                  <a:lnTo>
                    <a:pt x="1005" y="793"/>
                  </a:lnTo>
                  <a:lnTo>
                    <a:pt x="1005" y="789"/>
                  </a:lnTo>
                  <a:lnTo>
                    <a:pt x="1003" y="783"/>
                  </a:lnTo>
                  <a:lnTo>
                    <a:pt x="1003" y="781"/>
                  </a:lnTo>
                  <a:lnTo>
                    <a:pt x="1003" y="779"/>
                  </a:lnTo>
                  <a:lnTo>
                    <a:pt x="1005" y="771"/>
                  </a:lnTo>
                  <a:lnTo>
                    <a:pt x="1008" y="769"/>
                  </a:lnTo>
                  <a:lnTo>
                    <a:pt x="1015" y="762"/>
                  </a:lnTo>
                  <a:lnTo>
                    <a:pt x="1015" y="761"/>
                  </a:lnTo>
                  <a:lnTo>
                    <a:pt x="1018" y="755"/>
                  </a:lnTo>
                  <a:lnTo>
                    <a:pt x="1018" y="753"/>
                  </a:lnTo>
                  <a:lnTo>
                    <a:pt x="1019" y="751"/>
                  </a:lnTo>
                  <a:lnTo>
                    <a:pt x="1018" y="748"/>
                  </a:lnTo>
                  <a:lnTo>
                    <a:pt x="1015" y="746"/>
                  </a:lnTo>
                  <a:lnTo>
                    <a:pt x="1012" y="745"/>
                  </a:lnTo>
                  <a:lnTo>
                    <a:pt x="1008" y="745"/>
                  </a:lnTo>
                  <a:lnTo>
                    <a:pt x="1000" y="748"/>
                  </a:lnTo>
                  <a:lnTo>
                    <a:pt x="995" y="748"/>
                  </a:lnTo>
                  <a:lnTo>
                    <a:pt x="992" y="746"/>
                  </a:lnTo>
                  <a:lnTo>
                    <a:pt x="982" y="735"/>
                  </a:lnTo>
                  <a:lnTo>
                    <a:pt x="980" y="731"/>
                  </a:lnTo>
                  <a:lnTo>
                    <a:pt x="979" y="728"/>
                  </a:lnTo>
                  <a:lnTo>
                    <a:pt x="979" y="728"/>
                  </a:lnTo>
                  <a:lnTo>
                    <a:pt x="975" y="725"/>
                  </a:lnTo>
                  <a:lnTo>
                    <a:pt x="966" y="721"/>
                  </a:lnTo>
                  <a:lnTo>
                    <a:pt x="958" y="713"/>
                  </a:lnTo>
                  <a:lnTo>
                    <a:pt x="943" y="712"/>
                  </a:lnTo>
                  <a:lnTo>
                    <a:pt x="939" y="713"/>
                  </a:lnTo>
                  <a:lnTo>
                    <a:pt x="935" y="716"/>
                  </a:lnTo>
                  <a:lnTo>
                    <a:pt x="930" y="721"/>
                  </a:lnTo>
                  <a:lnTo>
                    <a:pt x="929" y="722"/>
                  </a:lnTo>
                  <a:lnTo>
                    <a:pt x="928" y="723"/>
                  </a:lnTo>
                  <a:lnTo>
                    <a:pt x="926" y="725"/>
                  </a:lnTo>
                  <a:lnTo>
                    <a:pt x="926" y="728"/>
                  </a:lnTo>
                  <a:lnTo>
                    <a:pt x="928" y="729"/>
                  </a:lnTo>
                  <a:lnTo>
                    <a:pt x="932" y="726"/>
                  </a:lnTo>
                  <a:lnTo>
                    <a:pt x="936" y="728"/>
                  </a:lnTo>
                  <a:lnTo>
                    <a:pt x="938" y="731"/>
                  </a:lnTo>
                  <a:lnTo>
                    <a:pt x="939" y="735"/>
                  </a:lnTo>
                  <a:lnTo>
                    <a:pt x="939" y="738"/>
                  </a:lnTo>
                  <a:lnTo>
                    <a:pt x="932" y="741"/>
                  </a:lnTo>
                  <a:lnTo>
                    <a:pt x="928" y="741"/>
                  </a:lnTo>
                  <a:lnTo>
                    <a:pt x="921" y="732"/>
                  </a:lnTo>
                  <a:lnTo>
                    <a:pt x="918" y="731"/>
                  </a:lnTo>
                  <a:lnTo>
                    <a:pt x="911" y="732"/>
                  </a:lnTo>
                  <a:lnTo>
                    <a:pt x="905" y="736"/>
                  </a:lnTo>
                  <a:lnTo>
                    <a:pt x="903" y="738"/>
                  </a:lnTo>
                  <a:lnTo>
                    <a:pt x="905" y="742"/>
                  </a:lnTo>
                  <a:lnTo>
                    <a:pt x="906" y="749"/>
                  </a:lnTo>
                  <a:lnTo>
                    <a:pt x="908" y="753"/>
                  </a:lnTo>
                  <a:lnTo>
                    <a:pt x="911" y="756"/>
                  </a:lnTo>
                  <a:lnTo>
                    <a:pt x="918" y="761"/>
                  </a:lnTo>
                  <a:lnTo>
                    <a:pt x="921" y="763"/>
                  </a:lnTo>
                  <a:lnTo>
                    <a:pt x="928" y="768"/>
                  </a:lnTo>
                  <a:lnTo>
                    <a:pt x="930" y="768"/>
                  </a:lnTo>
                  <a:lnTo>
                    <a:pt x="933" y="768"/>
                  </a:lnTo>
                  <a:lnTo>
                    <a:pt x="939" y="771"/>
                  </a:lnTo>
                  <a:lnTo>
                    <a:pt x="942" y="779"/>
                  </a:lnTo>
                  <a:lnTo>
                    <a:pt x="943" y="782"/>
                  </a:lnTo>
                  <a:lnTo>
                    <a:pt x="945" y="783"/>
                  </a:lnTo>
                  <a:lnTo>
                    <a:pt x="948" y="785"/>
                  </a:lnTo>
                  <a:lnTo>
                    <a:pt x="948" y="785"/>
                  </a:lnTo>
                  <a:lnTo>
                    <a:pt x="949" y="783"/>
                  </a:lnTo>
                  <a:lnTo>
                    <a:pt x="953" y="783"/>
                  </a:lnTo>
                  <a:lnTo>
                    <a:pt x="952" y="786"/>
                  </a:lnTo>
                  <a:lnTo>
                    <a:pt x="950" y="786"/>
                  </a:lnTo>
                  <a:lnTo>
                    <a:pt x="943" y="788"/>
                  </a:lnTo>
                  <a:lnTo>
                    <a:pt x="940" y="786"/>
                  </a:lnTo>
                  <a:lnTo>
                    <a:pt x="936" y="783"/>
                  </a:lnTo>
                  <a:lnTo>
                    <a:pt x="929" y="775"/>
                  </a:lnTo>
                  <a:lnTo>
                    <a:pt x="919" y="775"/>
                  </a:lnTo>
                  <a:lnTo>
                    <a:pt x="918" y="778"/>
                  </a:lnTo>
                  <a:lnTo>
                    <a:pt x="915" y="773"/>
                  </a:lnTo>
                  <a:lnTo>
                    <a:pt x="905" y="772"/>
                  </a:lnTo>
                  <a:lnTo>
                    <a:pt x="899" y="771"/>
                  </a:lnTo>
                  <a:lnTo>
                    <a:pt x="892" y="766"/>
                  </a:lnTo>
                  <a:lnTo>
                    <a:pt x="892" y="765"/>
                  </a:lnTo>
                  <a:lnTo>
                    <a:pt x="892" y="762"/>
                  </a:lnTo>
                  <a:lnTo>
                    <a:pt x="893" y="759"/>
                  </a:lnTo>
                  <a:lnTo>
                    <a:pt x="895" y="756"/>
                  </a:lnTo>
                  <a:lnTo>
                    <a:pt x="895" y="751"/>
                  </a:lnTo>
                  <a:lnTo>
                    <a:pt x="892" y="742"/>
                  </a:lnTo>
                  <a:lnTo>
                    <a:pt x="892" y="735"/>
                  </a:lnTo>
                  <a:lnTo>
                    <a:pt x="893" y="733"/>
                  </a:lnTo>
                  <a:lnTo>
                    <a:pt x="896" y="723"/>
                  </a:lnTo>
                  <a:lnTo>
                    <a:pt x="898" y="721"/>
                  </a:lnTo>
                  <a:lnTo>
                    <a:pt x="899" y="719"/>
                  </a:lnTo>
                  <a:lnTo>
                    <a:pt x="899" y="718"/>
                  </a:lnTo>
                  <a:lnTo>
                    <a:pt x="899" y="715"/>
                  </a:lnTo>
                  <a:lnTo>
                    <a:pt x="898" y="713"/>
                  </a:lnTo>
                  <a:lnTo>
                    <a:pt x="896" y="709"/>
                  </a:lnTo>
                  <a:lnTo>
                    <a:pt x="898" y="706"/>
                  </a:lnTo>
                  <a:lnTo>
                    <a:pt x="898" y="702"/>
                  </a:lnTo>
                  <a:lnTo>
                    <a:pt x="895" y="696"/>
                  </a:lnTo>
                  <a:lnTo>
                    <a:pt x="893" y="691"/>
                  </a:lnTo>
                  <a:lnTo>
                    <a:pt x="889" y="688"/>
                  </a:lnTo>
                  <a:lnTo>
                    <a:pt x="886" y="688"/>
                  </a:lnTo>
                  <a:lnTo>
                    <a:pt x="885" y="688"/>
                  </a:lnTo>
                  <a:lnTo>
                    <a:pt x="883" y="689"/>
                  </a:lnTo>
                  <a:lnTo>
                    <a:pt x="886" y="695"/>
                  </a:lnTo>
                  <a:lnTo>
                    <a:pt x="888" y="701"/>
                  </a:lnTo>
                  <a:lnTo>
                    <a:pt x="888" y="703"/>
                  </a:lnTo>
                  <a:lnTo>
                    <a:pt x="889" y="711"/>
                  </a:lnTo>
                  <a:lnTo>
                    <a:pt x="889" y="719"/>
                  </a:lnTo>
                  <a:lnTo>
                    <a:pt x="888" y="722"/>
                  </a:lnTo>
                  <a:lnTo>
                    <a:pt x="888" y="725"/>
                  </a:lnTo>
                  <a:lnTo>
                    <a:pt x="885" y="729"/>
                  </a:lnTo>
                  <a:lnTo>
                    <a:pt x="879" y="733"/>
                  </a:lnTo>
                  <a:lnTo>
                    <a:pt x="876" y="735"/>
                  </a:lnTo>
                  <a:lnTo>
                    <a:pt x="871" y="738"/>
                  </a:lnTo>
                  <a:lnTo>
                    <a:pt x="866" y="741"/>
                  </a:lnTo>
                  <a:lnTo>
                    <a:pt x="856" y="761"/>
                  </a:lnTo>
                  <a:lnTo>
                    <a:pt x="858" y="765"/>
                  </a:lnTo>
                  <a:lnTo>
                    <a:pt x="861" y="768"/>
                  </a:lnTo>
                  <a:lnTo>
                    <a:pt x="863" y="771"/>
                  </a:lnTo>
                  <a:lnTo>
                    <a:pt x="865" y="772"/>
                  </a:lnTo>
                  <a:lnTo>
                    <a:pt x="868" y="781"/>
                  </a:lnTo>
                  <a:lnTo>
                    <a:pt x="876" y="801"/>
                  </a:lnTo>
                  <a:lnTo>
                    <a:pt x="876" y="803"/>
                  </a:lnTo>
                  <a:lnTo>
                    <a:pt x="875" y="811"/>
                  </a:lnTo>
                  <a:lnTo>
                    <a:pt x="871" y="819"/>
                  </a:lnTo>
                  <a:lnTo>
                    <a:pt x="869" y="823"/>
                  </a:lnTo>
                  <a:lnTo>
                    <a:pt x="865" y="840"/>
                  </a:lnTo>
                  <a:lnTo>
                    <a:pt x="865" y="845"/>
                  </a:lnTo>
                  <a:lnTo>
                    <a:pt x="866" y="849"/>
                  </a:lnTo>
                  <a:lnTo>
                    <a:pt x="869" y="855"/>
                  </a:lnTo>
                  <a:lnTo>
                    <a:pt x="869" y="858"/>
                  </a:lnTo>
                  <a:lnTo>
                    <a:pt x="868" y="868"/>
                  </a:lnTo>
                  <a:lnTo>
                    <a:pt x="869" y="870"/>
                  </a:lnTo>
                  <a:lnTo>
                    <a:pt x="871" y="872"/>
                  </a:lnTo>
                  <a:lnTo>
                    <a:pt x="878" y="870"/>
                  </a:lnTo>
                  <a:lnTo>
                    <a:pt x="885" y="873"/>
                  </a:lnTo>
                  <a:lnTo>
                    <a:pt x="888" y="872"/>
                  </a:lnTo>
                  <a:lnTo>
                    <a:pt x="893" y="866"/>
                  </a:lnTo>
                  <a:lnTo>
                    <a:pt x="896" y="866"/>
                  </a:lnTo>
                  <a:lnTo>
                    <a:pt x="903" y="866"/>
                  </a:lnTo>
                  <a:lnTo>
                    <a:pt x="913" y="872"/>
                  </a:lnTo>
                  <a:lnTo>
                    <a:pt x="925" y="879"/>
                  </a:lnTo>
                  <a:lnTo>
                    <a:pt x="926" y="882"/>
                  </a:lnTo>
                  <a:lnTo>
                    <a:pt x="930" y="882"/>
                  </a:lnTo>
                  <a:lnTo>
                    <a:pt x="932" y="893"/>
                  </a:lnTo>
                  <a:lnTo>
                    <a:pt x="933" y="900"/>
                  </a:lnTo>
                  <a:lnTo>
                    <a:pt x="935" y="905"/>
                  </a:lnTo>
                  <a:lnTo>
                    <a:pt x="935" y="909"/>
                  </a:lnTo>
                  <a:lnTo>
                    <a:pt x="933" y="910"/>
                  </a:lnTo>
                  <a:lnTo>
                    <a:pt x="932" y="910"/>
                  </a:lnTo>
                  <a:lnTo>
                    <a:pt x="930" y="912"/>
                  </a:lnTo>
                  <a:lnTo>
                    <a:pt x="928" y="920"/>
                  </a:lnTo>
                  <a:lnTo>
                    <a:pt x="928" y="925"/>
                  </a:lnTo>
                  <a:lnTo>
                    <a:pt x="929" y="932"/>
                  </a:lnTo>
                  <a:lnTo>
                    <a:pt x="938" y="935"/>
                  </a:lnTo>
                  <a:lnTo>
                    <a:pt x="945" y="936"/>
                  </a:lnTo>
                  <a:lnTo>
                    <a:pt x="949" y="936"/>
                  </a:lnTo>
                  <a:lnTo>
                    <a:pt x="949" y="938"/>
                  </a:lnTo>
                  <a:lnTo>
                    <a:pt x="950" y="938"/>
                  </a:lnTo>
                  <a:lnTo>
                    <a:pt x="945" y="939"/>
                  </a:lnTo>
                  <a:lnTo>
                    <a:pt x="935" y="939"/>
                  </a:lnTo>
                  <a:lnTo>
                    <a:pt x="932" y="939"/>
                  </a:lnTo>
                  <a:lnTo>
                    <a:pt x="930" y="938"/>
                  </a:lnTo>
                  <a:lnTo>
                    <a:pt x="929" y="936"/>
                  </a:lnTo>
                  <a:lnTo>
                    <a:pt x="926" y="933"/>
                  </a:lnTo>
                  <a:lnTo>
                    <a:pt x="925" y="932"/>
                  </a:lnTo>
                  <a:lnTo>
                    <a:pt x="922" y="930"/>
                  </a:lnTo>
                  <a:lnTo>
                    <a:pt x="923" y="923"/>
                  </a:lnTo>
                  <a:lnTo>
                    <a:pt x="923" y="908"/>
                  </a:lnTo>
                  <a:lnTo>
                    <a:pt x="923" y="900"/>
                  </a:lnTo>
                  <a:lnTo>
                    <a:pt x="921" y="895"/>
                  </a:lnTo>
                  <a:lnTo>
                    <a:pt x="915" y="888"/>
                  </a:lnTo>
                  <a:lnTo>
                    <a:pt x="913" y="882"/>
                  </a:lnTo>
                  <a:lnTo>
                    <a:pt x="911" y="878"/>
                  </a:lnTo>
                  <a:lnTo>
                    <a:pt x="909" y="878"/>
                  </a:lnTo>
                  <a:lnTo>
                    <a:pt x="905" y="878"/>
                  </a:lnTo>
                  <a:lnTo>
                    <a:pt x="896" y="882"/>
                  </a:lnTo>
                  <a:lnTo>
                    <a:pt x="889" y="883"/>
                  </a:lnTo>
                  <a:lnTo>
                    <a:pt x="881" y="888"/>
                  </a:lnTo>
                  <a:lnTo>
                    <a:pt x="879" y="892"/>
                  </a:lnTo>
                  <a:lnTo>
                    <a:pt x="878" y="902"/>
                  </a:lnTo>
                  <a:lnTo>
                    <a:pt x="879" y="908"/>
                  </a:lnTo>
                  <a:lnTo>
                    <a:pt x="882" y="912"/>
                  </a:lnTo>
                  <a:lnTo>
                    <a:pt x="883" y="918"/>
                  </a:lnTo>
                  <a:lnTo>
                    <a:pt x="883" y="922"/>
                  </a:lnTo>
                  <a:lnTo>
                    <a:pt x="883" y="925"/>
                  </a:lnTo>
                  <a:lnTo>
                    <a:pt x="883" y="930"/>
                  </a:lnTo>
                  <a:lnTo>
                    <a:pt x="882" y="933"/>
                  </a:lnTo>
                  <a:lnTo>
                    <a:pt x="872" y="946"/>
                  </a:lnTo>
                  <a:lnTo>
                    <a:pt x="871" y="949"/>
                  </a:lnTo>
                  <a:lnTo>
                    <a:pt x="869" y="959"/>
                  </a:lnTo>
                  <a:lnTo>
                    <a:pt x="868" y="963"/>
                  </a:lnTo>
                  <a:lnTo>
                    <a:pt x="863" y="968"/>
                  </a:lnTo>
                  <a:lnTo>
                    <a:pt x="861" y="970"/>
                  </a:lnTo>
                  <a:lnTo>
                    <a:pt x="846" y="980"/>
                  </a:lnTo>
                  <a:lnTo>
                    <a:pt x="845" y="983"/>
                  </a:lnTo>
                  <a:lnTo>
                    <a:pt x="845" y="989"/>
                  </a:lnTo>
                  <a:lnTo>
                    <a:pt x="841" y="993"/>
                  </a:lnTo>
                  <a:lnTo>
                    <a:pt x="838" y="993"/>
                  </a:lnTo>
                  <a:lnTo>
                    <a:pt x="832" y="989"/>
                  </a:lnTo>
                  <a:lnTo>
                    <a:pt x="829" y="989"/>
                  </a:lnTo>
                  <a:lnTo>
                    <a:pt x="826" y="988"/>
                  </a:lnTo>
                  <a:lnTo>
                    <a:pt x="812" y="989"/>
                  </a:lnTo>
                  <a:lnTo>
                    <a:pt x="806" y="986"/>
                  </a:lnTo>
                  <a:lnTo>
                    <a:pt x="802" y="983"/>
                  </a:lnTo>
                  <a:lnTo>
                    <a:pt x="798" y="982"/>
                  </a:lnTo>
                  <a:lnTo>
                    <a:pt x="795" y="979"/>
                  </a:lnTo>
                  <a:lnTo>
                    <a:pt x="794" y="978"/>
                  </a:lnTo>
                  <a:lnTo>
                    <a:pt x="792" y="973"/>
                  </a:lnTo>
                  <a:lnTo>
                    <a:pt x="792" y="972"/>
                  </a:lnTo>
                  <a:lnTo>
                    <a:pt x="792" y="972"/>
                  </a:lnTo>
                  <a:lnTo>
                    <a:pt x="792" y="970"/>
                  </a:lnTo>
                  <a:lnTo>
                    <a:pt x="795" y="969"/>
                  </a:lnTo>
                  <a:lnTo>
                    <a:pt x="804" y="970"/>
                  </a:lnTo>
                  <a:lnTo>
                    <a:pt x="805" y="969"/>
                  </a:lnTo>
                  <a:lnTo>
                    <a:pt x="806" y="969"/>
                  </a:lnTo>
                  <a:lnTo>
                    <a:pt x="809" y="973"/>
                  </a:lnTo>
                  <a:lnTo>
                    <a:pt x="812" y="975"/>
                  </a:lnTo>
                  <a:lnTo>
                    <a:pt x="815" y="975"/>
                  </a:lnTo>
                  <a:lnTo>
                    <a:pt x="816" y="973"/>
                  </a:lnTo>
                  <a:lnTo>
                    <a:pt x="818" y="973"/>
                  </a:lnTo>
                  <a:lnTo>
                    <a:pt x="818" y="973"/>
                  </a:lnTo>
                  <a:lnTo>
                    <a:pt x="816" y="975"/>
                  </a:lnTo>
                  <a:lnTo>
                    <a:pt x="815" y="976"/>
                  </a:lnTo>
                  <a:lnTo>
                    <a:pt x="814" y="978"/>
                  </a:lnTo>
                  <a:lnTo>
                    <a:pt x="814" y="979"/>
                  </a:lnTo>
                  <a:lnTo>
                    <a:pt x="816" y="980"/>
                  </a:lnTo>
                  <a:lnTo>
                    <a:pt x="819" y="982"/>
                  </a:lnTo>
                  <a:lnTo>
                    <a:pt x="822" y="980"/>
                  </a:lnTo>
                  <a:lnTo>
                    <a:pt x="825" y="979"/>
                  </a:lnTo>
                  <a:lnTo>
                    <a:pt x="829" y="975"/>
                  </a:lnTo>
                  <a:lnTo>
                    <a:pt x="832" y="976"/>
                  </a:lnTo>
                  <a:lnTo>
                    <a:pt x="832" y="972"/>
                  </a:lnTo>
                  <a:lnTo>
                    <a:pt x="831" y="968"/>
                  </a:lnTo>
                  <a:lnTo>
                    <a:pt x="829" y="965"/>
                  </a:lnTo>
                  <a:lnTo>
                    <a:pt x="833" y="965"/>
                  </a:lnTo>
                  <a:lnTo>
                    <a:pt x="836" y="962"/>
                  </a:lnTo>
                  <a:lnTo>
                    <a:pt x="849" y="938"/>
                  </a:lnTo>
                  <a:lnTo>
                    <a:pt x="855" y="933"/>
                  </a:lnTo>
                  <a:lnTo>
                    <a:pt x="856" y="930"/>
                  </a:lnTo>
                  <a:lnTo>
                    <a:pt x="858" y="926"/>
                  </a:lnTo>
                  <a:lnTo>
                    <a:pt x="858" y="922"/>
                  </a:lnTo>
                  <a:lnTo>
                    <a:pt x="858" y="916"/>
                  </a:lnTo>
                  <a:lnTo>
                    <a:pt x="858" y="913"/>
                  </a:lnTo>
                  <a:lnTo>
                    <a:pt x="859" y="908"/>
                  </a:lnTo>
                  <a:lnTo>
                    <a:pt x="863" y="902"/>
                  </a:lnTo>
                  <a:lnTo>
                    <a:pt x="865" y="900"/>
                  </a:lnTo>
                  <a:lnTo>
                    <a:pt x="865" y="898"/>
                  </a:lnTo>
                  <a:lnTo>
                    <a:pt x="865" y="896"/>
                  </a:lnTo>
                  <a:lnTo>
                    <a:pt x="858" y="890"/>
                  </a:lnTo>
                  <a:lnTo>
                    <a:pt x="852" y="885"/>
                  </a:lnTo>
                  <a:lnTo>
                    <a:pt x="851" y="882"/>
                  </a:lnTo>
                  <a:lnTo>
                    <a:pt x="849" y="879"/>
                  </a:lnTo>
                  <a:lnTo>
                    <a:pt x="848" y="873"/>
                  </a:lnTo>
                  <a:lnTo>
                    <a:pt x="848" y="870"/>
                  </a:lnTo>
                  <a:lnTo>
                    <a:pt x="848" y="860"/>
                  </a:lnTo>
                  <a:lnTo>
                    <a:pt x="849" y="855"/>
                  </a:lnTo>
                  <a:lnTo>
                    <a:pt x="849" y="840"/>
                  </a:lnTo>
                  <a:lnTo>
                    <a:pt x="848" y="823"/>
                  </a:lnTo>
                  <a:lnTo>
                    <a:pt x="846" y="818"/>
                  </a:lnTo>
                  <a:lnTo>
                    <a:pt x="848" y="815"/>
                  </a:lnTo>
                  <a:lnTo>
                    <a:pt x="849" y="812"/>
                  </a:lnTo>
                  <a:lnTo>
                    <a:pt x="851" y="809"/>
                  </a:lnTo>
                  <a:lnTo>
                    <a:pt x="851" y="792"/>
                  </a:lnTo>
                  <a:lnTo>
                    <a:pt x="851" y="785"/>
                  </a:lnTo>
                  <a:lnTo>
                    <a:pt x="849" y="776"/>
                  </a:lnTo>
                  <a:lnTo>
                    <a:pt x="841" y="768"/>
                  </a:lnTo>
                  <a:lnTo>
                    <a:pt x="838" y="761"/>
                  </a:lnTo>
                  <a:lnTo>
                    <a:pt x="838" y="758"/>
                  </a:lnTo>
                  <a:lnTo>
                    <a:pt x="838" y="756"/>
                  </a:lnTo>
                  <a:lnTo>
                    <a:pt x="842" y="753"/>
                  </a:lnTo>
                  <a:lnTo>
                    <a:pt x="843" y="749"/>
                  </a:lnTo>
                  <a:lnTo>
                    <a:pt x="845" y="742"/>
                  </a:lnTo>
                  <a:lnTo>
                    <a:pt x="849" y="732"/>
                  </a:lnTo>
                  <a:lnTo>
                    <a:pt x="849" y="729"/>
                  </a:lnTo>
                  <a:lnTo>
                    <a:pt x="852" y="715"/>
                  </a:lnTo>
                  <a:lnTo>
                    <a:pt x="852" y="708"/>
                  </a:lnTo>
                  <a:lnTo>
                    <a:pt x="852" y="696"/>
                  </a:lnTo>
                  <a:lnTo>
                    <a:pt x="849" y="693"/>
                  </a:lnTo>
                  <a:lnTo>
                    <a:pt x="846" y="691"/>
                  </a:lnTo>
                  <a:lnTo>
                    <a:pt x="841" y="689"/>
                  </a:lnTo>
                  <a:lnTo>
                    <a:pt x="838" y="689"/>
                  </a:lnTo>
                  <a:lnTo>
                    <a:pt x="833" y="685"/>
                  </a:lnTo>
                  <a:lnTo>
                    <a:pt x="831" y="685"/>
                  </a:lnTo>
                  <a:lnTo>
                    <a:pt x="818" y="685"/>
                  </a:lnTo>
                  <a:lnTo>
                    <a:pt x="811" y="685"/>
                  </a:lnTo>
                  <a:lnTo>
                    <a:pt x="805" y="686"/>
                  </a:lnTo>
                  <a:lnTo>
                    <a:pt x="804" y="686"/>
                  </a:lnTo>
                  <a:lnTo>
                    <a:pt x="802" y="685"/>
                  </a:lnTo>
                  <a:lnTo>
                    <a:pt x="802" y="683"/>
                  </a:lnTo>
                  <a:lnTo>
                    <a:pt x="802" y="682"/>
                  </a:lnTo>
                  <a:lnTo>
                    <a:pt x="802" y="681"/>
                  </a:lnTo>
                  <a:lnTo>
                    <a:pt x="801" y="681"/>
                  </a:lnTo>
                  <a:lnTo>
                    <a:pt x="798" y="682"/>
                  </a:lnTo>
                  <a:lnTo>
                    <a:pt x="792" y="698"/>
                  </a:lnTo>
                  <a:lnTo>
                    <a:pt x="789" y="712"/>
                  </a:lnTo>
                  <a:lnTo>
                    <a:pt x="785" y="732"/>
                  </a:lnTo>
                  <a:lnTo>
                    <a:pt x="782" y="741"/>
                  </a:lnTo>
                  <a:lnTo>
                    <a:pt x="779" y="749"/>
                  </a:lnTo>
                  <a:lnTo>
                    <a:pt x="775" y="756"/>
                  </a:lnTo>
                  <a:lnTo>
                    <a:pt x="768" y="763"/>
                  </a:lnTo>
                  <a:lnTo>
                    <a:pt x="764" y="766"/>
                  </a:lnTo>
                  <a:lnTo>
                    <a:pt x="758" y="769"/>
                  </a:lnTo>
                  <a:lnTo>
                    <a:pt x="755" y="776"/>
                  </a:lnTo>
                  <a:lnTo>
                    <a:pt x="754" y="779"/>
                  </a:lnTo>
                  <a:lnTo>
                    <a:pt x="755" y="781"/>
                  </a:lnTo>
                  <a:lnTo>
                    <a:pt x="756" y="781"/>
                  </a:lnTo>
                  <a:lnTo>
                    <a:pt x="755" y="785"/>
                  </a:lnTo>
                  <a:lnTo>
                    <a:pt x="754" y="788"/>
                  </a:lnTo>
                  <a:lnTo>
                    <a:pt x="754" y="791"/>
                  </a:lnTo>
                  <a:lnTo>
                    <a:pt x="755" y="792"/>
                  </a:lnTo>
                  <a:lnTo>
                    <a:pt x="756" y="793"/>
                  </a:lnTo>
                  <a:lnTo>
                    <a:pt x="762" y="792"/>
                  </a:lnTo>
                  <a:lnTo>
                    <a:pt x="762" y="793"/>
                  </a:lnTo>
                  <a:lnTo>
                    <a:pt x="764" y="796"/>
                  </a:lnTo>
                  <a:lnTo>
                    <a:pt x="764" y="808"/>
                  </a:lnTo>
                  <a:lnTo>
                    <a:pt x="762" y="818"/>
                  </a:lnTo>
                  <a:lnTo>
                    <a:pt x="762" y="820"/>
                  </a:lnTo>
                  <a:lnTo>
                    <a:pt x="762" y="823"/>
                  </a:lnTo>
                  <a:lnTo>
                    <a:pt x="764" y="826"/>
                  </a:lnTo>
                  <a:lnTo>
                    <a:pt x="762" y="830"/>
                  </a:lnTo>
                  <a:lnTo>
                    <a:pt x="761" y="830"/>
                  </a:lnTo>
                  <a:lnTo>
                    <a:pt x="758" y="830"/>
                  </a:lnTo>
                  <a:lnTo>
                    <a:pt x="756" y="839"/>
                  </a:lnTo>
                  <a:lnTo>
                    <a:pt x="756" y="843"/>
                  </a:lnTo>
                  <a:lnTo>
                    <a:pt x="756" y="848"/>
                  </a:lnTo>
                  <a:lnTo>
                    <a:pt x="756" y="849"/>
                  </a:lnTo>
                  <a:lnTo>
                    <a:pt x="758" y="852"/>
                  </a:lnTo>
                  <a:lnTo>
                    <a:pt x="758" y="850"/>
                  </a:lnTo>
                  <a:lnTo>
                    <a:pt x="759" y="848"/>
                  </a:lnTo>
                  <a:lnTo>
                    <a:pt x="761" y="846"/>
                  </a:lnTo>
                  <a:lnTo>
                    <a:pt x="769" y="850"/>
                  </a:lnTo>
                  <a:lnTo>
                    <a:pt x="772" y="853"/>
                  </a:lnTo>
                  <a:lnTo>
                    <a:pt x="775" y="855"/>
                  </a:lnTo>
                  <a:lnTo>
                    <a:pt x="776" y="858"/>
                  </a:lnTo>
                  <a:lnTo>
                    <a:pt x="778" y="866"/>
                  </a:lnTo>
                  <a:lnTo>
                    <a:pt x="781" y="873"/>
                  </a:lnTo>
                  <a:lnTo>
                    <a:pt x="784" y="879"/>
                  </a:lnTo>
                  <a:lnTo>
                    <a:pt x="786" y="880"/>
                  </a:lnTo>
                  <a:lnTo>
                    <a:pt x="788" y="880"/>
                  </a:lnTo>
                  <a:lnTo>
                    <a:pt x="791" y="879"/>
                  </a:lnTo>
                  <a:lnTo>
                    <a:pt x="794" y="879"/>
                  </a:lnTo>
                  <a:lnTo>
                    <a:pt x="792" y="885"/>
                  </a:lnTo>
                  <a:lnTo>
                    <a:pt x="788" y="896"/>
                  </a:lnTo>
                  <a:lnTo>
                    <a:pt x="784" y="906"/>
                  </a:lnTo>
                  <a:lnTo>
                    <a:pt x="781" y="908"/>
                  </a:lnTo>
                  <a:lnTo>
                    <a:pt x="778" y="903"/>
                  </a:lnTo>
                  <a:lnTo>
                    <a:pt x="774" y="900"/>
                  </a:lnTo>
                  <a:lnTo>
                    <a:pt x="771" y="899"/>
                  </a:lnTo>
                  <a:lnTo>
                    <a:pt x="769" y="896"/>
                  </a:lnTo>
                  <a:lnTo>
                    <a:pt x="762" y="888"/>
                  </a:lnTo>
                  <a:lnTo>
                    <a:pt x="759" y="883"/>
                  </a:lnTo>
                  <a:lnTo>
                    <a:pt x="755" y="882"/>
                  </a:lnTo>
                  <a:lnTo>
                    <a:pt x="749" y="879"/>
                  </a:lnTo>
                  <a:lnTo>
                    <a:pt x="749" y="879"/>
                  </a:lnTo>
                  <a:lnTo>
                    <a:pt x="745" y="875"/>
                  </a:lnTo>
                  <a:lnTo>
                    <a:pt x="741" y="873"/>
                  </a:lnTo>
                  <a:lnTo>
                    <a:pt x="739" y="870"/>
                  </a:lnTo>
                  <a:lnTo>
                    <a:pt x="735" y="869"/>
                  </a:lnTo>
                  <a:lnTo>
                    <a:pt x="732" y="868"/>
                  </a:lnTo>
                  <a:lnTo>
                    <a:pt x="728" y="865"/>
                  </a:lnTo>
                  <a:lnTo>
                    <a:pt x="725" y="866"/>
                  </a:lnTo>
                  <a:lnTo>
                    <a:pt x="727" y="862"/>
                  </a:lnTo>
                  <a:lnTo>
                    <a:pt x="721" y="858"/>
                  </a:lnTo>
                  <a:lnTo>
                    <a:pt x="714" y="853"/>
                  </a:lnTo>
                  <a:lnTo>
                    <a:pt x="701" y="846"/>
                  </a:lnTo>
                  <a:lnTo>
                    <a:pt x="689" y="843"/>
                  </a:lnTo>
                  <a:lnTo>
                    <a:pt x="675" y="842"/>
                  </a:lnTo>
                  <a:lnTo>
                    <a:pt x="664" y="838"/>
                  </a:lnTo>
                  <a:lnTo>
                    <a:pt x="662" y="839"/>
                  </a:lnTo>
                  <a:lnTo>
                    <a:pt x="661" y="839"/>
                  </a:lnTo>
                  <a:lnTo>
                    <a:pt x="657" y="846"/>
                  </a:lnTo>
                  <a:lnTo>
                    <a:pt x="651" y="848"/>
                  </a:lnTo>
                  <a:lnTo>
                    <a:pt x="649" y="850"/>
                  </a:lnTo>
                  <a:lnTo>
                    <a:pt x="652" y="856"/>
                  </a:lnTo>
                  <a:lnTo>
                    <a:pt x="658" y="872"/>
                  </a:lnTo>
                  <a:lnTo>
                    <a:pt x="661" y="870"/>
                  </a:lnTo>
                  <a:lnTo>
                    <a:pt x="662" y="878"/>
                  </a:lnTo>
                  <a:lnTo>
                    <a:pt x="661" y="882"/>
                  </a:lnTo>
                  <a:lnTo>
                    <a:pt x="658" y="886"/>
                  </a:lnTo>
                  <a:lnTo>
                    <a:pt x="655" y="889"/>
                  </a:lnTo>
                  <a:lnTo>
                    <a:pt x="649" y="890"/>
                  </a:lnTo>
                  <a:lnTo>
                    <a:pt x="645" y="890"/>
                  </a:lnTo>
                  <a:lnTo>
                    <a:pt x="645" y="895"/>
                  </a:lnTo>
                  <a:lnTo>
                    <a:pt x="647" y="899"/>
                  </a:lnTo>
                  <a:lnTo>
                    <a:pt x="647" y="900"/>
                  </a:lnTo>
                  <a:lnTo>
                    <a:pt x="645" y="902"/>
                  </a:lnTo>
                  <a:lnTo>
                    <a:pt x="645" y="903"/>
                  </a:lnTo>
                  <a:lnTo>
                    <a:pt x="644" y="905"/>
                  </a:lnTo>
                  <a:lnTo>
                    <a:pt x="642" y="906"/>
                  </a:lnTo>
                  <a:lnTo>
                    <a:pt x="641" y="906"/>
                  </a:lnTo>
                  <a:lnTo>
                    <a:pt x="637" y="903"/>
                  </a:lnTo>
                  <a:lnTo>
                    <a:pt x="632" y="902"/>
                  </a:lnTo>
                  <a:lnTo>
                    <a:pt x="632" y="893"/>
                  </a:lnTo>
                  <a:lnTo>
                    <a:pt x="635" y="890"/>
                  </a:lnTo>
                  <a:lnTo>
                    <a:pt x="637" y="890"/>
                  </a:lnTo>
                  <a:lnTo>
                    <a:pt x="637" y="889"/>
                  </a:lnTo>
                  <a:lnTo>
                    <a:pt x="635" y="883"/>
                  </a:lnTo>
                  <a:lnTo>
                    <a:pt x="632" y="882"/>
                  </a:lnTo>
                  <a:lnTo>
                    <a:pt x="632" y="878"/>
                  </a:lnTo>
                  <a:lnTo>
                    <a:pt x="632" y="876"/>
                  </a:lnTo>
                  <a:lnTo>
                    <a:pt x="630" y="876"/>
                  </a:lnTo>
                  <a:lnTo>
                    <a:pt x="621" y="880"/>
                  </a:lnTo>
                  <a:lnTo>
                    <a:pt x="620" y="885"/>
                  </a:lnTo>
                  <a:lnTo>
                    <a:pt x="618" y="882"/>
                  </a:lnTo>
                  <a:lnTo>
                    <a:pt x="607" y="893"/>
                  </a:lnTo>
                  <a:lnTo>
                    <a:pt x="601" y="896"/>
                  </a:lnTo>
                  <a:lnTo>
                    <a:pt x="598" y="896"/>
                  </a:lnTo>
                  <a:lnTo>
                    <a:pt x="592" y="893"/>
                  </a:lnTo>
                  <a:lnTo>
                    <a:pt x="588" y="893"/>
                  </a:lnTo>
                  <a:lnTo>
                    <a:pt x="584" y="892"/>
                  </a:lnTo>
                  <a:lnTo>
                    <a:pt x="582" y="893"/>
                  </a:lnTo>
                  <a:lnTo>
                    <a:pt x="578" y="896"/>
                  </a:lnTo>
                  <a:lnTo>
                    <a:pt x="574" y="896"/>
                  </a:lnTo>
                  <a:lnTo>
                    <a:pt x="570" y="900"/>
                  </a:lnTo>
                  <a:lnTo>
                    <a:pt x="565" y="905"/>
                  </a:lnTo>
                  <a:lnTo>
                    <a:pt x="565" y="912"/>
                  </a:lnTo>
                  <a:lnTo>
                    <a:pt x="562" y="913"/>
                  </a:lnTo>
                  <a:lnTo>
                    <a:pt x="560" y="909"/>
                  </a:lnTo>
                  <a:lnTo>
                    <a:pt x="558" y="908"/>
                  </a:lnTo>
                  <a:lnTo>
                    <a:pt x="557" y="909"/>
                  </a:lnTo>
                  <a:lnTo>
                    <a:pt x="555" y="909"/>
                  </a:lnTo>
                  <a:lnTo>
                    <a:pt x="552" y="909"/>
                  </a:lnTo>
                  <a:lnTo>
                    <a:pt x="551" y="910"/>
                  </a:lnTo>
                  <a:lnTo>
                    <a:pt x="550" y="910"/>
                  </a:lnTo>
                  <a:lnTo>
                    <a:pt x="544" y="909"/>
                  </a:lnTo>
                  <a:lnTo>
                    <a:pt x="541" y="909"/>
                  </a:lnTo>
                  <a:lnTo>
                    <a:pt x="540" y="909"/>
                  </a:lnTo>
                  <a:lnTo>
                    <a:pt x="540" y="908"/>
                  </a:lnTo>
                  <a:lnTo>
                    <a:pt x="541" y="906"/>
                  </a:lnTo>
                  <a:lnTo>
                    <a:pt x="544" y="905"/>
                  </a:lnTo>
                  <a:lnTo>
                    <a:pt x="547" y="903"/>
                  </a:lnTo>
                  <a:lnTo>
                    <a:pt x="548" y="905"/>
                  </a:lnTo>
                  <a:lnTo>
                    <a:pt x="550" y="902"/>
                  </a:lnTo>
                  <a:lnTo>
                    <a:pt x="550" y="898"/>
                  </a:lnTo>
                  <a:lnTo>
                    <a:pt x="547" y="893"/>
                  </a:lnTo>
                  <a:lnTo>
                    <a:pt x="548" y="890"/>
                  </a:lnTo>
                  <a:lnTo>
                    <a:pt x="550" y="886"/>
                  </a:lnTo>
                  <a:lnTo>
                    <a:pt x="550" y="885"/>
                  </a:lnTo>
                  <a:lnTo>
                    <a:pt x="551" y="883"/>
                  </a:lnTo>
                  <a:lnTo>
                    <a:pt x="550" y="883"/>
                  </a:lnTo>
                  <a:lnTo>
                    <a:pt x="548" y="882"/>
                  </a:lnTo>
                  <a:lnTo>
                    <a:pt x="548" y="880"/>
                  </a:lnTo>
                  <a:lnTo>
                    <a:pt x="550" y="880"/>
                  </a:lnTo>
                  <a:lnTo>
                    <a:pt x="557" y="879"/>
                  </a:lnTo>
                  <a:lnTo>
                    <a:pt x="560" y="878"/>
                  </a:lnTo>
                  <a:lnTo>
                    <a:pt x="554" y="876"/>
                  </a:lnTo>
                  <a:lnTo>
                    <a:pt x="548" y="878"/>
                  </a:lnTo>
                  <a:lnTo>
                    <a:pt x="541" y="880"/>
                  </a:lnTo>
                  <a:lnTo>
                    <a:pt x="530" y="889"/>
                  </a:lnTo>
                  <a:lnTo>
                    <a:pt x="524" y="895"/>
                  </a:lnTo>
                  <a:lnTo>
                    <a:pt x="525" y="895"/>
                  </a:lnTo>
                  <a:lnTo>
                    <a:pt x="528" y="895"/>
                  </a:lnTo>
                  <a:lnTo>
                    <a:pt x="530" y="899"/>
                  </a:lnTo>
                  <a:lnTo>
                    <a:pt x="531" y="900"/>
                  </a:lnTo>
                  <a:lnTo>
                    <a:pt x="530" y="902"/>
                  </a:lnTo>
                  <a:lnTo>
                    <a:pt x="527" y="905"/>
                  </a:lnTo>
                  <a:lnTo>
                    <a:pt x="525" y="906"/>
                  </a:lnTo>
                  <a:lnTo>
                    <a:pt x="524" y="906"/>
                  </a:lnTo>
                  <a:lnTo>
                    <a:pt x="523" y="906"/>
                  </a:lnTo>
                  <a:lnTo>
                    <a:pt x="523" y="905"/>
                  </a:lnTo>
                  <a:lnTo>
                    <a:pt x="523" y="903"/>
                  </a:lnTo>
                  <a:lnTo>
                    <a:pt x="524" y="900"/>
                  </a:lnTo>
                  <a:lnTo>
                    <a:pt x="521" y="898"/>
                  </a:lnTo>
                  <a:lnTo>
                    <a:pt x="520" y="898"/>
                  </a:lnTo>
                  <a:lnTo>
                    <a:pt x="520" y="898"/>
                  </a:lnTo>
                  <a:lnTo>
                    <a:pt x="513" y="900"/>
                  </a:lnTo>
                  <a:lnTo>
                    <a:pt x="508" y="903"/>
                  </a:lnTo>
                  <a:lnTo>
                    <a:pt x="504" y="905"/>
                  </a:lnTo>
                  <a:lnTo>
                    <a:pt x="501" y="906"/>
                  </a:lnTo>
                  <a:lnTo>
                    <a:pt x="498" y="908"/>
                  </a:lnTo>
                  <a:lnTo>
                    <a:pt x="494" y="912"/>
                  </a:lnTo>
                  <a:lnTo>
                    <a:pt x="491" y="913"/>
                  </a:lnTo>
                  <a:lnTo>
                    <a:pt x="485" y="918"/>
                  </a:lnTo>
                  <a:lnTo>
                    <a:pt x="474" y="926"/>
                  </a:lnTo>
                  <a:lnTo>
                    <a:pt x="470" y="928"/>
                  </a:lnTo>
                  <a:lnTo>
                    <a:pt x="468" y="926"/>
                  </a:lnTo>
                  <a:lnTo>
                    <a:pt x="467" y="925"/>
                  </a:lnTo>
                  <a:lnTo>
                    <a:pt x="465" y="926"/>
                  </a:lnTo>
                  <a:lnTo>
                    <a:pt x="467" y="928"/>
                  </a:lnTo>
                  <a:lnTo>
                    <a:pt x="470" y="932"/>
                  </a:lnTo>
                  <a:lnTo>
                    <a:pt x="468" y="935"/>
                  </a:lnTo>
                  <a:lnTo>
                    <a:pt x="465" y="933"/>
                  </a:lnTo>
                  <a:lnTo>
                    <a:pt x="460" y="936"/>
                  </a:lnTo>
                  <a:lnTo>
                    <a:pt x="453" y="939"/>
                  </a:lnTo>
                  <a:lnTo>
                    <a:pt x="453" y="942"/>
                  </a:lnTo>
                  <a:lnTo>
                    <a:pt x="454" y="943"/>
                  </a:lnTo>
                  <a:lnTo>
                    <a:pt x="453" y="948"/>
                  </a:lnTo>
                  <a:lnTo>
                    <a:pt x="451" y="952"/>
                  </a:lnTo>
                  <a:lnTo>
                    <a:pt x="450" y="960"/>
                  </a:lnTo>
                  <a:lnTo>
                    <a:pt x="450" y="963"/>
                  </a:lnTo>
                  <a:lnTo>
                    <a:pt x="447" y="966"/>
                  </a:lnTo>
                  <a:lnTo>
                    <a:pt x="434" y="970"/>
                  </a:lnTo>
                  <a:lnTo>
                    <a:pt x="431" y="970"/>
                  </a:lnTo>
                  <a:lnTo>
                    <a:pt x="431" y="970"/>
                  </a:lnTo>
                  <a:lnTo>
                    <a:pt x="430" y="970"/>
                  </a:lnTo>
                  <a:lnTo>
                    <a:pt x="428" y="969"/>
                  </a:lnTo>
                  <a:lnTo>
                    <a:pt x="424" y="969"/>
                  </a:lnTo>
                  <a:lnTo>
                    <a:pt x="423" y="969"/>
                  </a:lnTo>
                  <a:lnTo>
                    <a:pt x="421" y="968"/>
                  </a:lnTo>
                  <a:lnTo>
                    <a:pt x="418" y="963"/>
                  </a:lnTo>
                  <a:lnTo>
                    <a:pt x="416" y="955"/>
                  </a:lnTo>
                  <a:lnTo>
                    <a:pt x="410" y="950"/>
                  </a:lnTo>
                  <a:lnTo>
                    <a:pt x="406" y="948"/>
                  </a:lnTo>
                  <a:lnTo>
                    <a:pt x="406" y="946"/>
                  </a:lnTo>
                  <a:lnTo>
                    <a:pt x="406" y="943"/>
                  </a:lnTo>
                  <a:lnTo>
                    <a:pt x="413" y="933"/>
                  </a:lnTo>
                  <a:lnTo>
                    <a:pt x="416" y="930"/>
                  </a:lnTo>
                  <a:lnTo>
                    <a:pt x="426" y="929"/>
                  </a:lnTo>
                  <a:lnTo>
                    <a:pt x="430" y="928"/>
                  </a:lnTo>
                  <a:lnTo>
                    <a:pt x="434" y="928"/>
                  </a:lnTo>
                  <a:lnTo>
                    <a:pt x="434" y="922"/>
                  </a:lnTo>
                  <a:lnTo>
                    <a:pt x="430" y="916"/>
                  </a:lnTo>
                  <a:lnTo>
                    <a:pt x="426" y="908"/>
                  </a:lnTo>
                  <a:lnTo>
                    <a:pt x="421" y="900"/>
                  </a:lnTo>
                  <a:lnTo>
                    <a:pt x="416" y="898"/>
                  </a:lnTo>
                  <a:lnTo>
                    <a:pt x="408" y="896"/>
                  </a:lnTo>
                  <a:lnTo>
                    <a:pt x="394" y="898"/>
                  </a:lnTo>
                  <a:lnTo>
                    <a:pt x="391" y="898"/>
                  </a:lnTo>
                  <a:lnTo>
                    <a:pt x="383" y="892"/>
                  </a:lnTo>
                  <a:lnTo>
                    <a:pt x="381" y="890"/>
                  </a:lnTo>
                  <a:lnTo>
                    <a:pt x="380" y="892"/>
                  </a:lnTo>
                  <a:lnTo>
                    <a:pt x="381" y="893"/>
                  </a:lnTo>
                  <a:lnTo>
                    <a:pt x="381" y="895"/>
                  </a:lnTo>
                  <a:lnTo>
                    <a:pt x="394" y="906"/>
                  </a:lnTo>
                  <a:lnTo>
                    <a:pt x="394" y="910"/>
                  </a:lnTo>
                  <a:lnTo>
                    <a:pt x="394" y="915"/>
                  </a:lnTo>
                  <a:lnTo>
                    <a:pt x="394" y="916"/>
                  </a:lnTo>
                  <a:lnTo>
                    <a:pt x="394" y="918"/>
                  </a:lnTo>
                  <a:lnTo>
                    <a:pt x="394" y="920"/>
                  </a:lnTo>
                  <a:lnTo>
                    <a:pt x="391" y="935"/>
                  </a:lnTo>
                  <a:lnTo>
                    <a:pt x="388" y="945"/>
                  </a:lnTo>
                  <a:lnTo>
                    <a:pt x="387" y="949"/>
                  </a:lnTo>
                  <a:lnTo>
                    <a:pt x="387" y="952"/>
                  </a:lnTo>
                  <a:lnTo>
                    <a:pt x="388" y="955"/>
                  </a:lnTo>
                  <a:lnTo>
                    <a:pt x="393" y="956"/>
                  </a:lnTo>
                  <a:lnTo>
                    <a:pt x="396" y="959"/>
                  </a:lnTo>
                  <a:lnTo>
                    <a:pt x="397" y="962"/>
                  </a:lnTo>
                  <a:lnTo>
                    <a:pt x="398" y="965"/>
                  </a:lnTo>
                  <a:lnTo>
                    <a:pt x="398" y="970"/>
                  </a:lnTo>
                  <a:lnTo>
                    <a:pt x="398" y="976"/>
                  </a:lnTo>
                  <a:lnTo>
                    <a:pt x="396" y="983"/>
                  </a:lnTo>
                  <a:lnTo>
                    <a:pt x="394" y="986"/>
                  </a:lnTo>
                  <a:lnTo>
                    <a:pt x="393" y="993"/>
                  </a:lnTo>
                  <a:lnTo>
                    <a:pt x="393" y="999"/>
                  </a:lnTo>
                  <a:lnTo>
                    <a:pt x="393" y="1000"/>
                  </a:lnTo>
                  <a:lnTo>
                    <a:pt x="393" y="1002"/>
                  </a:lnTo>
                  <a:lnTo>
                    <a:pt x="391" y="1000"/>
                  </a:lnTo>
                  <a:lnTo>
                    <a:pt x="390" y="999"/>
                  </a:lnTo>
                  <a:lnTo>
                    <a:pt x="388" y="998"/>
                  </a:lnTo>
                  <a:lnTo>
                    <a:pt x="387" y="996"/>
                  </a:lnTo>
                  <a:lnTo>
                    <a:pt x="386" y="998"/>
                  </a:lnTo>
                  <a:lnTo>
                    <a:pt x="384" y="998"/>
                  </a:lnTo>
                  <a:lnTo>
                    <a:pt x="384" y="996"/>
                  </a:lnTo>
                  <a:lnTo>
                    <a:pt x="386" y="993"/>
                  </a:lnTo>
                  <a:lnTo>
                    <a:pt x="384" y="992"/>
                  </a:lnTo>
                  <a:lnTo>
                    <a:pt x="384" y="990"/>
                  </a:lnTo>
                  <a:lnTo>
                    <a:pt x="378" y="986"/>
                  </a:lnTo>
                  <a:lnTo>
                    <a:pt x="376" y="986"/>
                  </a:lnTo>
                  <a:lnTo>
                    <a:pt x="371" y="986"/>
                  </a:lnTo>
                  <a:lnTo>
                    <a:pt x="368" y="986"/>
                  </a:lnTo>
                  <a:lnTo>
                    <a:pt x="366" y="983"/>
                  </a:lnTo>
                  <a:lnTo>
                    <a:pt x="364" y="982"/>
                  </a:lnTo>
                  <a:lnTo>
                    <a:pt x="363" y="982"/>
                  </a:lnTo>
                  <a:lnTo>
                    <a:pt x="360" y="985"/>
                  </a:lnTo>
                  <a:lnTo>
                    <a:pt x="356" y="992"/>
                  </a:lnTo>
                  <a:lnTo>
                    <a:pt x="350" y="998"/>
                  </a:lnTo>
                  <a:lnTo>
                    <a:pt x="344" y="1002"/>
                  </a:lnTo>
                  <a:lnTo>
                    <a:pt x="340" y="1003"/>
                  </a:lnTo>
                  <a:lnTo>
                    <a:pt x="339" y="1005"/>
                  </a:lnTo>
                  <a:lnTo>
                    <a:pt x="336" y="1009"/>
                  </a:lnTo>
                  <a:lnTo>
                    <a:pt x="333" y="1012"/>
                  </a:lnTo>
                  <a:lnTo>
                    <a:pt x="324" y="1019"/>
                  </a:lnTo>
                  <a:lnTo>
                    <a:pt x="323" y="1020"/>
                  </a:lnTo>
                  <a:lnTo>
                    <a:pt x="323" y="1025"/>
                  </a:lnTo>
                  <a:lnTo>
                    <a:pt x="324" y="1027"/>
                  </a:lnTo>
                  <a:lnTo>
                    <a:pt x="326" y="1032"/>
                  </a:lnTo>
                  <a:lnTo>
                    <a:pt x="329" y="1039"/>
                  </a:lnTo>
                  <a:lnTo>
                    <a:pt x="331" y="1042"/>
                  </a:lnTo>
                  <a:lnTo>
                    <a:pt x="333" y="1045"/>
                  </a:lnTo>
                  <a:lnTo>
                    <a:pt x="334" y="1050"/>
                  </a:lnTo>
                  <a:lnTo>
                    <a:pt x="333" y="1050"/>
                  </a:lnTo>
                  <a:lnTo>
                    <a:pt x="330" y="1049"/>
                  </a:lnTo>
                  <a:lnTo>
                    <a:pt x="327" y="1050"/>
                  </a:lnTo>
                  <a:lnTo>
                    <a:pt x="324" y="1053"/>
                  </a:lnTo>
                  <a:lnTo>
                    <a:pt x="324" y="1055"/>
                  </a:lnTo>
                  <a:lnTo>
                    <a:pt x="323" y="1057"/>
                  </a:lnTo>
                  <a:lnTo>
                    <a:pt x="320" y="1057"/>
                  </a:lnTo>
                  <a:lnTo>
                    <a:pt x="311" y="1052"/>
                  </a:lnTo>
                  <a:lnTo>
                    <a:pt x="304" y="1049"/>
                  </a:lnTo>
                  <a:lnTo>
                    <a:pt x="303" y="1049"/>
                  </a:lnTo>
                  <a:lnTo>
                    <a:pt x="301" y="1047"/>
                  </a:lnTo>
                  <a:lnTo>
                    <a:pt x="301" y="1046"/>
                  </a:lnTo>
                  <a:lnTo>
                    <a:pt x="299" y="1047"/>
                  </a:lnTo>
                  <a:lnTo>
                    <a:pt x="297" y="1047"/>
                  </a:lnTo>
                  <a:lnTo>
                    <a:pt x="296" y="1046"/>
                  </a:lnTo>
                  <a:lnTo>
                    <a:pt x="287" y="1037"/>
                  </a:lnTo>
                  <a:lnTo>
                    <a:pt x="281" y="1035"/>
                  </a:lnTo>
                  <a:lnTo>
                    <a:pt x="280" y="1033"/>
                  </a:lnTo>
                  <a:lnTo>
                    <a:pt x="277" y="1035"/>
                  </a:lnTo>
                  <a:lnTo>
                    <a:pt x="276" y="1042"/>
                  </a:lnTo>
                  <a:lnTo>
                    <a:pt x="273" y="1043"/>
                  </a:lnTo>
                  <a:lnTo>
                    <a:pt x="271" y="1043"/>
                  </a:lnTo>
                  <a:lnTo>
                    <a:pt x="271" y="1047"/>
                  </a:lnTo>
                  <a:lnTo>
                    <a:pt x="271" y="1049"/>
                  </a:lnTo>
                  <a:lnTo>
                    <a:pt x="273" y="1050"/>
                  </a:lnTo>
                  <a:lnTo>
                    <a:pt x="276" y="1053"/>
                  </a:lnTo>
                  <a:lnTo>
                    <a:pt x="280" y="1060"/>
                  </a:lnTo>
                  <a:lnTo>
                    <a:pt x="281" y="1063"/>
                  </a:lnTo>
                  <a:lnTo>
                    <a:pt x="283" y="1065"/>
                  </a:lnTo>
                  <a:lnTo>
                    <a:pt x="286" y="1065"/>
                  </a:lnTo>
                  <a:lnTo>
                    <a:pt x="290" y="1063"/>
                  </a:lnTo>
                  <a:lnTo>
                    <a:pt x="293" y="1065"/>
                  </a:lnTo>
                  <a:lnTo>
                    <a:pt x="294" y="1066"/>
                  </a:lnTo>
                  <a:lnTo>
                    <a:pt x="294" y="1070"/>
                  </a:lnTo>
                  <a:lnTo>
                    <a:pt x="296" y="1075"/>
                  </a:lnTo>
                  <a:lnTo>
                    <a:pt x="296" y="1077"/>
                  </a:lnTo>
                  <a:lnTo>
                    <a:pt x="294" y="1080"/>
                  </a:lnTo>
                  <a:lnTo>
                    <a:pt x="289" y="1082"/>
                  </a:lnTo>
                  <a:lnTo>
                    <a:pt x="286" y="1085"/>
                  </a:lnTo>
                  <a:lnTo>
                    <a:pt x="284" y="1085"/>
                  </a:lnTo>
                  <a:lnTo>
                    <a:pt x="279" y="1082"/>
                  </a:lnTo>
                  <a:lnTo>
                    <a:pt x="274" y="1080"/>
                  </a:lnTo>
                  <a:lnTo>
                    <a:pt x="269" y="1079"/>
                  </a:lnTo>
                  <a:lnTo>
                    <a:pt x="267" y="1077"/>
                  </a:lnTo>
                  <a:lnTo>
                    <a:pt x="266" y="1072"/>
                  </a:lnTo>
                  <a:lnTo>
                    <a:pt x="260" y="1066"/>
                  </a:lnTo>
                  <a:lnTo>
                    <a:pt x="257" y="1065"/>
                  </a:lnTo>
                  <a:lnTo>
                    <a:pt x="254" y="1066"/>
                  </a:lnTo>
                  <a:lnTo>
                    <a:pt x="252" y="1065"/>
                  </a:lnTo>
                  <a:lnTo>
                    <a:pt x="247" y="1062"/>
                  </a:lnTo>
                  <a:lnTo>
                    <a:pt x="244" y="1057"/>
                  </a:lnTo>
                  <a:lnTo>
                    <a:pt x="244" y="1052"/>
                  </a:lnTo>
                  <a:lnTo>
                    <a:pt x="246" y="1052"/>
                  </a:lnTo>
                  <a:lnTo>
                    <a:pt x="246" y="1050"/>
                  </a:lnTo>
                  <a:lnTo>
                    <a:pt x="244" y="1049"/>
                  </a:lnTo>
                  <a:lnTo>
                    <a:pt x="244" y="1045"/>
                  </a:lnTo>
                  <a:lnTo>
                    <a:pt x="244" y="1042"/>
                  </a:lnTo>
                  <a:lnTo>
                    <a:pt x="242" y="1035"/>
                  </a:lnTo>
                  <a:lnTo>
                    <a:pt x="239" y="1030"/>
                  </a:lnTo>
                  <a:lnTo>
                    <a:pt x="237" y="1026"/>
                  </a:lnTo>
                  <a:lnTo>
                    <a:pt x="240" y="1023"/>
                  </a:lnTo>
                  <a:lnTo>
                    <a:pt x="240" y="1022"/>
                  </a:lnTo>
                  <a:lnTo>
                    <a:pt x="243" y="1016"/>
                  </a:lnTo>
                  <a:lnTo>
                    <a:pt x="243" y="1013"/>
                  </a:lnTo>
                  <a:lnTo>
                    <a:pt x="243" y="1012"/>
                  </a:lnTo>
                  <a:lnTo>
                    <a:pt x="243" y="1010"/>
                  </a:lnTo>
                  <a:lnTo>
                    <a:pt x="243" y="1008"/>
                  </a:lnTo>
                  <a:lnTo>
                    <a:pt x="242" y="1005"/>
                  </a:lnTo>
                  <a:lnTo>
                    <a:pt x="237" y="998"/>
                  </a:lnTo>
                  <a:lnTo>
                    <a:pt x="233" y="993"/>
                  </a:lnTo>
                  <a:lnTo>
                    <a:pt x="224" y="990"/>
                  </a:lnTo>
                  <a:lnTo>
                    <a:pt x="222" y="990"/>
                  </a:lnTo>
                  <a:lnTo>
                    <a:pt x="220" y="989"/>
                  </a:lnTo>
                  <a:lnTo>
                    <a:pt x="223" y="989"/>
                  </a:lnTo>
                  <a:lnTo>
                    <a:pt x="224" y="988"/>
                  </a:lnTo>
                  <a:lnTo>
                    <a:pt x="226" y="985"/>
                  </a:lnTo>
                  <a:lnTo>
                    <a:pt x="223" y="985"/>
                  </a:lnTo>
                  <a:lnTo>
                    <a:pt x="222" y="983"/>
                  </a:lnTo>
                  <a:lnTo>
                    <a:pt x="219" y="982"/>
                  </a:lnTo>
                  <a:lnTo>
                    <a:pt x="217" y="980"/>
                  </a:lnTo>
                  <a:lnTo>
                    <a:pt x="219" y="979"/>
                  </a:lnTo>
                  <a:lnTo>
                    <a:pt x="217" y="976"/>
                  </a:lnTo>
                  <a:lnTo>
                    <a:pt x="213" y="975"/>
                  </a:lnTo>
                  <a:lnTo>
                    <a:pt x="213" y="973"/>
                  </a:lnTo>
                  <a:lnTo>
                    <a:pt x="213" y="973"/>
                  </a:lnTo>
                  <a:lnTo>
                    <a:pt x="210" y="969"/>
                  </a:lnTo>
                  <a:lnTo>
                    <a:pt x="206" y="966"/>
                  </a:lnTo>
                  <a:lnTo>
                    <a:pt x="207" y="962"/>
                  </a:lnTo>
                  <a:lnTo>
                    <a:pt x="204" y="960"/>
                  </a:lnTo>
                  <a:lnTo>
                    <a:pt x="202" y="958"/>
                  </a:lnTo>
                  <a:lnTo>
                    <a:pt x="199" y="958"/>
                  </a:lnTo>
                  <a:lnTo>
                    <a:pt x="197" y="956"/>
                  </a:lnTo>
                  <a:lnTo>
                    <a:pt x="206" y="956"/>
                  </a:lnTo>
                  <a:lnTo>
                    <a:pt x="213" y="959"/>
                  </a:lnTo>
                  <a:lnTo>
                    <a:pt x="213" y="960"/>
                  </a:lnTo>
                  <a:lnTo>
                    <a:pt x="213" y="962"/>
                  </a:lnTo>
                  <a:lnTo>
                    <a:pt x="214" y="966"/>
                  </a:lnTo>
                  <a:lnTo>
                    <a:pt x="217" y="969"/>
                  </a:lnTo>
                  <a:lnTo>
                    <a:pt x="223" y="972"/>
                  </a:lnTo>
                  <a:lnTo>
                    <a:pt x="223" y="972"/>
                  </a:lnTo>
                  <a:lnTo>
                    <a:pt x="224" y="972"/>
                  </a:lnTo>
                  <a:lnTo>
                    <a:pt x="227" y="973"/>
                  </a:lnTo>
                  <a:lnTo>
                    <a:pt x="229" y="975"/>
                  </a:lnTo>
                  <a:lnTo>
                    <a:pt x="233" y="975"/>
                  </a:lnTo>
                  <a:lnTo>
                    <a:pt x="239" y="976"/>
                  </a:lnTo>
                  <a:lnTo>
                    <a:pt x="237" y="978"/>
                  </a:lnTo>
                  <a:lnTo>
                    <a:pt x="237" y="979"/>
                  </a:lnTo>
                  <a:lnTo>
                    <a:pt x="239" y="980"/>
                  </a:lnTo>
                  <a:lnTo>
                    <a:pt x="240" y="980"/>
                  </a:lnTo>
                  <a:lnTo>
                    <a:pt x="244" y="979"/>
                  </a:lnTo>
                  <a:lnTo>
                    <a:pt x="253" y="986"/>
                  </a:lnTo>
                  <a:lnTo>
                    <a:pt x="254" y="988"/>
                  </a:lnTo>
                  <a:lnTo>
                    <a:pt x="269" y="990"/>
                  </a:lnTo>
                  <a:lnTo>
                    <a:pt x="276" y="990"/>
                  </a:lnTo>
                  <a:lnTo>
                    <a:pt x="279" y="992"/>
                  </a:lnTo>
                  <a:lnTo>
                    <a:pt x="283" y="993"/>
                  </a:lnTo>
                  <a:lnTo>
                    <a:pt x="289" y="998"/>
                  </a:lnTo>
                  <a:lnTo>
                    <a:pt x="293" y="999"/>
                  </a:lnTo>
                  <a:lnTo>
                    <a:pt x="301" y="1000"/>
                  </a:lnTo>
                  <a:lnTo>
                    <a:pt x="306" y="1000"/>
                  </a:lnTo>
                  <a:lnTo>
                    <a:pt x="316" y="998"/>
                  </a:lnTo>
                  <a:lnTo>
                    <a:pt x="329" y="990"/>
                  </a:lnTo>
                  <a:lnTo>
                    <a:pt x="336" y="985"/>
                  </a:lnTo>
                  <a:lnTo>
                    <a:pt x="346" y="969"/>
                  </a:lnTo>
                  <a:lnTo>
                    <a:pt x="347" y="966"/>
                  </a:lnTo>
                  <a:lnTo>
                    <a:pt x="349" y="958"/>
                  </a:lnTo>
                  <a:lnTo>
                    <a:pt x="349" y="953"/>
                  </a:lnTo>
                  <a:lnTo>
                    <a:pt x="347" y="953"/>
                  </a:lnTo>
                  <a:lnTo>
                    <a:pt x="346" y="952"/>
                  </a:lnTo>
                  <a:lnTo>
                    <a:pt x="346" y="946"/>
                  </a:lnTo>
                  <a:lnTo>
                    <a:pt x="344" y="945"/>
                  </a:lnTo>
                  <a:lnTo>
                    <a:pt x="343" y="933"/>
                  </a:lnTo>
                  <a:lnTo>
                    <a:pt x="339" y="932"/>
                  </a:lnTo>
                  <a:lnTo>
                    <a:pt x="337" y="930"/>
                  </a:lnTo>
                  <a:lnTo>
                    <a:pt x="336" y="929"/>
                  </a:lnTo>
                  <a:lnTo>
                    <a:pt x="333" y="928"/>
                  </a:lnTo>
                  <a:lnTo>
                    <a:pt x="330" y="923"/>
                  </a:lnTo>
                  <a:lnTo>
                    <a:pt x="327" y="920"/>
                  </a:lnTo>
                  <a:lnTo>
                    <a:pt x="326" y="916"/>
                  </a:lnTo>
                  <a:lnTo>
                    <a:pt x="324" y="915"/>
                  </a:lnTo>
                  <a:lnTo>
                    <a:pt x="323" y="913"/>
                  </a:lnTo>
                  <a:lnTo>
                    <a:pt x="323" y="916"/>
                  </a:lnTo>
                  <a:lnTo>
                    <a:pt x="324" y="918"/>
                  </a:lnTo>
                  <a:lnTo>
                    <a:pt x="320" y="918"/>
                  </a:lnTo>
                  <a:lnTo>
                    <a:pt x="309" y="906"/>
                  </a:lnTo>
                  <a:lnTo>
                    <a:pt x="306" y="906"/>
                  </a:lnTo>
                  <a:lnTo>
                    <a:pt x="306" y="906"/>
                  </a:lnTo>
                  <a:lnTo>
                    <a:pt x="301" y="905"/>
                  </a:lnTo>
                  <a:lnTo>
                    <a:pt x="300" y="903"/>
                  </a:lnTo>
                  <a:lnTo>
                    <a:pt x="290" y="890"/>
                  </a:lnTo>
                  <a:lnTo>
                    <a:pt x="273" y="876"/>
                  </a:lnTo>
                  <a:lnTo>
                    <a:pt x="260" y="869"/>
                  </a:lnTo>
                  <a:lnTo>
                    <a:pt x="252" y="865"/>
                  </a:lnTo>
                  <a:lnTo>
                    <a:pt x="250" y="865"/>
                  </a:lnTo>
                  <a:lnTo>
                    <a:pt x="250" y="866"/>
                  </a:lnTo>
                  <a:lnTo>
                    <a:pt x="247" y="868"/>
                  </a:lnTo>
                  <a:lnTo>
                    <a:pt x="244" y="866"/>
                  </a:lnTo>
                  <a:lnTo>
                    <a:pt x="236" y="863"/>
                  </a:lnTo>
                  <a:lnTo>
                    <a:pt x="234" y="863"/>
                  </a:lnTo>
                  <a:lnTo>
                    <a:pt x="226" y="863"/>
                  </a:lnTo>
                  <a:lnTo>
                    <a:pt x="224" y="863"/>
                  </a:lnTo>
                  <a:lnTo>
                    <a:pt x="222" y="870"/>
                  </a:lnTo>
                  <a:lnTo>
                    <a:pt x="220" y="872"/>
                  </a:lnTo>
                  <a:lnTo>
                    <a:pt x="217" y="873"/>
                  </a:lnTo>
                  <a:lnTo>
                    <a:pt x="217" y="872"/>
                  </a:lnTo>
                  <a:lnTo>
                    <a:pt x="220" y="870"/>
                  </a:lnTo>
                  <a:lnTo>
                    <a:pt x="222" y="865"/>
                  </a:lnTo>
                  <a:lnTo>
                    <a:pt x="222" y="863"/>
                  </a:lnTo>
                  <a:lnTo>
                    <a:pt x="222" y="860"/>
                  </a:lnTo>
                  <a:lnTo>
                    <a:pt x="222" y="858"/>
                  </a:lnTo>
                  <a:lnTo>
                    <a:pt x="222" y="858"/>
                  </a:lnTo>
                  <a:lnTo>
                    <a:pt x="219" y="858"/>
                  </a:lnTo>
                  <a:lnTo>
                    <a:pt x="214" y="860"/>
                  </a:lnTo>
                  <a:lnTo>
                    <a:pt x="214" y="859"/>
                  </a:lnTo>
                  <a:lnTo>
                    <a:pt x="216" y="856"/>
                  </a:lnTo>
                  <a:lnTo>
                    <a:pt x="214" y="856"/>
                  </a:lnTo>
                  <a:lnTo>
                    <a:pt x="213" y="856"/>
                  </a:lnTo>
                  <a:lnTo>
                    <a:pt x="209" y="855"/>
                  </a:lnTo>
                  <a:lnTo>
                    <a:pt x="204" y="855"/>
                  </a:lnTo>
                  <a:lnTo>
                    <a:pt x="204" y="852"/>
                  </a:lnTo>
                  <a:lnTo>
                    <a:pt x="202" y="850"/>
                  </a:lnTo>
                  <a:lnTo>
                    <a:pt x="200" y="848"/>
                  </a:lnTo>
                  <a:lnTo>
                    <a:pt x="202" y="846"/>
                  </a:lnTo>
                  <a:lnTo>
                    <a:pt x="212" y="849"/>
                  </a:lnTo>
                  <a:lnTo>
                    <a:pt x="213" y="849"/>
                  </a:lnTo>
                  <a:lnTo>
                    <a:pt x="214" y="849"/>
                  </a:lnTo>
                  <a:lnTo>
                    <a:pt x="214" y="846"/>
                  </a:lnTo>
                  <a:lnTo>
                    <a:pt x="214" y="845"/>
                  </a:lnTo>
                  <a:lnTo>
                    <a:pt x="214" y="843"/>
                  </a:lnTo>
                  <a:lnTo>
                    <a:pt x="207" y="840"/>
                  </a:lnTo>
                  <a:lnTo>
                    <a:pt x="204" y="838"/>
                  </a:lnTo>
                  <a:lnTo>
                    <a:pt x="199" y="833"/>
                  </a:lnTo>
                  <a:lnTo>
                    <a:pt x="199" y="835"/>
                  </a:lnTo>
                  <a:lnTo>
                    <a:pt x="199" y="839"/>
                  </a:lnTo>
                  <a:lnTo>
                    <a:pt x="199" y="840"/>
                  </a:lnTo>
                  <a:lnTo>
                    <a:pt x="197" y="839"/>
                  </a:lnTo>
                  <a:lnTo>
                    <a:pt x="196" y="840"/>
                  </a:lnTo>
                  <a:lnTo>
                    <a:pt x="193" y="845"/>
                  </a:lnTo>
                  <a:lnTo>
                    <a:pt x="192" y="845"/>
                  </a:lnTo>
                  <a:lnTo>
                    <a:pt x="190" y="846"/>
                  </a:lnTo>
                  <a:lnTo>
                    <a:pt x="183" y="842"/>
                  </a:lnTo>
                  <a:lnTo>
                    <a:pt x="180" y="842"/>
                  </a:lnTo>
                  <a:lnTo>
                    <a:pt x="182" y="848"/>
                  </a:lnTo>
                  <a:lnTo>
                    <a:pt x="182" y="849"/>
                  </a:lnTo>
                  <a:lnTo>
                    <a:pt x="182" y="852"/>
                  </a:lnTo>
                  <a:lnTo>
                    <a:pt x="180" y="853"/>
                  </a:lnTo>
                  <a:lnTo>
                    <a:pt x="179" y="853"/>
                  </a:lnTo>
                  <a:lnTo>
                    <a:pt x="176" y="853"/>
                  </a:lnTo>
                  <a:lnTo>
                    <a:pt x="173" y="850"/>
                  </a:lnTo>
                  <a:lnTo>
                    <a:pt x="170" y="848"/>
                  </a:lnTo>
                  <a:lnTo>
                    <a:pt x="170" y="848"/>
                  </a:lnTo>
                  <a:lnTo>
                    <a:pt x="169" y="849"/>
                  </a:lnTo>
                  <a:lnTo>
                    <a:pt x="170" y="850"/>
                  </a:lnTo>
                  <a:lnTo>
                    <a:pt x="170" y="852"/>
                  </a:lnTo>
                  <a:lnTo>
                    <a:pt x="169" y="855"/>
                  </a:lnTo>
                  <a:lnTo>
                    <a:pt x="169" y="856"/>
                  </a:lnTo>
                  <a:lnTo>
                    <a:pt x="169" y="858"/>
                  </a:lnTo>
                  <a:lnTo>
                    <a:pt x="167" y="859"/>
                  </a:lnTo>
                  <a:lnTo>
                    <a:pt x="165" y="860"/>
                  </a:lnTo>
                  <a:lnTo>
                    <a:pt x="157" y="863"/>
                  </a:lnTo>
                  <a:lnTo>
                    <a:pt x="156" y="865"/>
                  </a:lnTo>
                  <a:lnTo>
                    <a:pt x="155" y="873"/>
                  </a:lnTo>
                  <a:lnTo>
                    <a:pt x="153" y="873"/>
                  </a:lnTo>
                  <a:lnTo>
                    <a:pt x="153" y="875"/>
                  </a:lnTo>
                  <a:lnTo>
                    <a:pt x="150" y="876"/>
                  </a:lnTo>
                  <a:lnTo>
                    <a:pt x="149" y="876"/>
                  </a:lnTo>
                  <a:lnTo>
                    <a:pt x="146" y="879"/>
                  </a:lnTo>
                  <a:lnTo>
                    <a:pt x="143" y="880"/>
                  </a:lnTo>
                  <a:lnTo>
                    <a:pt x="142" y="882"/>
                  </a:lnTo>
                  <a:lnTo>
                    <a:pt x="142" y="883"/>
                  </a:lnTo>
                  <a:lnTo>
                    <a:pt x="146" y="883"/>
                  </a:lnTo>
                  <a:lnTo>
                    <a:pt x="146" y="883"/>
                  </a:lnTo>
                  <a:lnTo>
                    <a:pt x="147" y="885"/>
                  </a:lnTo>
                  <a:lnTo>
                    <a:pt x="147" y="885"/>
                  </a:lnTo>
                  <a:lnTo>
                    <a:pt x="147" y="888"/>
                  </a:lnTo>
                  <a:lnTo>
                    <a:pt x="143" y="898"/>
                  </a:lnTo>
                  <a:lnTo>
                    <a:pt x="142" y="899"/>
                  </a:lnTo>
                  <a:lnTo>
                    <a:pt x="143" y="906"/>
                  </a:lnTo>
                  <a:lnTo>
                    <a:pt x="146" y="912"/>
                  </a:lnTo>
                  <a:lnTo>
                    <a:pt x="152" y="916"/>
                  </a:lnTo>
                  <a:lnTo>
                    <a:pt x="156" y="918"/>
                  </a:lnTo>
                  <a:lnTo>
                    <a:pt x="159" y="923"/>
                  </a:lnTo>
                  <a:lnTo>
                    <a:pt x="165" y="932"/>
                  </a:lnTo>
                  <a:lnTo>
                    <a:pt x="166" y="933"/>
                  </a:lnTo>
                  <a:lnTo>
                    <a:pt x="166" y="935"/>
                  </a:lnTo>
                  <a:lnTo>
                    <a:pt x="166" y="940"/>
                  </a:lnTo>
                  <a:lnTo>
                    <a:pt x="163" y="945"/>
                  </a:lnTo>
                  <a:lnTo>
                    <a:pt x="160" y="949"/>
                  </a:lnTo>
                  <a:lnTo>
                    <a:pt x="157" y="955"/>
                  </a:lnTo>
                  <a:lnTo>
                    <a:pt x="155" y="959"/>
                  </a:lnTo>
                  <a:lnTo>
                    <a:pt x="152" y="963"/>
                  </a:lnTo>
                  <a:lnTo>
                    <a:pt x="152" y="965"/>
                  </a:lnTo>
                  <a:lnTo>
                    <a:pt x="152" y="968"/>
                  </a:lnTo>
                  <a:lnTo>
                    <a:pt x="152" y="969"/>
                  </a:lnTo>
                  <a:lnTo>
                    <a:pt x="156" y="975"/>
                  </a:lnTo>
                  <a:lnTo>
                    <a:pt x="157" y="978"/>
                  </a:lnTo>
                  <a:lnTo>
                    <a:pt x="159" y="982"/>
                  </a:lnTo>
                  <a:lnTo>
                    <a:pt x="159" y="985"/>
                  </a:lnTo>
                  <a:lnTo>
                    <a:pt x="160" y="989"/>
                  </a:lnTo>
                  <a:lnTo>
                    <a:pt x="162" y="992"/>
                  </a:lnTo>
                  <a:lnTo>
                    <a:pt x="162" y="993"/>
                  </a:lnTo>
                  <a:lnTo>
                    <a:pt x="163" y="996"/>
                  </a:lnTo>
                  <a:lnTo>
                    <a:pt x="166" y="999"/>
                  </a:lnTo>
                  <a:lnTo>
                    <a:pt x="166" y="1002"/>
                  </a:lnTo>
                  <a:lnTo>
                    <a:pt x="169" y="1010"/>
                  </a:lnTo>
                  <a:lnTo>
                    <a:pt x="169" y="1013"/>
                  </a:lnTo>
                  <a:lnTo>
                    <a:pt x="169" y="1015"/>
                  </a:lnTo>
                  <a:lnTo>
                    <a:pt x="167" y="1016"/>
                  </a:lnTo>
                  <a:lnTo>
                    <a:pt x="165" y="1016"/>
                  </a:lnTo>
                  <a:lnTo>
                    <a:pt x="162" y="1018"/>
                  </a:lnTo>
                  <a:lnTo>
                    <a:pt x="162" y="1018"/>
                  </a:lnTo>
                  <a:lnTo>
                    <a:pt x="165" y="1019"/>
                  </a:lnTo>
                  <a:lnTo>
                    <a:pt x="163" y="1023"/>
                  </a:lnTo>
                  <a:lnTo>
                    <a:pt x="162" y="1029"/>
                  </a:lnTo>
                  <a:lnTo>
                    <a:pt x="160" y="1032"/>
                  </a:lnTo>
                  <a:lnTo>
                    <a:pt x="160" y="1032"/>
                  </a:lnTo>
                  <a:lnTo>
                    <a:pt x="160" y="1032"/>
                  </a:lnTo>
                  <a:lnTo>
                    <a:pt x="160" y="1033"/>
                  </a:lnTo>
                  <a:lnTo>
                    <a:pt x="163" y="1033"/>
                  </a:lnTo>
                  <a:lnTo>
                    <a:pt x="165" y="1035"/>
                  </a:lnTo>
                  <a:lnTo>
                    <a:pt x="165" y="1036"/>
                  </a:lnTo>
                  <a:lnTo>
                    <a:pt x="163" y="1037"/>
                  </a:lnTo>
                  <a:lnTo>
                    <a:pt x="162" y="1039"/>
                  </a:lnTo>
                  <a:lnTo>
                    <a:pt x="160" y="1040"/>
                  </a:lnTo>
                  <a:lnTo>
                    <a:pt x="160" y="1042"/>
                  </a:lnTo>
                  <a:lnTo>
                    <a:pt x="160" y="1043"/>
                  </a:lnTo>
                  <a:lnTo>
                    <a:pt x="162" y="1045"/>
                  </a:lnTo>
                  <a:lnTo>
                    <a:pt x="162" y="1047"/>
                  </a:lnTo>
                  <a:lnTo>
                    <a:pt x="163" y="1049"/>
                  </a:lnTo>
                  <a:lnTo>
                    <a:pt x="167" y="1050"/>
                  </a:lnTo>
                  <a:lnTo>
                    <a:pt x="169" y="1052"/>
                  </a:lnTo>
                  <a:lnTo>
                    <a:pt x="169" y="1053"/>
                  </a:lnTo>
                  <a:lnTo>
                    <a:pt x="169" y="1055"/>
                  </a:lnTo>
                  <a:lnTo>
                    <a:pt x="166" y="1057"/>
                  </a:lnTo>
                  <a:lnTo>
                    <a:pt x="166" y="1059"/>
                  </a:lnTo>
                  <a:lnTo>
                    <a:pt x="167" y="1062"/>
                  </a:lnTo>
                  <a:lnTo>
                    <a:pt x="169" y="1065"/>
                  </a:lnTo>
                  <a:lnTo>
                    <a:pt x="173" y="1067"/>
                  </a:lnTo>
                  <a:lnTo>
                    <a:pt x="174" y="1070"/>
                  </a:lnTo>
                  <a:lnTo>
                    <a:pt x="174" y="1072"/>
                  </a:lnTo>
                  <a:lnTo>
                    <a:pt x="176" y="1073"/>
                  </a:lnTo>
                  <a:lnTo>
                    <a:pt x="174" y="1076"/>
                  </a:lnTo>
                  <a:lnTo>
                    <a:pt x="174" y="1077"/>
                  </a:lnTo>
                  <a:lnTo>
                    <a:pt x="173" y="1080"/>
                  </a:lnTo>
                  <a:lnTo>
                    <a:pt x="170" y="1086"/>
                  </a:lnTo>
                  <a:lnTo>
                    <a:pt x="167" y="1087"/>
                  </a:lnTo>
                  <a:lnTo>
                    <a:pt x="166" y="1087"/>
                  </a:lnTo>
                  <a:lnTo>
                    <a:pt x="167" y="1090"/>
                  </a:lnTo>
                  <a:lnTo>
                    <a:pt x="173" y="1096"/>
                  </a:lnTo>
                  <a:lnTo>
                    <a:pt x="177" y="1099"/>
                  </a:lnTo>
                  <a:lnTo>
                    <a:pt x="183" y="1103"/>
                  </a:lnTo>
                  <a:lnTo>
                    <a:pt x="186" y="1107"/>
                  </a:lnTo>
                  <a:lnTo>
                    <a:pt x="187" y="1109"/>
                  </a:lnTo>
                  <a:lnTo>
                    <a:pt x="189" y="1112"/>
                  </a:lnTo>
                  <a:lnTo>
                    <a:pt x="190" y="1115"/>
                  </a:lnTo>
                  <a:lnTo>
                    <a:pt x="192" y="1116"/>
                  </a:lnTo>
                  <a:lnTo>
                    <a:pt x="192" y="1117"/>
                  </a:lnTo>
                  <a:lnTo>
                    <a:pt x="192" y="1119"/>
                  </a:lnTo>
                  <a:lnTo>
                    <a:pt x="190" y="1122"/>
                  </a:lnTo>
                  <a:lnTo>
                    <a:pt x="189" y="1125"/>
                  </a:lnTo>
                  <a:lnTo>
                    <a:pt x="187" y="1129"/>
                  </a:lnTo>
                  <a:lnTo>
                    <a:pt x="186" y="1133"/>
                  </a:lnTo>
                  <a:lnTo>
                    <a:pt x="182" y="1137"/>
                  </a:lnTo>
                  <a:lnTo>
                    <a:pt x="176" y="1145"/>
                  </a:lnTo>
                  <a:lnTo>
                    <a:pt x="174" y="1146"/>
                  </a:lnTo>
                  <a:lnTo>
                    <a:pt x="172" y="1150"/>
                  </a:lnTo>
                  <a:lnTo>
                    <a:pt x="167" y="1157"/>
                  </a:lnTo>
                  <a:lnTo>
                    <a:pt x="166" y="1159"/>
                  </a:lnTo>
                  <a:lnTo>
                    <a:pt x="162" y="1165"/>
                  </a:lnTo>
                  <a:lnTo>
                    <a:pt x="160" y="1166"/>
                  </a:lnTo>
                  <a:lnTo>
                    <a:pt x="159" y="1167"/>
                  </a:lnTo>
                  <a:lnTo>
                    <a:pt x="155" y="1173"/>
                  </a:lnTo>
                  <a:lnTo>
                    <a:pt x="150" y="1177"/>
                  </a:lnTo>
                  <a:lnTo>
                    <a:pt x="146" y="1180"/>
                  </a:lnTo>
                  <a:lnTo>
                    <a:pt x="146" y="1183"/>
                  </a:lnTo>
                  <a:lnTo>
                    <a:pt x="145" y="1185"/>
                  </a:lnTo>
                  <a:lnTo>
                    <a:pt x="142" y="1185"/>
                  </a:lnTo>
                  <a:lnTo>
                    <a:pt x="142" y="1186"/>
                  </a:lnTo>
                  <a:lnTo>
                    <a:pt x="137" y="1190"/>
                  </a:lnTo>
                  <a:lnTo>
                    <a:pt x="132" y="1197"/>
                  </a:lnTo>
                  <a:lnTo>
                    <a:pt x="137" y="1196"/>
                  </a:lnTo>
                  <a:lnTo>
                    <a:pt x="143" y="1193"/>
                  </a:lnTo>
                  <a:lnTo>
                    <a:pt x="145" y="1195"/>
                  </a:lnTo>
                  <a:lnTo>
                    <a:pt x="145" y="1196"/>
                  </a:lnTo>
                  <a:lnTo>
                    <a:pt x="145" y="1197"/>
                  </a:lnTo>
                  <a:lnTo>
                    <a:pt x="145" y="1199"/>
                  </a:lnTo>
                  <a:lnTo>
                    <a:pt x="143" y="1197"/>
                  </a:lnTo>
                  <a:lnTo>
                    <a:pt x="143" y="1199"/>
                  </a:lnTo>
                  <a:lnTo>
                    <a:pt x="145" y="1203"/>
                  </a:lnTo>
                  <a:lnTo>
                    <a:pt x="147" y="1205"/>
                  </a:lnTo>
                  <a:lnTo>
                    <a:pt x="152" y="1209"/>
                  </a:lnTo>
                  <a:lnTo>
                    <a:pt x="157" y="1209"/>
                  </a:lnTo>
                  <a:lnTo>
                    <a:pt x="160" y="1209"/>
                  </a:lnTo>
                  <a:lnTo>
                    <a:pt x="162" y="1209"/>
                  </a:lnTo>
                  <a:lnTo>
                    <a:pt x="165" y="1212"/>
                  </a:lnTo>
                  <a:lnTo>
                    <a:pt x="166" y="1215"/>
                  </a:lnTo>
                  <a:lnTo>
                    <a:pt x="167" y="1215"/>
                  </a:lnTo>
                  <a:lnTo>
                    <a:pt x="170" y="1216"/>
                  </a:lnTo>
                  <a:lnTo>
                    <a:pt x="169" y="1219"/>
                  </a:lnTo>
                  <a:lnTo>
                    <a:pt x="169" y="1219"/>
                  </a:lnTo>
                  <a:lnTo>
                    <a:pt x="162" y="1216"/>
                  </a:lnTo>
                  <a:lnTo>
                    <a:pt x="153" y="1215"/>
                  </a:lnTo>
                  <a:lnTo>
                    <a:pt x="152" y="1216"/>
                  </a:lnTo>
                  <a:lnTo>
                    <a:pt x="152" y="1219"/>
                  </a:lnTo>
                  <a:lnTo>
                    <a:pt x="150" y="1220"/>
                  </a:lnTo>
                  <a:lnTo>
                    <a:pt x="150" y="1220"/>
                  </a:lnTo>
                  <a:lnTo>
                    <a:pt x="149" y="1222"/>
                  </a:lnTo>
                  <a:lnTo>
                    <a:pt x="147" y="1222"/>
                  </a:lnTo>
                  <a:lnTo>
                    <a:pt x="145" y="1220"/>
                  </a:lnTo>
                  <a:lnTo>
                    <a:pt x="143" y="1220"/>
                  </a:lnTo>
                  <a:lnTo>
                    <a:pt x="142" y="1222"/>
                  </a:lnTo>
                  <a:lnTo>
                    <a:pt x="142" y="1223"/>
                  </a:lnTo>
                  <a:lnTo>
                    <a:pt x="140" y="1225"/>
                  </a:lnTo>
                  <a:lnTo>
                    <a:pt x="139" y="1225"/>
                  </a:lnTo>
                  <a:lnTo>
                    <a:pt x="137" y="1222"/>
                  </a:lnTo>
                  <a:lnTo>
                    <a:pt x="136" y="1222"/>
                  </a:lnTo>
                  <a:lnTo>
                    <a:pt x="135" y="1225"/>
                  </a:lnTo>
                  <a:lnTo>
                    <a:pt x="136" y="1226"/>
                  </a:lnTo>
                  <a:lnTo>
                    <a:pt x="136" y="1229"/>
                  </a:lnTo>
                  <a:lnTo>
                    <a:pt x="135" y="1232"/>
                  </a:lnTo>
                  <a:lnTo>
                    <a:pt x="136" y="1233"/>
                  </a:lnTo>
                  <a:lnTo>
                    <a:pt x="137" y="1235"/>
                  </a:lnTo>
                  <a:lnTo>
                    <a:pt x="137" y="1235"/>
                  </a:lnTo>
                  <a:lnTo>
                    <a:pt x="137" y="1236"/>
                  </a:lnTo>
                  <a:lnTo>
                    <a:pt x="136" y="1236"/>
                  </a:lnTo>
                  <a:lnTo>
                    <a:pt x="136" y="1236"/>
                  </a:lnTo>
                  <a:lnTo>
                    <a:pt x="135" y="1237"/>
                  </a:lnTo>
                  <a:lnTo>
                    <a:pt x="133" y="1237"/>
                  </a:lnTo>
                  <a:lnTo>
                    <a:pt x="133" y="1237"/>
                  </a:lnTo>
                  <a:lnTo>
                    <a:pt x="132" y="1240"/>
                  </a:lnTo>
                  <a:lnTo>
                    <a:pt x="130" y="1244"/>
                  </a:lnTo>
                  <a:lnTo>
                    <a:pt x="129" y="1249"/>
                  </a:lnTo>
                  <a:lnTo>
                    <a:pt x="127" y="1250"/>
                  </a:lnTo>
                  <a:lnTo>
                    <a:pt x="126" y="1252"/>
                  </a:lnTo>
                  <a:lnTo>
                    <a:pt x="126" y="1253"/>
                  </a:lnTo>
                  <a:lnTo>
                    <a:pt x="126" y="1254"/>
                  </a:lnTo>
                  <a:lnTo>
                    <a:pt x="127" y="1264"/>
                  </a:lnTo>
                  <a:lnTo>
                    <a:pt x="127" y="1266"/>
                  </a:lnTo>
                  <a:lnTo>
                    <a:pt x="127" y="1267"/>
                  </a:lnTo>
                  <a:lnTo>
                    <a:pt x="126" y="1269"/>
                  </a:lnTo>
                  <a:lnTo>
                    <a:pt x="127" y="1270"/>
                  </a:lnTo>
                  <a:lnTo>
                    <a:pt x="127" y="1273"/>
                  </a:lnTo>
                  <a:lnTo>
                    <a:pt x="129" y="1277"/>
                  </a:lnTo>
                  <a:lnTo>
                    <a:pt x="129" y="1279"/>
                  </a:lnTo>
                  <a:lnTo>
                    <a:pt x="130" y="1280"/>
                  </a:lnTo>
                  <a:lnTo>
                    <a:pt x="132" y="1280"/>
                  </a:lnTo>
                  <a:lnTo>
                    <a:pt x="132" y="1282"/>
                  </a:lnTo>
                  <a:lnTo>
                    <a:pt x="132" y="1282"/>
                  </a:lnTo>
                  <a:lnTo>
                    <a:pt x="130" y="1282"/>
                  </a:lnTo>
                  <a:lnTo>
                    <a:pt x="127" y="1283"/>
                  </a:lnTo>
                  <a:lnTo>
                    <a:pt x="127" y="1284"/>
                  </a:lnTo>
                  <a:lnTo>
                    <a:pt x="126" y="1286"/>
                  </a:lnTo>
                  <a:lnTo>
                    <a:pt x="125" y="1287"/>
                  </a:lnTo>
                  <a:lnTo>
                    <a:pt x="125" y="1289"/>
                  </a:lnTo>
                  <a:lnTo>
                    <a:pt x="125" y="1290"/>
                  </a:lnTo>
                  <a:lnTo>
                    <a:pt x="125" y="1292"/>
                  </a:lnTo>
                  <a:lnTo>
                    <a:pt x="126" y="1292"/>
                  </a:lnTo>
                  <a:lnTo>
                    <a:pt x="127" y="1292"/>
                  </a:lnTo>
                  <a:lnTo>
                    <a:pt x="127" y="1294"/>
                  </a:lnTo>
                  <a:lnTo>
                    <a:pt x="129" y="1296"/>
                  </a:lnTo>
                  <a:lnTo>
                    <a:pt x="132" y="1297"/>
                  </a:lnTo>
                  <a:lnTo>
                    <a:pt x="132" y="1299"/>
                  </a:lnTo>
                  <a:lnTo>
                    <a:pt x="132" y="1300"/>
                  </a:lnTo>
                  <a:lnTo>
                    <a:pt x="132" y="1302"/>
                  </a:lnTo>
                  <a:lnTo>
                    <a:pt x="132" y="1302"/>
                  </a:lnTo>
                  <a:lnTo>
                    <a:pt x="130" y="1303"/>
                  </a:lnTo>
                  <a:lnTo>
                    <a:pt x="130" y="1306"/>
                  </a:lnTo>
                  <a:lnTo>
                    <a:pt x="130" y="1307"/>
                  </a:lnTo>
                  <a:lnTo>
                    <a:pt x="129" y="1312"/>
                  </a:lnTo>
                  <a:lnTo>
                    <a:pt x="129" y="1312"/>
                  </a:lnTo>
                  <a:lnTo>
                    <a:pt x="132" y="1312"/>
                  </a:lnTo>
                  <a:lnTo>
                    <a:pt x="132" y="1312"/>
                  </a:lnTo>
                  <a:lnTo>
                    <a:pt x="133" y="1312"/>
                  </a:lnTo>
                  <a:lnTo>
                    <a:pt x="133" y="1314"/>
                  </a:lnTo>
                  <a:lnTo>
                    <a:pt x="133" y="1316"/>
                  </a:lnTo>
                  <a:lnTo>
                    <a:pt x="135" y="1317"/>
                  </a:lnTo>
                  <a:lnTo>
                    <a:pt x="135" y="1319"/>
                  </a:lnTo>
                  <a:lnTo>
                    <a:pt x="136" y="1320"/>
                  </a:lnTo>
                  <a:lnTo>
                    <a:pt x="136" y="1322"/>
                  </a:lnTo>
                  <a:lnTo>
                    <a:pt x="137" y="1324"/>
                  </a:lnTo>
                  <a:lnTo>
                    <a:pt x="137" y="1327"/>
                  </a:lnTo>
                  <a:lnTo>
                    <a:pt x="137" y="1329"/>
                  </a:lnTo>
                  <a:lnTo>
                    <a:pt x="137" y="1330"/>
                  </a:lnTo>
                  <a:lnTo>
                    <a:pt x="137" y="1332"/>
                  </a:lnTo>
                  <a:lnTo>
                    <a:pt x="139" y="1334"/>
                  </a:lnTo>
                  <a:lnTo>
                    <a:pt x="140" y="1334"/>
                  </a:lnTo>
                  <a:lnTo>
                    <a:pt x="142" y="1333"/>
                  </a:lnTo>
                  <a:lnTo>
                    <a:pt x="142" y="1333"/>
                  </a:lnTo>
                  <a:lnTo>
                    <a:pt x="143" y="1333"/>
                  </a:lnTo>
                  <a:lnTo>
                    <a:pt x="145" y="1334"/>
                  </a:lnTo>
                  <a:lnTo>
                    <a:pt x="146" y="1336"/>
                  </a:lnTo>
                  <a:lnTo>
                    <a:pt x="146" y="1337"/>
                  </a:lnTo>
                  <a:lnTo>
                    <a:pt x="147" y="1337"/>
                  </a:lnTo>
                  <a:lnTo>
                    <a:pt x="150" y="1336"/>
                  </a:lnTo>
                  <a:lnTo>
                    <a:pt x="152" y="1336"/>
                  </a:lnTo>
                  <a:lnTo>
                    <a:pt x="152" y="1336"/>
                  </a:lnTo>
                  <a:lnTo>
                    <a:pt x="156" y="1337"/>
                  </a:lnTo>
                  <a:lnTo>
                    <a:pt x="157" y="1337"/>
                  </a:lnTo>
                  <a:lnTo>
                    <a:pt x="157" y="1339"/>
                  </a:lnTo>
                  <a:lnTo>
                    <a:pt x="157" y="1339"/>
                  </a:lnTo>
                  <a:lnTo>
                    <a:pt x="157" y="1340"/>
                  </a:lnTo>
                  <a:lnTo>
                    <a:pt x="156" y="1342"/>
                  </a:lnTo>
                  <a:lnTo>
                    <a:pt x="157" y="1344"/>
                  </a:lnTo>
                  <a:lnTo>
                    <a:pt x="159" y="1344"/>
                  </a:lnTo>
                  <a:lnTo>
                    <a:pt x="160" y="1343"/>
                  </a:lnTo>
                  <a:lnTo>
                    <a:pt x="162" y="1343"/>
                  </a:lnTo>
                  <a:lnTo>
                    <a:pt x="163" y="1343"/>
                  </a:lnTo>
                  <a:lnTo>
                    <a:pt x="165" y="1342"/>
                  </a:lnTo>
                  <a:lnTo>
                    <a:pt x="165" y="1340"/>
                  </a:lnTo>
                  <a:lnTo>
                    <a:pt x="166" y="1340"/>
                  </a:lnTo>
                  <a:lnTo>
                    <a:pt x="167" y="1340"/>
                  </a:lnTo>
                  <a:lnTo>
                    <a:pt x="170" y="1340"/>
                  </a:lnTo>
                  <a:lnTo>
                    <a:pt x="174" y="1342"/>
                  </a:lnTo>
                  <a:lnTo>
                    <a:pt x="174" y="1343"/>
                  </a:lnTo>
                  <a:lnTo>
                    <a:pt x="176" y="1344"/>
                  </a:lnTo>
                  <a:lnTo>
                    <a:pt x="177" y="1346"/>
                  </a:lnTo>
                  <a:lnTo>
                    <a:pt x="177" y="1346"/>
                  </a:lnTo>
                  <a:lnTo>
                    <a:pt x="179" y="1347"/>
                  </a:lnTo>
                  <a:lnTo>
                    <a:pt x="180" y="1347"/>
                  </a:lnTo>
                  <a:lnTo>
                    <a:pt x="180" y="1347"/>
                  </a:lnTo>
                  <a:lnTo>
                    <a:pt x="180" y="1347"/>
                  </a:lnTo>
                  <a:lnTo>
                    <a:pt x="182" y="1349"/>
                  </a:lnTo>
                  <a:lnTo>
                    <a:pt x="182" y="1350"/>
                  </a:lnTo>
                  <a:lnTo>
                    <a:pt x="182" y="1353"/>
                  </a:lnTo>
                  <a:lnTo>
                    <a:pt x="180" y="1354"/>
                  </a:lnTo>
                  <a:lnTo>
                    <a:pt x="180" y="1354"/>
                  </a:lnTo>
                  <a:lnTo>
                    <a:pt x="180" y="1356"/>
                  </a:lnTo>
                  <a:lnTo>
                    <a:pt x="180" y="1356"/>
                  </a:lnTo>
                  <a:lnTo>
                    <a:pt x="180" y="1357"/>
                  </a:lnTo>
                  <a:lnTo>
                    <a:pt x="182" y="1360"/>
                  </a:lnTo>
                  <a:lnTo>
                    <a:pt x="183" y="1362"/>
                  </a:lnTo>
                  <a:lnTo>
                    <a:pt x="183" y="1363"/>
                  </a:lnTo>
                  <a:lnTo>
                    <a:pt x="180" y="1366"/>
                  </a:lnTo>
                  <a:lnTo>
                    <a:pt x="180" y="1367"/>
                  </a:lnTo>
                  <a:lnTo>
                    <a:pt x="180" y="1369"/>
                  </a:lnTo>
                  <a:lnTo>
                    <a:pt x="179" y="1370"/>
                  </a:lnTo>
                  <a:lnTo>
                    <a:pt x="180" y="1370"/>
                  </a:lnTo>
                  <a:lnTo>
                    <a:pt x="183" y="1373"/>
                  </a:lnTo>
                  <a:lnTo>
                    <a:pt x="184" y="1374"/>
                  </a:lnTo>
                  <a:lnTo>
                    <a:pt x="186" y="1374"/>
                  </a:lnTo>
                  <a:lnTo>
                    <a:pt x="186" y="1374"/>
                  </a:lnTo>
                  <a:lnTo>
                    <a:pt x="184" y="1377"/>
                  </a:lnTo>
                  <a:lnTo>
                    <a:pt x="184" y="1379"/>
                  </a:lnTo>
                  <a:lnTo>
                    <a:pt x="186" y="1379"/>
                  </a:lnTo>
                  <a:lnTo>
                    <a:pt x="187" y="1382"/>
                  </a:lnTo>
                  <a:lnTo>
                    <a:pt x="187" y="1384"/>
                  </a:lnTo>
                  <a:lnTo>
                    <a:pt x="189" y="1386"/>
                  </a:lnTo>
                  <a:lnTo>
                    <a:pt x="193" y="1389"/>
                  </a:lnTo>
                  <a:lnTo>
                    <a:pt x="196" y="1390"/>
                  </a:lnTo>
                  <a:lnTo>
                    <a:pt x="196" y="1392"/>
                  </a:lnTo>
                  <a:lnTo>
                    <a:pt x="196" y="1392"/>
                  </a:lnTo>
                  <a:lnTo>
                    <a:pt x="196" y="1393"/>
                  </a:lnTo>
                  <a:lnTo>
                    <a:pt x="196" y="1396"/>
                  </a:lnTo>
                  <a:lnTo>
                    <a:pt x="194" y="1397"/>
                  </a:lnTo>
                  <a:lnTo>
                    <a:pt x="196" y="1397"/>
                  </a:lnTo>
                  <a:lnTo>
                    <a:pt x="199" y="1397"/>
                  </a:lnTo>
                  <a:lnTo>
                    <a:pt x="202" y="1397"/>
                  </a:lnTo>
                  <a:lnTo>
                    <a:pt x="206" y="1400"/>
                  </a:lnTo>
                  <a:lnTo>
                    <a:pt x="206" y="1402"/>
                  </a:lnTo>
                  <a:lnTo>
                    <a:pt x="206" y="1402"/>
                  </a:lnTo>
                  <a:lnTo>
                    <a:pt x="206" y="1403"/>
                  </a:lnTo>
                  <a:lnTo>
                    <a:pt x="206" y="1404"/>
                  </a:lnTo>
                  <a:lnTo>
                    <a:pt x="210" y="1407"/>
                  </a:lnTo>
                  <a:lnTo>
                    <a:pt x="210" y="1407"/>
                  </a:lnTo>
                  <a:lnTo>
                    <a:pt x="210" y="1409"/>
                  </a:lnTo>
                  <a:lnTo>
                    <a:pt x="210" y="1410"/>
                  </a:lnTo>
                  <a:lnTo>
                    <a:pt x="209" y="1410"/>
                  </a:lnTo>
                  <a:lnTo>
                    <a:pt x="209" y="1410"/>
                  </a:lnTo>
                  <a:lnTo>
                    <a:pt x="206" y="1412"/>
                  </a:lnTo>
                  <a:lnTo>
                    <a:pt x="206" y="1413"/>
                  </a:lnTo>
                  <a:lnTo>
                    <a:pt x="203" y="1416"/>
                  </a:lnTo>
                  <a:lnTo>
                    <a:pt x="202" y="1416"/>
                  </a:lnTo>
                  <a:lnTo>
                    <a:pt x="200" y="1416"/>
                  </a:lnTo>
                  <a:lnTo>
                    <a:pt x="196" y="1416"/>
                  </a:lnTo>
                  <a:lnTo>
                    <a:pt x="196" y="1414"/>
                  </a:lnTo>
                  <a:lnTo>
                    <a:pt x="194" y="1414"/>
                  </a:lnTo>
                  <a:lnTo>
                    <a:pt x="193" y="1413"/>
                  </a:lnTo>
                  <a:lnTo>
                    <a:pt x="192" y="1413"/>
                  </a:lnTo>
                  <a:lnTo>
                    <a:pt x="190" y="1413"/>
                  </a:lnTo>
                  <a:lnTo>
                    <a:pt x="189" y="1414"/>
                  </a:lnTo>
                  <a:lnTo>
                    <a:pt x="189" y="1414"/>
                  </a:lnTo>
                  <a:lnTo>
                    <a:pt x="187" y="1417"/>
                  </a:lnTo>
                  <a:lnTo>
                    <a:pt x="187" y="1419"/>
                  </a:lnTo>
                  <a:lnTo>
                    <a:pt x="187" y="1419"/>
                  </a:lnTo>
                  <a:lnTo>
                    <a:pt x="189" y="1420"/>
                  </a:lnTo>
                  <a:lnTo>
                    <a:pt x="190" y="1423"/>
                  </a:lnTo>
                  <a:lnTo>
                    <a:pt x="192" y="1424"/>
                  </a:lnTo>
                  <a:lnTo>
                    <a:pt x="192" y="1424"/>
                  </a:lnTo>
                  <a:lnTo>
                    <a:pt x="192" y="1426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3" y="1430"/>
                  </a:lnTo>
                  <a:lnTo>
                    <a:pt x="192" y="1432"/>
                  </a:lnTo>
                  <a:lnTo>
                    <a:pt x="192" y="1434"/>
                  </a:lnTo>
                  <a:lnTo>
                    <a:pt x="192" y="1437"/>
                  </a:lnTo>
                  <a:lnTo>
                    <a:pt x="193" y="1437"/>
                  </a:lnTo>
                  <a:lnTo>
                    <a:pt x="193" y="1439"/>
                  </a:lnTo>
                  <a:lnTo>
                    <a:pt x="194" y="1439"/>
                  </a:lnTo>
                  <a:lnTo>
                    <a:pt x="194" y="1442"/>
                  </a:lnTo>
                  <a:lnTo>
                    <a:pt x="194" y="1443"/>
                  </a:lnTo>
                  <a:lnTo>
                    <a:pt x="196" y="1443"/>
                  </a:lnTo>
                  <a:lnTo>
                    <a:pt x="197" y="1443"/>
                  </a:lnTo>
                  <a:lnTo>
                    <a:pt x="199" y="1444"/>
                  </a:lnTo>
                  <a:lnTo>
                    <a:pt x="200" y="1444"/>
                  </a:lnTo>
                  <a:lnTo>
                    <a:pt x="200" y="1443"/>
                  </a:lnTo>
                  <a:lnTo>
                    <a:pt x="202" y="1443"/>
                  </a:lnTo>
                  <a:lnTo>
                    <a:pt x="203" y="1442"/>
                  </a:lnTo>
                  <a:lnTo>
                    <a:pt x="204" y="1437"/>
                  </a:lnTo>
                  <a:lnTo>
                    <a:pt x="204" y="1437"/>
                  </a:lnTo>
                  <a:lnTo>
                    <a:pt x="206" y="1437"/>
                  </a:lnTo>
                  <a:lnTo>
                    <a:pt x="207" y="1437"/>
                  </a:lnTo>
                  <a:lnTo>
                    <a:pt x="209" y="1437"/>
                  </a:lnTo>
                  <a:lnTo>
                    <a:pt x="212" y="1439"/>
                  </a:lnTo>
                  <a:lnTo>
                    <a:pt x="213" y="1439"/>
                  </a:lnTo>
                  <a:lnTo>
                    <a:pt x="217" y="1436"/>
                  </a:lnTo>
                  <a:lnTo>
                    <a:pt x="220" y="1436"/>
                  </a:lnTo>
                  <a:lnTo>
                    <a:pt x="222" y="1436"/>
                  </a:lnTo>
                  <a:lnTo>
                    <a:pt x="224" y="1436"/>
                  </a:lnTo>
                  <a:lnTo>
                    <a:pt x="227" y="1436"/>
                  </a:lnTo>
                  <a:lnTo>
                    <a:pt x="227" y="1437"/>
                  </a:lnTo>
                  <a:lnTo>
                    <a:pt x="230" y="1439"/>
                  </a:lnTo>
                  <a:lnTo>
                    <a:pt x="232" y="1442"/>
                  </a:lnTo>
                  <a:lnTo>
                    <a:pt x="233" y="1446"/>
                  </a:lnTo>
                  <a:lnTo>
                    <a:pt x="237" y="1450"/>
                  </a:lnTo>
                  <a:lnTo>
                    <a:pt x="237" y="1451"/>
                  </a:lnTo>
                  <a:lnTo>
                    <a:pt x="237" y="1451"/>
                  </a:lnTo>
                  <a:lnTo>
                    <a:pt x="234" y="1453"/>
                  </a:lnTo>
                  <a:lnTo>
                    <a:pt x="233" y="1453"/>
                  </a:lnTo>
                  <a:lnTo>
                    <a:pt x="233" y="1454"/>
                  </a:lnTo>
                  <a:lnTo>
                    <a:pt x="233" y="1454"/>
                  </a:lnTo>
                  <a:lnTo>
                    <a:pt x="234" y="1456"/>
                  </a:lnTo>
                  <a:lnTo>
                    <a:pt x="234" y="1459"/>
                  </a:lnTo>
                  <a:lnTo>
                    <a:pt x="234" y="1460"/>
                  </a:lnTo>
                  <a:lnTo>
                    <a:pt x="234" y="1461"/>
                  </a:lnTo>
                  <a:lnTo>
                    <a:pt x="236" y="1461"/>
                  </a:lnTo>
                  <a:lnTo>
                    <a:pt x="236" y="1463"/>
                  </a:lnTo>
                  <a:lnTo>
                    <a:pt x="234" y="1463"/>
                  </a:lnTo>
                  <a:lnTo>
                    <a:pt x="234" y="1464"/>
                  </a:lnTo>
                  <a:lnTo>
                    <a:pt x="234" y="1464"/>
                  </a:lnTo>
                  <a:lnTo>
                    <a:pt x="239" y="1464"/>
                  </a:lnTo>
                  <a:lnTo>
                    <a:pt x="240" y="1466"/>
                  </a:lnTo>
                  <a:lnTo>
                    <a:pt x="243" y="1466"/>
                  </a:lnTo>
                  <a:lnTo>
                    <a:pt x="243" y="1466"/>
                  </a:lnTo>
                  <a:lnTo>
                    <a:pt x="244" y="1466"/>
                  </a:lnTo>
                  <a:lnTo>
                    <a:pt x="247" y="1466"/>
                  </a:lnTo>
                  <a:lnTo>
                    <a:pt x="247" y="1466"/>
                  </a:lnTo>
                  <a:lnTo>
                    <a:pt x="249" y="1466"/>
                  </a:lnTo>
                  <a:lnTo>
                    <a:pt x="249" y="1467"/>
                  </a:lnTo>
                  <a:lnTo>
                    <a:pt x="250" y="1469"/>
                  </a:lnTo>
                  <a:lnTo>
                    <a:pt x="250" y="1470"/>
                  </a:lnTo>
                  <a:lnTo>
                    <a:pt x="252" y="1470"/>
                  </a:lnTo>
                  <a:lnTo>
                    <a:pt x="252" y="1470"/>
                  </a:lnTo>
                  <a:lnTo>
                    <a:pt x="252" y="1470"/>
                  </a:lnTo>
                  <a:lnTo>
                    <a:pt x="252" y="1471"/>
                  </a:lnTo>
                  <a:lnTo>
                    <a:pt x="252" y="1471"/>
                  </a:lnTo>
                  <a:lnTo>
                    <a:pt x="253" y="1473"/>
                  </a:lnTo>
                  <a:lnTo>
                    <a:pt x="253" y="1476"/>
                  </a:lnTo>
                  <a:lnTo>
                    <a:pt x="253" y="1476"/>
                  </a:lnTo>
                  <a:lnTo>
                    <a:pt x="254" y="1477"/>
                  </a:lnTo>
                  <a:lnTo>
                    <a:pt x="254" y="1479"/>
                  </a:lnTo>
                  <a:lnTo>
                    <a:pt x="253" y="1480"/>
                  </a:lnTo>
                  <a:lnTo>
                    <a:pt x="253" y="1480"/>
                  </a:lnTo>
                  <a:lnTo>
                    <a:pt x="253" y="1481"/>
                  </a:lnTo>
                  <a:lnTo>
                    <a:pt x="254" y="1484"/>
                  </a:lnTo>
                  <a:lnTo>
                    <a:pt x="256" y="1484"/>
                  </a:lnTo>
                  <a:lnTo>
                    <a:pt x="256" y="1486"/>
                  </a:lnTo>
                  <a:lnTo>
                    <a:pt x="257" y="1487"/>
                  </a:lnTo>
                  <a:lnTo>
                    <a:pt x="260" y="1486"/>
                  </a:lnTo>
                  <a:lnTo>
                    <a:pt x="261" y="1484"/>
                  </a:lnTo>
                  <a:lnTo>
                    <a:pt x="263" y="1486"/>
                  </a:lnTo>
                  <a:lnTo>
                    <a:pt x="264" y="1486"/>
                  </a:lnTo>
                  <a:lnTo>
                    <a:pt x="266" y="1487"/>
                  </a:lnTo>
                  <a:lnTo>
                    <a:pt x="267" y="1487"/>
                  </a:lnTo>
                  <a:lnTo>
                    <a:pt x="267" y="1489"/>
                  </a:lnTo>
                  <a:lnTo>
                    <a:pt x="269" y="1489"/>
                  </a:lnTo>
                  <a:lnTo>
                    <a:pt x="271" y="1489"/>
                  </a:lnTo>
                  <a:lnTo>
                    <a:pt x="271" y="1490"/>
                  </a:lnTo>
                  <a:lnTo>
                    <a:pt x="273" y="1490"/>
                  </a:lnTo>
                  <a:lnTo>
                    <a:pt x="274" y="1490"/>
                  </a:lnTo>
                  <a:lnTo>
                    <a:pt x="274" y="1489"/>
                  </a:lnTo>
                  <a:lnTo>
                    <a:pt x="279" y="1487"/>
                  </a:lnTo>
                  <a:lnTo>
                    <a:pt x="281" y="1487"/>
                  </a:lnTo>
                  <a:lnTo>
                    <a:pt x="281" y="1487"/>
                  </a:lnTo>
                  <a:lnTo>
                    <a:pt x="283" y="1486"/>
                  </a:lnTo>
                  <a:lnTo>
                    <a:pt x="284" y="1486"/>
                  </a:lnTo>
                  <a:lnTo>
                    <a:pt x="286" y="1486"/>
                  </a:lnTo>
                  <a:lnTo>
                    <a:pt x="287" y="1487"/>
                  </a:lnTo>
                  <a:lnTo>
                    <a:pt x="289" y="1489"/>
                  </a:lnTo>
                  <a:lnTo>
                    <a:pt x="289" y="1490"/>
                  </a:lnTo>
                  <a:lnTo>
                    <a:pt x="290" y="1493"/>
                  </a:lnTo>
                  <a:lnTo>
                    <a:pt x="294" y="1497"/>
                  </a:lnTo>
                  <a:lnTo>
                    <a:pt x="296" y="1497"/>
                  </a:lnTo>
                  <a:lnTo>
                    <a:pt x="297" y="1497"/>
                  </a:lnTo>
                  <a:lnTo>
                    <a:pt x="297" y="1497"/>
                  </a:lnTo>
                  <a:lnTo>
                    <a:pt x="297" y="1497"/>
                  </a:lnTo>
                  <a:lnTo>
                    <a:pt x="297" y="1494"/>
                  </a:lnTo>
                  <a:lnTo>
                    <a:pt x="299" y="1494"/>
                  </a:lnTo>
                  <a:lnTo>
                    <a:pt x="299" y="1494"/>
                  </a:lnTo>
                  <a:lnTo>
                    <a:pt x="301" y="1497"/>
                  </a:lnTo>
                  <a:lnTo>
                    <a:pt x="304" y="1497"/>
                  </a:lnTo>
                  <a:lnTo>
                    <a:pt x="306" y="1497"/>
                  </a:lnTo>
                  <a:lnTo>
                    <a:pt x="307" y="1499"/>
                  </a:lnTo>
                  <a:lnTo>
                    <a:pt x="310" y="1500"/>
                  </a:lnTo>
                  <a:lnTo>
                    <a:pt x="311" y="1500"/>
                  </a:lnTo>
                  <a:lnTo>
                    <a:pt x="313" y="1500"/>
                  </a:lnTo>
                  <a:lnTo>
                    <a:pt x="314" y="1499"/>
                  </a:lnTo>
                  <a:lnTo>
                    <a:pt x="314" y="1500"/>
                  </a:lnTo>
                  <a:lnTo>
                    <a:pt x="314" y="1501"/>
                  </a:lnTo>
                  <a:lnTo>
                    <a:pt x="316" y="1501"/>
                  </a:lnTo>
                  <a:lnTo>
                    <a:pt x="317" y="1503"/>
                  </a:lnTo>
                  <a:lnTo>
                    <a:pt x="319" y="1503"/>
                  </a:lnTo>
                  <a:lnTo>
                    <a:pt x="321" y="1504"/>
                  </a:lnTo>
                  <a:lnTo>
                    <a:pt x="323" y="1506"/>
                  </a:lnTo>
                  <a:lnTo>
                    <a:pt x="326" y="1506"/>
                  </a:lnTo>
                  <a:lnTo>
                    <a:pt x="326" y="1506"/>
                  </a:lnTo>
                  <a:lnTo>
                    <a:pt x="327" y="1506"/>
                  </a:lnTo>
                  <a:lnTo>
                    <a:pt x="329" y="1506"/>
                  </a:lnTo>
                  <a:lnTo>
                    <a:pt x="329" y="1507"/>
                  </a:lnTo>
                  <a:lnTo>
                    <a:pt x="329" y="1509"/>
                  </a:lnTo>
                  <a:lnTo>
                    <a:pt x="329" y="1510"/>
                  </a:lnTo>
                  <a:lnTo>
                    <a:pt x="329" y="1511"/>
                  </a:lnTo>
                  <a:lnTo>
                    <a:pt x="329" y="1513"/>
                  </a:lnTo>
                  <a:lnTo>
                    <a:pt x="329" y="1514"/>
                  </a:lnTo>
                  <a:lnTo>
                    <a:pt x="329" y="1516"/>
                  </a:lnTo>
                  <a:lnTo>
                    <a:pt x="327" y="1517"/>
                  </a:lnTo>
                  <a:lnTo>
                    <a:pt x="326" y="1519"/>
                  </a:lnTo>
                  <a:lnTo>
                    <a:pt x="323" y="1520"/>
                  </a:lnTo>
                  <a:lnTo>
                    <a:pt x="321" y="1520"/>
                  </a:lnTo>
                  <a:lnTo>
                    <a:pt x="323" y="1521"/>
                  </a:lnTo>
                  <a:lnTo>
                    <a:pt x="323" y="1523"/>
                  </a:lnTo>
                  <a:lnTo>
                    <a:pt x="324" y="1523"/>
                  </a:lnTo>
                  <a:lnTo>
                    <a:pt x="327" y="1524"/>
                  </a:lnTo>
                  <a:lnTo>
                    <a:pt x="327" y="1524"/>
                  </a:lnTo>
                  <a:lnTo>
                    <a:pt x="327" y="1524"/>
                  </a:lnTo>
                  <a:lnTo>
                    <a:pt x="326" y="1526"/>
                  </a:lnTo>
                  <a:lnTo>
                    <a:pt x="324" y="1524"/>
                  </a:lnTo>
                  <a:lnTo>
                    <a:pt x="323" y="1526"/>
                  </a:lnTo>
                  <a:lnTo>
                    <a:pt x="323" y="1527"/>
                  </a:lnTo>
                  <a:lnTo>
                    <a:pt x="321" y="1529"/>
                  </a:lnTo>
                  <a:lnTo>
                    <a:pt x="321" y="1530"/>
                  </a:lnTo>
                  <a:lnTo>
                    <a:pt x="323" y="1530"/>
                  </a:lnTo>
                  <a:lnTo>
                    <a:pt x="324" y="1531"/>
                  </a:lnTo>
                  <a:lnTo>
                    <a:pt x="324" y="1533"/>
                  </a:lnTo>
                  <a:lnTo>
                    <a:pt x="326" y="1534"/>
                  </a:lnTo>
                  <a:lnTo>
                    <a:pt x="326" y="1536"/>
                  </a:lnTo>
                  <a:lnTo>
                    <a:pt x="324" y="1536"/>
                  </a:lnTo>
                  <a:lnTo>
                    <a:pt x="324" y="1537"/>
                  </a:lnTo>
                  <a:lnTo>
                    <a:pt x="324" y="1537"/>
                  </a:lnTo>
                  <a:lnTo>
                    <a:pt x="326" y="1537"/>
                  </a:lnTo>
                  <a:lnTo>
                    <a:pt x="326" y="1539"/>
                  </a:lnTo>
                  <a:lnTo>
                    <a:pt x="326" y="1539"/>
                  </a:lnTo>
                  <a:lnTo>
                    <a:pt x="326" y="1540"/>
                  </a:lnTo>
                  <a:lnTo>
                    <a:pt x="324" y="1543"/>
                  </a:lnTo>
                  <a:lnTo>
                    <a:pt x="323" y="1546"/>
                  </a:lnTo>
                  <a:lnTo>
                    <a:pt x="323" y="1547"/>
                  </a:lnTo>
                  <a:lnTo>
                    <a:pt x="323" y="1549"/>
                  </a:lnTo>
                  <a:lnTo>
                    <a:pt x="321" y="1549"/>
                  </a:lnTo>
                  <a:lnTo>
                    <a:pt x="317" y="1549"/>
                  </a:lnTo>
                  <a:lnTo>
                    <a:pt x="313" y="1549"/>
                  </a:lnTo>
                  <a:lnTo>
                    <a:pt x="311" y="1549"/>
                  </a:lnTo>
                  <a:lnTo>
                    <a:pt x="309" y="1547"/>
                  </a:lnTo>
                  <a:lnTo>
                    <a:pt x="309" y="1549"/>
                  </a:lnTo>
                  <a:lnTo>
                    <a:pt x="306" y="1551"/>
                  </a:lnTo>
                  <a:lnTo>
                    <a:pt x="306" y="1553"/>
                  </a:lnTo>
                  <a:lnTo>
                    <a:pt x="303" y="1553"/>
                  </a:lnTo>
                  <a:lnTo>
                    <a:pt x="301" y="1554"/>
                  </a:lnTo>
                  <a:lnTo>
                    <a:pt x="300" y="1554"/>
                  </a:lnTo>
                  <a:lnTo>
                    <a:pt x="299" y="1557"/>
                  </a:lnTo>
                  <a:lnTo>
                    <a:pt x="299" y="1559"/>
                  </a:lnTo>
                  <a:lnTo>
                    <a:pt x="299" y="1559"/>
                  </a:lnTo>
                  <a:lnTo>
                    <a:pt x="299" y="1560"/>
                  </a:lnTo>
                  <a:lnTo>
                    <a:pt x="299" y="1560"/>
                  </a:lnTo>
                  <a:lnTo>
                    <a:pt x="299" y="1561"/>
                  </a:lnTo>
                  <a:lnTo>
                    <a:pt x="299" y="1561"/>
                  </a:lnTo>
                  <a:lnTo>
                    <a:pt x="300" y="1561"/>
                  </a:lnTo>
                  <a:lnTo>
                    <a:pt x="300" y="1561"/>
                  </a:lnTo>
                  <a:lnTo>
                    <a:pt x="299" y="1563"/>
                  </a:lnTo>
                  <a:lnTo>
                    <a:pt x="299" y="1563"/>
                  </a:lnTo>
                  <a:lnTo>
                    <a:pt x="299" y="1564"/>
                  </a:lnTo>
                  <a:lnTo>
                    <a:pt x="299" y="1564"/>
                  </a:lnTo>
                  <a:lnTo>
                    <a:pt x="299" y="1566"/>
                  </a:lnTo>
                  <a:lnTo>
                    <a:pt x="303" y="1564"/>
                  </a:lnTo>
                  <a:lnTo>
                    <a:pt x="304" y="1563"/>
                  </a:lnTo>
                  <a:lnTo>
                    <a:pt x="307" y="1561"/>
                  </a:lnTo>
                  <a:lnTo>
                    <a:pt x="307" y="1563"/>
                  </a:lnTo>
                  <a:lnTo>
                    <a:pt x="306" y="1563"/>
                  </a:lnTo>
                  <a:lnTo>
                    <a:pt x="304" y="1564"/>
                  </a:lnTo>
                  <a:lnTo>
                    <a:pt x="306" y="1564"/>
                  </a:lnTo>
                  <a:lnTo>
                    <a:pt x="310" y="1564"/>
                  </a:lnTo>
                  <a:lnTo>
                    <a:pt x="311" y="1561"/>
                  </a:lnTo>
                  <a:lnTo>
                    <a:pt x="314" y="1561"/>
                  </a:lnTo>
                  <a:lnTo>
                    <a:pt x="314" y="1563"/>
                  </a:lnTo>
                  <a:lnTo>
                    <a:pt x="316" y="1566"/>
                  </a:lnTo>
                  <a:lnTo>
                    <a:pt x="316" y="1566"/>
                  </a:lnTo>
                  <a:lnTo>
                    <a:pt x="316" y="1567"/>
                  </a:lnTo>
                  <a:lnTo>
                    <a:pt x="313" y="1567"/>
                  </a:lnTo>
                  <a:lnTo>
                    <a:pt x="307" y="1570"/>
                  </a:lnTo>
                  <a:lnTo>
                    <a:pt x="304" y="1571"/>
                  </a:lnTo>
                  <a:lnTo>
                    <a:pt x="301" y="1573"/>
                  </a:lnTo>
                  <a:lnTo>
                    <a:pt x="303" y="1574"/>
                  </a:lnTo>
                  <a:lnTo>
                    <a:pt x="303" y="1576"/>
                  </a:lnTo>
                  <a:lnTo>
                    <a:pt x="300" y="1576"/>
                  </a:lnTo>
                  <a:lnTo>
                    <a:pt x="299" y="1574"/>
                  </a:lnTo>
                  <a:lnTo>
                    <a:pt x="297" y="1576"/>
                  </a:lnTo>
                  <a:lnTo>
                    <a:pt x="294" y="1577"/>
                  </a:lnTo>
                  <a:lnTo>
                    <a:pt x="293" y="1577"/>
                  </a:lnTo>
                  <a:lnTo>
                    <a:pt x="291" y="1577"/>
                  </a:lnTo>
                  <a:lnTo>
                    <a:pt x="291" y="1579"/>
                  </a:lnTo>
                  <a:lnTo>
                    <a:pt x="293" y="1581"/>
                  </a:lnTo>
                  <a:lnTo>
                    <a:pt x="294" y="1583"/>
                  </a:lnTo>
                  <a:lnTo>
                    <a:pt x="296" y="1581"/>
                  </a:lnTo>
                  <a:lnTo>
                    <a:pt x="300" y="1586"/>
                  </a:lnTo>
                  <a:lnTo>
                    <a:pt x="303" y="1589"/>
                  </a:lnTo>
                  <a:lnTo>
                    <a:pt x="301" y="1590"/>
                  </a:lnTo>
                  <a:lnTo>
                    <a:pt x="300" y="1589"/>
                  </a:lnTo>
                  <a:lnTo>
                    <a:pt x="297" y="1589"/>
                  </a:lnTo>
                  <a:lnTo>
                    <a:pt x="297" y="1591"/>
                  </a:lnTo>
                  <a:lnTo>
                    <a:pt x="296" y="1593"/>
                  </a:lnTo>
                  <a:lnTo>
                    <a:pt x="296" y="1591"/>
                  </a:lnTo>
                  <a:lnTo>
                    <a:pt x="296" y="1591"/>
                  </a:lnTo>
                  <a:lnTo>
                    <a:pt x="296" y="1590"/>
                  </a:lnTo>
                  <a:lnTo>
                    <a:pt x="294" y="1591"/>
                  </a:lnTo>
                  <a:lnTo>
                    <a:pt x="293" y="1596"/>
                  </a:lnTo>
                  <a:lnTo>
                    <a:pt x="290" y="1599"/>
                  </a:lnTo>
                  <a:lnTo>
                    <a:pt x="289" y="1601"/>
                  </a:lnTo>
                  <a:lnTo>
                    <a:pt x="289" y="1603"/>
                  </a:lnTo>
                  <a:lnTo>
                    <a:pt x="289" y="1603"/>
                  </a:lnTo>
                  <a:lnTo>
                    <a:pt x="290" y="1603"/>
                  </a:lnTo>
                  <a:lnTo>
                    <a:pt x="290" y="1604"/>
                  </a:lnTo>
                  <a:lnTo>
                    <a:pt x="289" y="1606"/>
                  </a:lnTo>
                  <a:lnTo>
                    <a:pt x="283" y="1607"/>
                  </a:lnTo>
                  <a:lnTo>
                    <a:pt x="283" y="1609"/>
                  </a:lnTo>
                  <a:lnTo>
                    <a:pt x="280" y="1607"/>
                  </a:lnTo>
                  <a:lnTo>
                    <a:pt x="279" y="1606"/>
                  </a:lnTo>
                  <a:lnTo>
                    <a:pt x="277" y="1604"/>
                  </a:lnTo>
                  <a:lnTo>
                    <a:pt x="276" y="1604"/>
                  </a:lnTo>
                  <a:lnTo>
                    <a:pt x="274" y="1606"/>
                  </a:lnTo>
                  <a:lnTo>
                    <a:pt x="274" y="1606"/>
                  </a:lnTo>
                  <a:lnTo>
                    <a:pt x="276" y="1606"/>
                  </a:lnTo>
                  <a:lnTo>
                    <a:pt x="279" y="1607"/>
                  </a:lnTo>
                  <a:lnTo>
                    <a:pt x="277" y="1609"/>
                  </a:lnTo>
                  <a:lnTo>
                    <a:pt x="273" y="1610"/>
                  </a:lnTo>
                  <a:lnTo>
                    <a:pt x="273" y="1610"/>
                  </a:lnTo>
                  <a:lnTo>
                    <a:pt x="273" y="1611"/>
                  </a:lnTo>
                  <a:lnTo>
                    <a:pt x="279" y="1613"/>
                  </a:lnTo>
                  <a:lnTo>
                    <a:pt x="281" y="1614"/>
                  </a:lnTo>
                  <a:lnTo>
                    <a:pt x="283" y="1616"/>
                  </a:lnTo>
                  <a:lnTo>
                    <a:pt x="284" y="1619"/>
                  </a:lnTo>
                  <a:lnTo>
                    <a:pt x="286" y="1620"/>
                  </a:lnTo>
                  <a:lnTo>
                    <a:pt x="287" y="1621"/>
                  </a:lnTo>
                  <a:lnTo>
                    <a:pt x="289" y="1621"/>
                  </a:lnTo>
                  <a:lnTo>
                    <a:pt x="290" y="1621"/>
                  </a:lnTo>
                  <a:lnTo>
                    <a:pt x="293" y="1621"/>
                  </a:lnTo>
                  <a:lnTo>
                    <a:pt x="297" y="1627"/>
                  </a:lnTo>
                  <a:lnTo>
                    <a:pt x="300" y="1629"/>
                  </a:lnTo>
                  <a:lnTo>
                    <a:pt x="306" y="1630"/>
                  </a:lnTo>
                  <a:lnTo>
                    <a:pt x="306" y="1630"/>
                  </a:lnTo>
                  <a:lnTo>
                    <a:pt x="316" y="1639"/>
                  </a:lnTo>
                  <a:lnTo>
                    <a:pt x="319" y="1643"/>
                  </a:lnTo>
                  <a:lnTo>
                    <a:pt x="324" y="1649"/>
                  </a:lnTo>
                  <a:lnTo>
                    <a:pt x="327" y="1650"/>
                  </a:lnTo>
                  <a:lnTo>
                    <a:pt x="327" y="1649"/>
                  </a:lnTo>
                  <a:lnTo>
                    <a:pt x="329" y="1646"/>
                  </a:lnTo>
                  <a:lnTo>
                    <a:pt x="330" y="1646"/>
                  </a:lnTo>
                  <a:lnTo>
                    <a:pt x="333" y="1647"/>
                  </a:lnTo>
                  <a:lnTo>
                    <a:pt x="336" y="1647"/>
                  </a:lnTo>
                  <a:lnTo>
                    <a:pt x="337" y="1647"/>
                  </a:lnTo>
                  <a:lnTo>
                    <a:pt x="340" y="1649"/>
                  </a:lnTo>
                  <a:lnTo>
                    <a:pt x="341" y="1650"/>
                  </a:lnTo>
                  <a:lnTo>
                    <a:pt x="344" y="1650"/>
                  </a:lnTo>
                  <a:lnTo>
                    <a:pt x="349" y="1651"/>
                  </a:lnTo>
                  <a:lnTo>
                    <a:pt x="350" y="1653"/>
                  </a:lnTo>
                  <a:lnTo>
                    <a:pt x="353" y="1654"/>
                  </a:lnTo>
                  <a:lnTo>
                    <a:pt x="360" y="1654"/>
                  </a:lnTo>
                  <a:lnTo>
                    <a:pt x="360" y="1654"/>
                  </a:lnTo>
                  <a:lnTo>
                    <a:pt x="361" y="1654"/>
                  </a:lnTo>
                  <a:lnTo>
                    <a:pt x="363" y="1653"/>
                  </a:lnTo>
                  <a:lnTo>
                    <a:pt x="366" y="1654"/>
                  </a:lnTo>
                  <a:lnTo>
                    <a:pt x="368" y="1656"/>
                  </a:lnTo>
                  <a:lnTo>
                    <a:pt x="370" y="1656"/>
                  </a:lnTo>
                  <a:lnTo>
                    <a:pt x="371" y="1654"/>
                  </a:lnTo>
                  <a:lnTo>
                    <a:pt x="373" y="1656"/>
                  </a:lnTo>
                  <a:lnTo>
                    <a:pt x="374" y="1657"/>
                  </a:lnTo>
                  <a:lnTo>
                    <a:pt x="376" y="1657"/>
                  </a:lnTo>
                  <a:lnTo>
                    <a:pt x="377" y="1659"/>
                  </a:lnTo>
                  <a:lnTo>
                    <a:pt x="380" y="1661"/>
                  </a:lnTo>
                  <a:lnTo>
                    <a:pt x="384" y="1661"/>
                  </a:lnTo>
                  <a:lnTo>
                    <a:pt x="386" y="1663"/>
                  </a:lnTo>
                  <a:lnTo>
                    <a:pt x="387" y="1664"/>
                  </a:lnTo>
                  <a:lnTo>
                    <a:pt x="387" y="1664"/>
                  </a:lnTo>
                  <a:lnTo>
                    <a:pt x="387" y="1664"/>
                  </a:lnTo>
                  <a:lnTo>
                    <a:pt x="387" y="1666"/>
                  </a:lnTo>
                  <a:lnTo>
                    <a:pt x="387" y="1667"/>
                  </a:lnTo>
                  <a:lnTo>
                    <a:pt x="387" y="1667"/>
                  </a:lnTo>
                  <a:lnTo>
                    <a:pt x="388" y="1667"/>
                  </a:lnTo>
                  <a:lnTo>
                    <a:pt x="390" y="1668"/>
                  </a:lnTo>
                  <a:lnTo>
                    <a:pt x="391" y="1667"/>
                  </a:lnTo>
                  <a:lnTo>
                    <a:pt x="393" y="1667"/>
                  </a:lnTo>
                  <a:lnTo>
                    <a:pt x="394" y="1666"/>
                  </a:lnTo>
                  <a:lnTo>
                    <a:pt x="396" y="1664"/>
                  </a:lnTo>
                  <a:lnTo>
                    <a:pt x="398" y="1664"/>
                  </a:lnTo>
                  <a:lnTo>
                    <a:pt x="400" y="1664"/>
                  </a:lnTo>
                  <a:lnTo>
                    <a:pt x="401" y="1664"/>
                  </a:lnTo>
                  <a:lnTo>
                    <a:pt x="403" y="1664"/>
                  </a:lnTo>
                  <a:lnTo>
                    <a:pt x="403" y="1667"/>
                  </a:lnTo>
                  <a:lnTo>
                    <a:pt x="404" y="1664"/>
                  </a:lnTo>
                  <a:lnTo>
                    <a:pt x="406" y="1664"/>
                  </a:lnTo>
                  <a:lnTo>
                    <a:pt x="406" y="1664"/>
                  </a:lnTo>
                  <a:lnTo>
                    <a:pt x="408" y="1666"/>
                  </a:lnTo>
                  <a:lnTo>
                    <a:pt x="410" y="1666"/>
                  </a:lnTo>
                  <a:lnTo>
                    <a:pt x="410" y="1666"/>
                  </a:lnTo>
                  <a:lnTo>
                    <a:pt x="413" y="1668"/>
                  </a:lnTo>
                  <a:lnTo>
                    <a:pt x="416" y="1668"/>
                  </a:lnTo>
                  <a:lnTo>
                    <a:pt x="417" y="1668"/>
                  </a:lnTo>
                  <a:lnTo>
                    <a:pt x="418" y="1670"/>
                  </a:lnTo>
                  <a:lnTo>
                    <a:pt x="418" y="1670"/>
                  </a:lnTo>
                  <a:lnTo>
                    <a:pt x="418" y="1673"/>
                  </a:lnTo>
                  <a:lnTo>
                    <a:pt x="417" y="1676"/>
                  </a:lnTo>
                  <a:lnTo>
                    <a:pt x="417" y="1676"/>
                  </a:lnTo>
                  <a:lnTo>
                    <a:pt x="418" y="1677"/>
                  </a:lnTo>
                  <a:lnTo>
                    <a:pt x="420" y="1677"/>
                  </a:lnTo>
                  <a:lnTo>
                    <a:pt x="421" y="1678"/>
                  </a:lnTo>
                  <a:lnTo>
                    <a:pt x="423" y="1680"/>
                  </a:lnTo>
                  <a:lnTo>
                    <a:pt x="424" y="1680"/>
                  </a:lnTo>
                  <a:lnTo>
                    <a:pt x="426" y="1680"/>
                  </a:lnTo>
                  <a:lnTo>
                    <a:pt x="427" y="1680"/>
                  </a:lnTo>
                  <a:lnTo>
                    <a:pt x="427" y="1681"/>
                  </a:lnTo>
                  <a:lnTo>
                    <a:pt x="430" y="1683"/>
                  </a:lnTo>
                  <a:lnTo>
                    <a:pt x="430" y="1683"/>
                  </a:lnTo>
                  <a:lnTo>
                    <a:pt x="431" y="1683"/>
                  </a:lnTo>
                  <a:lnTo>
                    <a:pt x="431" y="1684"/>
                  </a:lnTo>
                  <a:lnTo>
                    <a:pt x="433" y="1684"/>
                  </a:lnTo>
                  <a:lnTo>
                    <a:pt x="433" y="1684"/>
                  </a:lnTo>
                  <a:lnTo>
                    <a:pt x="434" y="1684"/>
                  </a:lnTo>
                  <a:lnTo>
                    <a:pt x="436" y="1684"/>
                  </a:lnTo>
                  <a:lnTo>
                    <a:pt x="436" y="1686"/>
                  </a:lnTo>
                  <a:lnTo>
                    <a:pt x="438" y="1687"/>
                  </a:lnTo>
                  <a:lnTo>
                    <a:pt x="438" y="1688"/>
                  </a:lnTo>
                  <a:lnTo>
                    <a:pt x="440" y="1688"/>
                  </a:lnTo>
                  <a:lnTo>
                    <a:pt x="440" y="1690"/>
                  </a:lnTo>
                  <a:lnTo>
                    <a:pt x="441" y="1690"/>
                  </a:lnTo>
                  <a:lnTo>
                    <a:pt x="443" y="1691"/>
                  </a:lnTo>
                  <a:lnTo>
                    <a:pt x="443" y="1694"/>
                  </a:lnTo>
                  <a:lnTo>
                    <a:pt x="444" y="1696"/>
                  </a:lnTo>
                  <a:lnTo>
                    <a:pt x="447" y="1697"/>
                  </a:lnTo>
                  <a:lnTo>
                    <a:pt x="448" y="1697"/>
                  </a:lnTo>
                  <a:lnTo>
                    <a:pt x="451" y="1697"/>
                  </a:lnTo>
                  <a:lnTo>
                    <a:pt x="453" y="1697"/>
                  </a:lnTo>
                  <a:lnTo>
                    <a:pt x="454" y="1694"/>
                  </a:lnTo>
                  <a:lnTo>
                    <a:pt x="455" y="1691"/>
                  </a:lnTo>
                  <a:lnTo>
                    <a:pt x="457" y="1691"/>
                  </a:lnTo>
                  <a:lnTo>
                    <a:pt x="460" y="1690"/>
                  </a:lnTo>
                  <a:lnTo>
                    <a:pt x="461" y="1688"/>
                  </a:lnTo>
                  <a:lnTo>
                    <a:pt x="461" y="1687"/>
                  </a:lnTo>
                  <a:lnTo>
                    <a:pt x="463" y="1684"/>
                  </a:lnTo>
                  <a:lnTo>
                    <a:pt x="464" y="1683"/>
                  </a:lnTo>
                  <a:lnTo>
                    <a:pt x="463" y="1683"/>
                  </a:lnTo>
                  <a:lnTo>
                    <a:pt x="461" y="1681"/>
                  </a:lnTo>
                  <a:lnTo>
                    <a:pt x="461" y="1681"/>
                  </a:lnTo>
                  <a:lnTo>
                    <a:pt x="460" y="1678"/>
                  </a:lnTo>
                  <a:lnTo>
                    <a:pt x="458" y="1676"/>
                  </a:lnTo>
                  <a:lnTo>
                    <a:pt x="457" y="1673"/>
                  </a:lnTo>
                  <a:lnTo>
                    <a:pt x="453" y="1667"/>
                  </a:lnTo>
                  <a:lnTo>
                    <a:pt x="451" y="1666"/>
                  </a:lnTo>
                  <a:lnTo>
                    <a:pt x="451" y="1666"/>
                  </a:lnTo>
                  <a:lnTo>
                    <a:pt x="450" y="1663"/>
                  </a:lnTo>
                  <a:lnTo>
                    <a:pt x="450" y="1660"/>
                  </a:lnTo>
                  <a:lnTo>
                    <a:pt x="447" y="1659"/>
                  </a:lnTo>
                  <a:lnTo>
                    <a:pt x="447" y="1659"/>
                  </a:lnTo>
                  <a:lnTo>
                    <a:pt x="447" y="1657"/>
                  </a:lnTo>
                  <a:lnTo>
                    <a:pt x="447" y="1654"/>
                  </a:lnTo>
                  <a:lnTo>
                    <a:pt x="447" y="1653"/>
                  </a:lnTo>
                  <a:lnTo>
                    <a:pt x="447" y="1650"/>
                  </a:lnTo>
                  <a:lnTo>
                    <a:pt x="447" y="1647"/>
                  </a:lnTo>
                  <a:lnTo>
                    <a:pt x="448" y="1643"/>
                  </a:lnTo>
                  <a:lnTo>
                    <a:pt x="448" y="1641"/>
                  </a:lnTo>
                  <a:lnTo>
                    <a:pt x="450" y="1639"/>
                  </a:lnTo>
                  <a:lnTo>
                    <a:pt x="448" y="1640"/>
                  </a:lnTo>
                  <a:lnTo>
                    <a:pt x="447" y="1646"/>
                  </a:lnTo>
                  <a:lnTo>
                    <a:pt x="446" y="1641"/>
                  </a:lnTo>
                  <a:lnTo>
                    <a:pt x="444" y="1637"/>
                  </a:lnTo>
                  <a:lnTo>
                    <a:pt x="444" y="1634"/>
                  </a:lnTo>
                  <a:lnTo>
                    <a:pt x="443" y="1633"/>
                  </a:lnTo>
                  <a:lnTo>
                    <a:pt x="441" y="1630"/>
                  </a:lnTo>
                  <a:lnTo>
                    <a:pt x="440" y="1629"/>
                  </a:lnTo>
                  <a:lnTo>
                    <a:pt x="437" y="1627"/>
                  </a:lnTo>
                  <a:lnTo>
                    <a:pt x="436" y="1627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4"/>
                  </a:lnTo>
                  <a:lnTo>
                    <a:pt x="436" y="1621"/>
                  </a:lnTo>
                  <a:lnTo>
                    <a:pt x="437" y="1620"/>
                  </a:lnTo>
                  <a:lnTo>
                    <a:pt x="438" y="1619"/>
                  </a:lnTo>
                  <a:lnTo>
                    <a:pt x="438" y="1619"/>
                  </a:lnTo>
                  <a:lnTo>
                    <a:pt x="438" y="1617"/>
                  </a:lnTo>
                  <a:lnTo>
                    <a:pt x="440" y="1617"/>
                  </a:lnTo>
                  <a:lnTo>
                    <a:pt x="440" y="1619"/>
                  </a:lnTo>
                  <a:lnTo>
                    <a:pt x="441" y="1616"/>
                  </a:lnTo>
                  <a:lnTo>
                    <a:pt x="441" y="1614"/>
                  </a:lnTo>
                  <a:lnTo>
                    <a:pt x="443" y="1613"/>
                  </a:lnTo>
                  <a:lnTo>
                    <a:pt x="444" y="1610"/>
                  </a:lnTo>
                  <a:lnTo>
                    <a:pt x="444" y="1609"/>
                  </a:lnTo>
                  <a:lnTo>
                    <a:pt x="446" y="1607"/>
                  </a:lnTo>
                  <a:lnTo>
                    <a:pt x="446" y="1604"/>
                  </a:lnTo>
                  <a:lnTo>
                    <a:pt x="447" y="1604"/>
                  </a:lnTo>
                  <a:lnTo>
                    <a:pt x="447" y="1604"/>
                  </a:lnTo>
                  <a:lnTo>
                    <a:pt x="447" y="1603"/>
                  </a:lnTo>
                  <a:lnTo>
                    <a:pt x="447" y="1601"/>
                  </a:lnTo>
                  <a:lnTo>
                    <a:pt x="447" y="1600"/>
                  </a:lnTo>
                  <a:lnTo>
                    <a:pt x="447" y="1599"/>
                  </a:lnTo>
                  <a:lnTo>
                    <a:pt x="447" y="1599"/>
                  </a:lnTo>
                  <a:lnTo>
                    <a:pt x="447" y="1599"/>
                  </a:lnTo>
                  <a:lnTo>
                    <a:pt x="448" y="1600"/>
                  </a:lnTo>
                  <a:lnTo>
                    <a:pt x="450" y="1601"/>
                  </a:lnTo>
                  <a:lnTo>
                    <a:pt x="450" y="1599"/>
                  </a:lnTo>
                  <a:lnTo>
                    <a:pt x="450" y="1599"/>
                  </a:lnTo>
                  <a:lnTo>
                    <a:pt x="451" y="1599"/>
                  </a:lnTo>
                  <a:lnTo>
                    <a:pt x="453" y="1599"/>
                  </a:lnTo>
                  <a:lnTo>
                    <a:pt x="455" y="1597"/>
                  </a:lnTo>
                  <a:lnTo>
                    <a:pt x="457" y="1597"/>
                  </a:lnTo>
                  <a:lnTo>
                    <a:pt x="460" y="1596"/>
                  </a:lnTo>
                  <a:lnTo>
                    <a:pt x="463" y="1593"/>
                  </a:lnTo>
                  <a:lnTo>
                    <a:pt x="464" y="1593"/>
                  </a:lnTo>
                  <a:lnTo>
                    <a:pt x="464" y="1593"/>
                  </a:lnTo>
                  <a:lnTo>
                    <a:pt x="465" y="1593"/>
                  </a:lnTo>
                  <a:lnTo>
                    <a:pt x="465" y="1594"/>
                  </a:lnTo>
                  <a:lnTo>
                    <a:pt x="467" y="1594"/>
                  </a:lnTo>
                  <a:lnTo>
                    <a:pt x="467" y="1593"/>
                  </a:lnTo>
                  <a:lnTo>
                    <a:pt x="467" y="1591"/>
                  </a:lnTo>
                  <a:lnTo>
                    <a:pt x="465" y="1590"/>
                  </a:lnTo>
                  <a:lnTo>
                    <a:pt x="465" y="1589"/>
                  </a:lnTo>
                  <a:lnTo>
                    <a:pt x="467" y="1589"/>
                  </a:lnTo>
                  <a:lnTo>
                    <a:pt x="468" y="1589"/>
                  </a:lnTo>
                  <a:lnTo>
                    <a:pt x="473" y="1587"/>
                  </a:lnTo>
                  <a:lnTo>
                    <a:pt x="473" y="1586"/>
                  </a:lnTo>
                  <a:lnTo>
                    <a:pt x="473" y="1584"/>
                  </a:lnTo>
                  <a:lnTo>
                    <a:pt x="475" y="1584"/>
                  </a:lnTo>
                  <a:lnTo>
                    <a:pt x="474" y="1583"/>
                  </a:lnTo>
                  <a:lnTo>
                    <a:pt x="474" y="1583"/>
                  </a:lnTo>
                  <a:lnTo>
                    <a:pt x="470" y="1581"/>
                  </a:lnTo>
                  <a:lnTo>
                    <a:pt x="467" y="1580"/>
                  </a:lnTo>
                  <a:lnTo>
                    <a:pt x="464" y="1579"/>
                  </a:lnTo>
                  <a:lnTo>
                    <a:pt x="464" y="1579"/>
                  </a:lnTo>
                  <a:lnTo>
                    <a:pt x="464" y="1577"/>
                  </a:lnTo>
                  <a:lnTo>
                    <a:pt x="463" y="1576"/>
                  </a:lnTo>
                  <a:lnTo>
                    <a:pt x="463" y="1576"/>
                  </a:lnTo>
                  <a:lnTo>
                    <a:pt x="463" y="1574"/>
                  </a:lnTo>
                  <a:lnTo>
                    <a:pt x="464" y="1574"/>
                  </a:lnTo>
                  <a:lnTo>
                    <a:pt x="464" y="1573"/>
                  </a:lnTo>
                  <a:lnTo>
                    <a:pt x="465" y="1574"/>
                  </a:lnTo>
                  <a:lnTo>
                    <a:pt x="465" y="1574"/>
                  </a:lnTo>
                  <a:lnTo>
                    <a:pt x="467" y="1574"/>
                  </a:lnTo>
                  <a:lnTo>
                    <a:pt x="470" y="1574"/>
                  </a:lnTo>
                  <a:lnTo>
                    <a:pt x="470" y="1574"/>
                  </a:lnTo>
                  <a:lnTo>
                    <a:pt x="470" y="1573"/>
                  </a:lnTo>
                  <a:lnTo>
                    <a:pt x="468" y="1569"/>
                  </a:lnTo>
                  <a:lnTo>
                    <a:pt x="467" y="1566"/>
                  </a:lnTo>
                  <a:lnTo>
                    <a:pt x="464" y="1561"/>
                  </a:lnTo>
                  <a:lnTo>
                    <a:pt x="464" y="1560"/>
                  </a:lnTo>
                  <a:lnTo>
                    <a:pt x="461" y="1557"/>
                  </a:lnTo>
                  <a:lnTo>
                    <a:pt x="460" y="1554"/>
                  </a:lnTo>
                  <a:lnTo>
                    <a:pt x="458" y="1551"/>
                  </a:lnTo>
                  <a:lnTo>
                    <a:pt x="457" y="1550"/>
                  </a:lnTo>
                  <a:lnTo>
                    <a:pt x="454" y="1550"/>
                  </a:lnTo>
                  <a:lnTo>
                    <a:pt x="448" y="1550"/>
                  </a:lnTo>
                  <a:lnTo>
                    <a:pt x="447" y="1549"/>
                  </a:lnTo>
                  <a:lnTo>
                    <a:pt x="446" y="1550"/>
                  </a:lnTo>
                  <a:lnTo>
                    <a:pt x="444" y="1550"/>
                  </a:lnTo>
                  <a:lnTo>
                    <a:pt x="443" y="1550"/>
                  </a:lnTo>
                  <a:lnTo>
                    <a:pt x="441" y="1547"/>
                  </a:lnTo>
                  <a:lnTo>
                    <a:pt x="440" y="1546"/>
                  </a:lnTo>
                  <a:lnTo>
                    <a:pt x="441" y="1544"/>
                  </a:lnTo>
                  <a:lnTo>
                    <a:pt x="441" y="1541"/>
                  </a:lnTo>
                  <a:lnTo>
                    <a:pt x="440" y="1539"/>
                  </a:lnTo>
                  <a:lnTo>
                    <a:pt x="438" y="1537"/>
                  </a:lnTo>
                  <a:lnTo>
                    <a:pt x="437" y="1537"/>
                  </a:lnTo>
                  <a:lnTo>
                    <a:pt x="434" y="1534"/>
                  </a:lnTo>
                  <a:lnTo>
                    <a:pt x="433" y="1530"/>
                  </a:lnTo>
                  <a:lnTo>
                    <a:pt x="434" y="1524"/>
                  </a:lnTo>
                  <a:lnTo>
                    <a:pt x="437" y="1521"/>
                  </a:lnTo>
                  <a:lnTo>
                    <a:pt x="438" y="1519"/>
                  </a:lnTo>
                  <a:lnTo>
                    <a:pt x="440" y="1517"/>
                  </a:lnTo>
                  <a:lnTo>
                    <a:pt x="440" y="1517"/>
                  </a:lnTo>
                  <a:lnTo>
                    <a:pt x="440" y="1516"/>
                  </a:lnTo>
                  <a:lnTo>
                    <a:pt x="438" y="1514"/>
                  </a:lnTo>
                  <a:lnTo>
                    <a:pt x="437" y="1513"/>
                  </a:lnTo>
                  <a:lnTo>
                    <a:pt x="436" y="1511"/>
                  </a:lnTo>
                  <a:lnTo>
                    <a:pt x="436" y="1509"/>
                  </a:lnTo>
                  <a:lnTo>
                    <a:pt x="437" y="1503"/>
                  </a:lnTo>
                  <a:lnTo>
                    <a:pt x="438" y="1499"/>
                  </a:lnTo>
                  <a:lnTo>
                    <a:pt x="441" y="1497"/>
                  </a:lnTo>
                  <a:lnTo>
                    <a:pt x="443" y="1496"/>
                  </a:lnTo>
                  <a:lnTo>
                    <a:pt x="444" y="1494"/>
                  </a:lnTo>
                  <a:lnTo>
                    <a:pt x="444" y="1491"/>
                  </a:lnTo>
                  <a:lnTo>
                    <a:pt x="444" y="1490"/>
                  </a:lnTo>
                  <a:lnTo>
                    <a:pt x="444" y="1489"/>
                  </a:lnTo>
                  <a:lnTo>
                    <a:pt x="446" y="1487"/>
                  </a:lnTo>
                  <a:lnTo>
                    <a:pt x="446" y="1487"/>
                  </a:lnTo>
                  <a:lnTo>
                    <a:pt x="447" y="1486"/>
                  </a:lnTo>
                  <a:lnTo>
                    <a:pt x="448" y="1486"/>
                  </a:lnTo>
                  <a:lnTo>
                    <a:pt x="450" y="1486"/>
                  </a:lnTo>
                  <a:lnTo>
                    <a:pt x="453" y="1489"/>
                  </a:lnTo>
                  <a:lnTo>
                    <a:pt x="455" y="1493"/>
                  </a:lnTo>
                  <a:lnTo>
                    <a:pt x="458" y="1496"/>
                  </a:lnTo>
                  <a:lnTo>
                    <a:pt x="458" y="1497"/>
                  </a:lnTo>
                  <a:lnTo>
                    <a:pt x="460" y="1499"/>
                  </a:lnTo>
                  <a:lnTo>
                    <a:pt x="463" y="1500"/>
                  </a:lnTo>
                  <a:lnTo>
                    <a:pt x="464" y="1499"/>
                  </a:lnTo>
                  <a:lnTo>
                    <a:pt x="467" y="1497"/>
                  </a:lnTo>
                  <a:lnTo>
                    <a:pt x="468" y="1497"/>
                  </a:lnTo>
                  <a:lnTo>
                    <a:pt x="468" y="1496"/>
                  </a:lnTo>
                  <a:lnTo>
                    <a:pt x="468" y="1493"/>
                  </a:lnTo>
                  <a:lnTo>
                    <a:pt x="467" y="1491"/>
                  </a:lnTo>
                  <a:lnTo>
                    <a:pt x="467" y="1490"/>
                  </a:lnTo>
                  <a:lnTo>
                    <a:pt x="467" y="1487"/>
                  </a:lnTo>
                  <a:lnTo>
                    <a:pt x="465" y="1481"/>
                  </a:lnTo>
                  <a:lnTo>
                    <a:pt x="465" y="1480"/>
                  </a:lnTo>
                  <a:lnTo>
                    <a:pt x="465" y="1480"/>
                  </a:lnTo>
                  <a:lnTo>
                    <a:pt x="467" y="1480"/>
                  </a:lnTo>
                  <a:lnTo>
                    <a:pt x="468" y="1480"/>
                  </a:lnTo>
                  <a:lnTo>
                    <a:pt x="470" y="1480"/>
                  </a:lnTo>
                  <a:lnTo>
                    <a:pt x="473" y="1477"/>
                  </a:lnTo>
                  <a:lnTo>
                    <a:pt x="475" y="1474"/>
                  </a:lnTo>
                  <a:lnTo>
                    <a:pt x="477" y="1471"/>
                  </a:lnTo>
                  <a:lnTo>
                    <a:pt x="478" y="1470"/>
                  </a:lnTo>
                  <a:lnTo>
                    <a:pt x="478" y="1469"/>
                  </a:lnTo>
                  <a:lnTo>
                    <a:pt x="481" y="1467"/>
                  </a:lnTo>
                  <a:lnTo>
                    <a:pt x="484" y="1467"/>
                  </a:lnTo>
                  <a:lnTo>
                    <a:pt x="485" y="1466"/>
                  </a:lnTo>
                  <a:lnTo>
                    <a:pt x="488" y="1464"/>
                  </a:lnTo>
                  <a:lnTo>
                    <a:pt x="491" y="1463"/>
                  </a:lnTo>
                  <a:lnTo>
                    <a:pt x="493" y="1463"/>
                  </a:lnTo>
                  <a:lnTo>
                    <a:pt x="493" y="1461"/>
                  </a:lnTo>
                  <a:lnTo>
                    <a:pt x="495" y="1457"/>
                  </a:lnTo>
                  <a:lnTo>
                    <a:pt x="497" y="1456"/>
                  </a:lnTo>
                  <a:lnTo>
                    <a:pt x="500" y="1453"/>
                  </a:lnTo>
                  <a:lnTo>
                    <a:pt x="500" y="1451"/>
                  </a:lnTo>
                  <a:lnTo>
                    <a:pt x="501" y="1451"/>
                  </a:lnTo>
                  <a:lnTo>
                    <a:pt x="504" y="1453"/>
                  </a:lnTo>
                  <a:lnTo>
                    <a:pt x="505" y="1454"/>
                  </a:lnTo>
                  <a:lnTo>
                    <a:pt x="507" y="1456"/>
                  </a:lnTo>
                  <a:lnTo>
                    <a:pt x="508" y="1457"/>
                  </a:lnTo>
                  <a:lnTo>
                    <a:pt x="508" y="1457"/>
                  </a:lnTo>
                  <a:lnTo>
                    <a:pt x="508" y="1459"/>
                  </a:lnTo>
                  <a:lnTo>
                    <a:pt x="510" y="1459"/>
                  </a:lnTo>
                  <a:lnTo>
                    <a:pt x="511" y="1459"/>
                  </a:lnTo>
                  <a:lnTo>
                    <a:pt x="513" y="1459"/>
                  </a:lnTo>
                  <a:lnTo>
                    <a:pt x="515" y="1456"/>
                  </a:lnTo>
                  <a:lnTo>
                    <a:pt x="520" y="1453"/>
                  </a:lnTo>
                  <a:lnTo>
                    <a:pt x="523" y="1453"/>
                  </a:lnTo>
                  <a:lnTo>
                    <a:pt x="524" y="1453"/>
                  </a:lnTo>
                  <a:lnTo>
                    <a:pt x="525" y="1456"/>
                  </a:lnTo>
                  <a:lnTo>
                    <a:pt x="527" y="1457"/>
                  </a:lnTo>
                  <a:lnTo>
                    <a:pt x="528" y="1459"/>
                  </a:lnTo>
                  <a:lnTo>
                    <a:pt x="528" y="1459"/>
                  </a:lnTo>
                  <a:lnTo>
                    <a:pt x="530" y="1459"/>
                  </a:lnTo>
                  <a:lnTo>
                    <a:pt x="531" y="1457"/>
                  </a:lnTo>
                  <a:lnTo>
                    <a:pt x="531" y="1457"/>
                  </a:lnTo>
                  <a:lnTo>
                    <a:pt x="533" y="1457"/>
                  </a:lnTo>
                  <a:lnTo>
                    <a:pt x="534" y="1459"/>
                  </a:lnTo>
                  <a:lnTo>
                    <a:pt x="535" y="1459"/>
                  </a:lnTo>
                  <a:lnTo>
                    <a:pt x="538" y="1459"/>
                  </a:lnTo>
                  <a:lnTo>
                    <a:pt x="540" y="1457"/>
                  </a:lnTo>
                  <a:lnTo>
                    <a:pt x="541" y="1459"/>
                  </a:lnTo>
                  <a:lnTo>
                    <a:pt x="543" y="1459"/>
                  </a:lnTo>
                  <a:lnTo>
                    <a:pt x="544" y="1460"/>
                  </a:lnTo>
                  <a:lnTo>
                    <a:pt x="545" y="1464"/>
                  </a:lnTo>
                  <a:lnTo>
                    <a:pt x="547" y="1466"/>
                  </a:lnTo>
                  <a:lnTo>
                    <a:pt x="551" y="1466"/>
                  </a:lnTo>
                  <a:lnTo>
                    <a:pt x="551" y="1467"/>
                  </a:lnTo>
                  <a:lnTo>
                    <a:pt x="554" y="1470"/>
                  </a:lnTo>
                  <a:lnTo>
                    <a:pt x="554" y="1470"/>
                  </a:lnTo>
                  <a:lnTo>
                    <a:pt x="555" y="1473"/>
                  </a:lnTo>
                  <a:lnTo>
                    <a:pt x="558" y="1476"/>
                  </a:lnTo>
                  <a:lnTo>
                    <a:pt x="558" y="1479"/>
                  </a:lnTo>
                  <a:lnTo>
                    <a:pt x="558" y="1481"/>
                  </a:lnTo>
                  <a:lnTo>
                    <a:pt x="560" y="1481"/>
                  </a:lnTo>
                  <a:lnTo>
                    <a:pt x="560" y="1483"/>
                  </a:lnTo>
                  <a:lnTo>
                    <a:pt x="561" y="1481"/>
                  </a:lnTo>
                  <a:lnTo>
                    <a:pt x="561" y="1481"/>
                  </a:lnTo>
                  <a:lnTo>
                    <a:pt x="561" y="1479"/>
                  </a:lnTo>
                  <a:lnTo>
                    <a:pt x="561" y="1476"/>
                  </a:lnTo>
                  <a:lnTo>
                    <a:pt x="561" y="1473"/>
                  </a:lnTo>
                  <a:lnTo>
                    <a:pt x="560" y="1473"/>
                  </a:lnTo>
                  <a:lnTo>
                    <a:pt x="560" y="1471"/>
                  </a:lnTo>
                  <a:lnTo>
                    <a:pt x="560" y="1470"/>
                  </a:lnTo>
                  <a:lnTo>
                    <a:pt x="561" y="1470"/>
                  </a:lnTo>
                  <a:lnTo>
                    <a:pt x="562" y="1470"/>
                  </a:lnTo>
                  <a:lnTo>
                    <a:pt x="565" y="1471"/>
                  </a:lnTo>
                  <a:lnTo>
                    <a:pt x="567" y="1474"/>
                  </a:lnTo>
                  <a:lnTo>
                    <a:pt x="570" y="1477"/>
                  </a:lnTo>
                  <a:lnTo>
                    <a:pt x="572" y="1479"/>
                  </a:lnTo>
                  <a:lnTo>
                    <a:pt x="575" y="1480"/>
                  </a:lnTo>
                  <a:lnTo>
                    <a:pt x="578" y="1481"/>
                  </a:lnTo>
                  <a:lnTo>
                    <a:pt x="580" y="1480"/>
                  </a:lnTo>
                  <a:lnTo>
                    <a:pt x="582" y="1479"/>
                  </a:lnTo>
                  <a:lnTo>
                    <a:pt x="584" y="1477"/>
                  </a:lnTo>
                  <a:lnTo>
                    <a:pt x="585" y="1476"/>
                  </a:lnTo>
                  <a:lnTo>
                    <a:pt x="585" y="1474"/>
                  </a:lnTo>
                  <a:lnTo>
                    <a:pt x="588" y="1471"/>
                  </a:lnTo>
                  <a:lnTo>
                    <a:pt x="591" y="1470"/>
                  </a:lnTo>
                  <a:lnTo>
                    <a:pt x="592" y="1470"/>
                  </a:lnTo>
                  <a:lnTo>
                    <a:pt x="592" y="1471"/>
                  </a:lnTo>
                  <a:lnTo>
                    <a:pt x="595" y="1470"/>
                  </a:lnTo>
                  <a:lnTo>
                    <a:pt x="597" y="1470"/>
                  </a:lnTo>
                  <a:lnTo>
                    <a:pt x="600" y="1469"/>
                  </a:lnTo>
                  <a:lnTo>
                    <a:pt x="602" y="1470"/>
                  </a:lnTo>
                  <a:lnTo>
                    <a:pt x="604" y="1471"/>
                  </a:lnTo>
                  <a:lnTo>
                    <a:pt x="607" y="1473"/>
                  </a:lnTo>
                  <a:lnTo>
                    <a:pt x="608" y="1473"/>
                  </a:lnTo>
                  <a:lnTo>
                    <a:pt x="610" y="1473"/>
                  </a:lnTo>
                  <a:lnTo>
                    <a:pt x="611" y="1471"/>
                  </a:lnTo>
                  <a:lnTo>
                    <a:pt x="611" y="1469"/>
                  </a:lnTo>
                  <a:lnTo>
                    <a:pt x="612" y="1469"/>
                  </a:lnTo>
                  <a:lnTo>
                    <a:pt x="612" y="1469"/>
                  </a:lnTo>
                  <a:lnTo>
                    <a:pt x="615" y="1469"/>
                  </a:lnTo>
                  <a:lnTo>
                    <a:pt x="618" y="1469"/>
                  </a:lnTo>
                  <a:lnTo>
                    <a:pt x="618" y="1469"/>
                  </a:lnTo>
                  <a:lnTo>
                    <a:pt x="621" y="1469"/>
                  </a:lnTo>
                  <a:lnTo>
                    <a:pt x="624" y="1471"/>
                  </a:lnTo>
                  <a:lnTo>
                    <a:pt x="625" y="1474"/>
                  </a:lnTo>
                  <a:lnTo>
                    <a:pt x="628" y="1477"/>
                  </a:lnTo>
                  <a:lnTo>
                    <a:pt x="630" y="1479"/>
                  </a:lnTo>
                  <a:lnTo>
                    <a:pt x="631" y="1479"/>
                  </a:lnTo>
                  <a:lnTo>
                    <a:pt x="632" y="1479"/>
                  </a:lnTo>
                  <a:lnTo>
                    <a:pt x="634" y="1480"/>
                  </a:lnTo>
                  <a:lnTo>
                    <a:pt x="638" y="1480"/>
                  </a:lnTo>
                  <a:lnTo>
                    <a:pt x="640" y="1480"/>
                  </a:lnTo>
                  <a:lnTo>
                    <a:pt x="640" y="1481"/>
                  </a:lnTo>
                  <a:lnTo>
                    <a:pt x="640" y="1483"/>
                  </a:lnTo>
                  <a:lnTo>
                    <a:pt x="640" y="1483"/>
                  </a:lnTo>
                  <a:lnTo>
                    <a:pt x="644" y="1481"/>
                  </a:lnTo>
                  <a:lnTo>
                    <a:pt x="644" y="1481"/>
                  </a:lnTo>
                  <a:lnTo>
                    <a:pt x="645" y="1479"/>
                  </a:lnTo>
                  <a:lnTo>
                    <a:pt x="647" y="1476"/>
                  </a:lnTo>
                  <a:lnTo>
                    <a:pt x="647" y="1474"/>
                  </a:lnTo>
                  <a:lnTo>
                    <a:pt x="648" y="1474"/>
                  </a:lnTo>
                  <a:lnTo>
                    <a:pt x="649" y="1474"/>
                  </a:lnTo>
                  <a:lnTo>
                    <a:pt x="649" y="1476"/>
                  </a:lnTo>
                  <a:lnTo>
                    <a:pt x="652" y="1479"/>
                  </a:lnTo>
                  <a:lnTo>
                    <a:pt x="654" y="1479"/>
                  </a:lnTo>
                  <a:lnTo>
                    <a:pt x="655" y="1479"/>
                  </a:lnTo>
                  <a:lnTo>
                    <a:pt x="658" y="1479"/>
                  </a:lnTo>
                  <a:lnTo>
                    <a:pt x="662" y="1479"/>
                  </a:lnTo>
                  <a:lnTo>
                    <a:pt x="667" y="1476"/>
                  </a:lnTo>
                  <a:lnTo>
                    <a:pt x="669" y="1474"/>
                  </a:lnTo>
                  <a:lnTo>
                    <a:pt x="671" y="1470"/>
                  </a:lnTo>
                  <a:lnTo>
                    <a:pt x="671" y="1467"/>
                  </a:lnTo>
                  <a:lnTo>
                    <a:pt x="672" y="1464"/>
                  </a:lnTo>
                  <a:lnTo>
                    <a:pt x="672" y="1463"/>
                  </a:lnTo>
                  <a:lnTo>
                    <a:pt x="669" y="1460"/>
                  </a:lnTo>
                  <a:lnTo>
                    <a:pt x="669" y="1459"/>
                  </a:lnTo>
                  <a:lnTo>
                    <a:pt x="664" y="1459"/>
                  </a:lnTo>
                  <a:lnTo>
                    <a:pt x="662" y="1457"/>
                  </a:lnTo>
                  <a:lnTo>
                    <a:pt x="662" y="1457"/>
                  </a:lnTo>
                  <a:lnTo>
                    <a:pt x="657" y="1454"/>
                  </a:lnTo>
                  <a:lnTo>
                    <a:pt x="655" y="1454"/>
                  </a:lnTo>
                  <a:lnTo>
                    <a:pt x="654" y="1453"/>
                  </a:lnTo>
                  <a:lnTo>
                    <a:pt x="654" y="1450"/>
                  </a:lnTo>
                  <a:lnTo>
                    <a:pt x="651" y="1449"/>
                  </a:lnTo>
                  <a:lnTo>
                    <a:pt x="648" y="1447"/>
                  </a:lnTo>
                  <a:lnTo>
                    <a:pt x="648" y="1447"/>
                  </a:lnTo>
                  <a:lnTo>
                    <a:pt x="648" y="1446"/>
                  </a:lnTo>
                  <a:lnTo>
                    <a:pt x="649" y="1444"/>
                  </a:lnTo>
                  <a:lnTo>
                    <a:pt x="651" y="1444"/>
                  </a:lnTo>
                  <a:lnTo>
                    <a:pt x="654" y="1442"/>
                  </a:lnTo>
                  <a:lnTo>
                    <a:pt x="655" y="1442"/>
                  </a:lnTo>
                  <a:lnTo>
                    <a:pt x="658" y="1442"/>
                  </a:lnTo>
                  <a:lnTo>
                    <a:pt x="661" y="1439"/>
                  </a:lnTo>
                  <a:lnTo>
                    <a:pt x="662" y="1437"/>
                  </a:lnTo>
                  <a:lnTo>
                    <a:pt x="662" y="1436"/>
                  </a:lnTo>
                  <a:lnTo>
                    <a:pt x="662" y="1434"/>
                  </a:lnTo>
                  <a:lnTo>
                    <a:pt x="661" y="1430"/>
                  </a:lnTo>
                  <a:lnTo>
                    <a:pt x="659" y="1427"/>
                  </a:lnTo>
                  <a:lnTo>
                    <a:pt x="659" y="1426"/>
                  </a:lnTo>
                  <a:lnTo>
                    <a:pt x="661" y="1423"/>
                  </a:lnTo>
                  <a:lnTo>
                    <a:pt x="662" y="1423"/>
                  </a:lnTo>
                  <a:lnTo>
                    <a:pt x="664" y="1420"/>
                  </a:lnTo>
                  <a:lnTo>
                    <a:pt x="664" y="1419"/>
                  </a:lnTo>
                  <a:lnTo>
                    <a:pt x="667" y="1419"/>
                  </a:lnTo>
                  <a:lnTo>
                    <a:pt x="669" y="1419"/>
                  </a:lnTo>
                  <a:lnTo>
                    <a:pt x="672" y="1419"/>
                  </a:lnTo>
                  <a:lnTo>
                    <a:pt x="675" y="1419"/>
                  </a:lnTo>
                  <a:lnTo>
                    <a:pt x="678" y="1420"/>
                  </a:lnTo>
                  <a:lnTo>
                    <a:pt x="678" y="1420"/>
                  </a:lnTo>
                  <a:lnTo>
                    <a:pt x="679" y="1420"/>
                  </a:lnTo>
                  <a:lnTo>
                    <a:pt x="681" y="1419"/>
                  </a:lnTo>
                  <a:lnTo>
                    <a:pt x="681" y="1417"/>
                  </a:lnTo>
                  <a:lnTo>
                    <a:pt x="679" y="1416"/>
                  </a:lnTo>
                  <a:lnTo>
                    <a:pt x="675" y="1414"/>
                  </a:lnTo>
                  <a:lnTo>
                    <a:pt x="674" y="1413"/>
                  </a:lnTo>
                  <a:lnTo>
                    <a:pt x="672" y="1413"/>
                  </a:lnTo>
                  <a:lnTo>
                    <a:pt x="669" y="1412"/>
                  </a:lnTo>
                  <a:lnTo>
                    <a:pt x="668" y="1412"/>
                  </a:lnTo>
                  <a:lnTo>
                    <a:pt x="667" y="1412"/>
                  </a:lnTo>
                  <a:lnTo>
                    <a:pt x="665" y="1410"/>
                  </a:lnTo>
                  <a:lnTo>
                    <a:pt x="667" y="1407"/>
                  </a:lnTo>
                  <a:lnTo>
                    <a:pt x="667" y="1407"/>
                  </a:lnTo>
                  <a:lnTo>
                    <a:pt x="668" y="1406"/>
                  </a:lnTo>
                  <a:lnTo>
                    <a:pt x="669" y="1406"/>
                  </a:lnTo>
                  <a:lnTo>
                    <a:pt x="671" y="1406"/>
                  </a:lnTo>
                  <a:lnTo>
                    <a:pt x="671" y="1406"/>
                  </a:lnTo>
                  <a:lnTo>
                    <a:pt x="672" y="1404"/>
                  </a:lnTo>
                  <a:lnTo>
                    <a:pt x="671" y="1404"/>
                  </a:lnTo>
                  <a:lnTo>
                    <a:pt x="671" y="1403"/>
                  </a:lnTo>
                  <a:lnTo>
                    <a:pt x="669" y="1403"/>
                  </a:lnTo>
                  <a:lnTo>
                    <a:pt x="668" y="1403"/>
                  </a:lnTo>
                  <a:lnTo>
                    <a:pt x="667" y="1404"/>
                  </a:lnTo>
                  <a:lnTo>
                    <a:pt x="665" y="1403"/>
                  </a:lnTo>
                  <a:lnTo>
                    <a:pt x="662" y="1402"/>
                  </a:lnTo>
                  <a:lnTo>
                    <a:pt x="662" y="1402"/>
                  </a:lnTo>
                  <a:lnTo>
                    <a:pt x="664" y="1400"/>
                  </a:lnTo>
                  <a:lnTo>
                    <a:pt x="665" y="1399"/>
                  </a:lnTo>
                  <a:lnTo>
                    <a:pt x="665" y="1397"/>
                  </a:lnTo>
                  <a:lnTo>
                    <a:pt x="665" y="1394"/>
                  </a:lnTo>
                  <a:lnTo>
                    <a:pt x="665" y="1393"/>
                  </a:lnTo>
                  <a:lnTo>
                    <a:pt x="667" y="1392"/>
                  </a:lnTo>
                  <a:lnTo>
                    <a:pt x="668" y="1390"/>
                  </a:lnTo>
                  <a:lnTo>
                    <a:pt x="672" y="1392"/>
                  </a:lnTo>
                  <a:lnTo>
                    <a:pt x="678" y="1393"/>
                  </a:lnTo>
                  <a:lnTo>
                    <a:pt x="679" y="1393"/>
                  </a:lnTo>
                  <a:lnTo>
                    <a:pt x="679" y="1392"/>
                  </a:lnTo>
                  <a:lnTo>
                    <a:pt x="679" y="1392"/>
                  </a:lnTo>
                  <a:lnTo>
                    <a:pt x="687" y="1392"/>
                  </a:lnTo>
                  <a:lnTo>
                    <a:pt x="688" y="1390"/>
                  </a:lnTo>
                  <a:lnTo>
                    <a:pt x="689" y="1390"/>
                  </a:lnTo>
                  <a:lnTo>
                    <a:pt x="697" y="1389"/>
                  </a:lnTo>
                  <a:lnTo>
                    <a:pt x="697" y="1387"/>
                  </a:lnTo>
                  <a:lnTo>
                    <a:pt x="698" y="1387"/>
                  </a:lnTo>
                  <a:lnTo>
                    <a:pt x="699" y="1387"/>
                  </a:lnTo>
                  <a:lnTo>
                    <a:pt x="702" y="1387"/>
                  </a:lnTo>
                  <a:lnTo>
                    <a:pt x="705" y="1386"/>
                  </a:lnTo>
                  <a:lnTo>
                    <a:pt x="707" y="1384"/>
                  </a:lnTo>
                  <a:lnTo>
                    <a:pt x="707" y="1384"/>
                  </a:lnTo>
                  <a:lnTo>
                    <a:pt x="708" y="1386"/>
                  </a:lnTo>
                  <a:lnTo>
                    <a:pt x="711" y="1384"/>
                  </a:lnTo>
                  <a:lnTo>
                    <a:pt x="712" y="1384"/>
                  </a:lnTo>
                  <a:lnTo>
                    <a:pt x="712" y="1383"/>
                  </a:lnTo>
                  <a:lnTo>
                    <a:pt x="714" y="1382"/>
                  </a:lnTo>
                  <a:lnTo>
                    <a:pt x="718" y="1382"/>
                  </a:lnTo>
                  <a:lnTo>
                    <a:pt x="719" y="1382"/>
                  </a:lnTo>
                  <a:lnTo>
                    <a:pt x="721" y="1382"/>
                  </a:lnTo>
                  <a:lnTo>
                    <a:pt x="724" y="1382"/>
                  </a:lnTo>
                  <a:lnTo>
                    <a:pt x="727" y="1380"/>
                  </a:lnTo>
                  <a:lnTo>
                    <a:pt x="727" y="1382"/>
                  </a:lnTo>
                  <a:lnTo>
                    <a:pt x="728" y="1383"/>
                  </a:lnTo>
                  <a:lnTo>
                    <a:pt x="729" y="1382"/>
                  </a:lnTo>
                  <a:lnTo>
                    <a:pt x="731" y="1380"/>
                  </a:lnTo>
                  <a:lnTo>
                    <a:pt x="731" y="1377"/>
                  </a:lnTo>
                  <a:lnTo>
                    <a:pt x="732" y="1377"/>
                  </a:lnTo>
                  <a:lnTo>
                    <a:pt x="734" y="1376"/>
                  </a:lnTo>
                  <a:lnTo>
                    <a:pt x="734" y="1376"/>
                  </a:lnTo>
                  <a:lnTo>
                    <a:pt x="735" y="1374"/>
                  </a:lnTo>
                  <a:lnTo>
                    <a:pt x="738" y="1374"/>
                  </a:lnTo>
                  <a:lnTo>
                    <a:pt x="742" y="1373"/>
                  </a:lnTo>
                  <a:lnTo>
                    <a:pt x="742" y="1373"/>
                  </a:lnTo>
                  <a:lnTo>
                    <a:pt x="746" y="1373"/>
                  </a:lnTo>
                  <a:lnTo>
                    <a:pt x="752" y="1372"/>
                  </a:lnTo>
                  <a:lnTo>
                    <a:pt x="755" y="1372"/>
                  </a:lnTo>
                  <a:lnTo>
                    <a:pt x="761" y="1370"/>
                  </a:lnTo>
                  <a:lnTo>
                    <a:pt x="764" y="1369"/>
                  </a:lnTo>
                  <a:lnTo>
                    <a:pt x="766" y="1369"/>
                  </a:lnTo>
                  <a:lnTo>
                    <a:pt x="771" y="1367"/>
                  </a:lnTo>
                  <a:lnTo>
                    <a:pt x="772" y="1366"/>
                  </a:lnTo>
                  <a:lnTo>
                    <a:pt x="774" y="1366"/>
                  </a:lnTo>
                  <a:lnTo>
                    <a:pt x="776" y="1366"/>
                  </a:lnTo>
                  <a:lnTo>
                    <a:pt x="778" y="1364"/>
                  </a:lnTo>
                  <a:lnTo>
                    <a:pt x="778" y="1364"/>
                  </a:lnTo>
                  <a:lnTo>
                    <a:pt x="779" y="1363"/>
                  </a:lnTo>
                  <a:lnTo>
                    <a:pt x="779" y="1362"/>
                  </a:lnTo>
                  <a:lnTo>
                    <a:pt x="778" y="1360"/>
                  </a:lnTo>
                  <a:lnTo>
                    <a:pt x="779" y="1359"/>
                  </a:lnTo>
                  <a:lnTo>
                    <a:pt x="782" y="1359"/>
                  </a:lnTo>
                  <a:lnTo>
                    <a:pt x="784" y="1359"/>
                  </a:lnTo>
                  <a:lnTo>
                    <a:pt x="786" y="1356"/>
                  </a:lnTo>
                  <a:lnTo>
                    <a:pt x="789" y="1354"/>
                  </a:lnTo>
                  <a:lnTo>
                    <a:pt x="791" y="1353"/>
                  </a:lnTo>
                  <a:lnTo>
                    <a:pt x="795" y="1353"/>
                  </a:lnTo>
                  <a:lnTo>
                    <a:pt x="799" y="1354"/>
                  </a:lnTo>
                  <a:lnTo>
                    <a:pt x="804" y="1356"/>
                  </a:lnTo>
                  <a:lnTo>
                    <a:pt x="805" y="1357"/>
                  </a:lnTo>
                  <a:lnTo>
                    <a:pt x="806" y="1359"/>
                  </a:lnTo>
                  <a:lnTo>
                    <a:pt x="809" y="1359"/>
                  </a:lnTo>
                  <a:lnTo>
                    <a:pt x="811" y="1360"/>
                  </a:lnTo>
                  <a:lnTo>
                    <a:pt x="812" y="1359"/>
                  </a:lnTo>
                  <a:lnTo>
                    <a:pt x="814" y="1359"/>
                  </a:lnTo>
                  <a:lnTo>
                    <a:pt x="814" y="1357"/>
                  </a:lnTo>
                  <a:lnTo>
                    <a:pt x="815" y="1356"/>
                  </a:lnTo>
                  <a:lnTo>
                    <a:pt x="819" y="1356"/>
                  </a:lnTo>
                  <a:lnTo>
                    <a:pt x="819" y="1357"/>
                  </a:lnTo>
                  <a:lnTo>
                    <a:pt x="822" y="1360"/>
                  </a:lnTo>
                  <a:lnTo>
                    <a:pt x="824" y="1366"/>
                  </a:lnTo>
                  <a:lnTo>
                    <a:pt x="825" y="1372"/>
                  </a:lnTo>
                  <a:lnTo>
                    <a:pt x="826" y="1376"/>
                  </a:lnTo>
                  <a:lnTo>
                    <a:pt x="826" y="1377"/>
                  </a:lnTo>
                  <a:lnTo>
                    <a:pt x="826" y="1379"/>
                  </a:lnTo>
                  <a:lnTo>
                    <a:pt x="825" y="1382"/>
                  </a:lnTo>
                  <a:lnTo>
                    <a:pt x="824" y="1384"/>
                  </a:lnTo>
                  <a:lnTo>
                    <a:pt x="825" y="1386"/>
                  </a:lnTo>
                  <a:lnTo>
                    <a:pt x="829" y="1387"/>
                  </a:lnTo>
                  <a:lnTo>
                    <a:pt x="833" y="1387"/>
                  </a:lnTo>
                  <a:lnTo>
                    <a:pt x="838" y="1386"/>
                  </a:lnTo>
                  <a:lnTo>
                    <a:pt x="839" y="1386"/>
                  </a:lnTo>
                  <a:lnTo>
                    <a:pt x="841" y="1386"/>
                  </a:lnTo>
                  <a:lnTo>
                    <a:pt x="841" y="1383"/>
                  </a:lnTo>
                  <a:lnTo>
                    <a:pt x="842" y="1383"/>
                  </a:lnTo>
                  <a:lnTo>
                    <a:pt x="843" y="1384"/>
                  </a:lnTo>
                  <a:lnTo>
                    <a:pt x="845" y="1387"/>
                  </a:lnTo>
                  <a:lnTo>
                    <a:pt x="845" y="1389"/>
                  </a:lnTo>
                  <a:lnTo>
                    <a:pt x="845" y="1390"/>
                  </a:lnTo>
                  <a:lnTo>
                    <a:pt x="846" y="1393"/>
                  </a:lnTo>
                  <a:lnTo>
                    <a:pt x="846" y="1393"/>
                  </a:lnTo>
                  <a:lnTo>
                    <a:pt x="848" y="1393"/>
                  </a:lnTo>
                  <a:lnTo>
                    <a:pt x="849" y="1392"/>
                  </a:lnTo>
                  <a:lnTo>
                    <a:pt x="849" y="1392"/>
                  </a:lnTo>
                  <a:lnTo>
                    <a:pt x="848" y="1390"/>
                  </a:lnTo>
                  <a:lnTo>
                    <a:pt x="848" y="1389"/>
                  </a:lnTo>
                  <a:lnTo>
                    <a:pt x="849" y="1389"/>
                  </a:lnTo>
                  <a:lnTo>
                    <a:pt x="849" y="1389"/>
                  </a:lnTo>
                  <a:lnTo>
                    <a:pt x="851" y="1389"/>
                  </a:lnTo>
                  <a:lnTo>
                    <a:pt x="853" y="1389"/>
                  </a:lnTo>
                  <a:lnTo>
                    <a:pt x="858" y="1392"/>
                  </a:lnTo>
                  <a:lnTo>
                    <a:pt x="859" y="1393"/>
                  </a:lnTo>
                  <a:lnTo>
                    <a:pt x="859" y="1393"/>
                  </a:lnTo>
                  <a:lnTo>
                    <a:pt x="862" y="1393"/>
                  </a:lnTo>
                  <a:lnTo>
                    <a:pt x="863" y="1392"/>
                  </a:lnTo>
                  <a:lnTo>
                    <a:pt x="865" y="1390"/>
                  </a:lnTo>
                  <a:lnTo>
                    <a:pt x="865" y="1390"/>
                  </a:lnTo>
                  <a:lnTo>
                    <a:pt x="866" y="1390"/>
                  </a:lnTo>
                  <a:lnTo>
                    <a:pt x="866" y="1390"/>
                  </a:lnTo>
                  <a:lnTo>
                    <a:pt x="866" y="1392"/>
                  </a:lnTo>
                  <a:lnTo>
                    <a:pt x="866" y="1393"/>
                  </a:lnTo>
                  <a:lnTo>
                    <a:pt x="863" y="1396"/>
                  </a:lnTo>
                  <a:lnTo>
                    <a:pt x="862" y="1397"/>
                  </a:lnTo>
                  <a:lnTo>
                    <a:pt x="861" y="1400"/>
                  </a:lnTo>
                  <a:lnTo>
                    <a:pt x="859" y="1403"/>
                  </a:lnTo>
                  <a:lnTo>
                    <a:pt x="861" y="1404"/>
                  </a:lnTo>
                  <a:lnTo>
                    <a:pt x="861" y="1404"/>
                  </a:lnTo>
                  <a:lnTo>
                    <a:pt x="861" y="1406"/>
                  </a:lnTo>
                  <a:lnTo>
                    <a:pt x="862" y="1407"/>
                  </a:lnTo>
                  <a:lnTo>
                    <a:pt x="863" y="1406"/>
                  </a:lnTo>
                  <a:lnTo>
                    <a:pt x="865" y="1403"/>
                  </a:lnTo>
                  <a:lnTo>
                    <a:pt x="866" y="1403"/>
                  </a:lnTo>
                  <a:lnTo>
                    <a:pt x="869" y="1402"/>
                  </a:lnTo>
                  <a:lnTo>
                    <a:pt x="872" y="1402"/>
                  </a:lnTo>
                  <a:lnTo>
                    <a:pt x="875" y="1403"/>
                  </a:lnTo>
                  <a:lnTo>
                    <a:pt x="876" y="1404"/>
                  </a:lnTo>
                  <a:lnTo>
                    <a:pt x="876" y="1406"/>
                  </a:lnTo>
                  <a:lnTo>
                    <a:pt x="878" y="1404"/>
                  </a:lnTo>
                  <a:lnTo>
                    <a:pt x="878" y="1404"/>
                  </a:lnTo>
                  <a:lnTo>
                    <a:pt x="878" y="1403"/>
                  </a:lnTo>
                  <a:lnTo>
                    <a:pt x="879" y="1402"/>
                  </a:lnTo>
                  <a:lnTo>
                    <a:pt x="882" y="1399"/>
                  </a:lnTo>
                  <a:lnTo>
                    <a:pt x="885" y="1396"/>
                  </a:lnTo>
                  <a:lnTo>
                    <a:pt x="885" y="1396"/>
                  </a:lnTo>
                  <a:lnTo>
                    <a:pt x="888" y="1397"/>
                  </a:lnTo>
                  <a:lnTo>
                    <a:pt x="888" y="1396"/>
                  </a:lnTo>
                  <a:lnTo>
                    <a:pt x="891" y="1394"/>
                  </a:lnTo>
                  <a:lnTo>
                    <a:pt x="893" y="1393"/>
                  </a:lnTo>
                  <a:lnTo>
                    <a:pt x="893" y="1392"/>
                  </a:lnTo>
                  <a:lnTo>
                    <a:pt x="893" y="1390"/>
                  </a:lnTo>
                  <a:lnTo>
                    <a:pt x="895" y="1389"/>
                  </a:lnTo>
                  <a:lnTo>
                    <a:pt x="898" y="1389"/>
                  </a:lnTo>
                  <a:lnTo>
                    <a:pt x="898" y="1389"/>
                  </a:lnTo>
                  <a:lnTo>
                    <a:pt x="902" y="1387"/>
                  </a:lnTo>
                  <a:lnTo>
                    <a:pt x="905" y="1384"/>
                  </a:lnTo>
                  <a:lnTo>
                    <a:pt x="908" y="1383"/>
                  </a:lnTo>
                  <a:lnTo>
                    <a:pt x="911" y="1383"/>
                  </a:lnTo>
                  <a:lnTo>
                    <a:pt x="912" y="1382"/>
                  </a:lnTo>
                  <a:lnTo>
                    <a:pt x="913" y="1382"/>
                  </a:lnTo>
                  <a:lnTo>
                    <a:pt x="915" y="1380"/>
                  </a:lnTo>
                  <a:lnTo>
                    <a:pt x="916" y="1380"/>
                  </a:lnTo>
                  <a:lnTo>
                    <a:pt x="916" y="1383"/>
                  </a:lnTo>
                  <a:lnTo>
                    <a:pt x="915" y="1387"/>
                  </a:lnTo>
                  <a:lnTo>
                    <a:pt x="913" y="1387"/>
                  </a:lnTo>
                  <a:lnTo>
                    <a:pt x="911" y="1387"/>
                  </a:lnTo>
                  <a:lnTo>
                    <a:pt x="911" y="1389"/>
                  </a:lnTo>
                  <a:lnTo>
                    <a:pt x="911" y="1390"/>
                  </a:lnTo>
                  <a:lnTo>
                    <a:pt x="911" y="1392"/>
                  </a:lnTo>
                  <a:lnTo>
                    <a:pt x="912" y="1392"/>
                  </a:lnTo>
                  <a:lnTo>
                    <a:pt x="912" y="1393"/>
                  </a:lnTo>
                  <a:lnTo>
                    <a:pt x="916" y="1396"/>
                  </a:lnTo>
                  <a:lnTo>
                    <a:pt x="922" y="1400"/>
                  </a:lnTo>
                  <a:lnTo>
                    <a:pt x="926" y="1406"/>
                  </a:lnTo>
                  <a:lnTo>
                    <a:pt x="930" y="1409"/>
                  </a:lnTo>
                  <a:lnTo>
                    <a:pt x="932" y="1410"/>
                  </a:lnTo>
                  <a:lnTo>
                    <a:pt x="933" y="1412"/>
                  </a:lnTo>
                  <a:lnTo>
                    <a:pt x="936" y="1416"/>
                  </a:lnTo>
                  <a:lnTo>
                    <a:pt x="939" y="1420"/>
                  </a:lnTo>
                  <a:lnTo>
                    <a:pt x="943" y="1429"/>
                  </a:lnTo>
                  <a:lnTo>
                    <a:pt x="946" y="1436"/>
                  </a:lnTo>
                  <a:lnTo>
                    <a:pt x="950" y="1443"/>
                  </a:lnTo>
                  <a:lnTo>
                    <a:pt x="953" y="1449"/>
                  </a:lnTo>
                  <a:lnTo>
                    <a:pt x="959" y="1457"/>
                  </a:lnTo>
                  <a:lnTo>
                    <a:pt x="960" y="1461"/>
                  </a:lnTo>
                  <a:lnTo>
                    <a:pt x="963" y="1466"/>
                  </a:lnTo>
                  <a:lnTo>
                    <a:pt x="965" y="1471"/>
                  </a:lnTo>
                  <a:lnTo>
                    <a:pt x="968" y="1476"/>
                  </a:lnTo>
                  <a:lnTo>
                    <a:pt x="969" y="1477"/>
                  </a:lnTo>
                  <a:lnTo>
                    <a:pt x="969" y="1476"/>
                  </a:lnTo>
                  <a:lnTo>
                    <a:pt x="969" y="1474"/>
                  </a:lnTo>
                  <a:lnTo>
                    <a:pt x="969" y="1474"/>
                  </a:lnTo>
                  <a:lnTo>
                    <a:pt x="970" y="1473"/>
                  </a:lnTo>
                  <a:lnTo>
                    <a:pt x="972" y="1473"/>
                  </a:lnTo>
                  <a:lnTo>
                    <a:pt x="973" y="1473"/>
                  </a:lnTo>
                  <a:lnTo>
                    <a:pt x="975" y="1471"/>
                  </a:lnTo>
                  <a:lnTo>
                    <a:pt x="975" y="1470"/>
                  </a:lnTo>
                  <a:lnTo>
                    <a:pt x="975" y="1469"/>
                  </a:lnTo>
                  <a:lnTo>
                    <a:pt x="975" y="1467"/>
                  </a:lnTo>
                  <a:lnTo>
                    <a:pt x="975" y="1466"/>
                  </a:lnTo>
                  <a:lnTo>
                    <a:pt x="975" y="1466"/>
                  </a:lnTo>
                  <a:lnTo>
                    <a:pt x="976" y="1464"/>
                  </a:lnTo>
                  <a:lnTo>
                    <a:pt x="978" y="1464"/>
                  </a:lnTo>
                  <a:lnTo>
                    <a:pt x="978" y="1463"/>
                  </a:lnTo>
                  <a:lnTo>
                    <a:pt x="979" y="1463"/>
                  </a:lnTo>
                  <a:lnTo>
                    <a:pt x="980" y="1463"/>
                  </a:lnTo>
                  <a:lnTo>
                    <a:pt x="982" y="1463"/>
                  </a:lnTo>
                  <a:lnTo>
                    <a:pt x="982" y="1464"/>
                  </a:lnTo>
                  <a:lnTo>
                    <a:pt x="983" y="1466"/>
                  </a:lnTo>
                  <a:lnTo>
                    <a:pt x="983" y="1466"/>
                  </a:lnTo>
                  <a:lnTo>
                    <a:pt x="985" y="1466"/>
                  </a:lnTo>
                  <a:lnTo>
                    <a:pt x="986" y="1467"/>
                  </a:lnTo>
                  <a:lnTo>
                    <a:pt x="985" y="1469"/>
                  </a:lnTo>
                  <a:lnTo>
                    <a:pt x="985" y="1470"/>
                  </a:lnTo>
                  <a:lnTo>
                    <a:pt x="985" y="1471"/>
                  </a:lnTo>
                  <a:lnTo>
                    <a:pt x="985" y="1471"/>
                  </a:lnTo>
                  <a:lnTo>
                    <a:pt x="989" y="1471"/>
                  </a:lnTo>
                  <a:lnTo>
                    <a:pt x="989" y="1471"/>
                  </a:lnTo>
                  <a:lnTo>
                    <a:pt x="990" y="1473"/>
                  </a:lnTo>
                  <a:lnTo>
                    <a:pt x="990" y="1474"/>
                  </a:lnTo>
                  <a:lnTo>
                    <a:pt x="990" y="1474"/>
                  </a:lnTo>
                  <a:lnTo>
                    <a:pt x="990" y="1476"/>
                  </a:lnTo>
                  <a:lnTo>
                    <a:pt x="990" y="1477"/>
                  </a:lnTo>
                  <a:lnTo>
                    <a:pt x="993" y="1477"/>
                  </a:lnTo>
                  <a:lnTo>
                    <a:pt x="995" y="1476"/>
                  </a:lnTo>
                  <a:lnTo>
                    <a:pt x="998" y="1476"/>
                  </a:lnTo>
                  <a:lnTo>
                    <a:pt x="1000" y="1477"/>
                  </a:lnTo>
                  <a:lnTo>
                    <a:pt x="1003" y="1477"/>
                  </a:lnTo>
                  <a:lnTo>
                    <a:pt x="1005" y="1477"/>
                  </a:lnTo>
                  <a:lnTo>
                    <a:pt x="1008" y="1477"/>
                  </a:lnTo>
                  <a:lnTo>
                    <a:pt x="1009" y="1476"/>
                  </a:lnTo>
                  <a:lnTo>
                    <a:pt x="1010" y="1474"/>
                  </a:lnTo>
                  <a:lnTo>
                    <a:pt x="1010" y="1474"/>
                  </a:lnTo>
                  <a:lnTo>
                    <a:pt x="1012" y="1473"/>
                  </a:lnTo>
                  <a:lnTo>
                    <a:pt x="1015" y="1473"/>
                  </a:lnTo>
                  <a:lnTo>
                    <a:pt x="1016" y="1473"/>
                  </a:lnTo>
                  <a:lnTo>
                    <a:pt x="1016" y="1471"/>
                  </a:lnTo>
                  <a:lnTo>
                    <a:pt x="1018" y="1471"/>
                  </a:lnTo>
                  <a:lnTo>
                    <a:pt x="1020" y="1470"/>
                  </a:lnTo>
                  <a:lnTo>
                    <a:pt x="1020" y="1470"/>
                  </a:lnTo>
                  <a:lnTo>
                    <a:pt x="1025" y="1471"/>
                  </a:lnTo>
                  <a:lnTo>
                    <a:pt x="1027" y="1473"/>
                  </a:lnTo>
                  <a:lnTo>
                    <a:pt x="1029" y="1476"/>
                  </a:lnTo>
                  <a:lnTo>
                    <a:pt x="1030" y="1476"/>
                  </a:lnTo>
                  <a:lnTo>
                    <a:pt x="1032" y="1479"/>
                  </a:lnTo>
                  <a:lnTo>
                    <a:pt x="1033" y="1480"/>
                  </a:lnTo>
                  <a:lnTo>
                    <a:pt x="1035" y="1483"/>
                  </a:lnTo>
                  <a:lnTo>
                    <a:pt x="1035" y="1484"/>
                  </a:lnTo>
                  <a:lnTo>
                    <a:pt x="1036" y="1489"/>
                  </a:lnTo>
                  <a:lnTo>
                    <a:pt x="1036" y="1490"/>
                  </a:lnTo>
                  <a:lnTo>
                    <a:pt x="1037" y="1490"/>
                  </a:lnTo>
                  <a:lnTo>
                    <a:pt x="1039" y="1490"/>
                  </a:lnTo>
                  <a:lnTo>
                    <a:pt x="1040" y="1490"/>
                  </a:lnTo>
                  <a:lnTo>
                    <a:pt x="1045" y="1493"/>
                  </a:lnTo>
                  <a:lnTo>
                    <a:pt x="1046" y="1493"/>
                  </a:lnTo>
                  <a:lnTo>
                    <a:pt x="1047" y="1494"/>
                  </a:lnTo>
                  <a:lnTo>
                    <a:pt x="1047" y="1496"/>
                  </a:lnTo>
                  <a:lnTo>
                    <a:pt x="1047" y="1497"/>
                  </a:lnTo>
                  <a:lnTo>
                    <a:pt x="1047" y="1499"/>
                  </a:lnTo>
                  <a:lnTo>
                    <a:pt x="1049" y="1500"/>
                  </a:lnTo>
                  <a:lnTo>
                    <a:pt x="1049" y="1501"/>
                  </a:lnTo>
                  <a:lnTo>
                    <a:pt x="1050" y="1504"/>
                  </a:lnTo>
                  <a:lnTo>
                    <a:pt x="1052" y="1506"/>
                  </a:lnTo>
                  <a:lnTo>
                    <a:pt x="1052" y="1506"/>
                  </a:lnTo>
                  <a:lnTo>
                    <a:pt x="1053" y="1504"/>
                  </a:lnTo>
                  <a:lnTo>
                    <a:pt x="1055" y="1506"/>
                  </a:lnTo>
                  <a:lnTo>
                    <a:pt x="1062" y="1507"/>
                  </a:lnTo>
                  <a:lnTo>
                    <a:pt x="1062" y="1507"/>
                  </a:lnTo>
                  <a:lnTo>
                    <a:pt x="1063" y="1509"/>
                  </a:lnTo>
                  <a:lnTo>
                    <a:pt x="1063" y="1509"/>
                  </a:lnTo>
                  <a:lnTo>
                    <a:pt x="1065" y="1507"/>
                  </a:lnTo>
                  <a:lnTo>
                    <a:pt x="1066" y="1509"/>
                  </a:lnTo>
                  <a:lnTo>
                    <a:pt x="1067" y="1507"/>
                  </a:lnTo>
                  <a:lnTo>
                    <a:pt x="1067" y="1506"/>
                  </a:lnTo>
                  <a:lnTo>
                    <a:pt x="1070" y="1504"/>
                  </a:lnTo>
                  <a:lnTo>
                    <a:pt x="1072" y="1503"/>
                  </a:lnTo>
                  <a:lnTo>
                    <a:pt x="1073" y="1501"/>
                  </a:lnTo>
                  <a:lnTo>
                    <a:pt x="1075" y="1501"/>
                  </a:lnTo>
                  <a:lnTo>
                    <a:pt x="1075" y="1501"/>
                  </a:lnTo>
                  <a:lnTo>
                    <a:pt x="1075" y="1503"/>
                  </a:lnTo>
                  <a:lnTo>
                    <a:pt x="1075" y="1504"/>
                  </a:lnTo>
                  <a:lnTo>
                    <a:pt x="1073" y="1506"/>
                  </a:lnTo>
                  <a:lnTo>
                    <a:pt x="1073" y="1506"/>
                  </a:lnTo>
                  <a:lnTo>
                    <a:pt x="1075" y="1507"/>
                  </a:lnTo>
                  <a:lnTo>
                    <a:pt x="1076" y="1509"/>
                  </a:lnTo>
                  <a:lnTo>
                    <a:pt x="1079" y="1513"/>
                  </a:lnTo>
                  <a:lnTo>
                    <a:pt x="1079" y="1513"/>
                  </a:lnTo>
                  <a:lnTo>
                    <a:pt x="1080" y="1514"/>
                  </a:lnTo>
                  <a:lnTo>
                    <a:pt x="1082" y="1514"/>
                  </a:lnTo>
                  <a:lnTo>
                    <a:pt x="1083" y="1514"/>
                  </a:lnTo>
                  <a:lnTo>
                    <a:pt x="1085" y="1517"/>
                  </a:lnTo>
                  <a:lnTo>
                    <a:pt x="1085" y="1519"/>
                  </a:lnTo>
                  <a:lnTo>
                    <a:pt x="1086" y="1519"/>
                  </a:lnTo>
                  <a:lnTo>
                    <a:pt x="1087" y="1519"/>
                  </a:lnTo>
                  <a:lnTo>
                    <a:pt x="1087" y="1517"/>
                  </a:lnTo>
                  <a:lnTo>
                    <a:pt x="1089" y="1517"/>
                  </a:lnTo>
                  <a:lnTo>
                    <a:pt x="1090" y="1517"/>
                  </a:lnTo>
                  <a:lnTo>
                    <a:pt x="1092" y="1516"/>
                  </a:lnTo>
                  <a:lnTo>
                    <a:pt x="1092" y="1516"/>
                  </a:lnTo>
                  <a:lnTo>
                    <a:pt x="1093" y="1516"/>
                  </a:lnTo>
                  <a:lnTo>
                    <a:pt x="1095" y="1516"/>
                  </a:lnTo>
                  <a:lnTo>
                    <a:pt x="1095" y="1516"/>
                  </a:lnTo>
                  <a:lnTo>
                    <a:pt x="1096" y="1514"/>
                  </a:lnTo>
                  <a:lnTo>
                    <a:pt x="1097" y="1514"/>
                  </a:lnTo>
                  <a:lnTo>
                    <a:pt x="1097" y="1513"/>
                  </a:lnTo>
                  <a:lnTo>
                    <a:pt x="1097" y="1511"/>
                  </a:lnTo>
                  <a:lnTo>
                    <a:pt x="1099" y="1509"/>
                  </a:lnTo>
                  <a:lnTo>
                    <a:pt x="1100" y="1509"/>
                  </a:lnTo>
                  <a:lnTo>
                    <a:pt x="1102" y="1509"/>
                  </a:lnTo>
                  <a:lnTo>
                    <a:pt x="1103" y="1509"/>
                  </a:lnTo>
                  <a:lnTo>
                    <a:pt x="1105" y="1509"/>
                  </a:lnTo>
                  <a:lnTo>
                    <a:pt x="1106" y="1509"/>
                  </a:lnTo>
                  <a:lnTo>
                    <a:pt x="1106" y="1509"/>
                  </a:lnTo>
                  <a:lnTo>
                    <a:pt x="1107" y="1509"/>
                  </a:lnTo>
                  <a:lnTo>
                    <a:pt x="1109" y="1509"/>
                  </a:lnTo>
                  <a:lnTo>
                    <a:pt x="1109" y="1509"/>
                  </a:lnTo>
                  <a:lnTo>
                    <a:pt x="1109" y="1507"/>
                  </a:lnTo>
                  <a:lnTo>
                    <a:pt x="1110" y="1507"/>
                  </a:lnTo>
                  <a:lnTo>
                    <a:pt x="1110" y="1507"/>
                  </a:lnTo>
                  <a:lnTo>
                    <a:pt x="1110" y="1509"/>
                  </a:lnTo>
                  <a:lnTo>
                    <a:pt x="1112" y="1509"/>
                  </a:lnTo>
                  <a:lnTo>
                    <a:pt x="1113" y="1509"/>
                  </a:lnTo>
                  <a:lnTo>
                    <a:pt x="1115" y="1507"/>
                  </a:lnTo>
                  <a:lnTo>
                    <a:pt x="1115" y="1506"/>
                  </a:lnTo>
                  <a:lnTo>
                    <a:pt x="1116" y="1504"/>
                  </a:lnTo>
                  <a:lnTo>
                    <a:pt x="1116" y="1506"/>
                  </a:lnTo>
                  <a:lnTo>
                    <a:pt x="1117" y="1506"/>
                  </a:lnTo>
                  <a:lnTo>
                    <a:pt x="1119" y="1504"/>
                  </a:lnTo>
                  <a:lnTo>
                    <a:pt x="1120" y="1503"/>
                  </a:lnTo>
                  <a:lnTo>
                    <a:pt x="1122" y="1503"/>
                  </a:lnTo>
                  <a:lnTo>
                    <a:pt x="1122" y="1501"/>
                  </a:lnTo>
                  <a:lnTo>
                    <a:pt x="1122" y="1500"/>
                  </a:lnTo>
                  <a:lnTo>
                    <a:pt x="1122" y="1499"/>
                  </a:lnTo>
                  <a:lnTo>
                    <a:pt x="1123" y="1497"/>
                  </a:lnTo>
                  <a:lnTo>
                    <a:pt x="1126" y="1497"/>
                  </a:lnTo>
                  <a:lnTo>
                    <a:pt x="1127" y="1496"/>
                  </a:lnTo>
                  <a:lnTo>
                    <a:pt x="1127" y="1494"/>
                  </a:lnTo>
                  <a:lnTo>
                    <a:pt x="1129" y="1493"/>
                  </a:lnTo>
                  <a:lnTo>
                    <a:pt x="1129" y="1493"/>
                  </a:lnTo>
                  <a:lnTo>
                    <a:pt x="1132" y="1493"/>
                  </a:lnTo>
                  <a:lnTo>
                    <a:pt x="1133" y="1491"/>
                  </a:lnTo>
                  <a:lnTo>
                    <a:pt x="1133" y="1491"/>
                  </a:lnTo>
                  <a:lnTo>
                    <a:pt x="1136" y="1490"/>
                  </a:lnTo>
                  <a:lnTo>
                    <a:pt x="1137" y="1490"/>
                  </a:lnTo>
                  <a:lnTo>
                    <a:pt x="1139" y="1489"/>
                  </a:lnTo>
                  <a:lnTo>
                    <a:pt x="1140" y="1489"/>
                  </a:lnTo>
                  <a:lnTo>
                    <a:pt x="1140" y="1487"/>
                  </a:lnTo>
                  <a:lnTo>
                    <a:pt x="1142" y="1487"/>
                  </a:lnTo>
                  <a:lnTo>
                    <a:pt x="1143" y="1486"/>
                  </a:lnTo>
                  <a:lnTo>
                    <a:pt x="1144" y="1486"/>
                  </a:lnTo>
                  <a:lnTo>
                    <a:pt x="1147" y="1484"/>
                  </a:lnTo>
                  <a:lnTo>
                    <a:pt x="1149" y="1484"/>
                  </a:lnTo>
                  <a:lnTo>
                    <a:pt x="1149" y="1484"/>
                  </a:lnTo>
                  <a:lnTo>
                    <a:pt x="1150" y="1484"/>
                  </a:lnTo>
                  <a:lnTo>
                    <a:pt x="1150" y="1483"/>
                  </a:lnTo>
                  <a:lnTo>
                    <a:pt x="1152" y="1481"/>
                  </a:lnTo>
                  <a:lnTo>
                    <a:pt x="1153" y="1481"/>
                  </a:lnTo>
                  <a:lnTo>
                    <a:pt x="1153" y="1480"/>
                  </a:lnTo>
                  <a:lnTo>
                    <a:pt x="1154" y="1479"/>
                  </a:lnTo>
                  <a:lnTo>
                    <a:pt x="1156" y="1479"/>
                  </a:lnTo>
                  <a:lnTo>
                    <a:pt x="1159" y="1479"/>
                  </a:lnTo>
                  <a:lnTo>
                    <a:pt x="1162" y="1479"/>
                  </a:lnTo>
                  <a:lnTo>
                    <a:pt x="1163" y="1479"/>
                  </a:lnTo>
                  <a:lnTo>
                    <a:pt x="1163" y="1476"/>
                  </a:lnTo>
                  <a:lnTo>
                    <a:pt x="1164" y="1476"/>
                  </a:lnTo>
                  <a:lnTo>
                    <a:pt x="1164" y="1474"/>
                  </a:lnTo>
                  <a:lnTo>
                    <a:pt x="1164" y="1474"/>
                  </a:lnTo>
                  <a:lnTo>
                    <a:pt x="1166" y="1476"/>
                  </a:lnTo>
                  <a:lnTo>
                    <a:pt x="1167" y="1476"/>
                  </a:lnTo>
                  <a:lnTo>
                    <a:pt x="1169" y="1477"/>
                  </a:lnTo>
                  <a:lnTo>
                    <a:pt x="1169" y="1479"/>
                  </a:lnTo>
                  <a:lnTo>
                    <a:pt x="1170" y="1479"/>
                  </a:lnTo>
                  <a:lnTo>
                    <a:pt x="1172" y="1477"/>
                  </a:lnTo>
                  <a:lnTo>
                    <a:pt x="1172" y="1476"/>
                  </a:lnTo>
                  <a:lnTo>
                    <a:pt x="1173" y="1476"/>
                  </a:lnTo>
                  <a:lnTo>
                    <a:pt x="1174" y="1476"/>
                  </a:lnTo>
                  <a:lnTo>
                    <a:pt x="1174" y="1477"/>
                  </a:lnTo>
                  <a:lnTo>
                    <a:pt x="1174" y="1477"/>
                  </a:lnTo>
                  <a:lnTo>
                    <a:pt x="1176" y="1479"/>
                  </a:lnTo>
                  <a:lnTo>
                    <a:pt x="1177" y="1480"/>
                  </a:lnTo>
                  <a:lnTo>
                    <a:pt x="1179" y="1480"/>
                  </a:lnTo>
                  <a:lnTo>
                    <a:pt x="1180" y="1480"/>
                  </a:lnTo>
                  <a:lnTo>
                    <a:pt x="1182" y="1480"/>
                  </a:lnTo>
                  <a:lnTo>
                    <a:pt x="1183" y="1480"/>
                  </a:lnTo>
                  <a:lnTo>
                    <a:pt x="1186" y="1481"/>
                  </a:lnTo>
                  <a:lnTo>
                    <a:pt x="1186" y="1481"/>
                  </a:lnTo>
                  <a:lnTo>
                    <a:pt x="1189" y="1481"/>
                  </a:lnTo>
                  <a:lnTo>
                    <a:pt x="1192" y="1481"/>
                  </a:lnTo>
                  <a:lnTo>
                    <a:pt x="1193" y="1481"/>
                  </a:lnTo>
                  <a:lnTo>
                    <a:pt x="1196" y="1481"/>
                  </a:lnTo>
                  <a:lnTo>
                    <a:pt x="1196" y="1483"/>
                  </a:lnTo>
                  <a:lnTo>
                    <a:pt x="1197" y="1486"/>
                  </a:lnTo>
                  <a:lnTo>
                    <a:pt x="1197" y="1489"/>
                  </a:lnTo>
                  <a:lnTo>
                    <a:pt x="1197" y="1490"/>
                  </a:lnTo>
                  <a:lnTo>
                    <a:pt x="1197" y="1491"/>
                  </a:lnTo>
                  <a:lnTo>
                    <a:pt x="1199" y="1491"/>
                  </a:lnTo>
                  <a:lnTo>
                    <a:pt x="1199" y="1493"/>
                  </a:lnTo>
                  <a:lnTo>
                    <a:pt x="1200" y="1493"/>
                  </a:lnTo>
                  <a:lnTo>
                    <a:pt x="1202" y="1494"/>
                  </a:lnTo>
                  <a:lnTo>
                    <a:pt x="1202" y="1494"/>
                  </a:lnTo>
                  <a:lnTo>
                    <a:pt x="1203" y="1494"/>
                  </a:lnTo>
                  <a:lnTo>
                    <a:pt x="1204" y="1494"/>
                  </a:lnTo>
                  <a:lnTo>
                    <a:pt x="1206" y="1494"/>
                  </a:lnTo>
                  <a:lnTo>
                    <a:pt x="1207" y="1496"/>
                  </a:lnTo>
                  <a:lnTo>
                    <a:pt x="1209" y="1497"/>
                  </a:lnTo>
                  <a:lnTo>
                    <a:pt x="1209" y="1497"/>
                  </a:lnTo>
                  <a:lnTo>
                    <a:pt x="1210" y="1497"/>
                  </a:lnTo>
                  <a:lnTo>
                    <a:pt x="1213" y="1497"/>
                  </a:lnTo>
                  <a:lnTo>
                    <a:pt x="1213" y="1497"/>
                  </a:lnTo>
                  <a:lnTo>
                    <a:pt x="1214" y="1497"/>
                  </a:lnTo>
                  <a:lnTo>
                    <a:pt x="1216" y="1497"/>
                  </a:lnTo>
                  <a:lnTo>
                    <a:pt x="1217" y="1497"/>
                  </a:lnTo>
                  <a:lnTo>
                    <a:pt x="1219" y="1496"/>
                  </a:lnTo>
                  <a:lnTo>
                    <a:pt x="1220" y="1496"/>
                  </a:lnTo>
                  <a:lnTo>
                    <a:pt x="1221" y="1496"/>
                  </a:lnTo>
                  <a:lnTo>
                    <a:pt x="1221" y="1496"/>
                  </a:lnTo>
                  <a:lnTo>
                    <a:pt x="1223" y="1497"/>
                  </a:lnTo>
                  <a:lnTo>
                    <a:pt x="1223" y="1496"/>
                  </a:lnTo>
                  <a:lnTo>
                    <a:pt x="1224" y="1496"/>
                  </a:lnTo>
                  <a:lnTo>
                    <a:pt x="1224" y="1496"/>
                  </a:lnTo>
                  <a:lnTo>
                    <a:pt x="1226" y="1496"/>
                  </a:lnTo>
                  <a:lnTo>
                    <a:pt x="1227" y="1497"/>
                  </a:lnTo>
                  <a:lnTo>
                    <a:pt x="1229" y="1499"/>
                  </a:lnTo>
                  <a:lnTo>
                    <a:pt x="1230" y="1499"/>
                  </a:lnTo>
                  <a:lnTo>
                    <a:pt x="1231" y="1497"/>
                  </a:lnTo>
                  <a:lnTo>
                    <a:pt x="1231" y="1497"/>
                  </a:lnTo>
                  <a:lnTo>
                    <a:pt x="1231" y="1499"/>
                  </a:lnTo>
                  <a:lnTo>
                    <a:pt x="1233" y="1499"/>
                  </a:lnTo>
                  <a:lnTo>
                    <a:pt x="1234" y="1499"/>
                  </a:lnTo>
                  <a:lnTo>
                    <a:pt x="1234" y="1497"/>
                  </a:lnTo>
                  <a:lnTo>
                    <a:pt x="1239" y="1499"/>
                  </a:lnTo>
                  <a:lnTo>
                    <a:pt x="1240" y="1500"/>
                  </a:lnTo>
                  <a:lnTo>
                    <a:pt x="1241" y="1500"/>
                  </a:lnTo>
                  <a:lnTo>
                    <a:pt x="1241" y="1501"/>
                  </a:lnTo>
                  <a:lnTo>
                    <a:pt x="1243" y="1503"/>
                  </a:lnTo>
                  <a:lnTo>
                    <a:pt x="1246" y="1501"/>
                  </a:lnTo>
                  <a:lnTo>
                    <a:pt x="1246" y="1501"/>
                  </a:lnTo>
                  <a:lnTo>
                    <a:pt x="1249" y="1500"/>
                  </a:lnTo>
                  <a:lnTo>
                    <a:pt x="1249" y="1497"/>
                  </a:lnTo>
                  <a:lnTo>
                    <a:pt x="1250" y="1497"/>
                  </a:lnTo>
                  <a:lnTo>
                    <a:pt x="1251" y="1497"/>
                  </a:lnTo>
                  <a:lnTo>
                    <a:pt x="1251" y="1497"/>
                  </a:lnTo>
                  <a:lnTo>
                    <a:pt x="1253" y="1497"/>
                  </a:lnTo>
                  <a:lnTo>
                    <a:pt x="1254" y="1496"/>
                  </a:lnTo>
                  <a:lnTo>
                    <a:pt x="1256" y="1496"/>
                  </a:lnTo>
                  <a:lnTo>
                    <a:pt x="1257" y="1494"/>
                  </a:lnTo>
                  <a:lnTo>
                    <a:pt x="1257" y="1493"/>
                  </a:lnTo>
                  <a:lnTo>
                    <a:pt x="1259" y="1491"/>
                  </a:lnTo>
                  <a:lnTo>
                    <a:pt x="1259" y="1490"/>
                  </a:lnTo>
                  <a:lnTo>
                    <a:pt x="1260" y="1489"/>
                  </a:lnTo>
                  <a:lnTo>
                    <a:pt x="1260" y="1486"/>
                  </a:lnTo>
                  <a:lnTo>
                    <a:pt x="1260" y="1483"/>
                  </a:lnTo>
                  <a:lnTo>
                    <a:pt x="1260" y="1483"/>
                  </a:lnTo>
                  <a:lnTo>
                    <a:pt x="1259" y="1481"/>
                  </a:lnTo>
                  <a:lnTo>
                    <a:pt x="1257" y="1481"/>
                  </a:lnTo>
                  <a:lnTo>
                    <a:pt x="1257" y="1480"/>
                  </a:lnTo>
                  <a:lnTo>
                    <a:pt x="1256" y="1480"/>
                  </a:lnTo>
                  <a:lnTo>
                    <a:pt x="1256" y="1479"/>
                  </a:lnTo>
                  <a:lnTo>
                    <a:pt x="1254" y="1476"/>
                  </a:lnTo>
                  <a:lnTo>
                    <a:pt x="1254" y="1476"/>
                  </a:lnTo>
                  <a:lnTo>
                    <a:pt x="1254" y="1474"/>
                  </a:lnTo>
                  <a:lnTo>
                    <a:pt x="1254" y="1473"/>
                  </a:lnTo>
                  <a:lnTo>
                    <a:pt x="1253" y="1471"/>
                  </a:lnTo>
                  <a:lnTo>
                    <a:pt x="1253" y="1471"/>
                  </a:lnTo>
                  <a:lnTo>
                    <a:pt x="1253" y="1469"/>
                  </a:lnTo>
                  <a:lnTo>
                    <a:pt x="1254" y="1466"/>
                  </a:lnTo>
                  <a:lnTo>
                    <a:pt x="1254" y="1464"/>
                  </a:lnTo>
                  <a:lnTo>
                    <a:pt x="1254" y="1464"/>
                  </a:lnTo>
                  <a:lnTo>
                    <a:pt x="1254" y="1463"/>
                  </a:lnTo>
                  <a:lnTo>
                    <a:pt x="1254" y="1461"/>
                  </a:lnTo>
                  <a:lnTo>
                    <a:pt x="1256" y="1461"/>
                  </a:lnTo>
                  <a:lnTo>
                    <a:pt x="1256" y="1459"/>
                  </a:lnTo>
                  <a:lnTo>
                    <a:pt x="1257" y="1459"/>
                  </a:lnTo>
                  <a:lnTo>
                    <a:pt x="1259" y="1459"/>
                  </a:lnTo>
                  <a:lnTo>
                    <a:pt x="1259" y="1457"/>
                  </a:lnTo>
                  <a:lnTo>
                    <a:pt x="1259" y="1456"/>
                  </a:lnTo>
                  <a:lnTo>
                    <a:pt x="1260" y="1454"/>
                  </a:lnTo>
                  <a:lnTo>
                    <a:pt x="1260" y="1453"/>
                  </a:lnTo>
                  <a:lnTo>
                    <a:pt x="1261" y="1451"/>
                  </a:lnTo>
                  <a:lnTo>
                    <a:pt x="1266" y="1450"/>
                  </a:lnTo>
                  <a:lnTo>
                    <a:pt x="1267" y="1447"/>
                  </a:lnTo>
                  <a:lnTo>
                    <a:pt x="1269" y="1446"/>
                  </a:lnTo>
                  <a:lnTo>
                    <a:pt x="1269" y="1443"/>
                  </a:lnTo>
                  <a:lnTo>
                    <a:pt x="1270" y="1442"/>
                  </a:lnTo>
                  <a:lnTo>
                    <a:pt x="1271" y="1442"/>
                  </a:lnTo>
                  <a:lnTo>
                    <a:pt x="1271" y="1444"/>
                  </a:lnTo>
                  <a:lnTo>
                    <a:pt x="1273" y="1444"/>
                  </a:lnTo>
                  <a:lnTo>
                    <a:pt x="1274" y="1444"/>
                  </a:lnTo>
                  <a:lnTo>
                    <a:pt x="1279" y="1447"/>
                  </a:lnTo>
                  <a:lnTo>
                    <a:pt x="1280" y="1447"/>
                  </a:lnTo>
                  <a:lnTo>
                    <a:pt x="1281" y="1447"/>
                  </a:lnTo>
                  <a:lnTo>
                    <a:pt x="1283" y="1449"/>
                  </a:lnTo>
                  <a:lnTo>
                    <a:pt x="1284" y="1449"/>
                  </a:lnTo>
                  <a:lnTo>
                    <a:pt x="1286" y="1451"/>
                  </a:lnTo>
                  <a:lnTo>
                    <a:pt x="1289" y="1451"/>
                  </a:lnTo>
                  <a:lnTo>
                    <a:pt x="1291" y="1451"/>
                  </a:lnTo>
                  <a:lnTo>
                    <a:pt x="1296" y="1451"/>
                  </a:lnTo>
                  <a:lnTo>
                    <a:pt x="1296" y="1453"/>
                  </a:lnTo>
                  <a:lnTo>
                    <a:pt x="1299" y="1453"/>
                  </a:lnTo>
                  <a:lnTo>
                    <a:pt x="1301" y="1454"/>
                  </a:lnTo>
                  <a:lnTo>
                    <a:pt x="1304" y="1456"/>
                  </a:lnTo>
                  <a:lnTo>
                    <a:pt x="1307" y="1457"/>
                  </a:lnTo>
                  <a:lnTo>
                    <a:pt x="1309" y="1459"/>
                  </a:lnTo>
                  <a:lnTo>
                    <a:pt x="1310" y="1459"/>
                  </a:lnTo>
                  <a:lnTo>
                    <a:pt x="1311" y="1459"/>
                  </a:lnTo>
                  <a:lnTo>
                    <a:pt x="1313" y="1459"/>
                  </a:lnTo>
                  <a:lnTo>
                    <a:pt x="1317" y="1460"/>
                  </a:lnTo>
                  <a:lnTo>
                    <a:pt x="1318" y="1460"/>
                  </a:lnTo>
                  <a:lnTo>
                    <a:pt x="1321" y="1461"/>
                  </a:lnTo>
                  <a:lnTo>
                    <a:pt x="1321" y="1463"/>
                  </a:lnTo>
                  <a:lnTo>
                    <a:pt x="1323" y="1464"/>
                  </a:lnTo>
                  <a:lnTo>
                    <a:pt x="1321" y="1464"/>
                  </a:lnTo>
                  <a:lnTo>
                    <a:pt x="1321" y="1467"/>
                  </a:lnTo>
                  <a:lnTo>
                    <a:pt x="1323" y="1469"/>
                  </a:lnTo>
                  <a:lnTo>
                    <a:pt x="1323" y="1471"/>
                  </a:lnTo>
                  <a:lnTo>
                    <a:pt x="1323" y="1473"/>
                  </a:lnTo>
                  <a:lnTo>
                    <a:pt x="1323" y="1474"/>
                  </a:lnTo>
                  <a:lnTo>
                    <a:pt x="1323" y="1476"/>
                  </a:lnTo>
                  <a:lnTo>
                    <a:pt x="1324" y="1476"/>
                  </a:lnTo>
                  <a:lnTo>
                    <a:pt x="1324" y="1477"/>
                  </a:lnTo>
                  <a:lnTo>
                    <a:pt x="1324" y="1479"/>
                  </a:lnTo>
                  <a:lnTo>
                    <a:pt x="1324" y="1480"/>
                  </a:lnTo>
                  <a:lnTo>
                    <a:pt x="1324" y="1481"/>
                  </a:lnTo>
                  <a:lnTo>
                    <a:pt x="1324" y="1481"/>
                  </a:lnTo>
                  <a:lnTo>
                    <a:pt x="1326" y="1483"/>
                  </a:lnTo>
                  <a:lnTo>
                    <a:pt x="1327" y="1483"/>
                  </a:lnTo>
                  <a:lnTo>
                    <a:pt x="1328" y="1484"/>
                  </a:lnTo>
                  <a:lnTo>
                    <a:pt x="1330" y="1486"/>
                  </a:lnTo>
                  <a:lnTo>
                    <a:pt x="1331" y="1487"/>
                  </a:lnTo>
                  <a:lnTo>
                    <a:pt x="1333" y="1487"/>
                  </a:lnTo>
                  <a:lnTo>
                    <a:pt x="1336" y="1489"/>
                  </a:lnTo>
                  <a:lnTo>
                    <a:pt x="1338" y="1489"/>
                  </a:lnTo>
                  <a:lnTo>
                    <a:pt x="1340" y="1489"/>
                  </a:lnTo>
                  <a:lnTo>
                    <a:pt x="1340" y="1490"/>
                  </a:lnTo>
                  <a:lnTo>
                    <a:pt x="1343" y="1491"/>
                  </a:lnTo>
                  <a:lnTo>
                    <a:pt x="1344" y="1491"/>
                  </a:lnTo>
                  <a:lnTo>
                    <a:pt x="1346" y="1491"/>
                  </a:lnTo>
                  <a:lnTo>
                    <a:pt x="1347" y="1491"/>
                  </a:lnTo>
                  <a:lnTo>
                    <a:pt x="1348" y="1491"/>
                  </a:lnTo>
                  <a:lnTo>
                    <a:pt x="1350" y="1491"/>
                  </a:lnTo>
                  <a:lnTo>
                    <a:pt x="1351" y="1491"/>
                  </a:lnTo>
                  <a:lnTo>
                    <a:pt x="1353" y="1491"/>
                  </a:lnTo>
                  <a:lnTo>
                    <a:pt x="1354" y="1491"/>
                  </a:lnTo>
                  <a:lnTo>
                    <a:pt x="1356" y="1490"/>
                  </a:lnTo>
                  <a:lnTo>
                    <a:pt x="1357" y="1489"/>
                  </a:lnTo>
                  <a:lnTo>
                    <a:pt x="1358" y="1489"/>
                  </a:lnTo>
                  <a:lnTo>
                    <a:pt x="1361" y="1487"/>
                  </a:lnTo>
                  <a:lnTo>
                    <a:pt x="1363" y="1487"/>
                  </a:lnTo>
                  <a:lnTo>
                    <a:pt x="1367" y="1486"/>
                  </a:lnTo>
                  <a:lnTo>
                    <a:pt x="1368" y="1486"/>
                  </a:lnTo>
                  <a:lnTo>
                    <a:pt x="1370" y="1484"/>
                  </a:lnTo>
                  <a:lnTo>
                    <a:pt x="1371" y="1484"/>
                  </a:lnTo>
                  <a:lnTo>
                    <a:pt x="1374" y="1484"/>
                  </a:lnTo>
                  <a:lnTo>
                    <a:pt x="1376" y="1484"/>
                  </a:lnTo>
                  <a:lnTo>
                    <a:pt x="1378" y="1486"/>
                  </a:lnTo>
                  <a:lnTo>
                    <a:pt x="1381" y="1486"/>
                  </a:lnTo>
                  <a:lnTo>
                    <a:pt x="1384" y="1486"/>
                  </a:lnTo>
                  <a:lnTo>
                    <a:pt x="1386" y="1487"/>
                  </a:lnTo>
                  <a:lnTo>
                    <a:pt x="1387" y="1489"/>
                  </a:lnTo>
                  <a:lnTo>
                    <a:pt x="1390" y="1487"/>
                  </a:lnTo>
                  <a:lnTo>
                    <a:pt x="1393" y="1487"/>
                  </a:lnTo>
                  <a:lnTo>
                    <a:pt x="1396" y="1487"/>
                  </a:lnTo>
                  <a:lnTo>
                    <a:pt x="1397" y="1490"/>
                  </a:lnTo>
                  <a:lnTo>
                    <a:pt x="1398" y="1490"/>
                  </a:lnTo>
                  <a:lnTo>
                    <a:pt x="1400" y="1493"/>
                  </a:lnTo>
                  <a:lnTo>
                    <a:pt x="1401" y="1494"/>
                  </a:lnTo>
                  <a:lnTo>
                    <a:pt x="1403" y="1496"/>
                  </a:lnTo>
                  <a:lnTo>
                    <a:pt x="1405" y="1496"/>
                  </a:lnTo>
                  <a:lnTo>
                    <a:pt x="1410" y="1496"/>
                  </a:lnTo>
                  <a:lnTo>
                    <a:pt x="1413" y="1497"/>
                  </a:lnTo>
                  <a:lnTo>
                    <a:pt x="1414" y="1497"/>
                  </a:lnTo>
                  <a:lnTo>
                    <a:pt x="1414" y="1497"/>
                  </a:lnTo>
                  <a:lnTo>
                    <a:pt x="1414" y="1500"/>
                  </a:lnTo>
                  <a:lnTo>
                    <a:pt x="1414" y="1501"/>
                  </a:lnTo>
                  <a:lnTo>
                    <a:pt x="1414" y="1503"/>
                  </a:lnTo>
                  <a:lnTo>
                    <a:pt x="1415" y="1504"/>
                  </a:lnTo>
                  <a:lnTo>
                    <a:pt x="1415" y="1504"/>
                  </a:lnTo>
                  <a:lnTo>
                    <a:pt x="1415" y="1506"/>
                  </a:lnTo>
                  <a:lnTo>
                    <a:pt x="1417" y="1507"/>
                  </a:lnTo>
                  <a:lnTo>
                    <a:pt x="1418" y="1507"/>
                  </a:lnTo>
                  <a:lnTo>
                    <a:pt x="1423" y="1510"/>
                  </a:lnTo>
                  <a:lnTo>
                    <a:pt x="1424" y="1511"/>
                  </a:lnTo>
                  <a:lnTo>
                    <a:pt x="1425" y="1513"/>
                  </a:lnTo>
                  <a:lnTo>
                    <a:pt x="1427" y="1511"/>
                  </a:lnTo>
                  <a:lnTo>
                    <a:pt x="1430" y="1511"/>
                  </a:lnTo>
                  <a:lnTo>
                    <a:pt x="1435" y="1511"/>
                  </a:lnTo>
                  <a:lnTo>
                    <a:pt x="1438" y="1513"/>
                  </a:lnTo>
                  <a:lnTo>
                    <a:pt x="1440" y="1514"/>
                  </a:lnTo>
                  <a:lnTo>
                    <a:pt x="1444" y="1514"/>
                  </a:lnTo>
                  <a:lnTo>
                    <a:pt x="1447" y="1516"/>
                  </a:lnTo>
                  <a:lnTo>
                    <a:pt x="1451" y="1516"/>
                  </a:lnTo>
                  <a:lnTo>
                    <a:pt x="1453" y="1514"/>
                  </a:lnTo>
                  <a:lnTo>
                    <a:pt x="1454" y="1514"/>
                  </a:lnTo>
                  <a:lnTo>
                    <a:pt x="1455" y="1516"/>
                  </a:lnTo>
                  <a:lnTo>
                    <a:pt x="1458" y="1517"/>
                  </a:lnTo>
                  <a:lnTo>
                    <a:pt x="1458" y="1517"/>
                  </a:lnTo>
                  <a:lnTo>
                    <a:pt x="1461" y="1516"/>
                  </a:lnTo>
                  <a:lnTo>
                    <a:pt x="1467" y="1513"/>
                  </a:lnTo>
                  <a:lnTo>
                    <a:pt x="1470" y="1511"/>
                  </a:lnTo>
                  <a:lnTo>
                    <a:pt x="1471" y="1511"/>
                  </a:lnTo>
                  <a:lnTo>
                    <a:pt x="1471" y="1511"/>
                  </a:lnTo>
                  <a:lnTo>
                    <a:pt x="1473" y="1511"/>
                  </a:lnTo>
                  <a:lnTo>
                    <a:pt x="1475" y="1510"/>
                  </a:lnTo>
                  <a:lnTo>
                    <a:pt x="1477" y="1510"/>
                  </a:lnTo>
                  <a:lnTo>
                    <a:pt x="1478" y="1510"/>
                  </a:lnTo>
                  <a:lnTo>
                    <a:pt x="1481" y="1510"/>
                  </a:lnTo>
                  <a:lnTo>
                    <a:pt x="1485" y="1507"/>
                  </a:lnTo>
                  <a:lnTo>
                    <a:pt x="1488" y="1507"/>
                  </a:lnTo>
                  <a:lnTo>
                    <a:pt x="1491" y="1507"/>
                  </a:lnTo>
                  <a:lnTo>
                    <a:pt x="1493" y="1507"/>
                  </a:lnTo>
                  <a:lnTo>
                    <a:pt x="1494" y="1506"/>
                  </a:lnTo>
                  <a:lnTo>
                    <a:pt x="1497" y="1506"/>
                  </a:lnTo>
                  <a:lnTo>
                    <a:pt x="1497" y="1503"/>
                  </a:lnTo>
                  <a:lnTo>
                    <a:pt x="1498" y="1500"/>
                  </a:lnTo>
                  <a:lnTo>
                    <a:pt x="1501" y="1499"/>
                  </a:lnTo>
                  <a:lnTo>
                    <a:pt x="1502" y="1497"/>
                  </a:lnTo>
                  <a:lnTo>
                    <a:pt x="1505" y="1496"/>
                  </a:lnTo>
                  <a:lnTo>
                    <a:pt x="1507" y="1494"/>
                  </a:lnTo>
                  <a:lnTo>
                    <a:pt x="1510" y="1493"/>
                  </a:lnTo>
                  <a:lnTo>
                    <a:pt x="1512" y="1490"/>
                  </a:lnTo>
                  <a:lnTo>
                    <a:pt x="1515" y="1489"/>
                  </a:lnTo>
                  <a:lnTo>
                    <a:pt x="1517" y="1489"/>
                  </a:lnTo>
                  <a:lnTo>
                    <a:pt x="1518" y="1489"/>
                  </a:lnTo>
                  <a:lnTo>
                    <a:pt x="1521" y="1490"/>
                  </a:lnTo>
                  <a:lnTo>
                    <a:pt x="1522" y="1490"/>
                  </a:lnTo>
                  <a:lnTo>
                    <a:pt x="1524" y="1490"/>
                  </a:lnTo>
                  <a:lnTo>
                    <a:pt x="1525" y="1491"/>
                  </a:lnTo>
                  <a:lnTo>
                    <a:pt x="1528" y="1491"/>
                  </a:lnTo>
                  <a:lnTo>
                    <a:pt x="1530" y="1494"/>
                  </a:lnTo>
                  <a:lnTo>
                    <a:pt x="1532" y="1497"/>
                  </a:lnTo>
                  <a:lnTo>
                    <a:pt x="1534" y="1497"/>
                  </a:lnTo>
                  <a:lnTo>
                    <a:pt x="1534" y="1499"/>
                  </a:lnTo>
                  <a:lnTo>
                    <a:pt x="1537" y="1499"/>
                  </a:lnTo>
                  <a:lnTo>
                    <a:pt x="1540" y="1499"/>
                  </a:lnTo>
                  <a:lnTo>
                    <a:pt x="1541" y="1499"/>
                  </a:lnTo>
                  <a:lnTo>
                    <a:pt x="1542" y="1497"/>
                  </a:lnTo>
                  <a:lnTo>
                    <a:pt x="1545" y="1496"/>
                  </a:lnTo>
                  <a:lnTo>
                    <a:pt x="1547" y="1496"/>
                  </a:lnTo>
                  <a:lnTo>
                    <a:pt x="1550" y="1496"/>
                  </a:lnTo>
                  <a:lnTo>
                    <a:pt x="1552" y="1497"/>
                  </a:lnTo>
                  <a:lnTo>
                    <a:pt x="1554" y="1499"/>
                  </a:lnTo>
                  <a:lnTo>
                    <a:pt x="1555" y="1500"/>
                  </a:lnTo>
                  <a:lnTo>
                    <a:pt x="1558" y="1501"/>
                  </a:lnTo>
                  <a:lnTo>
                    <a:pt x="1560" y="1503"/>
                  </a:lnTo>
                  <a:lnTo>
                    <a:pt x="1564" y="1504"/>
                  </a:lnTo>
                  <a:lnTo>
                    <a:pt x="1567" y="1506"/>
                  </a:lnTo>
                  <a:lnTo>
                    <a:pt x="1571" y="1507"/>
                  </a:lnTo>
                  <a:lnTo>
                    <a:pt x="1572" y="1507"/>
                  </a:lnTo>
                  <a:lnTo>
                    <a:pt x="1574" y="1507"/>
                  </a:lnTo>
                  <a:lnTo>
                    <a:pt x="1578" y="1503"/>
                  </a:lnTo>
                  <a:lnTo>
                    <a:pt x="1582" y="1500"/>
                  </a:lnTo>
                  <a:lnTo>
                    <a:pt x="1588" y="1497"/>
                  </a:lnTo>
                  <a:lnTo>
                    <a:pt x="1591" y="1496"/>
                  </a:lnTo>
                  <a:lnTo>
                    <a:pt x="1594" y="1496"/>
                  </a:lnTo>
                  <a:lnTo>
                    <a:pt x="1595" y="1494"/>
                  </a:lnTo>
                  <a:lnTo>
                    <a:pt x="1597" y="1491"/>
                  </a:lnTo>
                  <a:lnTo>
                    <a:pt x="1597" y="1489"/>
                  </a:lnTo>
                  <a:lnTo>
                    <a:pt x="1597" y="1487"/>
                  </a:lnTo>
                  <a:lnTo>
                    <a:pt x="1595" y="1486"/>
                  </a:lnTo>
                  <a:lnTo>
                    <a:pt x="1594" y="1486"/>
                  </a:lnTo>
                  <a:lnTo>
                    <a:pt x="1595" y="1484"/>
                  </a:lnTo>
                  <a:lnTo>
                    <a:pt x="1595" y="1483"/>
                  </a:lnTo>
                  <a:lnTo>
                    <a:pt x="1597" y="1481"/>
                  </a:lnTo>
                  <a:lnTo>
                    <a:pt x="1597" y="1480"/>
                  </a:lnTo>
                  <a:lnTo>
                    <a:pt x="1599" y="1479"/>
                  </a:lnTo>
                  <a:lnTo>
                    <a:pt x="1599" y="1476"/>
                  </a:lnTo>
                  <a:lnTo>
                    <a:pt x="1599" y="1474"/>
                  </a:lnTo>
                  <a:lnTo>
                    <a:pt x="1601" y="1471"/>
                  </a:lnTo>
                  <a:lnTo>
                    <a:pt x="1602" y="1470"/>
                  </a:lnTo>
                  <a:lnTo>
                    <a:pt x="1604" y="1467"/>
                  </a:lnTo>
                  <a:lnTo>
                    <a:pt x="1604" y="1466"/>
                  </a:lnTo>
                  <a:lnTo>
                    <a:pt x="1605" y="1464"/>
                  </a:lnTo>
                  <a:lnTo>
                    <a:pt x="1607" y="1460"/>
                  </a:lnTo>
                  <a:lnTo>
                    <a:pt x="1609" y="1456"/>
                  </a:lnTo>
                  <a:lnTo>
                    <a:pt x="1611" y="1451"/>
                  </a:lnTo>
                  <a:lnTo>
                    <a:pt x="1617" y="1449"/>
                  </a:lnTo>
                  <a:lnTo>
                    <a:pt x="1618" y="1446"/>
                  </a:lnTo>
                  <a:lnTo>
                    <a:pt x="1619" y="1443"/>
                  </a:lnTo>
                  <a:lnTo>
                    <a:pt x="1619" y="1440"/>
                  </a:lnTo>
                  <a:lnTo>
                    <a:pt x="1618" y="1437"/>
                  </a:lnTo>
                  <a:lnTo>
                    <a:pt x="1618" y="1434"/>
                  </a:lnTo>
                  <a:lnTo>
                    <a:pt x="1619" y="1432"/>
                  </a:lnTo>
                  <a:lnTo>
                    <a:pt x="1618" y="1430"/>
                  </a:lnTo>
                  <a:lnTo>
                    <a:pt x="1617" y="1429"/>
                  </a:lnTo>
                  <a:lnTo>
                    <a:pt x="1614" y="1429"/>
                  </a:lnTo>
                  <a:lnTo>
                    <a:pt x="1611" y="1429"/>
                  </a:lnTo>
                  <a:lnTo>
                    <a:pt x="1609" y="1429"/>
                  </a:lnTo>
                  <a:lnTo>
                    <a:pt x="1608" y="1426"/>
                  </a:lnTo>
                  <a:lnTo>
                    <a:pt x="1609" y="1424"/>
                  </a:lnTo>
                  <a:lnTo>
                    <a:pt x="1611" y="1423"/>
                  </a:lnTo>
                  <a:lnTo>
                    <a:pt x="1615" y="1419"/>
                  </a:lnTo>
                  <a:lnTo>
                    <a:pt x="1619" y="1414"/>
                  </a:lnTo>
                  <a:lnTo>
                    <a:pt x="1624" y="1412"/>
                  </a:lnTo>
                  <a:lnTo>
                    <a:pt x="1631" y="1410"/>
                  </a:lnTo>
                  <a:lnTo>
                    <a:pt x="1635" y="1409"/>
                  </a:lnTo>
                  <a:lnTo>
                    <a:pt x="1641" y="1406"/>
                  </a:lnTo>
                  <a:lnTo>
                    <a:pt x="1645" y="1406"/>
                  </a:lnTo>
                  <a:lnTo>
                    <a:pt x="1645" y="1406"/>
                  </a:lnTo>
                  <a:lnTo>
                    <a:pt x="1648" y="1406"/>
                  </a:lnTo>
                  <a:lnTo>
                    <a:pt x="1652" y="1406"/>
                  </a:lnTo>
                  <a:lnTo>
                    <a:pt x="1655" y="1406"/>
                  </a:lnTo>
                  <a:lnTo>
                    <a:pt x="1658" y="1404"/>
                  </a:lnTo>
                  <a:lnTo>
                    <a:pt x="1661" y="1403"/>
                  </a:lnTo>
                  <a:lnTo>
                    <a:pt x="1662" y="1404"/>
                  </a:lnTo>
                  <a:lnTo>
                    <a:pt x="1664" y="1404"/>
                  </a:lnTo>
                  <a:lnTo>
                    <a:pt x="1664" y="1404"/>
                  </a:lnTo>
                  <a:lnTo>
                    <a:pt x="1665" y="1404"/>
                  </a:lnTo>
                  <a:lnTo>
                    <a:pt x="1665" y="1404"/>
                  </a:lnTo>
                  <a:lnTo>
                    <a:pt x="1668" y="1404"/>
                  </a:lnTo>
                  <a:lnTo>
                    <a:pt x="1672" y="1407"/>
                  </a:lnTo>
                  <a:lnTo>
                    <a:pt x="1674" y="1409"/>
                  </a:lnTo>
                  <a:lnTo>
                    <a:pt x="1675" y="1409"/>
                  </a:lnTo>
                  <a:lnTo>
                    <a:pt x="1677" y="1410"/>
                  </a:lnTo>
                  <a:lnTo>
                    <a:pt x="1678" y="1412"/>
                  </a:lnTo>
                  <a:lnTo>
                    <a:pt x="1679" y="1413"/>
                  </a:lnTo>
                  <a:lnTo>
                    <a:pt x="1682" y="1413"/>
                  </a:lnTo>
                  <a:lnTo>
                    <a:pt x="1685" y="1414"/>
                  </a:lnTo>
                  <a:lnTo>
                    <a:pt x="1687" y="1414"/>
                  </a:lnTo>
                  <a:lnTo>
                    <a:pt x="1687" y="1414"/>
                  </a:lnTo>
                  <a:lnTo>
                    <a:pt x="1688" y="1413"/>
                  </a:lnTo>
                  <a:lnTo>
                    <a:pt x="1689" y="1413"/>
                  </a:lnTo>
                  <a:lnTo>
                    <a:pt x="1691" y="1414"/>
                  </a:lnTo>
                  <a:lnTo>
                    <a:pt x="1695" y="1416"/>
                  </a:lnTo>
                  <a:lnTo>
                    <a:pt x="1696" y="1417"/>
                  </a:lnTo>
                  <a:lnTo>
                    <a:pt x="1698" y="1417"/>
                  </a:lnTo>
                  <a:lnTo>
                    <a:pt x="1698" y="1417"/>
                  </a:lnTo>
                  <a:lnTo>
                    <a:pt x="1699" y="1419"/>
                  </a:lnTo>
                  <a:lnTo>
                    <a:pt x="1699" y="1420"/>
                  </a:lnTo>
                  <a:lnTo>
                    <a:pt x="1699" y="1420"/>
                  </a:lnTo>
                  <a:lnTo>
                    <a:pt x="1699" y="1422"/>
                  </a:lnTo>
                  <a:lnTo>
                    <a:pt x="1701" y="1422"/>
                  </a:lnTo>
                  <a:lnTo>
                    <a:pt x="1702" y="1422"/>
                  </a:lnTo>
                  <a:lnTo>
                    <a:pt x="1702" y="1424"/>
                  </a:lnTo>
                  <a:lnTo>
                    <a:pt x="1704" y="1424"/>
                  </a:lnTo>
                  <a:lnTo>
                    <a:pt x="1705" y="1426"/>
                  </a:lnTo>
                  <a:lnTo>
                    <a:pt x="1705" y="1426"/>
                  </a:lnTo>
                  <a:lnTo>
                    <a:pt x="1705" y="1427"/>
                  </a:lnTo>
                  <a:lnTo>
                    <a:pt x="1705" y="1427"/>
                  </a:lnTo>
                  <a:lnTo>
                    <a:pt x="1704" y="1429"/>
                  </a:lnTo>
                  <a:lnTo>
                    <a:pt x="1704" y="1429"/>
                  </a:lnTo>
                  <a:lnTo>
                    <a:pt x="1705" y="1430"/>
                  </a:lnTo>
                  <a:lnTo>
                    <a:pt x="1706" y="1430"/>
                  </a:lnTo>
                  <a:lnTo>
                    <a:pt x="1706" y="1432"/>
                  </a:lnTo>
                  <a:lnTo>
                    <a:pt x="1706" y="1432"/>
                  </a:lnTo>
                  <a:lnTo>
                    <a:pt x="1708" y="1433"/>
                  </a:lnTo>
                  <a:lnTo>
                    <a:pt x="1709" y="1434"/>
                  </a:lnTo>
                  <a:lnTo>
                    <a:pt x="1709" y="1436"/>
                  </a:lnTo>
                  <a:lnTo>
                    <a:pt x="1709" y="1436"/>
                  </a:lnTo>
                  <a:lnTo>
                    <a:pt x="1709" y="1437"/>
                  </a:lnTo>
                  <a:lnTo>
                    <a:pt x="1709" y="1437"/>
                  </a:lnTo>
                  <a:lnTo>
                    <a:pt x="1711" y="1439"/>
                  </a:lnTo>
                  <a:lnTo>
                    <a:pt x="1711" y="1440"/>
                  </a:lnTo>
                  <a:lnTo>
                    <a:pt x="1711" y="1442"/>
                  </a:lnTo>
                  <a:lnTo>
                    <a:pt x="1711" y="1444"/>
                  </a:lnTo>
                  <a:lnTo>
                    <a:pt x="1712" y="1447"/>
                  </a:lnTo>
                  <a:lnTo>
                    <a:pt x="1714" y="1450"/>
                  </a:lnTo>
                  <a:lnTo>
                    <a:pt x="1715" y="1453"/>
                  </a:lnTo>
                  <a:lnTo>
                    <a:pt x="1715" y="1454"/>
                  </a:lnTo>
                  <a:lnTo>
                    <a:pt x="1715" y="1456"/>
                  </a:lnTo>
                  <a:lnTo>
                    <a:pt x="1716" y="1457"/>
                  </a:lnTo>
                  <a:lnTo>
                    <a:pt x="1716" y="1457"/>
                  </a:lnTo>
                  <a:lnTo>
                    <a:pt x="1716" y="1459"/>
                  </a:lnTo>
                  <a:lnTo>
                    <a:pt x="1716" y="1460"/>
                  </a:lnTo>
                  <a:lnTo>
                    <a:pt x="1718" y="1461"/>
                  </a:lnTo>
                  <a:lnTo>
                    <a:pt x="1718" y="1463"/>
                  </a:lnTo>
                  <a:lnTo>
                    <a:pt x="1718" y="1464"/>
                  </a:lnTo>
                  <a:lnTo>
                    <a:pt x="1718" y="1464"/>
                  </a:lnTo>
                  <a:lnTo>
                    <a:pt x="1718" y="1466"/>
                  </a:lnTo>
                  <a:lnTo>
                    <a:pt x="1719" y="1467"/>
                  </a:lnTo>
                  <a:lnTo>
                    <a:pt x="1721" y="1471"/>
                  </a:lnTo>
                  <a:lnTo>
                    <a:pt x="1724" y="1474"/>
                  </a:lnTo>
                  <a:lnTo>
                    <a:pt x="1725" y="1477"/>
                  </a:lnTo>
                  <a:lnTo>
                    <a:pt x="1725" y="1480"/>
                  </a:lnTo>
                  <a:lnTo>
                    <a:pt x="1725" y="1481"/>
                  </a:lnTo>
                  <a:lnTo>
                    <a:pt x="1725" y="1483"/>
                  </a:lnTo>
                  <a:lnTo>
                    <a:pt x="1725" y="1484"/>
                  </a:lnTo>
                  <a:lnTo>
                    <a:pt x="1725" y="1484"/>
                  </a:lnTo>
                  <a:lnTo>
                    <a:pt x="1725" y="1486"/>
                  </a:lnTo>
                  <a:lnTo>
                    <a:pt x="1725" y="1487"/>
                  </a:lnTo>
                  <a:lnTo>
                    <a:pt x="1726" y="1489"/>
                  </a:lnTo>
                  <a:lnTo>
                    <a:pt x="1729" y="1490"/>
                  </a:lnTo>
                  <a:lnTo>
                    <a:pt x="1728" y="1494"/>
                  </a:lnTo>
                  <a:lnTo>
                    <a:pt x="1728" y="1496"/>
                  </a:lnTo>
                  <a:lnTo>
                    <a:pt x="1728" y="1499"/>
                  </a:lnTo>
                  <a:lnTo>
                    <a:pt x="1729" y="1500"/>
                  </a:lnTo>
                  <a:lnTo>
                    <a:pt x="1731" y="1501"/>
                  </a:lnTo>
                  <a:lnTo>
                    <a:pt x="1731" y="1503"/>
                  </a:lnTo>
                  <a:lnTo>
                    <a:pt x="1731" y="1504"/>
                  </a:lnTo>
                  <a:lnTo>
                    <a:pt x="1734" y="1504"/>
                  </a:lnTo>
                  <a:lnTo>
                    <a:pt x="1736" y="1506"/>
                  </a:lnTo>
                  <a:lnTo>
                    <a:pt x="1739" y="1507"/>
                  </a:lnTo>
                  <a:lnTo>
                    <a:pt x="1745" y="1506"/>
                  </a:lnTo>
                  <a:lnTo>
                    <a:pt x="1748" y="1506"/>
                  </a:lnTo>
                  <a:lnTo>
                    <a:pt x="1748" y="1506"/>
                  </a:lnTo>
                  <a:lnTo>
                    <a:pt x="1748" y="1507"/>
                  </a:lnTo>
                  <a:lnTo>
                    <a:pt x="1748" y="1509"/>
                  </a:lnTo>
                  <a:lnTo>
                    <a:pt x="1749" y="1509"/>
                  </a:lnTo>
                  <a:lnTo>
                    <a:pt x="1751" y="1509"/>
                  </a:lnTo>
                  <a:lnTo>
                    <a:pt x="1752" y="1510"/>
                  </a:lnTo>
                  <a:lnTo>
                    <a:pt x="1754" y="1511"/>
                  </a:lnTo>
                  <a:lnTo>
                    <a:pt x="1754" y="1511"/>
                  </a:lnTo>
                  <a:lnTo>
                    <a:pt x="1755" y="1511"/>
                  </a:lnTo>
                  <a:lnTo>
                    <a:pt x="1756" y="1511"/>
                  </a:lnTo>
                  <a:lnTo>
                    <a:pt x="1756" y="1511"/>
                  </a:lnTo>
                  <a:lnTo>
                    <a:pt x="1758" y="1511"/>
                  </a:lnTo>
                  <a:lnTo>
                    <a:pt x="1758" y="1510"/>
                  </a:lnTo>
                  <a:lnTo>
                    <a:pt x="1759" y="1510"/>
                  </a:lnTo>
                  <a:lnTo>
                    <a:pt x="1759" y="1510"/>
                  </a:lnTo>
                  <a:lnTo>
                    <a:pt x="1761" y="1513"/>
                  </a:lnTo>
                  <a:lnTo>
                    <a:pt x="1761" y="1513"/>
                  </a:lnTo>
                  <a:lnTo>
                    <a:pt x="1762" y="1513"/>
                  </a:lnTo>
                  <a:lnTo>
                    <a:pt x="1765" y="1516"/>
                  </a:lnTo>
                  <a:lnTo>
                    <a:pt x="1768" y="1521"/>
                  </a:lnTo>
                  <a:lnTo>
                    <a:pt x="1771" y="1523"/>
                  </a:lnTo>
                  <a:lnTo>
                    <a:pt x="1774" y="1523"/>
                  </a:lnTo>
                  <a:lnTo>
                    <a:pt x="1776" y="1523"/>
                  </a:lnTo>
                  <a:lnTo>
                    <a:pt x="1778" y="1526"/>
                  </a:lnTo>
                  <a:lnTo>
                    <a:pt x="1776" y="1529"/>
                  </a:lnTo>
                  <a:lnTo>
                    <a:pt x="1776" y="1530"/>
                  </a:lnTo>
                  <a:lnTo>
                    <a:pt x="1778" y="1530"/>
                  </a:lnTo>
                  <a:lnTo>
                    <a:pt x="1778" y="1533"/>
                  </a:lnTo>
                  <a:lnTo>
                    <a:pt x="1779" y="1534"/>
                  </a:lnTo>
                  <a:lnTo>
                    <a:pt x="1781" y="1534"/>
                  </a:lnTo>
                  <a:lnTo>
                    <a:pt x="1781" y="1536"/>
                  </a:lnTo>
                  <a:lnTo>
                    <a:pt x="1781" y="1539"/>
                  </a:lnTo>
                  <a:lnTo>
                    <a:pt x="1779" y="1541"/>
                  </a:lnTo>
                  <a:lnTo>
                    <a:pt x="1779" y="1544"/>
                  </a:lnTo>
                  <a:lnTo>
                    <a:pt x="1782" y="1546"/>
                  </a:lnTo>
                  <a:lnTo>
                    <a:pt x="1782" y="1549"/>
                  </a:lnTo>
                  <a:lnTo>
                    <a:pt x="1784" y="1550"/>
                  </a:lnTo>
                  <a:lnTo>
                    <a:pt x="1784" y="1551"/>
                  </a:lnTo>
                  <a:lnTo>
                    <a:pt x="1784" y="1551"/>
                  </a:lnTo>
                  <a:lnTo>
                    <a:pt x="1786" y="1551"/>
                  </a:lnTo>
                  <a:lnTo>
                    <a:pt x="1789" y="1551"/>
                  </a:lnTo>
                  <a:lnTo>
                    <a:pt x="1791" y="1551"/>
                  </a:lnTo>
                  <a:lnTo>
                    <a:pt x="1793" y="1551"/>
                  </a:lnTo>
                  <a:lnTo>
                    <a:pt x="1796" y="1551"/>
                  </a:lnTo>
                  <a:lnTo>
                    <a:pt x="1802" y="1551"/>
                  </a:lnTo>
                  <a:lnTo>
                    <a:pt x="1806" y="1551"/>
                  </a:lnTo>
                  <a:lnTo>
                    <a:pt x="1808" y="1551"/>
                  </a:lnTo>
                  <a:lnTo>
                    <a:pt x="1809" y="1550"/>
                  </a:lnTo>
                  <a:lnTo>
                    <a:pt x="1811" y="1547"/>
                  </a:lnTo>
                  <a:lnTo>
                    <a:pt x="1811" y="1546"/>
                  </a:lnTo>
                  <a:lnTo>
                    <a:pt x="1812" y="1546"/>
                  </a:lnTo>
                  <a:lnTo>
                    <a:pt x="1813" y="1544"/>
                  </a:lnTo>
                  <a:lnTo>
                    <a:pt x="1816" y="1543"/>
                  </a:lnTo>
                  <a:lnTo>
                    <a:pt x="1818" y="1541"/>
                  </a:lnTo>
                  <a:lnTo>
                    <a:pt x="1821" y="1541"/>
                  </a:lnTo>
                  <a:lnTo>
                    <a:pt x="1823" y="1541"/>
                  </a:lnTo>
                  <a:lnTo>
                    <a:pt x="1825" y="1541"/>
                  </a:lnTo>
                  <a:lnTo>
                    <a:pt x="1826" y="1540"/>
                  </a:lnTo>
                  <a:lnTo>
                    <a:pt x="1829" y="1537"/>
                  </a:lnTo>
                  <a:lnTo>
                    <a:pt x="1835" y="1536"/>
                  </a:lnTo>
                  <a:lnTo>
                    <a:pt x="1836" y="1536"/>
                  </a:lnTo>
                  <a:lnTo>
                    <a:pt x="1838" y="1536"/>
                  </a:lnTo>
                  <a:lnTo>
                    <a:pt x="1839" y="1536"/>
                  </a:lnTo>
                  <a:lnTo>
                    <a:pt x="1841" y="1537"/>
                  </a:lnTo>
                  <a:lnTo>
                    <a:pt x="1842" y="1539"/>
                  </a:lnTo>
                  <a:lnTo>
                    <a:pt x="1843" y="1539"/>
                  </a:lnTo>
                  <a:lnTo>
                    <a:pt x="1842" y="1540"/>
                  </a:lnTo>
                  <a:lnTo>
                    <a:pt x="1842" y="1541"/>
                  </a:lnTo>
                  <a:lnTo>
                    <a:pt x="1842" y="1543"/>
                  </a:lnTo>
                  <a:lnTo>
                    <a:pt x="1841" y="1544"/>
                  </a:lnTo>
                  <a:lnTo>
                    <a:pt x="1842" y="1544"/>
                  </a:lnTo>
                  <a:lnTo>
                    <a:pt x="1842" y="1547"/>
                  </a:lnTo>
                  <a:lnTo>
                    <a:pt x="1843" y="1549"/>
                  </a:lnTo>
                  <a:lnTo>
                    <a:pt x="1843" y="1551"/>
                  </a:lnTo>
                  <a:lnTo>
                    <a:pt x="1843" y="1551"/>
                  </a:lnTo>
                  <a:lnTo>
                    <a:pt x="1843" y="1553"/>
                  </a:lnTo>
                  <a:lnTo>
                    <a:pt x="1842" y="1556"/>
                  </a:lnTo>
                  <a:lnTo>
                    <a:pt x="1841" y="1557"/>
                  </a:lnTo>
                  <a:lnTo>
                    <a:pt x="1839" y="1557"/>
                  </a:lnTo>
                  <a:lnTo>
                    <a:pt x="1838" y="1557"/>
                  </a:lnTo>
                  <a:lnTo>
                    <a:pt x="1838" y="1557"/>
                  </a:lnTo>
                  <a:lnTo>
                    <a:pt x="1836" y="1559"/>
                  </a:lnTo>
                  <a:lnTo>
                    <a:pt x="1836" y="1559"/>
                  </a:lnTo>
                  <a:lnTo>
                    <a:pt x="1835" y="1560"/>
                  </a:lnTo>
                  <a:lnTo>
                    <a:pt x="1835" y="1561"/>
                  </a:lnTo>
                  <a:lnTo>
                    <a:pt x="1835" y="1561"/>
                  </a:lnTo>
                  <a:lnTo>
                    <a:pt x="1835" y="1563"/>
                  </a:lnTo>
                  <a:lnTo>
                    <a:pt x="1835" y="1564"/>
                  </a:lnTo>
                  <a:lnTo>
                    <a:pt x="1835" y="1566"/>
                  </a:lnTo>
                  <a:lnTo>
                    <a:pt x="1833" y="1569"/>
                  </a:lnTo>
                  <a:lnTo>
                    <a:pt x="1833" y="1569"/>
                  </a:lnTo>
                  <a:lnTo>
                    <a:pt x="1832" y="1571"/>
                  </a:lnTo>
                  <a:lnTo>
                    <a:pt x="1832" y="1571"/>
                  </a:lnTo>
                  <a:lnTo>
                    <a:pt x="1832" y="1574"/>
                  </a:lnTo>
                  <a:lnTo>
                    <a:pt x="1831" y="1577"/>
                  </a:lnTo>
                  <a:lnTo>
                    <a:pt x="1829" y="1580"/>
                  </a:lnTo>
                  <a:lnTo>
                    <a:pt x="1831" y="1581"/>
                  </a:lnTo>
                  <a:lnTo>
                    <a:pt x="1831" y="1583"/>
                  </a:lnTo>
                  <a:lnTo>
                    <a:pt x="1831" y="1583"/>
                  </a:lnTo>
                  <a:lnTo>
                    <a:pt x="1831" y="1584"/>
                  </a:lnTo>
                  <a:lnTo>
                    <a:pt x="1829" y="1586"/>
                  </a:lnTo>
                  <a:lnTo>
                    <a:pt x="1829" y="1586"/>
                  </a:lnTo>
                  <a:lnTo>
                    <a:pt x="1828" y="1587"/>
                  </a:lnTo>
                  <a:lnTo>
                    <a:pt x="1828" y="1589"/>
                  </a:lnTo>
                  <a:lnTo>
                    <a:pt x="1828" y="1590"/>
                  </a:lnTo>
                  <a:lnTo>
                    <a:pt x="1826" y="1591"/>
                  </a:lnTo>
                  <a:lnTo>
                    <a:pt x="1826" y="1593"/>
                  </a:lnTo>
                  <a:lnTo>
                    <a:pt x="1826" y="1593"/>
                  </a:lnTo>
                  <a:lnTo>
                    <a:pt x="1825" y="1593"/>
                  </a:lnTo>
                  <a:lnTo>
                    <a:pt x="1825" y="1594"/>
                  </a:lnTo>
                  <a:lnTo>
                    <a:pt x="1823" y="1596"/>
                  </a:lnTo>
                  <a:lnTo>
                    <a:pt x="1823" y="1597"/>
                  </a:lnTo>
                  <a:lnTo>
                    <a:pt x="1823" y="1599"/>
                  </a:lnTo>
                  <a:lnTo>
                    <a:pt x="1823" y="1599"/>
                  </a:lnTo>
                  <a:lnTo>
                    <a:pt x="1823" y="1600"/>
                  </a:lnTo>
                  <a:lnTo>
                    <a:pt x="1822" y="1601"/>
                  </a:lnTo>
                  <a:lnTo>
                    <a:pt x="1821" y="1601"/>
                  </a:lnTo>
                  <a:lnTo>
                    <a:pt x="1821" y="1601"/>
                  </a:lnTo>
                  <a:lnTo>
                    <a:pt x="1819" y="1603"/>
                  </a:lnTo>
                  <a:lnTo>
                    <a:pt x="1818" y="1607"/>
                  </a:lnTo>
                  <a:lnTo>
                    <a:pt x="1818" y="1609"/>
                  </a:lnTo>
                  <a:lnTo>
                    <a:pt x="1818" y="1611"/>
                  </a:lnTo>
                  <a:lnTo>
                    <a:pt x="1816" y="1613"/>
                  </a:lnTo>
                  <a:lnTo>
                    <a:pt x="1815" y="1613"/>
                  </a:lnTo>
                  <a:lnTo>
                    <a:pt x="1813" y="1613"/>
                  </a:lnTo>
                  <a:lnTo>
                    <a:pt x="1813" y="1613"/>
                  </a:lnTo>
                  <a:lnTo>
                    <a:pt x="1812" y="1613"/>
                  </a:lnTo>
                  <a:lnTo>
                    <a:pt x="1811" y="1611"/>
                  </a:lnTo>
                  <a:lnTo>
                    <a:pt x="1809" y="1611"/>
                  </a:lnTo>
                  <a:lnTo>
                    <a:pt x="1806" y="1610"/>
                  </a:lnTo>
                  <a:lnTo>
                    <a:pt x="1803" y="1610"/>
                  </a:lnTo>
                  <a:lnTo>
                    <a:pt x="1801" y="1609"/>
                  </a:lnTo>
                  <a:lnTo>
                    <a:pt x="1799" y="1609"/>
                  </a:lnTo>
                  <a:lnTo>
                    <a:pt x="1799" y="1607"/>
                  </a:lnTo>
                  <a:lnTo>
                    <a:pt x="1798" y="1607"/>
                  </a:lnTo>
                  <a:lnTo>
                    <a:pt x="1796" y="1607"/>
                  </a:lnTo>
                  <a:lnTo>
                    <a:pt x="1796" y="1609"/>
                  </a:lnTo>
                  <a:lnTo>
                    <a:pt x="1795" y="1610"/>
                  </a:lnTo>
                  <a:lnTo>
                    <a:pt x="1793" y="1611"/>
                  </a:lnTo>
                  <a:lnTo>
                    <a:pt x="1793" y="1611"/>
                  </a:lnTo>
                  <a:lnTo>
                    <a:pt x="1792" y="1614"/>
                  </a:lnTo>
                  <a:lnTo>
                    <a:pt x="1791" y="1614"/>
                  </a:lnTo>
                  <a:lnTo>
                    <a:pt x="1788" y="1616"/>
                  </a:lnTo>
                  <a:lnTo>
                    <a:pt x="1788" y="1616"/>
                  </a:lnTo>
                  <a:lnTo>
                    <a:pt x="1785" y="1616"/>
                  </a:lnTo>
                  <a:lnTo>
                    <a:pt x="1785" y="1617"/>
                  </a:lnTo>
                  <a:lnTo>
                    <a:pt x="1784" y="1617"/>
                  </a:lnTo>
                  <a:lnTo>
                    <a:pt x="1784" y="1619"/>
                  </a:lnTo>
                  <a:lnTo>
                    <a:pt x="1784" y="1620"/>
                  </a:lnTo>
                  <a:lnTo>
                    <a:pt x="1785" y="1621"/>
                  </a:lnTo>
                  <a:lnTo>
                    <a:pt x="1785" y="1623"/>
                  </a:lnTo>
                  <a:lnTo>
                    <a:pt x="1786" y="1626"/>
                  </a:lnTo>
                  <a:lnTo>
                    <a:pt x="1788" y="1634"/>
                  </a:lnTo>
                  <a:lnTo>
                    <a:pt x="1788" y="1636"/>
                  </a:lnTo>
                  <a:lnTo>
                    <a:pt x="1786" y="1643"/>
                  </a:lnTo>
                  <a:lnTo>
                    <a:pt x="1786" y="1644"/>
                  </a:lnTo>
                  <a:lnTo>
                    <a:pt x="1786" y="1646"/>
                  </a:lnTo>
                  <a:lnTo>
                    <a:pt x="1786" y="1647"/>
                  </a:lnTo>
                  <a:lnTo>
                    <a:pt x="1788" y="1647"/>
                  </a:lnTo>
                  <a:lnTo>
                    <a:pt x="1788" y="1649"/>
                  </a:lnTo>
                  <a:lnTo>
                    <a:pt x="1788" y="1649"/>
                  </a:lnTo>
                  <a:lnTo>
                    <a:pt x="1788" y="1650"/>
                  </a:lnTo>
                  <a:lnTo>
                    <a:pt x="1788" y="1651"/>
                  </a:lnTo>
                  <a:lnTo>
                    <a:pt x="1788" y="1653"/>
                  </a:lnTo>
                  <a:lnTo>
                    <a:pt x="1786" y="1656"/>
                  </a:lnTo>
                  <a:lnTo>
                    <a:pt x="1786" y="1656"/>
                  </a:lnTo>
                  <a:lnTo>
                    <a:pt x="1786" y="1657"/>
                  </a:lnTo>
                  <a:lnTo>
                    <a:pt x="1785" y="1657"/>
                  </a:lnTo>
                  <a:lnTo>
                    <a:pt x="1785" y="1660"/>
                  </a:lnTo>
                  <a:lnTo>
                    <a:pt x="1785" y="1660"/>
                  </a:lnTo>
                  <a:lnTo>
                    <a:pt x="1784" y="1661"/>
                  </a:lnTo>
                  <a:lnTo>
                    <a:pt x="1784" y="1661"/>
                  </a:lnTo>
                  <a:lnTo>
                    <a:pt x="1782" y="1661"/>
                  </a:lnTo>
                  <a:lnTo>
                    <a:pt x="1781" y="1661"/>
                  </a:lnTo>
                  <a:lnTo>
                    <a:pt x="1779" y="1661"/>
                  </a:lnTo>
                  <a:lnTo>
                    <a:pt x="1778" y="1663"/>
                  </a:lnTo>
                  <a:lnTo>
                    <a:pt x="1776" y="1663"/>
                  </a:lnTo>
                  <a:lnTo>
                    <a:pt x="1775" y="1664"/>
                  </a:lnTo>
                  <a:lnTo>
                    <a:pt x="1775" y="1664"/>
                  </a:lnTo>
                  <a:lnTo>
                    <a:pt x="1775" y="1664"/>
                  </a:lnTo>
                  <a:lnTo>
                    <a:pt x="1775" y="1666"/>
                  </a:lnTo>
                  <a:lnTo>
                    <a:pt x="1776" y="1666"/>
                  </a:lnTo>
                  <a:lnTo>
                    <a:pt x="1778" y="1667"/>
                  </a:lnTo>
                  <a:lnTo>
                    <a:pt x="1778" y="1667"/>
                  </a:lnTo>
                  <a:lnTo>
                    <a:pt x="1776" y="1668"/>
                  </a:lnTo>
                  <a:lnTo>
                    <a:pt x="1776" y="1670"/>
                  </a:lnTo>
                  <a:lnTo>
                    <a:pt x="1778" y="1671"/>
                  </a:lnTo>
                  <a:lnTo>
                    <a:pt x="1778" y="1671"/>
                  </a:lnTo>
                  <a:lnTo>
                    <a:pt x="1778" y="1673"/>
                  </a:lnTo>
                  <a:lnTo>
                    <a:pt x="1779" y="1673"/>
                  </a:lnTo>
                  <a:lnTo>
                    <a:pt x="1779" y="1673"/>
                  </a:lnTo>
                  <a:lnTo>
                    <a:pt x="1781" y="1668"/>
                  </a:lnTo>
                  <a:lnTo>
                    <a:pt x="1779" y="1666"/>
                  </a:lnTo>
                  <a:lnTo>
                    <a:pt x="1781" y="1666"/>
                  </a:lnTo>
                  <a:lnTo>
                    <a:pt x="1784" y="1666"/>
                  </a:lnTo>
                  <a:lnTo>
                    <a:pt x="1785" y="1666"/>
                  </a:lnTo>
                  <a:lnTo>
                    <a:pt x="1786" y="1667"/>
                  </a:lnTo>
                  <a:lnTo>
                    <a:pt x="1788" y="1666"/>
                  </a:lnTo>
                  <a:lnTo>
                    <a:pt x="1789" y="1663"/>
                  </a:lnTo>
                  <a:lnTo>
                    <a:pt x="1791" y="1663"/>
                  </a:lnTo>
                  <a:lnTo>
                    <a:pt x="1792" y="1659"/>
                  </a:lnTo>
                  <a:lnTo>
                    <a:pt x="1795" y="1654"/>
                  </a:lnTo>
                  <a:lnTo>
                    <a:pt x="1796" y="1653"/>
                  </a:lnTo>
                  <a:lnTo>
                    <a:pt x="1799" y="1651"/>
                  </a:lnTo>
                  <a:lnTo>
                    <a:pt x="1799" y="1651"/>
                  </a:lnTo>
                  <a:lnTo>
                    <a:pt x="1801" y="1653"/>
                  </a:lnTo>
                  <a:lnTo>
                    <a:pt x="1798" y="1654"/>
                  </a:lnTo>
                  <a:lnTo>
                    <a:pt x="1798" y="1656"/>
                  </a:lnTo>
                  <a:lnTo>
                    <a:pt x="1799" y="1656"/>
                  </a:lnTo>
                  <a:lnTo>
                    <a:pt x="1801" y="1656"/>
                  </a:lnTo>
                  <a:lnTo>
                    <a:pt x="1803" y="1653"/>
                  </a:lnTo>
                  <a:lnTo>
                    <a:pt x="1805" y="1651"/>
                  </a:lnTo>
                  <a:lnTo>
                    <a:pt x="1805" y="1653"/>
                  </a:lnTo>
                  <a:lnTo>
                    <a:pt x="1805" y="1661"/>
                  </a:lnTo>
                  <a:lnTo>
                    <a:pt x="1808" y="1660"/>
                  </a:lnTo>
                  <a:lnTo>
                    <a:pt x="1809" y="1661"/>
                  </a:lnTo>
                  <a:lnTo>
                    <a:pt x="1811" y="1661"/>
                  </a:lnTo>
                  <a:lnTo>
                    <a:pt x="1813" y="1663"/>
                  </a:lnTo>
                  <a:lnTo>
                    <a:pt x="1815" y="1663"/>
                  </a:lnTo>
                  <a:lnTo>
                    <a:pt x="1816" y="1663"/>
                  </a:lnTo>
                  <a:lnTo>
                    <a:pt x="1816" y="1664"/>
                  </a:lnTo>
                  <a:lnTo>
                    <a:pt x="1819" y="1666"/>
                  </a:lnTo>
                  <a:lnTo>
                    <a:pt x="1821" y="1664"/>
                  </a:lnTo>
                  <a:lnTo>
                    <a:pt x="1825" y="1663"/>
                  </a:lnTo>
                  <a:lnTo>
                    <a:pt x="1828" y="1663"/>
                  </a:lnTo>
                  <a:lnTo>
                    <a:pt x="1832" y="1660"/>
                  </a:lnTo>
                  <a:lnTo>
                    <a:pt x="1835" y="1657"/>
                  </a:lnTo>
                  <a:lnTo>
                    <a:pt x="1843" y="1651"/>
                  </a:lnTo>
                  <a:lnTo>
                    <a:pt x="1846" y="1649"/>
                  </a:lnTo>
                  <a:lnTo>
                    <a:pt x="1851" y="1647"/>
                  </a:lnTo>
                  <a:lnTo>
                    <a:pt x="1852" y="1643"/>
                  </a:lnTo>
                  <a:lnTo>
                    <a:pt x="1856" y="1640"/>
                  </a:lnTo>
                  <a:lnTo>
                    <a:pt x="1856" y="1639"/>
                  </a:lnTo>
                  <a:lnTo>
                    <a:pt x="1856" y="1637"/>
                  </a:lnTo>
                  <a:lnTo>
                    <a:pt x="1862" y="1629"/>
                  </a:lnTo>
                  <a:lnTo>
                    <a:pt x="1863" y="1627"/>
                  </a:lnTo>
                  <a:lnTo>
                    <a:pt x="1866" y="1626"/>
                  </a:lnTo>
                  <a:lnTo>
                    <a:pt x="1868" y="1624"/>
                  </a:lnTo>
                  <a:lnTo>
                    <a:pt x="1868" y="1621"/>
                  </a:lnTo>
                  <a:lnTo>
                    <a:pt x="1872" y="1619"/>
                  </a:lnTo>
                  <a:lnTo>
                    <a:pt x="1873" y="1614"/>
                  </a:lnTo>
                  <a:lnTo>
                    <a:pt x="1876" y="1613"/>
                  </a:lnTo>
                  <a:lnTo>
                    <a:pt x="1876" y="1610"/>
                  </a:lnTo>
                  <a:lnTo>
                    <a:pt x="1882" y="1606"/>
                  </a:lnTo>
                  <a:lnTo>
                    <a:pt x="1886" y="1600"/>
                  </a:lnTo>
                  <a:lnTo>
                    <a:pt x="1890" y="1596"/>
                  </a:lnTo>
                  <a:lnTo>
                    <a:pt x="1892" y="1593"/>
                  </a:lnTo>
                  <a:lnTo>
                    <a:pt x="1898" y="1586"/>
                  </a:lnTo>
                  <a:lnTo>
                    <a:pt x="1899" y="1580"/>
                  </a:lnTo>
                  <a:lnTo>
                    <a:pt x="1902" y="1579"/>
                  </a:lnTo>
                  <a:lnTo>
                    <a:pt x="1902" y="1574"/>
                  </a:lnTo>
                  <a:lnTo>
                    <a:pt x="1905" y="1570"/>
                  </a:lnTo>
                  <a:lnTo>
                    <a:pt x="1905" y="1569"/>
                  </a:lnTo>
                  <a:lnTo>
                    <a:pt x="1905" y="1567"/>
                  </a:lnTo>
                  <a:lnTo>
                    <a:pt x="1912" y="1559"/>
                  </a:lnTo>
                  <a:lnTo>
                    <a:pt x="1915" y="1553"/>
                  </a:lnTo>
                  <a:lnTo>
                    <a:pt x="1918" y="1547"/>
                  </a:lnTo>
                  <a:lnTo>
                    <a:pt x="1920" y="1544"/>
                  </a:lnTo>
                  <a:lnTo>
                    <a:pt x="1923" y="1543"/>
                  </a:lnTo>
                  <a:lnTo>
                    <a:pt x="1925" y="1540"/>
                  </a:lnTo>
                  <a:lnTo>
                    <a:pt x="1928" y="1537"/>
                  </a:lnTo>
                  <a:lnTo>
                    <a:pt x="1930" y="1534"/>
                  </a:lnTo>
                  <a:lnTo>
                    <a:pt x="1930" y="1531"/>
                  </a:lnTo>
                  <a:lnTo>
                    <a:pt x="1932" y="1526"/>
                  </a:lnTo>
                  <a:lnTo>
                    <a:pt x="1935" y="1521"/>
                  </a:lnTo>
                  <a:lnTo>
                    <a:pt x="1933" y="1520"/>
                  </a:lnTo>
                  <a:lnTo>
                    <a:pt x="1933" y="1519"/>
                  </a:lnTo>
                  <a:lnTo>
                    <a:pt x="1933" y="1517"/>
                  </a:lnTo>
                  <a:lnTo>
                    <a:pt x="1933" y="1516"/>
                  </a:lnTo>
                  <a:lnTo>
                    <a:pt x="1933" y="1514"/>
                  </a:lnTo>
                  <a:lnTo>
                    <a:pt x="1935" y="1513"/>
                  </a:lnTo>
                  <a:lnTo>
                    <a:pt x="1935" y="1511"/>
                  </a:lnTo>
                  <a:lnTo>
                    <a:pt x="1936" y="1506"/>
                  </a:lnTo>
                  <a:lnTo>
                    <a:pt x="1936" y="1501"/>
                  </a:lnTo>
                  <a:lnTo>
                    <a:pt x="1936" y="1500"/>
                  </a:lnTo>
                  <a:lnTo>
                    <a:pt x="1936" y="1497"/>
                  </a:lnTo>
                  <a:lnTo>
                    <a:pt x="1938" y="1494"/>
                  </a:lnTo>
                  <a:lnTo>
                    <a:pt x="1938" y="1494"/>
                  </a:lnTo>
                  <a:lnTo>
                    <a:pt x="1938" y="1493"/>
                  </a:lnTo>
                  <a:lnTo>
                    <a:pt x="1938" y="1493"/>
                  </a:lnTo>
                  <a:lnTo>
                    <a:pt x="1936" y="1493"/>
                  </a:lnTo>
                  <a:lnTo>
                    <a:pt x="1936" y="1481"/>
                  </a:lnTo>
                  <a:lnTo>
                    <a:pt x="1936" y="1476"/>
                  </a:lnTo>
                  <a:lnTo>
                    <a:pt x="1939" y="1471"/>
                  </a:lnTo>
                  <a:lnTo>
                    <a:pt x="1939" y="1469"/>
                  </a:lnTo>
                  <a:lnTo>
                    <a:pt x="1939" y="1464"/>
                  </a:lnTo>
                  <a:lnTo>
                    <a:pt x="1942" y="1460"/>
                  </a:lnTo>
                  <a:lnTo>
                    <a:pt x="1943" y="1454"/>
                  </a:lnTo>
                  <a:lnTo>
                    <a:pt x="1946" y="1451"/>
                  </a:lnTo>
                  <a:lnTo>
                    <a:pt x="1948" y="1449"/>
                  </a:lnTo>
                  <a:lnTo>
                    <a:pt x="1950" y="1447"/>
                  </a:lnTo>
                  <a:lnTo>
                    <a:pt x="1950" y="1443"/>
                  </a:lnTo>
                  <a:lnTo>
                    <a:pt x="1952" y="1440"/>
                  </a:lnTo>
                  <a:lnTo>
                    <a:pt x="1950" y="1439"/>
                  </a:lnTo>
                  <a:lnTo>
                    <a:pt x="1949" y="1437"/>
                  </a:lnTo>
                  <a:lnTo>
                    <a:pt x="1946" y="1436"/>
                  </a:lnTo>
                  <a:lnTo>
                    <a:pt x="1946" y="1433"/>
                  </a:lnTo>
                  <a:lnTo>
                    <a:pt x="1948" y="1430"/>
                  </a:lnTo>
                  <a:lnTo>
                    <a:pt x="1949" y="1427"/>
                  </a:lnTo>
                  <a:lnTo>
                    <a:pt x="1948" y="1423"/>
                  </a:lnTo>
                  <a:lnTo>
                    <a:pt x="1946" y="1422"/>
                  </a:lnTo>
                  <a:lnTo>
                    <a:pt x="1942" y="1417"/>
                  </a:lnTo>
                  <a:lnTo>
                    <a:pt x="1942" y="1416"/>
                  </a:lnTo>
                  <a:lnTo>
                    <a:pt x="1942" y="1416"/>
                  </a:lnTo>
                  <a:lnTo>
                    <a:pt x="1948" y="1419"/>
                  </a:lnTo>
                  <a:lnTo>
                    <a:pt x="1949" y="1416"/>
                  </a:lnTo>
                  <a:lnTo>
                    <a:pt x="1950" y="1413"/>
                  </a:lnTo>
                  <a:lnTo>
                    <a:pt x="1950" y="1410"/>
                  </a:lnTo>
                  <a:lnTo>
                    <a:pt x="1948" y="1410"/>
                  </a:lnTo>
                  <a:lnTo>
                    <a:pt x="1945" y="1406"/>
                  </a:lnTo>
                  <a:lnTo>
                    <a:pt x="1945" y="1406"/>
                  </a:lnTo>
                  <a:lnTo>
                    <a:pt x="1939" y="1403"/>
                  </a:lnTo>
                  <a:lnTo>
                    <a:pt x="1933" y="1397"/>
                  </a:lnTo>
                  <a:lnTo>
                    <a:pt x="1932" y="1392"/>
                  </a:lnTo>
                  <a:lnTo>
                    <a:pt x="1930" y="1390"/>
                  </a:lnTo>
                  <a:lnTo>
                    <a:pt x="1926" y="1386"/>
                  </a:lnTo>
                  <a:lnTo>
                    <a:pt x="1925" y="1384"/>
                  </a:lnTo>
                  <a:lnTo>
                    <a:pt x="1923" y="1384"/>
                  </a:lnTo>
                  <a:lnTo>
                    <a:pt x="1918" y="1386"/>
                  </a:lnTo>
                  <a:lnTo>
                    <a:pt x="1913" y="1386"/>
                  </a:lnTo>
                  <a:lnTo>
                    <a:pt x="1908" y="1383"/>
                  </a:lnTo>
                  <a:lnTo>
                    <a:pt x="1906" y="1383"/>
                  </a:lnTo>
                  <a:lnTo>
                    <a:pt x="1908" y="1386"/>
                  </a:lnTo>
                  <a:lnTo>
                    <a:pt x="1908" y="1387"/>
                  </a:lnTo>
                  <a:lnTo>
                    <a:pt x="1908" y="1390"/>
                  </a:lnTo>
                  <a:lnTo>
                    <a:pt x="1908" y="1396"/>
                  </a:lnTo>
                  <a:lnTo>
                    <a:pt x="1906" y="1399"/>
                  </a:lnTo>
                  <a:lnTo>
                    <a:pt x="1905" y="1403"/>
                  </a:lnTo>
                  <a:lnTo>
                    <a:pt x="1903" y="1404"/>
                  </a:lnTo>
                  <a:lnTo>
                    <a:pt x="1900" y="1404"/>
                  </a:lnTo>
                  <a:lnTo>
                    <a:pt x="1900" y="1404"/>
                  </a:lnTo>
                  <a:lnTo>
                    <a:pt x="1900" y="1403"/>
                  </a:lnTo>
                  <a:lnTo>
                    <a:pt x="1902" y="1400"/>
                  </a:lnTo>
                  <a:lnTo>
                    <a:pt x="1905" y="1397"/>
                  </a:lnTo>
                  <a:lnTo>
                    <a:pt x="1905" y="1393"/>
                  </a:lnTo>
                  <a:lnTo>
                    <a:pt x="1905" y="1393"/>
                  </a:lnTo>
                  <a:lnTo>
                    <a:pt x="1903" y="1393"/>
                  </a:lnTo>
                  <a:lnTo>
                    <a:pt x="1902" y="1394"/>
                  </a:lnTo>
                  <a:lnTo>
                    <a:pt x="1900" y="1399"/>
                  </a:lnTo>
                  <a:lnTo>
                    <a:pt x="1895" y="1403"/>
                  </a:lnTo>
                  <a:lnTo>
                    <a:pt x="1892" y="1403"/>
                  </a:lnTo>
                  <a:lnTo>
                    <a:pt x="1885" y="1404"/>
                  </a:lnTo>
                  <a:lnTo>
                    <a:pt x="1885" y="1404"/>
                  </a:lnTo>
                  <a:lnTo>
                    <a:pt x="1883" y="1403"/>
                  </a:lnTo>
                  <a:lnTo>
                    <a:pt x="1885" y="1402"/>
                  </a:lnTo>
                  <a:lnTo>
                    <a:pt x="1888" y="1400"/>
                  </a:lnTo>
                  <a:lnTo>
                    <a:pt x="1890" y="1396"/>
                  </a:lnTo>
                  <a:lnTo>
                    <a:pt x="1892" y="1394"/>
                  </a:lnTo>
                  <a:lnTo>
                    <a:pt x="1893" y="1393"/>
                  </a:lnTo>
                  <a:lnTo>
                    <a:pt x="1890" y="1393"/>
                  </a:lnTo>
                  <a:lnTo>
                    <a:pt x="1888" y="1392"/>
                  </a:lnTo>
                  <a:lnTo>
                    <a:pt x="1885" y="1389"/>
                  </a:lnTo>
                  <a:lnTo>
                    <a:pt x="1886" y="1389"/>
                  </a:lnTo>
                  <a:lnTo>
                    <a:pt x="1888" y="1389"/>
                  </a:lnTo>
                  <a:lnTo>
                    <a:pt x="1888" y="1387"/>
                  </a:lnTo>
                  <a:lnTo>
                    <a:pt x="1890" y="1384"/>
                  </a:lnTo>
                  <a:lnTo>
                    <a:pt x="1889" y="1384"/>
                  </a:lnTo>
                  <a:lnTo>
                    <a:pt x="1886" y="1384"/>
                  </a:lnTo>
                  <a:lnTo>
                    <a:pt x="1882" y="1387"/>
                  </a:lnTo>
                  <a:lnTo>
                    <a:pt x="1882" y="1389"/>
                  </a:lnTo>
                  <a:lnTo>
                    <a:pt x="1883" y="1390"/>
                  </a:lnTo>
                  <a:lnTo>
                    <a:pt x="1885" y="1392"/>
                  </a:lnTo>
                  <a:lnTo>
                    <a:pt x="1882" y="1396"/>
                  </a:lnTo>
                  <a:lnTo>
                    <a:pt x="1880" y="1396"/>
                  </a:lnTo>
                  <a:lnTo>
                    <a:pt x="1878" y="1396"/>
                  </a:lnTo>
                  <a:lnTo>
                    <a:pt x="1876" y="1397"/>
                  </a:lnTo>
                  <a:lnTo>
                    <a:pt x="1876" y="1397"/>
                  </a:lnTo>
                  <a:lnTo>
                    <a:pt x="1875" y="1393"/>
                  </a:lnTo>
                  <a:lnTo>
                    <a:pt x="1876" y="1390"/>
                  </a:lnTo>
                  <a:lnTo>
                    <a:pt x="1876" y="1382"/>
                  </a:lnTo>
                  <a:lnTo>
                    <a:pt x="1878" y="1379"/>
                  </a:lnTo>
                  <a:lnTo>
                    <a:pt x="1878" y="1376"/>
                  </a:lnTo>
                  <a:lnTo>
                    <a:pt x="1876" y="1374"/>
                  </a:lnTo>
                  <a:lnTo>
                    <a:pt x="1875" y="1374"/>
                  </a:lnTo>
                  <a:lnTo>
                    <a:pt x="1873" y="1374"/>
                  </a:lnTo>
                  <a:lnTo>
                    <a:pt x="1868" y="1374"/>
                  </a:lnTo>
                  <a:lnTo>
                    <a:pt x="1862" y="1376"/>
                  </a:lnTo>
                  <a:lnTo>
                    <a:pt x="1855" y="1373"/>
                  </a:lnTo>
                  <a:lnTo>
                    <a:pt x="1853" y="1372"/>
                  </a:lnTo>
                  <a:lnTo>
                    <a:pt x="1852" y="1372"/>
                  </a:lnTo>
                  <a:lnTo>
                    <a:pt x="1852" y="1369"/>
                  </a:lnTo>
                  <a:lnTo>
                    <a:pt x="1852" y="1367"/>
                  </a:lnTo>
                  <a:lnTo>
                    <a:pt x="1852" y="1366"/>
                  </a:lnTo>
                  <a:lnTo>
                    <a:pt x="1856" y="1362"/>
                  </a:lnTo>
                  <a:lnTo>
                    <a:pt x="1861" y="1360"/>
                  </a:lnTo>
                  <a:lnTo>
                    <a:pt x="1866" y="1354"/>
                  </a:lnTo>
                  <a:lnTo>
                    <a:pt x="1869" y="1350"/>
                  </a:lnTo>
                  <a:lnTo>
                    <a:pt x="1872" y="1347"/>
                  </a:lnTo>
                  <a:lnTo>
                    <a:pt x="1876" y="1344"/>
                  </a:lnTo>
                  <a:lnTo>
                    <a:pt x="1880" y="1342"/>
                  </a:lnTo>
                  <a:lnTo>
                    <a:pt x="1883" y="1339"/>
                  </a:lnTo>
                  <a:lnTo>
                    <a:pt x="1886" y="1337"/>
                  </a:lnTo>
                  <a:lnTo>
                    <a:pt x="1889" y="1333"/>
                  </a:lnTo>
                  <a:lnTo>
                    <a:pt x="1890" y="1332"/>
                  </a:lnTo>
                  <a:lnTo>
                    <a:pt x="1898" y="1323"/>
                  </a:lnTo>
                  <a:lnTo>
                    <a:pt x="1898" y="1322"/>
                  </a:lnTo>
                  <a:lnTo>
                    <a:pt x="1899" y="1319"/>
                  </a:lnTo>
                  <a:lnTo>
                    <a:pt x="1899" y="1317"/>
                  </a:lnTo>
                  <a:lnTo>
                    <a:pt x="1906" y="1307"/>
                  </a:lnTo>
                  <a:lnTo>
                    <a:pt x="1912" y="1304"/>
                  </a:lnTo>
                  <a:lnTo>
                    <a:pt x="1915" y="1299"/>
                  </a:lnTo>
                  <a:lnTo>
                    <a:pt x="1919" y="1297"/>
                  </a:lnTo>
                  <a:lnTo>
                    <a:pt x="1920" y="1296"/>
                  </a:lnTo>
                  <a:lnTo>
                    <a:pt x="1922" y="1293"/>
                  </a:lnTo>
                  <a:lnTo>
                    <a:pt x="1925" y="1292"/>
                  </a:lnTo>
                  <a:lnTo>
                    <a:pt x="1926" y="1290"/>
                  </a:lnTo>
                  <a:lnTo>
                    <a:pt x="1928" y="1286"/>
                  </a:lnTo>
                  <a:lnTo>
                    <a:pt x="1935" y="1283"/>
                  </a:lnTo>
                  <a:lnTo>
                    <a:pt x="1936" y="1282"/>
                  </a:lnTo>
                  <a:lnTo>
                    <a:pt x="1939" y="1270"/>
                  </a:lnTo>
                  <a:lnTo>
                    <a:pt x="1940" y="1267"/>
                  </a:lnTo>
                  <a:lnTo>
                    <a:pt x="1943" y="1264"/>
                  </a:lnTo>
                  <a:lnTo>
                    <a:pt x="1949" y="1262"/>
                  </a:lnTo>
                  <a:lnTo>
                    <a:pt x="1953" y="1257"/>
                  </a:lnTo>
                  <a:lnTo>
                    <a:pt x="1956" y="1254"/>
                  </a:lnTo>
                  <a:lnTo>
                    <a:pt x="1960" y="1246"/>
                  </a:lnTo>
                  <a:lnTo>
                    <a:pt x="1966" y="1242"/>
                  </a:lnTo>
                  <a:lnTo>
                    <a:pt x="1969" y="1239"/>
                  </a:lnTo>
                  <a:lnTo>
                    <a:pt x="1979" y="1235"/>
                  </a:lnTo>
                  <a:lnTo>
                    <a:pt x="1985" y="1236"/>
                  </a:lnTo>
                  <a:lnTo>
                    <a:pt x="1990" y="1233"/>
                  </a:lnTo>
                  <a:lnTo>
                    <a:pt x="1995" y="1233"/>
                  </a:lnTo>
                  <a:lnTo>
                    <a:pt x="2000" y="1235"/>
                  </a:lnTo>
                  <a:lnTo>
                    <a:pt x="2017" y="1233"/>
                  </a:lnTo>
                  <a:lnTo>
                    <a:pt x="2020" y="1235"/>
                  </a:lnTo>
                  <a:lnTo>
                    <a:pt x="2022" y="1236"/>
                  </a:lnTo>
                  <a:lnTo>
                    <a:pt x="2023" y="1240"/>
                  </a:lnTo>
                  <a:lnTo>
                    <a:pt x="2025" y="1242"/>
                  </a:lnTo>
                  <a:lnTo>
                    <a:pt x="2029" y="1240"/>
                  </a:lnTo>
                  <a:lnTo>
                    <a:pt x="2032" y="1233"/>
                  </a:lnTo>
                  <a:lnTo>
                    <a:pt x="2033" y="1232"/>
                  </a:lnTo>
                  <a:lnTo>
                    <a:pt x="2037" y="1235"/>
                  </a:lnTo>
                  <a:lnTo>
                    <a:pt x="2040" y="1235"/>
                  </a:lnTo>
                  <a:lnTo>
                    <a:pt x="2049" y="1239"/>
                  </a:lnTo>
                  <a:lnTo>
                    <a:pt x="2052" y="1237"/>
                  </a:lnTo>
                  <a:lnTo>
                    <a:pt x="2055" y="1235"/>
                  </a:lnTo>
                  <a:lnTo>
                    <a:pt x="2060" y="1233"/>
                  </a:lnTo>
                  <a:lnTo>
                    <a:pt x="2065" y="1239"/>
                  </a:lnTo>
                  <a:lnTo>
                    <a:pt x="2067" y="1239"/>
                  </a:lnTo>
                  <a:lnTo>
                    <a:pt x="2070" y="1237"/>
                  </a:lnTo>
                  <a:lnTo>
                    <a:pt x="2072" y="1235"/>
                  </a:lnTo>
                  <a:lnTo>
                    <a:pt x="2070" y="1235"/>
                  </a:lnTo>
                  <a:lnTo>
                    <a:pt x="2069" y="1235"/>
                  </a:lnTo>
                  <a:lnTo>
                    <a:pt x="2067" y="1233"/>
                  </a:lnTo>
                  <a:lnTo>
                    <a:pt x="2069" y="1230"/>
                  </a:lnTo>
                  <a:lnTo>
                    <a:pt x="2072" y="1232"/>
                  </a:lnTo>
                  <a:lnTo>
                    <a:pt x="2074" y="1232"/>
                  </a:lnTo>
                  <a:lnTo>
                    <a:pt x="2076" y="1232"/>
                  </a:lnTo>
                  <a:lnTo>
                    <a:pt x="2074" y="1230"/>
                  </a:lnTo>
                  <a:lnTo>
                    <a:pt x="2074" y="1229"/>
                  </a:lnTo>
                  <a:lnTo>
                    <a:pt x="2073" y="1227"/>
                  </a:lnTo>
                  <a:lnTo>
                    <a:pt x="2077" y="1223"/>
                  </a:lnTo>
                  <a:lnTo>
                    <a:pt x="2079" y="1223"/>
                  </a:lnTo>
                  <a:lnTo>
                    <a:pt x="2083" y="1222"/>
                  </a:lnTo>
                  <a:lnTo>
                    <a:pt x="2092" y="1226"/>
                  </a:lnTo>
                  <a:lnTo>
                    <a:pt x="2093" y="1226"/>
                  </a:lnTo>
                  <a:lnTo>
                    <a:pt x="2096" y="1227"/>
                  </a:lnTo>
                  <a:lnTo>
                    <a:pt x="2099" y="1229"/>
                  </a:lnTo>
                  <a:lnTo>
                    <a:pt x="2097" y="1230"/>
                  </a:lnTo>
                  <a:lnTo>
                    <a:pt x="2096" y="1232"/>
                  </a:lnTo>
                  <a:lnTo>
                    <a:pt x="2099" y="1230"/>
                  </a:lnTo>
                  <a:lnTo>
                    <a:pt x="2100" y="1232"/>
                  </a:lnTo>
                  <a:lnTo>
                    <a:pt x="2102" y="1232"/>
                  </a:lnTo>
                  <a:lnTo>
                    <a:pt x="2102" y="1232"/>
                  </a:lnTo>
                  <a:lnTo>
                    <a:pt x="2103" y="1230"/>
                  </a:lnTo>
                  <a:lnTo>
                    <a:pt x="2104" y="1229"/>
                  </a:lnTo>
                  <a:lnTo>
                    <a:pt x="2104" y="1229"/>
                  </a:lnTo>
                  <a:lnTo>
                    <a:pt x="2107" y="1229"/>
                  </a:lnTo>
                  <a:lnTo>
                    <a:pt x="2110" y="1229"/>
                  </a:lnTo>
                  <a:lnTo>
                    <a:pt x="2112" y="1230"/>
                  </a:lnTo>
                  <a:lnTo>
                    <a:pt x="2117" y="1236"/>
                  </a:lnTo>
                  <a:lnTo>
                    <a:pt x="2119" y="1237"/>
                  </a:lnTo>
                  <a:lnTo>
                    <a:pt x="2122" y="1237"/>
                  </a:lnTo>
                  <a:lnTo>
                    <a:pt x="2123" y="1237"/>
                  </a:lnTo>
                  <a:lnTo>
                    <a:pt x="2124" y="1240"/>
                  </a:lnTo>
                  <a:lnTo>
                    <a:pt x="2120" y="1242"/>
                  </a:lnTo>
                  <a:lnTo>
                    <a:pt x="2116" y="1242"/>
                  </a:lnTo>
                  <a:lnTo>
                    <a:pt x="2112" y="1242"/>
                  </a:lnTo>
                  <a:lnTo>
                    <a:pt x="2106" y="1244"/>
                  </a:lnTo>
                  <a:lnTo>
                    <a:pt x="2109" y="1250"/>
                  </a:lnTo>
                  <a:lnTo>
                    <a:pt x="2116" y="1250"/>
                  </a:lnTo>
                  <a:lnTo>
                    <a:pt x="2122" y="1249"/>
                  </a:lnTo>
                  <a:lnTo>
                    <a:pt x="2123" y="1246"/>
                  </a:lnTo>
                  <a:lnTo>
                    <a:pt x="2126" y="1246"/>
                  </a:lnTo>
                  <a:lnTo>
                    <a:pt x="2127" y="1246"/>
                  </a:lnTo>
                  <a:lnTo>
                    <a:pt x="2130" y="1247"/>
                  </a:lnTo>
                  <a:lnTo>
                    <a:pt x="2133" y="1249"/>
                  </a:lnTo>
                  <a:lnTo>
                    <a:pt x="2134" y="1249"/>
                  </a:lnTo>
                  <a:lnTo>
                    <a:pt x="2137" y="1244"/>
                  </a:lnTo>
                  <a:lnTo>
                    <a:pt x="2139" y="1243"/>
                  </a:lnTo>
                  <a:lnTo>
                    <a:pt x="2140" y="1243"/>
                  </a:lnTo>
                  <a:lnTo>
                    <a:pt x="2142" y="1240"/>
                  </a:lnTo>
                  <a:lnTo>
                    <a:pt x="2147" y="1240"/>
                  </a:lnTo>
                  <a:lnTo>
                    <a:pt x="2150" y="1243"/>
                  </a:lnTo>
                  <a:lnTo>
                    <a:pt x="2153" y="1244"/>
                  </a:lnTo>
                  <a:lnTo>
                    <a:pt x="2156" y="1243"/>
                  </a:lnTo>
                  <a:lnTo>
                    <a:pt x="2159" y="1240"/>
                  </a:lnTo>
                  <a:lnTo>
                    <a:pt x="2160" y="1240"/>
                  </a:lnTo>
                  <a:lnTo>
                    <a:pt x="2163" y="1242"/>
                  </a:lnTo>
                  <a:lnTo>
                    <a:pt x="2166" y="1240"/>
                  </a:lnTo>
                  <a:lnTo>
                    <a:pt x="2169" y="1240"/>
                  </a:lnTo>
                  <a:lnTo>
                    <a:pt x="2171" y="1240"/>
                  </a:lnTo>
                  <a:lnTo>
                    <a:pt x="2170" y="1239"/>
                  </a:lnTo>
                  <a:lnTo>
                    <a:pt x="2171" y="1236"/>
                  </a:lnTo>
                  <a:lnTo>
                    <a:pt x="2167" y="1233"/>
                  </a:lnTo>
                  <a:lnTo>
                    <a:pt x="2162" y="1230"/>
                  </a:lnTo>
                  <a:lnTo>
                    <a:pt x="2159" y="1232"/>
                  </a:lnTo>
                  <a:lnTo>
                    <a:pt x="2157" y="1232"/>
                  </a:lnTo>
                  <a:lnTo>
                    <a:pt x="2156" y="1232"/>
                  </a:lnTo>
                  <a:lnTo>
                    <a:pt x="2154" y="1230"/>
                  </a:lnTo>
                  <a:lnTo>
                    <a:pt x="2156" y="1227"/>
                  </a:lnTo>
                  <a:lnTo>
                    <a:pt x="2157" y="1226"/>
                  </a:lnTo>
                  <a:lnTo>
                    <a:pt x="2156" y="1223"/>
                  </a:lnTo>
                  <a:lnTo>
                    <a:pt x="2157" y="1220"/>
                  </a:lnTo>
                  <a:lnTo>
                    <a:pt x="2159" y="1219"/>
                  </a:lnTo>
                  <a:lnTo>
                    <a:pt x="2159" y="1219"/>
                  </a:lnTo>
                  <a:lnTo>
                    <a:pt x="2162" y="1212"/>
                  </a:lnTo>
                  <a:lnTo>
                    <a:pt x="2167" y="1203"/>
                  </a:lnTo>
                  <a:lnTo>
                    <a:pt x="2176" y="1197"/>
                  </a:lnTo>
                  <a:lnTo>
                    <a:pt x="2180" y="1193"/>
                  </a:lnTo>
                  <a:lnTo>
                    <a:pt x="2181" y="1190"/>
                  </a:lnTo>
                  <a:lnTo>
                    <a:pt x="2186" y="1183"/>
                  </a:lnTo>
                  <a:lnTo>
                    <a:pt x="2190" y="1177"/>
                  </a:lnTo>
                  <a:lnTo>
                    <a:pt x="2191" y="1176"/>
                  </a:lnTo>
                  <a:lnTo>
                    <a:pt x="2194" y="1173"/>
                  </a:lnTo>
                  <a:lnTo>
                    <a:pt x="2196" y="1166"/>
                  </a:lnTo>
                  <a:lnTo>
                    <a:pt x="2197" y="1165"/>
                  </a:lnTo>
                  <a:lnTo>
                    <a:pt x="2199" y="1163"/>
                  </a:lnTo>
                  <a:lnTo>
                    <a:pt x="2201" y="1160"/>
                  </a:lnTo>
                  <a:lnTo>
                    <a:pt x="2206" y="1157"/>
                  </a:lnTo>
                  <a:lnTo>
                    <a:pt x="2207" y="1156"/>
                  </a:lnTo>
                  <a:lnTo>
                    <a:pt x="2213" y="1156"/>
                  </a:lnTo>
                  <a:lnTo>
                    <a:pt x="2217" y="1157"/>
                  </a:lnTo>
                  <a:lnTo>
                    <a:pt x="2219" y="1157"/>
                  </a:lnTo>
                  <a:lnTo>
                    <a:pt x="2221" y="1155"/>
                  </a:lnTo>
                  <a:lnTo>
                    <a:pt x="2226" y="1156"/>
                  </a:lnTo>
                  <a:lnTo>
                    <a:pt x="2230" y="1155"/>
                  </a:lnTo>
                  <a:lnTo>
                    <a:pt x="2234" y="1152"/>
                  </a:lnTo>
                  <a:lnTo>
                    <a:pt x="2236" y="1152"/>
                  </a:lnTo>
                  <a:lnTo>
                    <a:pt x="2237" y="1152"/>
                  </a:lnTo>
                  <a:lnTo>
                    <a:pt x="2239" y="1156"/>
                  </a:lnTo>
                  <a:lnTo>
                    <a:pt x="2240" y="1156"/>
                  </a:lnTo>
                  <a:lnTo>
                    <a:pt x="2241" y="1159"/>
                  </a:lnTo>
                  <a:lnTo>
                    <a:pt x="2244" y="1157"/>
                  </a:lnTo>
                  <a:lnTo>
                    <a:pt x="2251" y="1152"/>
                  </a:lnTo>
                  <a:lnTo>
                    <a:pt x="2253" y="1152"/>
                  </a:lnTo>
                  <a:lnTo>
                    <a:pt x="2253" y="1153"/>
                  </a:lnTo>
                  <a:lnTo>
                    <a:pt x="2253" y="1155"/>
                  </a:lnTo>
                  <a:lnTo>
                    <a:pt x="2253" y="1156"/>
                  </a:lnTo>
                  <a:lnTo>
                    <a:pt x="2253" y="1160"/>
                  </a:lnTo>
                  <a:lnTo>
                    <a:pt x="2251" y="1165"/>
                  </a:lnTo>
                  <a:lnTo>
                    <a:pt x="2247" y="1172"/>
                  </a:lnTo>
                  <a:lnTo>
                    <a:pt x="2247" y="1173"/>
                  </a:lnTo>
                  <a:lnTo>
                    <a:pt x="2247" y="1175"/>
                  </a:lnTo>
                  <a:lnTo>
                    <a:pt x="2247" y="1179"/>
                  </a:lnTo>
                  <a:lnTo>
                    <a:pt x="2246" y="1182"/>
                  </a:lnTo>
                  <a:lnTo>
                    <a:pt x="2246" y="1185"/>
                  </a:lnTo>
                  <a:lnTo>
                    <a:pt x="2247" y="1185"/>
                  </a:lnTo>
                  <a:lnTo>
                    <a:pt x="2249" y="1182"/>
                  </a:lnTo>
                  <a:lnTo>
                    <a:pt x="2251" y="1180"/>
                  </a:lnTo>
                  <a:lnTo>
                    <a:pt x="2253" y="1182"/>
                  </a:lnTo>
                  <a:lnTo>
                    <a:pt x="2254" y="1182"/>
                  </a:lnTo>
                  <a:lnTo>
                    <a:pt x="2251" y="1187"/>
                  </a:lnTo>
                  <a:lnTo>
                    <a:pt x="2251" y="1192"/>
                  </a:lnTo>
                  <a:lnTo>
                    <a:pt x="2251" y="1193"/>
                  </a:lnTo>
                  <a:lnTo>
                    <a:pt x="2251" y="1195"/>
                  </a:lnTo>
                  <a:lnTo>
                    <a:pt x="2253" y="1193"/>
                  </a:lnTo>
                  <a:lnTo>
                    <a:pt x="2254" y="1192"/>
                  </a:lnTo>
                  <a:lnTo>
                    <a:pt x="2256" y="1192"/>
                  </a:lnTo>
                  <a:lnTo>
                    <a:pt x="2260" y="1190"/>
                  </a:lnTo>
                  <a:lnTo>
                    <a:pt x="2263" y="1186"/>
                  </a:lnTo>
                  <a:lnTo>
                    <a:pt x="2266" y="1183"/>
                  </a:lnTo>
                  <a:lnTo>
                    <a:pt x="2283" y="1165"/>
                  </a:lnTo>
                  <a:lnTo>
                    <a:pt x="2287" y="1160"/>
                  </a:lnTo>
                  <a:lnTo>
                    <a:pt x="2288" y="1160"/>
                  </a:lnTo>
                  <a:lnTo>
                    <a:pt x="2290" y="1160"/>
                  </a:lnTo>
                  <a:lnTo>
                    <a:pt x="2291" y="1160"/>
                  </a:lnTo>
                  <a:lnTo>
                    <a:pt x="2291" y="1159"/>
                  </a:lnTo>
                  <a:lnTo>
                    <a:pt x="2293" y="1159"/>
                  </a:lnTo>
                  <a:lnTo>
                    <a:pt x="2294" y="1159"/>
                  </a:lnTo>
                  <a:lnTo>
                    <a:pt x="2296" y="1163"/>
                  </a:lnTo>
                  <a:lnTo>
                    <a:pt x="2296" y="1165"/>
                  </a:lnTo>
                  <a:lnTo>
                    <a:pt x="2297" y="1165"/>
                  </a:lnTo>
                  <a:lnTo>
                    <a:pt x="2298" y="1163"/>
                  </a:lnTo>
                  <a:lnTo>
                    <a:pt x="2298" y="1162"/>
                  </a:lnTo>
                  <a:lnTo>
                    <a:pt x="2300" y="1162"/>
                  </a:lnTo>
                  <a:lnTo>
                    <a:pt x="2300" y="1159"/>
                  </a:lnTo>
                  <a:lnTo>
                    <a:pt x="2300" y="1157"/>
                  </a:lnTo>
                  <a:lnTo>
                    <a:pt x="2297" y="1156"/>
                  </a:lnTo>
                  <a:lnTo>
                    <a:pt x="2297" y="1153"/>
                  </a:lnTo>
                  <a:lnTo>
                    <a:pt x="2298" y="1147"/>
                  </a:lnTo>
                  <a:lnTo>
                    <a:pt x="2298" y="1143"/>
                  </a:lnTo>
                  <a:lnTo>
                    <a:pt x="2298" y="1140"/>
                  </a:lnTo>
                  <a:lnTo>
                    <a:pt x="2300" y="1139"/>
                  </a:lnTo>
                  <a:lnTo>
                    <a:pt x="2300" y="1137"/>
                  </a:lnTo>
                  <a:lnTo>
                    <a:pt x="2301" y="1136"/>
                  </a:lnTo>
                  <a:lnTo>
                    <a:pt x="2300" y="1133"/>
                  </a:lnTo>
                  <a:lnTo>
                    <a:pt x="2301" y="1132"/>
                  </a:lnTo>
                  <a:lnTo>
                    <a:pt x="2301" y="1130"/>
                  </a:lnTo>
                  <a:lnTo>
                    <a:pt x="2317" y="1125"/>
                  </a:lnTo>
                  <a:lnTo>
                    <a:pt x="2318" y="1125"/>
                  </a:lnTo>
                  <a:lnTo>
                    <a:pt x="2321" y="1126"/>
                  </a:lnTo>
                  <a:lnTo>
                    <a:pt x="2326" y="1129"/>
                  </a:lnTo>
                  <a:lnTo>
                    <a:pt x="2328" y="1132"/>
                  </a:lnTo>
                  <a:lnTo>
                    <a:pt x="2334" y="1132"/>
                  </a:lnTo>
                  <a:lnTo>
                    <a:pt x="2336" y="1133"/>
                  </a:lnTo>
                  <a:lnTo>
                    <a:pt x="2333" y="1133"/>
                  </a:lnTo>
                  <a:lnTo>
                    <a:pt x="2331" y="1133"/>
                  </a:lnTo>
                  <a:lnTo>
                    <a:pt x="2333" y="1135"/>
                  </a:lnTo>
                  <a:lnTo>
                    <a:pt x="2331" y="1136"/>
                  </a:lnTo>
                  <a:lnTo>
                    <a:pt x="2330" y="1135"/>
                  </a:lnTo>
                  <a:lnTo>
                    <a:pt x="2327" y="1135"/>
                  </a:lnTo>
                  <a:lnTo>
                    <a:pt x="2323" y="1133"/>
                  </a:lnTo>
                  <a:lnTo>
                    <a:pt x="2321" y="1133"/>
                  </a:lnTo>
                  <a:lnTo>
                    <a:pt x="2317" y="1137"/>
                  </a:lnTo>
                  <a:lnTo>
                    <a:pt x="2316" y="1139"/>
                  </a:lnTo>
                  <a:lnTo>
                    <a:pt x="2314" y="1147"/>
                  </a:lnTo>
                  <a:lnTo>
                    <a:pt x="2314" y="1153"/>
                  </a:lnTo>
                  <a:lnTo>
                    <a:pt x="2313" y="1159"/>
                  </a:lnTo>
                  <a:lnTo>
                    <a:pt x="2310" y="1162"/>
                  </a:lnTo>
                  <a:lnTo>
                    <a:pt x="2310" y="1165"/>
                  </a:lnTo>
                  <a:lnTo>
                    <a:pt x="2310" y="1167"/>
                  </a:lnTo>
                  <a:lnTo>
                    <a:pt x="2311" y="1169"/>
                  </a:lnTo>
                  <a:lnTo>
                    <a:pt x="2313" y="1170"/>
                  </a:lnTo>
                  <a:lnTo>
                    <a:pt x="2313" y="1172"/>
                  </a:lnTo>
                  <a:lnTo>
                    <a:pt x="2311" y="1175"/>
                  </a:lnTo>
                  <a:lnTo>
                    <a:pt x="2306" y="1179"/>
                  </a:lnTo>
                  <a:lnTo>
                    <a:pt x="2306" y="1180"/>
                  </a:lnTo>
                  <a:lnTo>
                    <a:pt x="2306" y="1182"/>
                  </a:lnTo>
                  <a:lnTo>
                    <a:pt x="2307" y="1186"/>
                  </a:lnTo>
                  <a:lnTo>
                    <a:pt x="2306" y="1186"/>
                  </a:lnTo>
                  <a:lnTo>
                    <a:pt x="2304" y="1187"/>
                  </a:lnTo>
                  <a:lnTo>
                    <a:pt x="2301" y="1189"/>
                  </a:lnTo>
                  <a:lnTo>
                    <a:pt x="2296" y="1190"/>
                  </a:lnTo>
                  <a:lnTo>
                    <a:pt x="2291" y="1193"/>
                  </a:lnTo>
                  <a:lnTo>
                    <a:pt x="2284" y="1197"/>
                  </a:lnTo>
                  <a:lnTo>
                    <a:pt x="2281" y="1200"/>
                  </a:lnTo>
                  <a:lnTo>
                    <a:pt x="2280" y="1202"/>
                  </a:lnTo>
                  <a:lnTo>
                    <a:pt x="2278" y="1207"/>
                  </a:lnTo>
                  <a:lnTo>
                    <a:pt x="2277" y="1210"/>
                  </a:lnTo>
                  <a:lnTo>
                    <a:pt x="2271" y="1215"/>
                  </a:lnTo>
                  <a:lnTo>
                    <a:pt x="2268" y="1220"/>
                  </a:lnTo>
                  <a:lnTo>
                    <a:pt x="2261" y="1227"/>
                  </a:lnTo>
                  <a:lnTo>
                    <a:pt x="2260" y="1227"/>
                  </a:lnTo>
                  <a:lnTo>
                    <a:pt x="2257" y="1229"/>
                  </a:lnTo>
                  <a:lnTo>
                    <a:pt x="2254" y="1235"/>
                  </a:lnTo>
                  <a:lnTo>
                    <a:pt x="2246" y="1243"/>
                  </a:lnTo>
                  <a:lnTo>
                    <a:pt x="2241" y="1253"/>
                  </a:lnTo>
                  <a:lnTo>
                    <a:pt x="2240" y="1256"/>
                  </a:lnTo>
                  <a:lnTo>
                    <a:pt x="2237" y="1259"/>
                  </a:lnTo>
                  <a:lnTo>
                    <a:pt x="2236" y="1262"/>
                  </a:lnTo>
                  <a:lnTo>
                    <a:pt x="2233" y="1264"/>
                  </a:lnTo>
                  <a:lnTo>
                    <a:pt x="2227" y="1269"/>
                  </a:lnTo>
                  <a:lnTo>
                    <a:pt x="2223" y="1272"/>
                  </a:lnTo>
                  <a:lnTo>
                    <a:pt x="2221" y="1274"/>
                  </a:lnTo>
                  <a:lnTo>
                    <a:pt x="2220" y="1277"/>
                  </a:lnTo>
                  <a:lnTo>
                    <a:pt x="2220" y="1276"/>
                  </a:lnTo>
                  <a:lnTo>
                    <a:pt x="2216" y="1277"/>
                  </a:lnTo>
                  <a:lnTo>
                    <a:pt x="2211" y="1276"/>
                  </a:lnTo>
                  <a:lnTo>
                    <a:pt x="2207" y="1283"/>
                  </a:lnTo>
                  <a:lnTo>
                    <a:pt x="2204" y="1284"/>
                  </a:lnTo>
                  <a:lnTo>
                    <a:pt x="2200" y="1282"/>
                  </a:lnTo>
                  <a:lnTo>
                    <a:pt x="2199" y="1283"/>
                  </a:lnTo>
                  <a:lnTo>
                    <a:pt x="2197" y="1284"/>
                  </a:lnTo>
                  <a:lnTo>
                    <a:pt x="2197" y="1284"/>
                  </a:lnTo>
                  <a:lnTo>
                    <a:pt x="2199" y="1287"/>
                  </a:lnTo>
                  <a:lnTo>
                    <a:pt x="2200" y="1289"/>
                  </a:lnTo>
                  <a:lnTo>
                    <a:pt x="2200" y="1290"/>
                  </a:lnTo>
                  <a:lnTo>
                    <a:pt x="2200" y="1293"/>
                  </a:lnTo>
                  <a:lnTo>
                    <a:pt x="2197" y="1299"/>
                  </a:lnTo>
                  <a:lnTo>
                    <a:pt x="2196" y="1303"/>
                  </a:lnTo>
                  <a:lnTo>
                    <a:pt x="2193" y="1306"/>
                  </a:lnTo>
                  <a:lnTo>
                    <a:pt x="2186" y="1313"/>
                  </a:lnTo>
                  <a:lnTo>
                    <a:pt x="2184" y="1314"/>
                  </a:lnTo>
                  <a:lnTo>
                    <a:pt x="2184" y="1316"/>
                  </a:lnTo>
                  <a:lnTo>
                    <a:pt x="2180" y="1334"/>
                  </a:lnTo>
                  <a:lnTo>
                    <a:pt x="2179" y="1342"/>
                  </a:lnTo>
                  <a:lnTo>
                    <a:pt x="2177" y="1354"/>
                  </a:lnTo>
                  <a:lnTo>
                    <a:pt x="2177" y="1359"/>
                  </a:lnTo>
                  <a:lnTo>
                    <a:pt x="2179" y="1367"/>
                  </a:lnTo>
                  <a:lnTo>
                    <a:pt x="2180" y="1377"/>
                  </a:lnTo>
                  <a:lnTo>
                    <a:pt x="2183" y="1393"/>
                  </a:lnTo>
                  <a:lnTo>
                    <a:pt x="2183" y="1399"/>
                  </a:lnTo>
                  <a:lnTo>
                    <a:pt x="2186" y="1419"/>
                  </a:lnTo>
                  <a:lnTo>
                    <a:pt x="2186" y="1422"/>
                  </a:lnTo>
                  <a:lnTo>
                    <a:pt x="2187" y="1426"/>
                  </a:lnTo>
                  <a:lnTo>
                    <a:pt x="2189" y="1429"/>
                  </a:lnTo>
                  <a:lnTo>
                    <a:pt x="2190" y="1432"/>
                  </a:lnTo>
                  <a:lnTo>
                    <a:pt x="2190" y="1436"/>
                  </a:lnTo>
                  <a:lnTo>
                    <a:pt x="2191" y="1447"/>
                  </a:lnTo>
                  <a:lnTo>
                    <a:pt x="2193" y="1459"/>
                  </a:lnTo>
                  <a:lnTo>
                    <a:pt x="2193" y="1461"/>
                  </a:lnTo>
                  <a:lnTo>
                    <a:pt x="2193" y="1463"/>
                  </a:lnTo>
                  <a:lnTo>
                    <a:pt x="2194" y="1464"/>
                  </a:lnTo>
                  <a:lnTo>
                    <a:pt x="2196" y="1467"/>
                  </a:lnTo>
                  <a:lnTo>
                    <a:pt x="2196" y="1469"/>
                  </a:lnTo>
                  <a:lnTo>
                    <a:pt x="2196" y="1471"/>
                  </a:lnTo>
                  <a:lnTo>
                    <a:pt x="2197" y="1470"/>
                  </a:lnTo>
                  <a:lnTo>
                    <a:pt x="2203" y="1466"/>
                  </a:lnTo>
                  <a:lnTo>
                    <a:pt x="2209" y="1460"/>
                  </a:lnTo>
                  <a:lnTo>
                    <a:pt x="2209" y="1459"/>
                  </a:lnTo>
                  <a:lnTo>
                    <a:pt x="2210" y="1457"/>
                  </a:lnTo>
                  <a:lnTo>
                    <a:pt x="2213" y="1454"/>
                  </a:lnTo>
                  <a:lnTo>
                    <a:pt x="2219" y="1450"/>
                  </a:lnTo>
                  <a:lnTo>
                    <a:pt x="2221" y="1443"/>
                  </a:lnTo>
                  <a:lnTo>
                    <a:pt x="2224" y="1437"/>
                  </a:lnTo>
                  <a:lnTo>
                    <a:pt x="2224" y="1434"/>
                  </a:lnTo>
                  <a:lnTo>
                    <a:pt x="2224" y="1433"/>
                  </a:lnTo>
                  <a:lnTo>
                    <a:pt x="2224" y="1429"/>
                  </a:lnTo>
                  <a:lnTo>
                    <a:pt x="2224" y="1427"/>
                  </a:lnTo>
                  <a:lnTo>
                    <a:pt x="2226" y="1422"/>
                  </a:lnTo>
                  <a:lnTo>
                    <a:pt x="2226" y="1420"/>
                  </a:lnTo>
                  <a:lnTo>
                    <a:pt x="2223" y="1420"/>
                  </a:lnTo>
                  <a:lnTo>
                    <a:pt x="2224" y="1417"/>
                  </a:lnTo>
                  <a:lnTo>
                    <a:pt x="2226" y="1417"/>
                  </a:lnTo>
                  <a:lnTo>
                    <a:pt x="2227" y="1419"/>
                  </a:lnTo>
                  <a:lnTo>
                    <a:pt x="2227" y="1420"/>
                  </a:lnTo>
                  <a:lnTo>
                    <a:pt x="2229" y="1422"/>
                  </a:lnTo>
                  <a:lnTo>
                    <a:pt x="2231" y="1417"/>
                  </a:lnTo>
                  <a:lnTo>
                    <a:pt x="2234" y="1416"/>
                  </a:lnTo>
                  <a:lnTo>
                    <a:pt x="2241" y="1413"/>
                  </a:lnTo>
                  <a:lnTo>
                    <a:pt x="2244" y="1413"/>
                  </a:lnTo>
                  <a:lnTo>
                    <a:pt x="2247" y="1416"/>
                  </a:lnTo>
                  <a:lnTo>
                    <a:pt x="2249" y="1416"/>
                  </a:lnTo>
                  <a:lnTo>
                    <a:pt x="2249" y="1412"/>
                  </a:lnTo>
                  <a:lnTo>
                    <a:pt x="2247" y="1409"/>
                  </a:lnTo>
                  <a:lnTo>
                    <a:pt x="2247" y="1407"/>
                  </a:lnTo>
                  <a:lnTo>
                    <a:pt x="2247" y="1404"/>
                  </a:lnTo>
                  <a:lnTo>
                    <a:pt x="2247" y="1402"/>
                  </a:lnTo>
                  <a:lnTo>
                    <a:pt x="2246" y="1400"/>
                  </a:lnTo>
                  <a:lnTo>
                    <a:pt x="2246" y="1397"/>
                  </a:lnTo>
                  <a:lnTo>
                    <a:pt x="2247" y="1392"/>
                  </a:lnTo>
                  <a:lnTo>
                    <a:pt x="2249" y="1389"/>
                  </a:lnTo>
                  <a:lnTo>
                    <a:pt x="2250" y="1387"/>
                  </a:lnTo>
                  <a:lnTo>
                    <a:pt x="2253" y="1384"/>
                  </a:lnTo>
                  <a:lnTo>
                    <a:pt x="2257" y="1380"/>
                  </a:lnTo>
                  <a:lnTo>
                    <a:pt x="2261" y="1377"/>
                  </a:lnTo>
                  <a:lnTo>
                    <a:pt x="2263" y="1376"/>
                  </a:lnTo>
                  <a:lnTo>
                    <a:pt x="2267" y="1376"/>
                  </a:lnTo>
                  <a:lnTo>
                    <a:pt x="2268" y="1377"/>
                  </a:lnTo>
                  <a:lnTo>
                    <a:pt x="2274" y="1377"/>
                  </a:lnTo>
                  <a:lnTo>
                    <a:pt x="2276" y="1377"/>
                  </a:lnTo>
                  <a:lnTo>
                    <a:pt x="2280" y="1373"/>
                  </a:lnTo>
                  <a:lnTo>
                    <a:pt x="2283" y="1372"/>
                  </a:lnTo>
                  <a:lnTo>
                    <a:pt x="2281" y="1367"/>
                  </a:lnTo>
                  <a:lnTo>
                    <a:pt x="2280" y="1364"/>
                  </a:lnTo>
                  <a:lnTo>
                    <a:pt x="2277" y="1360"/>
                  </a:lnTo>
                  <a:lnTo>
                    <a:pt x="2277" y="1359"/>
                  </a:lnTo>
                  <a:lnTo>
                    <a:pt x="2276" y="1354"/>
                  </a:lnTo>
                  <a:lnTo>
                    <a:pt x="2276" y="1350"/>
                  </a:lnTo>
                  <a:lnTo>
                    <a:pt x="2277" y="1346"/>
                  </a:lnTo>
                  <a:lnTo>
                    <a:pt x="2278" y="1340"/>
                  </a:lnTo>
                  <a:lnTo>
                    <a:pt x="2281" y="1333"/>
                  </a:lnTo>
                  <a:lnTo>
                    <a:pt x="2283" y="1332"/>
                  </a:lnTo>
                  <a:lnTo>
                    <a:pt x="2286" y="1330"/>
                  </a:lnTo>
                  <a:lnTo>
                    <a:pt x="2288" y="1329"/>
                  </a:lnTo>
                  <a:lnTo>
                    <a:pt x="2288" y="1329"/>
                  </a:lnTo>
                  <a:lnTo>
                    <a:pt x="2288" y="1324"/>
                  </a:lnTo>
                  <a:lnTo>
                    <a:pt x="2290" y="1323"/>
                  </a:lnTo>
                  <a:lnTo>
                    <a:pt x="2291" y="1322"/>
                  </a:lnTo>
                  <a:lnTo>
                    <a:pt x="2294" y="1322"/>
                  </a:lnTo>
                  <a:lnTo>
                    <a:pt x="2296" y="1322"/>
                  </a:lnTo>
                  <a:lnTo>
                    <a:pt x="2297" y="1322"/>
                  </a:lnTo>
                  <a:lnTo>
                    <a:pt x="2296" y="1323"/>
                  </a:lnTo>
                  <a:lnTo>
                    <a:pt x="2294" y="1324"/>
                  </a:lnTo>
                  <a:lnTo>
                    <a:pt x="2291" y="1326"/>
                  </a:lnTo>
                  <a:lnTo>
                    <a:pt x="2290" y="1329"/>
                  </a:lnTo>
                  <a:lnTo>
                    <a:pt x="2294" y="1334"/>
                  </a:lnTo>
                  <a:lnTo>
                    <a:pt x="2296" y="1334"/>
                  </a:lnTo>
                  <a:lnTo>
                    <a:pt x="2297" y="1334"/>
                  </a:lnTo>
                  <a:lnTo>
                    <a:pt x="2300" y="1332"/>
                  </a:lnTo>
                  <a:lnTo>
                    <a:pt x="2301" y="1332"/>
                  </a:lnTo>
                  <a:lnTo>
                    <a:pt x="2301" y="1329"/>
                  </a:lnTo>
                  <a:lnTo>
                    <a:pt x="2301" y="1323"/>
                  </a:lnTo>
                  <a:lnTo>
                    <a:pt x="2300" y="1320"/>
                  </a:lnTo>
                  <a:lnTo>
                    <a:pt x="2300" y="1316"/>
                  </a:lnTo>
                  <a:lnTo>
                    <a:pt x="2298" y="1314"/>
                  </a:lnTo>
                  <a:lnTo>
                    <a:pt x="2297" y="1314"/>
                  </a:lnTo>
                  <a:lnTo>
                    <a:pt x="2296" y="1314"/>
                  </a:lnTo>
                  <a:lnTo>
                    <a:pt x="2294" y="1314"/>
                  </a:lnTo>
                  <a:lnTo>
                    <a:pt x="2293" y="1313"/>
                  </a:lnTo>
                  <a:lnTo>
                    <a:pt x="2293" y="1310"/>
                  </a:lnTo>
                  <a:lnTo>
                    <a:pt x="2293" y="1306"/>
                  </a:lnTo>
                  <a:lnTo>
                    <a:pt x="2293" y="1304"/>
                  </a:lnTo>
                  <a:lnTo>
                    <a:pt x="2293" y="1300"/>
                  </a:lnTo>
                  <a:lnTo>
                    <a:pt x="2293" y="1299"/>
                  </a:lnTo>
                  <a:lnTo>
                    <a:pt x="2293" y="1296"/>
                  </a:lnTo>
                  <a:lnTo>
                    <a:pt x="2296" y="1293"/>
                  </a:lnTo>
                  <a:lnTo>
                    <a:pt x="2298" y="1290"/>
                  </a:lnTo>
                  <a:lnTo>
                    <a:pt x="2300" y="1289"/>
                  </a:lnTo>
                  <a:lnTo>
                    <a:pt x="2300" y="1286"/>
                  </a:lnTo>
                  <a:lnTo>
                    <a:pt x="2300" y="1283"/>
                  </a:lnTo>
                  <a:lnTo>
                    <a:pt x="2298" y="1282"/>
                  </a:lnTo>
                  <a:lnTo>
                    <a:pt x="2291" y="1279"/>
                  </a:lnTo>
                  <a:lnTo>
                    <a:pt x="2291" y="1279"/>
                  </a:lnTo>
                  <a:lnTo>
                    <a:pt x="2288" y="1280"/>
                  </a:lnTo>
                  <a:lnTo>
                    <a:pt x="2288" y="1284"/>
                  </a:lnTo>
                  <a:lnTo>
                    <a:pt x="2287" y="1286"/>
                  </a:lnTo>
                  <a:lnTo>
                    <a:pt x="2287" y="1284"/>
                  </a:lnTo>
                  <a:lnTo>
                    <a:pt x="2287" y="1284"/>
                  </a:lnTo>
                  <a:lnTo>
                    <a:pt x="2284" y="1282"/>
                  </a:lnTo>
                  <a:lnTo>
                    <a:pt x="2281" y="1282"/>
                  </a:lnTo>
                  <a:lnTo>
                    <a:pt x="2281" y="1280"/>
                  </a:lnTo>
                  <a:lnTo>
                    <a:pt x="2280" y="1277"/>
                  </a:lnTo>
                  <a:lnTo>
                    <a:pt x="2280" y="1274"/>
                  </a:lnTo>
                  <a:lnTo>
                    <a:pt x="2281" y="1269"/>
                  </a:lnTo>
                  <a:lnTo>
                    <a:pt x="2283" y="1263"/>
                  </a:lnTo>
                  <a:lnTo>
                    <a:pt x="2287" y="1256"/>
                  </a:lnTo>
                  <a:lnTo>
                    <a:pt x="2291" y="1253"/>
                  </a:lnTo>
                  <a:lnTo>
                    <a:pt x="2294" y="1249"/>
                  </a:lnTo>
                  <a:lnTo>
                    <a:pt x="2296" y="1247"/>
                  </a:lnTo>
                  <a:lnTo>
                    <a:pt x="2296" y="1247"/>
                  </a:lnTo>
                  <a:lnTo>
                    <a:pt x="2297" y="1246"/>
                  </a:lnTo>
                  <a:lnTo>
                    <a:pt x="2296" y="1243"/>
                  </a:lnTo>
                  <a:lnTo>
                    <a:pt x="2296" y="1242"/>
                  </a:lnTo>
                  <a:lnTo>
                    <a:pt x="2297" y="1242"/>
                  </a:lnTo>
                  <a:lnTo>
                    <a:pt x="2298" y="1243"/>
                  </a:lnTo>
                  <a:lnTo>
                    <a:pt x="2301" y="1237"/>
                  </a:lnTo>
                  <a:lnTo>
                    <a:pt x="2301" y="1230"/>
                  </a:lnTo>
                  <a:lnTo>
                    <a:pt x="2301" y="1225"/>
                  </a:lnTo>
                  <a:lnTo>
                    <a:pt x="2303" y="1222"/>
                  </a:lnTo>
                  <a:lnTo>
                    <a:pt x="2303" y="1220"/>
                  </a:lnTo>
                  <a:lnTo>
                    <a:pt x="2304" y="1219"/>
                  </a:lnTo>
                  <a:lnTo>
                    <a:pt x="2306" y="1217"/>
                  </a:lnTo>
                  <a:lnTo>
                    <a:pt x="2307" y="1216"/>
                  </a:lnTo>
                  <a:lnTo>
                    <a:pt x="2308" y="1215"/>
                  </a:lnTo>
                  <a:lnTo>
                    <a:pt x="2308" y="1213"/>
                  </a:lnTo>
                  <a:lnTo>
                    <a:pt x="2311" y="1215"/>
                  </a:lnTo>
                  <a:lnTo>
                    <a:pt x="2313" y="1215"/>
                  </a:lnTo>
                  <a:lnTo>
                    <a:pt x="2314" y="1216"/>
                  </a:lnTo>
                  <a:lnTo>
                    <a:pt x="2314" y="1219"/>
                  </a:lnTo>
                  <a:lnTo>
                    <a:pt x="2317" y="1216"/>
                  </a:lnTo>
                  <a:lnTo>
                    <a:pt x="2318" y="1213"/>
                  </a:lnTo>
                  <a:lnTo>
                    <a:pt x="2320" y="1213"/>
                  </a:lnTo>
                  <a:lnTo>
                    <a:pt x="2321" y="1213"/>
                  </a:lnTo>
                  <a:lnTo>
                    <a:pt x="2323" y="1215"/>
                  </a:lnTo>
                  <a:lnTo>
                    <a:pt x="2326" y="1219"/>
                  </a:lnTo>
                  <a:lnTo>
                    <a:pt x="2326" y="1220"/>
                  </a:lnTo>
                  <a:lnTo>
                    <a:pt x="2327" y="1220"/>
                  </a:lnTo>
                  <a:lnTo>
                    <a:pt x="2328" y="1219"/>
                  </a:lnTo>
                  <a:lnTo>
                    <a:pt x="2330" y="1217"/>
                  </a:lnTo>
                  <a:lnTo>
                    <a:pt x="2330" y="1212"/>
                  </a:lnTo>
                  <a:lnTo>
                    <a:pt x="2331" y="1212"/>
                  </a:lnTo>
                  <a:lnTo>
                    <a:pt x="2333" y="1210"/>
                  </a:lnTo>
                  <a:lnTo>
                    <a:pt x="2336" y="1209"/>
                  </a:lnTo>
                  <a:lnTo>
                    <a:pt x="2338" y="1207"/>
                  </a:lnTo>
                  <a:lnTo>
                    <a:pt x="2344" y="1203"/>
                  </a:lnTo>
                  <a:lnTo>
                    <a:pt x="2347" y="1199"/>
                  </a:lnTo>
                  <a:lnTo>
                    <a:pt x="2350" y="1199"/>
                  </a:lnTo>
                  <a:lnTo>
                    <a:pt x="2350" y="1202"/>
                  </a:lnTo>
                  <a:lnTo>
                    <a:pt x="2350" y="1205"/>
                  </a:lnTo>
                  <a:lnTo>
                    <a:pt x="2348" y="1209"/>
                  </a:lnTo>
                  <a:lnTo>
                    <a:pt x="2347" y="1212"/>
                  </a:lnTo>
                  <a:lnTo>
                    <a:pt x="2347" y="1216"/>
                  </a:lnTo>
                  <a:lnTo>
                    <a:pt x="2347" y="1217"/>
                  </a:lnTo>
                  <a:lnTo>
                    <a:pt x="2347" y="1220"/>
                  </a:lnTo>
                  <a:lnTo>
                    <a:pt x="2348" y="1220"/>
                  </a:lnTo>
                  <a:lnTo>
                    <a:pt x="2350" y="1219"/>
                  </a:lnTo>
                  <a:lnTo>
                    <a:pt x="2351" y="1217"/>
                  </a:lnTo>
                  <a:lnTo>
                    <a:pt x="2360" y="1205"/>
                  </a:lnTo>
                  <a:lnTo>
                    <a:pt x="2364" y="1202"/>
                  </a:lnTo>
                  <a:lnTo>
                    <a:pt x="2370" y="1200"/>
                  </a:lnTo>
                  <a:lnTo>
                    <a:pt x="2373" y="1199"/>
                  </a:lnTo>
                  <a:lnTo>
                    <a:pt x="2378" y="1196"/>
                  </a:lnTo>
                  <a:lnTo>
                    <a:pt x="2384" y="1196"/>
                  </a:lnTo>
                  <a:lnTo>
                    <a:pt x="2387" y="1197"/>
                  </a:lnTo>
                  <a:lnTo>
                    <a:pt x="2390" y="1197"/>
                  </a:lnTo>
                  <a:lnTo>
                    <a:pt x="2395" y="1196"/>
                  </a:lnTo>
                  <a:lnTo>
                    <a:pt x="2397" y="1197"/>
                  </a:lnTo>
                  <a:lnTo>
                    <a:pt x="2403" y="1200"/>
                  </a:lnTo>
                  <a:lnTo>
                    <a:pt x="2405" y="1206"/>
                  </a:lnTo>
                  <a:lnTo>
                    <a:pt x="2407" y="1207"/>
                  </a:lnTo>
                  <a:lnTo>
                    <a:pt x="2407" y="1207"/>
                  </a:lnTo>
                  <a:lnTo>
                    <a:pt x="2407" y="1210"/>
                  </a:lnTo>
                  <a:lnTo>
                    <a:pt x="2407" y="1212"/>
                  </a:lnTo>
                  <a:lnTo>
                    <a:pt x="2408" y="1213"/>
                  </a:lnTo>
                  <a:lnTo>
                    <a:pt x="2411" y="1216"/>
                  </a:lnTo>
                  <a:lnTo>
                    <a:pt x="2414" y="1216"/>
                  </a:lnTo>
                  <a:lnTo>
                    <a:pt x="2415" y="1215"/>
                  </a:lnTo>
                  <a:lnTo>
                    <a:pt x="2415" y="1213"/>
                  </a:lnTo>
                  <a:lnTo>
                    <a:pt x="2417" y="1207"/>
                  </a:lnTo>
                  <a:lnTo>
                    <a:pt x="2418" y="1205"/>
                  </a:lnTo>
                  <a:lnTo>
                    <a:pt x="2418" y="1202"/>
                  </a:lnTo>
                  <a:lnTo>
                    <a:pt x="2418" y="1202"/>
                  </a:lnTo>
                  <a:lnTo>
                    <a:pt x="2421" y="1199"/>
                  </a:lnTo>
                  <a:lnTo>
                    <a:pt x="2424" y="1199"/>
                  </a:lnTo>
                  <a:lnTo>
                    <a:pt x="2433" y="1192"/>
                  </a:lnTo>
                  <a:lnTo>
                    <a:pt x="2437" y="1187"/>
                  </a:lnTo>
                  <a:lnTo>
                    <a:pt x="2438" y="1187"/>
                  </a:lnTo>
                  <a:lnTo>
                    <a:pt x="2440" y="1187"/>
                  </a:lnTo>
                  <a:lnTo>
                    <a:pt x="2441" y="1186"/>
                  </a:lnTo>
                  <a:lnTo>
                    <a:pt x="2441" y="1186"/>
                  </a:lnTo>
                  <a:lnTo>
                    <a:pt x="2444" y="1183"/>
                  </a:lnTo>
                  <a:lnTo>
                    <a:pt x="2447" y="1180"/>
                  </a:lnTo>
                  <a:lnTo>
                    <a:pt x="2447" y="1179"/>
                  </a:lnTo>
                  <a:lnTo>
                    <a:pt x="2447" y="1177"/>
                  </a:lnTo>
                  <a:lnTo>
                    <a:pt x="2448" y="1176"/>
                  </a:lnTo>
                  <a:lnTo>
                    <a:pt x="2450" y="1176"/>
                  </a:lnTo>
                  <a:lnTo>
                    <a:pt x="2451" y="1175"/>
                  </a:lnTo>
                  <a:lnTo>
                    <a:pt x="2451" y="1173"/>
                  </a:lnTo>
                  <a:lnTo>
                    <a:pt x="2452" y="1172"/>
                  </a:lnTo>
                  <a:lnTo>
                    <a:pt x="2452" y="1172"/>
                  </a:lnTo>
                  <a:lnTo>
                    <a:pt x="2454" y="1173"/>
                  </a:lnTo>
                  <a:lnTo>
                    <a:pt x="2455" y="1172"/>
                  </a:lnTo>
                  <a:lnTo>
                    <a:pt x="2454" y="1170"/>
                  </a:lnTo>
                  <a:lnTo>
                    <a:pt x="2454" y="1167"/>
                  </a:lnTo>
                  <a:lnTo>
                    <a:pt x="2454" y="1167"/>
                  </a:lnTo>
                  <a:lnTo>
                    <a:pt x="2457" y="1169"/>
                  </a:lnTo>
                  <a:lnTo>
                    <a:pt x="2458" y="1169"/>
                  </a:lnTo>
                  <a:lnTo>
                    <a:pt x="2462" y="1165"/>
                  </a:lnTo>
                  <a:lnTo>
                    <a:pt x="2467" y="1159"/>
                  </a:lnTo>
                  <a:lnTo>
                    <a:pt x="2470" y="1160"/>
                  </a:lnTo>
                  <a:lnTo>
                    <a:pt x="2475" y="1156"/>
                  </a:lnTo>
                  <a:lnTo>
                    <a:pt x="2477" y="1155"/>
                  </a:lnTo>
                  <a:lnTo>
                    <a:pt x="2481" y="1155"/>
                  </a:lnTo>
                  <a:lnTo>
                    <a:pt x="2482" y="1153"/>
                  </a:lnTo>
                  <a:lnTo>
                    <a:pt x="2484" y="1150"/>
                  </a:lnTo>
                  <a:lnTo>
                    <a:pt x="2485" y="1152"/>
                  </a:lnTo>
                  <a:lnTo>
                    <a:pt x="2491" y="1147"/>
                  </a:lnTo>
                  <a:lnTo>
                    <a:pt x="2492" y="1146"/>
                  </a:lnTo>
                  <a:lnTo>
                    <a:pt x="2494" y="1145"/>
                  </a:lnTo>
                  <a:lnTo>
                    <a:pt x="2495" y="1145"/>
                  </a:lnTo>
                  <a:lnTo>
                    <a:pt x="2498" y="1143"/>
                  </a:lnTo>
                  <a:lnTo>
                    <a:pt x="2510" y="1137"/>
                  </a:lnTo>
                  <a:lnTo>
                    <a:pt x="2511" y="1135"/>
                  </a:lnTo>
                  <a:lnTo>
                    <a:pt x="2515" y="1132"/>
                  </a:lnTo>
                  <a:lnTo>
                    <a:pt x="2520" y="1130"/>
                  </a:lnTo>
                  <a:lnTo>
                    <a:pt x="2524" y="1130"/>
                  </a:lnTo>
                  <a:lnTo>
                    <a:pt x="2524" y="1129"/>
                  </a:lnTo>
                  <a:lnTo>
                    <a:pt x="2521" y="1127"/>
                  </a:lnTo>
                  <a:lnTo>
                    <a:pt x="2520" y="1126"/>
                  </a:lnTo>
                  <a:lnTo>
                    <a:pt x="2520" y="1125"/>
                  </a:lnTo>
                  <a:lnTo>
                    <a:pt x="2521" y="1125"/>
                  </a:lnTo>
                  <a:lnTo>
                    <a:pt x="2521" y="1122"/>
                  </a:lnTo>
                  <a:lnTo>
                    <a:pt x="2522" y="1122"/>
                  </a:lnTo>
                  <a:lnTo>
                    <a:pt x="2524" y="1123"/>
                  </a:lnTo>
                  <a:lnTo>
                    <a:pt x="2525" y="1123"/>
                  </a:lnTo>
                  <a:lnTo>
                    <a:pt x="2525" y="1122"/>
                  </a:lnTo>
                  <a:lnTo>
                    <a:pt x="2527" y="1122"/>
                  </a:lnTo>
                  <a:lnTo>
                    <a:pt x="2527" y="1123"/>
                  </a:lnTo>
                  <a:lnTo>
                    <a:pt x="2525" y="1126"/>
                  </a:lnTo>
                  <a:lnTo>
                    <a:pt x="2525" y="1127"/>
                  </a:lnTo>
                  <a:lnTo>
                    <a:pt x="2525" y="1129"/>
                  </a:lnTo>
                  <a:lnTo>
                    <a:pt x="2527" y="1129"/>
                  </a:lnTo>
                  <a:lnTo>
                    <a:pt x="2531" y="1129"/>
                  </a:lnTo>
                  <a:lnTo>
                    <a:pt x="2537" y="1130"/>
                  </a:lnTo>
                  <a:lnTo>
                    <a:pt x="2552" y="1137"/>
                  </a:lnTo>
                  <a:lnTo>
                    <a:pt x="2554" y="1137"/>
                  </a:lnTo>
                  <a:lnTo>
                    <a:pt x="2555" y="1137"/>
                  </a:lnTo>
                  <a:lnTo>
                    <a:pt x="2555" y="1136"/>
                  </a:lnTo>
                  <a:lnTo>
                    <a:pt x="2555" y="1133"/>
                  </a:lnTo>
                  <a:lnTo>
                    <a:pt x="2557" y="1132"/>
                  </a:lnTo>
                  <a:lnTo>
                    <a:pt x="2561" y="1127"/>
                  </a:lnTo>
                  <a:lnTo>
                    <a:pt x="2562" y="1125"/>
                  </a:lnTo>
                  <a:lnTo>
                    <a:pt x="2562" y="1122"/>
                  </a:lnTo>
                  <a:lnTo>
                    <a:pt x="2561" y="1119"/>
                  </a:lnTo>
                  <a:lnTo>
                    <a:pt x="2558" y="1119"/>
                  </a:lnTo>
                  <a:lnTo>
                    <a:pt x="2558" y="1116"/>
                  </a:lnTo>
                  <a:lnTo>
                    <a:pt x="2557" y="1115"/>
                  </a:lnTo>
                  <a:lnTo>
                    <a:pt x="2558" y="1112"/>
                  </a:lnTo>
                  <a:lnTo>
                    <a:pt x="2559" y="1112"/>
                  </a:lnTo>
                  <a:lnTo>
                    <a:pt x="2559" y="1109"/>
                  </a:lnTo>
                  <a:lnTo>
                    <a:pt x="2558" y="1107"/>
                  </a:lnTo>
                  <a:lnTo>
                    <a:pt x="2552" y="1105"/>
                  </a:lnTo>
                  <a:lnTo>
                    <a:pt x="2551" y="1102"/>
                  </a:lnTo>
                  <a:lnTo>
                    <a:pt x="2551" y="1100"/>
                  </a:lnTo>
                  <a:lnTo>
                    <a:pt x="2549" y="1095"/>
                  </a:lnTo>
                  <a:lnTo>
                    <a:pt x="2549" y="1096"/>
                  </a:lnTo>
                  <a:lnTo>
                    <a:pt x="2549" y="1099"/>
                  </a:lnTo>
                  <a:lnTo>
                    <a:pt x="2548" y="1100"/>
                  </a:lnTo>
                  <a:lnTo>
                    <a:pt x="2548" y="1100"/>
                  </a:lnTo>
                  <a:lnTo>
                    <a:pt x="2547" y="1099"/>
                  </a:lnTo>
                  <a:lnTo>
                    <a:pt x="2548" y="1096"/>
                  </a:lnTo>
                  <a:lnTo>
                    <a:pt x="2547" y="1095"/>
                  </a:lnTo>
                  <a:lnTo>
                    <a:pt x="2544" y="1093"/>
                  </a:lnTo>
                  <a:lnTo>
                    <a:pt x="2544" y="1093"/>
                  </a:lnTo>
                  <a:lnTo>
                    <a:pt x="2547" y="1092"/>
                  </a:lnTo>
                  <a:lnTo>
                    <a:pt x="2548" y="1092"/>
                  </a:lnTo>
                  <a:lnTo>
                    <a:pt x="2548" y="1090"/>
                  </a:lnTo>
                  <a:lnTo>
                    <a:pt x="2548" y="1085"/>
                  </a:lnTo>
                  <a:lnTo>
                    <a:pt x="2547" y="1080"/>
                  </a:lnTo>
                  <a:lnTo>
                    <a:pt x="2545" y="1079"/>
                  </a:lnTo>
                  <a:lnTo>
                    <a:pt x="2544" y="1077"/>
                  </a:lnTo>
                  <a:lnTo>
                    <a:pt x="2544" y="1075"/>
                  </a:lnTo>
                  <a:lnTo>
                    <a:pt x="2544" y="1073"/>
                  </a:lnTo>
                  <a:lnTo>
                    <a:pt x="2542" y="1069"/>
                  </a:lnTo>
                  <a:lnTo>
                    <a:pt x="2541" y="1067"/>
                  </a:lnTo>
                  <a:lnTo>
                    <a:pt x="2541" y="1065"/>
                  </a:lnTo>
                  <a:lnTo>
                    <a:pt x="2540" y="1067"/>
                  </a:lnTo>
                  <a:lnTo>
                    <a:pt x="2538" y="1070"/>
                  </a:lnTo>
                  <a:lnTo>
                    <a:pt x="2537" y="1070"/>
                  </a:lnTo>
                  <a:lnTo>
                    <a:pt x="2535" y="1070"/>
                  </a:lnTo>
                  <a:lnTo>
                    <a:pt x="2531" y="1067"/>
                  </a:lnTo>
                  <a:lnTo>
                    <a:pt x="2528" y="1062"/>
                  </a:lnTo>
                  <a:lnTo>
                    <a:pt x="2527" y="1057"/>
                  </a:lnTo>
                  <a:lnTo>
                    <a:pt x="2528" y="1052"/>
                  </a:lnTo>
                  <a:lnTo>
                    <a:pt x="2528" y="1050"/>
                  </a:lnTo>
                  <a:lnTo>
                    <a:pt x="2527" y="1050"/>
                  </a:lnTo>
                  <a:lnTo>
                    <a:pt x="2521" y="1052"/>
                  </a:lnTo>
                  <a:lnTo>
                    <a:pt x="2518" y="1055"/>
                  </a:lnTo>
                  <a:lnTo>
                    <a:pt x="2517" y="1056"/>
                  </a:lnTo>
                  <a:lnTo>
                    <a:pt x="2512" y="1053"/>
                  </a:lnTo>
                  <a:lnTo>
                    <a:pt x="2507" y="1057"/>
                  </a:lnTo>
                  <a:lnTo>
                    <a:pt x="2508" y="1055"/>
                  </a:lnTo>
                  <a:lnTo>
                    <a:pt x="2510" y="1053"/>
                  </a:lnTo>
                  <a:lnTo>
                    <a:pt x="2510" y="1052"/>
                  </a:lnTo>
                  <a:lnTo>
                    <a:pt x="2510" y="1049"/>
                  </a:lnTo>
                  <a:lnTo>
                    <a:pt x="2508" y="1047"/>
                  </a:lnTo>
                  <a:lnTo>
                    <a:pt x="2507" y="1046"/>
                  </a:lnTo>
                  <a:lnTo>
                    <a:pt x="2505" y="1045"/>
                  </a:lnTo>
                  <a:lnTo>
                    <a:pt x="2504" y="1046"/>
                  </a:lnTo>
                  <a:lnTo>
                    <a:pt x="2502" y="1047"/>
                  </a:lnTo>
                  <a:lnTo>
                    <a:pt x="2500" y="1049"/>
                  </a:lnTo>
                  <a:lnTo>
                    <a:pt x="2494" y="1050"/>
                  </a:lnTo>
                  <a:lnTo>
                    <a:pt x="2490" y="1050"/>
                  </a:lnTo>
                  <a:lnTo>
                    <a:pt x="2484" y="1053"/>
                  </a:lnTo>
                  <a:lnTo>
                    <a:pt x="2481" y="1053"/>
                  </a:lnTo>
                  <a:lnTo>
                    <a:pt x="2490" y="1050"/>
                  </a:lnTo>
                  <a:lnTo>
                    <a:pt x="2495" y="1049"/>
                  </a:lnTo>
                  <a:lnTo>
                    <a:pt x="2501" y="1047"/>
                  </a:lnTo>
                  <a:lnTo>
                    <a:pt x="2505" y="1043"/>
                  </a:lnTo>
                  <a:lnTo>
                    <a:pt x="2511" y="1046"/>
                  </a:lnTo>
                  <a:lnTo>
                    <a:pt x="2514" y="1047"/>
                  </a:lnTo>
                  <a:lnTo>
                    <a:pt x="2518" y="1047"/>
                  </a:lnTo>
                  <a:lnTo>
                    <a:pt x="2521" y="1049"/>
                  </a:lnTo>
                  <a:lnTo>
                    <a:pt x="2522" y="1049"/>
                  </a:lnTo>
                  <a:lnTo>
                    <a:pt x="2524" y="1046"/>
                  </a:lnTo>
                  <a:lnTo>
                    <a:pt x="2522" y="1043"/>
                  </a:lnTo>
                  <a:lnTo>
                    <a:pt x="2521" y="1042"/>
                  </a:lnTo>
                  <a:lnTo>
                    <a:pt x="2520" y="1040"/>
                  </a:lnTo>
                  <a:lnTo>
                    <a:pt x="2515" y="1040"/>
                  </a:lnTo>
                  <a:lnTo>
                    <a:pt x="2512" y="1040"/>
                  </a:lnTo>
                  <a:lnTo>
                    <a:pt x="2510" y="1039"/>
                  </a:lnTo>
                  <a:lnTo>
                    <a:pt x="2511" y="1039"/>
                  </a:lnTo>
                  <a:lnTo>
                    <a:pt x="2515" y="1040"/>
                  </a:lnTo>
                  <a:lnTo>
                    <a:pt x="2518" y="1037"/>
                  </a:lnTo>
                  <a:lnTo>
                    <a:pt x="2524" y="1040"/>
                  </a:lnTo>
                  <a:lnTo>
                    <a:pt x="2525" y="1043"/>
                  </a:lnTo>
                  <a:lnTo>
                    <a:pt x="2527" y="1043"/>
                  </a:lnTo>
                  <a:lnTo>
                    <a:pt x="2530" y="1049"/>
                  </a:lnTo>
                  <a:lnTo>
                    <a:pt x="2532" y="1052"/>
                  </a:lnTo>
                  <a:lnTo>
                    <a:pt x="2541" y="1053"/>
                  </a:lnTo>
                  <a:lnTo>
                    <a:pt x="2545" y="1056"/>
                  </a:lnTo>
                  <a:lnTo>
                    <a:pt x="2548" y="1055"/>
                  </a:lnTo>
                  <a:lnTo>
                    <a:pt x="2555" y="1049"/>
                  </a:lnTo>
                  <a:lnTo>
                    <a:pt x="2559" y="1047"/>
                  </a:lnTo>
                  <a:lnTo>
                    <a:pt x="2562" y="1045"/>
                  </a:lnTo>
                  <a:lnTo>
                    <a:pt x="2565" y="1040"/>
                  </a:lnTo>
                  <a:lnTo>
                    <a:pt x="2568" y="1039"/>
                  </a:lnTo>
                  <a:lnTo>
                    <a:pt x="2574" y="1035"/>
                  </a:lnTo>
                  <a:lnTo>
                    <a:pt x="2574" y="1032"/>
                  </a:lnTo>
                  <a:lnTo>
                    <a:pt x="2577" y="1026"/>
                  </a:lnTo>
                  <a:lnTo>
                    <a:pt x="2578" y="1025"/>
                  </a:lnTo>
                  <a:lnTo>
                    <a:pt x="2579" y="1022"/>
                  </a:lnTo>
                  <a:lnTo>
                    <a:pt x="2579" y="1019"/>
                  </a:lnTo>
                  <a:lnTo>
                    <a:pt x="2578" y="1016"/>
                  </a:lnTo>
                  <a:lnTo>
                    <a:pt x="2578" y="1015"/>
                  </a:lnTo>
                  <a:lnTo>
                    <a:pt x="2574" y="1012"/>
                  </a:lnTo>
                  <a:lnTo>
                    <a:pt x="2572" y="1010"/>
                  </a:lnTo>
                  <a:lnTo>
                    <a:pt x="2572" y="1006"/>
                  </a:lnTo>
                  <a:lnTo>
                    <a:pt x="2572" y="1002"/>
                  </a:lnTo>
                  <a:lnTo>
                    <a:pt x="2572" y="999"/>
                  </a:lnTo>
                  <a:lnTo>
                    <a:pt x="2574" y="995"/>
                  </a:lnTo>
                  <a:lnTo>
                    <a:pt x="2575" y="998"/>
                  </a:lnTo>
                  <a:lnTo>
                    <a:pt x="2578" y="998"/>
                  </a:lnTo>
                  <a:lnTo>
                    <a:pt x="2579" y="996"/>
                  </a:lnTo>
                  <a:lnTo>
                    <a:pt x="2579" y="993"/>
                  </a:lnTo>
                  <a:lnTo>
                    <a:pt x="2579" y="992"/>
                  </a:lnTo>
                  <a:lnTo>
                    <a:pt x="2579" y="990"/>
                  </a:lnTo>
                  <a:lnTo>
                    <a:pt x="2581" y="990"/>
                  </a:lnTo>
                  <a:lnTo>
                    <a:pt x="2582" y="989"/>
                  </a:lnTo>
                  <a:lnTo>
                    <a:pt x="2582" y="988"/>
                  </a:lnTo>
                  <a:lnTo>
                    <a:pt x="2582" y="989"/>
                  </a:lnTo>
                  <a:lnTo>
                    <a:pt x="2582" y="993"/>
                  </a:lnTo>
                  <a:lnTo>
                    <a:pt x="2584" y="995"/>
                  </a:lnTo>
                  <a:lnTo>
                    <a:pt x="2587" y="996"/>
                  </a:lnTo>
                  <a:lnTo>
                    <a:pt x="2587" y="995"/>
                  </a:lnTo>
                  <a:lnTo>
                    <a:pt x="2588" y="995"/>
                  </a:lnTo>
                  <a:lnTo>
                    <a:pt x="2588" y="993"/>
                  </a:lnTo>
                  <a:lnTo>
                    <a:pt x="2591" y="989"/>
                  </a:lnTo>
                  <a:lnTo>
                    <a:pt x="2592" y="986"/>
                  </a:lnTo>
                  <a:lnTo>
                    <a:pt x="2592" y="990"/>
                  </a:lnTo>
                  <a:lnTo>
                    <a:pt x="2591" y="995"/>
                  </a:lnTo>
                  <a:lnTo>
                    <a:pt x="2591" y="996"/>
                  </a:lnTo>
                  <a:lnTo>
                    <a:pt x="2589" y="998"/>
                  </a:lnTo>
                  <a:lnTo>
                    <a:pt x="2589" y="1002"/>
                  </a:lnTo>
                  <a:lnTo>
                    <a:pt x="2588" y="1002"/>
                  </a:lnTo>
                  <a:lnTo>
                    <a:pt x="2587" y="1002"/>
                  </a:lnTo>
                  <a:lnTo>
                    <a:pt x="2585" y="1002"/>
                  </a:lnTo>
                  <a:lnTo>
                    <a:pt x="2587" y="1005"/>
                  </a:lnTo>
                  <a:lnTo>
                    <a:pt x="2588" y="1008"/>
                  </a:lnTo>
                  <a:lnTo>
                    <a:pt x="2589" y="1010"/>
                  </a:lnTo>
                  <a:lnTo>
                    <a:pt x="2592" y="1012"/>
                  </a:lnTo>
                  <a:lnTo>
                    <a:pt x="2592" y="1012"/>
                  </a:lnTo>
                  <a:lnTo>
                    <a:pt x="2592" y="1013"/>
                  </a:lnTo>
                  <a:lnTo>
                    <a:pt x="2592" y="1015"/>
                  </a:lnTo>
                  <a:lnTo>
                    <a:pt x="2592" y="1019"/>
                  </a:lnTo>
                  <a:lnTo>
                    <a:pt x="2592" y="1020"/>
                  </a:lnTo>
                  <a:lnTo>
                    <a:pt x="2594" y="1022"/>
                  </a:lnTo>
                  <a:lnTo>
                    <a:pt x="2595" y="1023"/>
                  </a:lnTo>
                  <a:lnTo>
                    <a:pt x="2605" y="1023"/>
                  </a:lnTo>
                  <a:lnTo>
                    <a:pt x="2609" y="1022"/>
                  </a:lnTo>
                  <a:lnTo>
                    <a:pt x="2614" y="1018"/>
                  </a:lnTo>
                  <a:lnTo>
                    <a:pt x="2615" y="1018"/>
                  </a:lnTo>
                  <a:lnTo>
                    <a:pt x="2618" y="1018"/>
                  </a:lnTo>
                  <a:lnTo>
                    <a:pt x="2624" y="1020"/>
                  </a:lnTo>
                  <a:lnTo>
                    <a:pt x="2631" y="1023"/>
                  </a:lnTo>
                  <a:lnTo>
                    <a:pt x="2634" y="1027"/>
                  </a:lnTo>
                  <a:lnTo>
                    <a:pt x="2635" y="1032"/>
                  </a:lnTo>
                  <a:lnTo>
                    <a:pt x="2635" y="1037"/>
                  </a:lnTo>
                  <a:lnTo>
                    <a:pt x="2635" y="1039"/>
                  </a:lnTo>
                  <a:lnTo>
                    <a:pt x="2635" y="1040"/>
                  </a:lnTo>
                  <a:lnTo>
                    <a:pt x="2638" y="1043"/>
                  </a:lnTo>
                  <a:lnTo>
                    <a:pt x="2641" y="1046"/>
                  </a:lnTo>
                  <a:lnTo>
                    <a:pt x="2641" y="1047"/>
                  </a:lnTo>
                  <a:lnTo>
                    <a:pt x="2642" y="1047"/>
                  </a:lnTo>
                  <a:lnTo>
                    <a:pt x="2642" y="1049"/>
                  </a:lnTo>
                  <a:lnTo>
                    <a:pt x="2645" y="1049"/>
                  </a:lnTo>
                  <a:lnTo>
                    <a:pt x="2646" y="1049"/>
                  </a:lnTo>
                  <a:lnTo>
                    <a:pt x="2648" y="1049"/>
                  </a:lnTo>
                  <a:lnTo>
                    <a:pt x="2651" y="1050"/>
                  </a:lnTo>
                  <a:lnTo>
                    <a:pt x="2655" y="1052"/>
                  </a:lnTo>
                  <a:lnTo>
                    <a:pt x="2659" y="1055"/>
                  </a:lnTo>
                  <a:lnTo>
                    <a:pt x="2661" y="1057"/>
                  </a:lnTo>
                  <a:lnTo>
                    <a:pt x="2665" y="1062"/>
                  </a:lnTo>
                  <a:lnTo>
                    <a:pt x="2666" y="1063"/>
                  </a:lnTo>
                  <a:lnTo>
                    <a:pt x="2669" y="1065"/>
                  </a:lnTo>
                  <a:lnTo>
                    <a:pt x="2671" y="1065"/>
                  </a:lnTo>
                  <a:lnTo>
                    <a:pt x="2671" y="1065"/>
                  </a:lnTo>
                  <a:lnTo>
                    <a:pt x="2674" y="1063"/>
                  </a:lnTo>
                  <a:lnTo>
                    <a:pt x="2675" y="1060"/>
                  </a:lnTo>
                  <a:lnTo>
                    <a:pt x="2675" y="1059"/>
                  </a:lnTo>
                  <a:lnTo>
                    <a:pt x="2676" y="1060"/>
                  </a:lnTo>
                  <a:lnTo>
                    <a:pt x="2676" y="1062"/>
                  </a:lnTo>
                  <a:lnTo>
                    <a:pt x="2675" y="1063"/>
                  </a:lnTo>
                  <a:lnTo>
                    <a:pt x="2675" y="1066"/>
                  </a:lnTo>
                  <a:lnTo>
                    <a:pt x="2676" y="1067"/>
                  </a:lnTo>
                  <a:lnTo>
                    <a:pt x="2678" y="1067"/>
                  </a:lnTo>
                  <a:lnTo>
                    <a:pt x="2681" y="1067"/>
                  </a:lnTo>
                  <a:lnTo>
                    <a:pt x="2681" y="1066"/>
                  </a:lnTo>
                  <a:lnTo>
                    <a:pt x="2682" y="1065"/>
                  </a:lnTo>
                  <a:lnTo>
                    <a:pt x="2682" y="1060"/>
                  </a:lnTo>
                  <a:lnTo>
                    <a:pt x="2682" y="1059"/>
                  </a:lnTo>
                  <a:lnTo>
                    <a:pt x="2684" y="1060"/>
                  </a:lnTo>
                  <a:lnTo>
                    <a:pt x="2685" y="1062"/>
                  </a:lnTo>
                  <a:lnTo>
                    <a:pt x="2685" y="1063"/>
                  </a:lnTo>
                  <a:lnTo>
                    <a:pt x="2685" y="1063"/>
                  </a:lnTo>
                  <a:lnTo>
                    <a:pt x="2691" y="1063"/>
                  </a:lnTo>
                  <a:lnTo>
                    <a:pt x="2691" y="1063"/>
                  </a:lnTo>
                  <a:lnTo>
                    <a:pt x="2691" y="1060"/>
                  </a:lnTo>
                  <a:lnTo>
                    <a:pt x="2689" y="1059"/>
                  </a:lnTo>
                  <a:lnTo>
                    <a:pt x="2689" y="1059"/>
                  </a:lnTo>
                  <a:lnTo>
                    <a:pt x="2686" y="1057"/>
                  </a:lnTo>
                  <a:lnTo>
                    <a:pt x="2685" y="1056"/>
                  </a:lnTo>
                  <a:lnTo>
                    <a:pt x="2684" y="1056"/>
                  </a:lnTo>
                  <a:lnTo>
                    <a:pt x="2682" y="1055"/>
                  </a:lnTo>
                  <a:lnTo>
                    <a:pt x="2682" y="1055"/>
                  </a:lnTo>
                  <a:lnTo>
                    <a:pt x="2682" y="1052"/>
                  </a:lnTo>
                  <a:lnTo>
                    <a:pt x="2682" y="1052"/>
                  </a:lnTo>
                  <a:lnTo>
                    <a:pt x="2684" y="1050"/>
                  </a:lnTo>
                  <a:lnTo>
                    <a:pt x="2684" y="1049"/>
                  </a:lnTo>
                  <a:lnTo>
                    <a:pt x="2682" y="1047"/>
                  </a:lnTo>
                  <a:lnTo>
                    <a:pt x="2681" y="1047"/>
                  </a:lnTo>
                  <a:lnTo>
                    <a:pt x="2679" y="1047"/>
                  </a:lnTo>
                  <a:lnTo>
                    <a:pt x="2679" y="1047"/>
                  </a:lnTo>
                  <a:lnTo>
                    <a:pt x="2681" y="1046"/>
                  </a:lnTo>
                  <a:lnTo>
                    <a:pt x="2682" y="1046"/>
                  </a:lnTo>
                  <a:lnTo>
                    <a:pt x="2684" y="1046"/>
                  </a:lnTo>
                  <a:lnTo>
                    <a:pt x="2688" y="1045"/>
                  </a:lnTo>
                  <a:lnTo>
                    <a:pt x="2691" y="1043"/>
                  </a:lnTo>
                  <a:lnTo>
                    <a:pt x="2692" y="1042"/>
                  </a:lnTo>
                  <a:lnTo>
                    <a:pt x="2694" y="1039"/>
                  </a:lnTo>
                  <a:lnTo>
                    <a:pt x="2694" y="1036"/>
                  </a:lnTo>
                  <a:lnTo>
                    <a:pt x="2692" y="1033"/>
                  </a:lnTo>
                  <a:lnTo>
                    <a:pt x="2691" y="1033"/>
                  </a:lnTo>
                  <a:lnTo>
                    <a:pt x="2689" y="1033"/>
                  </a:lnTo>
                  <a:lnTo>
                    <a:pt x="2688" y="1033"/>
                  </a:lnTo>
                  <a:lnTo>
                    <a:pt x="2686" y="1032"/>
                  </a:lnTo>
                  <a:lnTo>
                    <a:pt x="2692" y="1030"/>
                  </a:lnTo>
                  <a:lnTo>
                    <a:pt x="2692" y="1030"/>
                  </a:lnTo>
                  <a:lnTo>
                    <a:pt x="2694" y="1025"/>
                  </a:lnTo>
                  <a:lnTo>
                    <a:pt x="2694" y="1023"/>
                  </a:lnTo>
                  <a:lnTo>
                    <a:pt x="2692" y="1025"/>
                  </a:lnTo>
                  <a:lnTo>
                    <a:pt x="2691" y="1025"/>
                  </a:lnTo>
                  <a:lnTo>
                    <a:pt x="2691" y="1023"/>
                  </a:lnTo>
                  <a:lnTo>
                    <a:pt x="2691" y="1022"/>
                  </a:lnTo>
                  <a:lnTo>
                    <a:pt x="2688" y="1018"/>
                  </a:lnTo>
                  <a:lnTo>
                    <a:pt x="2684" y="1015"/>
                  </a:lnTo>
                  <a:lnTo>
                    <a:pt x="2685" y="1015"/>
                  </a:lnTo>
                  <a:lnTo>
                    <a:pt x="2686" y="1015"/>
                  </a:lnTo>
                  <a:lnTo>
                    <a:pt x="2689" y="1016"/>
                  </a:lnTo>
                  <a:lnTo>
                    <a:pt x="2692" y="1018"/>
                  </a:lnTo>
                  <a:lnTo>
                    <a:pt x="2692" y="1019"/>
                  </a:lnTo>
                  <a:lnTo>
                    <a:pt x="2694" y="1019"/>
                  </a:lnTo>
                  <a:lnTo>
                    <a:pt x="2695" y="1019"/>
                  </a:lnTo>
                  <a:lnTo>
                    <a:pt x="2698" y="1020"/>
                  </a:lnTo>
                  <a:lnTo>
                    <a:pt x="2698" y="1022"/>
                  </a:lnTo>
                  <a:lnTo>
                    <a:pt x="2698" y="1022"/>
                  </a:lnTo>
                  <a:lnTo>
                    <a:pt x="2701" y="1022"/>
                  </a:lnTo>
                  <a:lnTo>
                    <a:pt x="2705" y="1020"/>
                  </a:lnTo>
                  <a:lnTo>
                    <a:pt x="2706" y="1022"/>
                  </a:lnTo>
                  <a:lnTo>
                    <a:pt x="2709" y="1022"/>
                  </a:lnTo>
                  <a:lnTo>
                    <a:pt x="2711" y="1022"/>
                  </a:lnTo>
                  <a:lnTo>
                    <a:pt x="2711" y="1022"/>
                  </a:lnTo>
                  <a:lnTo>
                    <a:pt x="2712" y="1020"/>
                  </a:lnTo>
                  <a:lnTo>
                    <a:pt x="2711" y="1018"/>
                  </a:lnTo>
                  <a:lnTo>
                    <a:pt x="2708" y="1015"/>
                  </a:lnTo>
                  <a:lnTo>
                    <a:pt x="2706" y="1012"/>
                  </a:lnTo>
                  <a:lnTo>
                    <a:pt x="2705" y="1010"/>
                  </a:lnTo>
                  <a:lnTo>
                    <a:pt x="2706" y="1010"/>
                  </a:lnTo>
                  <a:lnTo>
                    <a:pt x="2706" y="1010"/>
                  </a:lnTo>
                  <a:lnTo>
                    <a:pt x="2709" y="1013"/>
                  </a:lnTo>
                  <a:lnTo>
                    <a:pt x="2711" y="1015"/>
                  </a:lnTo>
                  <a:lnTo>
                    <a:pt x="2712" y="1016"/>
                  </a:lnTo>
                  <a:lnTo>
                    <a:pt x="2715" y="1016"/>
                  </a:lnTo>
                  <a:lnTo>
                    <a:pt x="2718" y="1018"/>
                  </a:lnTo>
                  <a:lnTo>
                    <a:pt x="2719" y="1016"/>
                  </a:lnTo>
                  <a:lnTo>
                    <a:pt x="2721" y="1015"/>
                  </a:lnTo>
                  <a:lnTo>
                    <a:pt x="2719" y="1009"/>
                  </a:lnTo>
                  <a:lnTo>
                    <a:pt x="2721" y="1008"/>
                  </a:lnTo>
                  <a:lnTo>
                    <a:pt x="2722" y="1006"/>
                  </a:lnTo>
                  <a:lnTo>
                    <a:pt x="2726" y="1002"/>
                  </a:lnTo>
                  <a:lnTo>
                    <a:pt x="2729" y="1002"/>
                  </a:lnTo>
                  <a:lnTo>
                    <a:pt x="2729" y="1002"/>
                  </a:lnTo>
                  <a:lnTo>
                    <a:pt x="2731" y="1002"/>
                  </a:lnTo>
                  <a:lnTo>
                    <a:pt x="2732" y="1003"/>
                  </a:lnTo>
                  <a:lnTo>
                    <a:pt x="2734" y="1000"/>
                  </a:lnTo>
                  <a:lnTo>
                    <a:pt x="2732" y="998"/>
                  </a:lnTo>
                  <a:close/>
                  <a:moveTo>
                    <a:pt x="1481" y="591"/>
                  </a:moveTo>
                  <a:lnTo>
                    <a:pt x="1480" y="592"/>
                  </a:lnTo>
                  <a:lnTo>
                    <a:pt x="1480" y="594"/>
                  </a:lnTo>
                  <a:lnTo>
                    <a:pt x="1480" y="596"/>
                  </a:lnTo>
                  <a:lnTo>
                    <a:pt x="1480" y="601"/>
                  </a:lnTo>
                  <a:lnTo>
                    <a:pt x="1478" y="602"/>
                  </a:lnTo>
                  <a:lnTo>
                    <a:pt x="1474" y="601"/>
                  </a:lnTo>
                  <a:lnTo>
                    <a:pt x="1473" y="602"/>
                  </a:lnTo>
                  <a:lnTo>
                    <a:pt x="1473" y="602"/>
                  </a:lnTo>
                  <a:lnTo>
                    <a:pt x="1474" y="608"/>
                  </a:lnTo>
                  <a:lnTo>
                    <a:pt x="1478" y="611"/>
                  </a:lnTo>
                  <a:lnTo>
                    <a:pt x="1481" y="613"/>
                  </a:lnTo>
                  <a:lnTo>
                    <a:pt x="1483" y="615"/>
                  </a:lnTo>
                  <a:lnTo>
                    <a:pt x="1493" y="618"/>
                  </a:lnTo>
                  <a:lnTo>
                    <a:pt x="1493" y="618"/>
                  </a:lnTo>
                  <a:lnTo>
                    <a:pt x="1495" y="612"/>
                  </a:lnTo>
                  <a:lnTo>
                    <a:pt x="1498" y="609"/>
                  </a:lnTo>
                  <a:lnTo>
                    <a:pt x="1500" y="608"/>
                  </a:lnTo>
                  <a:lnTo>
                    <a:pt x="1501" y="605"/>
                  </a:lnTo>
                  <a:lnTo>
                    <a:pt x="1501" y="602"/>
                  </a:lnTo>
                  <a:lnTo>
                    <a:pt x="1502" y="599"/>
                  </a:lnTo>
                  <a:lnTo>
                    <a:pt x="1501" y="598"/>
                  </a:lnTo>
                  <a:lnTo>
                    <a:pt x="1495" y="595"/>
                  </a:lnTo>
                  <a:lnTo>
                    <a:pt x="1481" y="591"/>
                  </a:lnTo>
                  <a:close/>
                  <a:moveTo>
                    <a:pt x="751" y="795"/>
                  </a:moveTo>
                  <a:lnTo>
                    <a:pt x="749" y="795"/>
                  </a:lnTo>
                  <a:lnTo>
                    <a:pt x="749" y="796"/>
                  </a:lnTo>
                  <a:lnTo>
                    <a:pt x="749" y="802"/>
                  </a:lnTo>
                  <a:lnTo>
                    <a:pt x="751" y="805"/>
                  </a:lnTo>
                  <a:lnTo>
                    <a:pt x="751" y="806"/>
                  </a:lnTo>
                  <a:lnTo>
                    <a:pt x="752" y="808"/>
                  </a:lnTo>
                  <a:lnTo>
                    <a:pt x="752" y="806"/>
                  </a:lnTo>
                  <a:lnTo>
                    <a:pt x="751" y="798"/>
                  </a:lnTo>
                  <a:lnTo>
                    <a:pt x="751" y="795"/>
                  </a:lnTo>
                  <a:lnTo>
                    <a:pt x="751" y="795"/>
                  </a:lnTo>
                  <a:close/>
                  <a:moveTo>
                    <a:pt x="808" y="975"/>
                  </a:moveTo>
                  <a:lnTo>
                    <a:pt x="806" y="975"/>
                  </a:lnTo>
                  <a:lnTo>
                    <a:pt x="804" y="973"/>
                  </a:lnTo>
                  <a:lnTo>
                    <a:pt x="801" y="973"/>
                  </a:lnTo>
                  <a:lnTo>
                    <a:pt x="799" y="973"/>
                  </a:lnTo>
                  <a:lnTo>
                    <a:pt x="799" y="975"/>
                  </a:lnTo>
                  <a:lnTo>
                    <a:pt x="802" y="980"/>
                  </a:lnTo>
                  <a:lnTo>
                    <a:pt x="805" y="983"/>
                  </a:lnTo>
                  <a:lnTo>
                    <a:pt x="808" y="983"/>
                  </a:lnTo>
                  <a:lnTo>
                    <a:pt x="808" y="982"/>
                  </a:lnTo>
                  <a:lnTo>
                    <a:pt x="809" y="980"/>
                  </a:lnTo>
                  <a:lnTo>
                    <a:pt x="808" y="979"/>
                  </a:lnTo>
                  <a:lnTo>
                    <a:pt x="808" y="978"/>
                  </a:lnTo>
                  <a:lnTo>
                    <a:pt x="808" y="975"/>
                  </a:lnTo>
                  <a:close/>
                  <a:moveTo>
                    <a:pt x="764" y="858"/>
                  </a:moveTo>
                  <a:lnTo>
                    <a:pt x="765" y="853"/>
                  </a:lnTo>
                  <a:lnTo>
                    <a:pt x="765" y="850"/>
                  </a:lnTo>
                  <a:lnTo>
                    <a:pt x="762" y="850"/>
                  </a:lnTo>
                  <a:lnTo>
                    <a:pt x="759" y="855"/>
                  </a:lnTo>
                  <a:lnTo>
                    <a:pt x="759" y="856"/>
                  </a:lnTo>
                  <a:lnTo>
                    <a:pt x="761" y="856"/>
                  </a:lnTo>
                  <a:lnTo>
                    <a:pt x="764" y="85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1" name="Google Shape;301;p3"/>
            <p:cNvSpPr/>
            <p:nvPr/>
          </p:nvSpPr>
          <p:spPr>
            <a:xfrm>
              <a:off x="4276132" y="4384235"/>
              <a:ext cx="21740" cy="16950"/>
            </a:xfrm>
            <a:custGeom>
              <a:rect b="b" l="l" r="r" t="t"/>
              <a:pathLst>
                <a:path extrusionOk="0" h="27" w="31">
                  <a:moveTo>
                    <a:pt x="25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1" y="7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18"/>
                  </a:lnTo>
                  <a:lnTo>
                    <a:pt x="23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2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6" y="10"/>
                  </a:lnTo>
                  <a:lnTo>
                    <a:pt x="6" y="8"/>
                  </a:lnTo>
                  <a:lnTo>
                    <a:pt x="7" y="7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2" name="Google Shape;302;p3"/>
            <p:cNvSpPr/>
            <p:nvPr/>
          </p:nvSpPr>
          <p:spPr>
            <a:xfrm>
              <a:off x="4339950" y="4033303"/>
              <a:ext cx="236338" cy="173897"/>
            </a:xfrm>
            <a:custGeom>
              <a:rect b="b" l="l" r="r" t="t"/>
              <a:pathLst>
                <a:path extrusionOk="0" h="277" w="337">
                  <a:moveTo>
                    <a:pt x="191" y="56"/>
                  </a:moveTo>
                  <a:lnTo>
                    <a:pt x="194" y="56"/>
                  </a:lnTo>
                  <a:lnTo>
                    <a:pt x="198" y="57"/>
                  </a:lnTo>
                  <a:lnTo>
                    <a:pt x="201" y="57"/>
                  </a:lnTo>
                  <a:lnTo>
                    <a:pt x="206" y="57"/>
                  </a:lnTo>
                  <a:lnTo>
                    <a:pt x="207" y="60"/>
                  </a:lnTo>
                  <a:lnTo>
                    <a:pt x="208" y="63"/>
                  </a:lnTo>
                  <a:lnTo>
                    <a:pt x="208" y="65"/>
                  </a:lnTo>
                  <a:lnTo>
                    <a:pt x="210" y="66"/>
                  </a:lnTo>
                  <a:lnTo>
                    <a:pt x="213" y="66"/>
                  </a:lnTo>
                  <a:lnTo>
                    <a:pt x="215" y="66"/>
                  </a:lnTo>
                  <a:lnTo>
                    <a:pt x="220" y="66"/>
                  </a:lnTo>
                  <a:lnTo>
                    <a:pt x="223" y="66"/>
                  </a:lnTo>
                  <a:lnTo>
                    <a:pt x="223" y="67"/>
                  </a:lnTo>
                  <a:lnTo>
                    <a:pt x="224" y="70"/>
                  </a:lnTo>
                  <a:lnTo>
                    <a:pt x="225" y="73"/>
                  </a:lnTo>
                  <a:lnTo>
                    <a:pt x="227" y="77"/>
                  </a:lnTo>
                  <a:lnTo>
                    <a:pt x="228" y="77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2"/>
                  </a:lnTo>
                  <a:lnTo>
                    <a:pt x="230" y="83"/>
                  </a:lnTo>
                  <a:lnTo>
                    <a:pt x="233" y="85"/>
                  </a:lnTo>
                  <a:lnTo>
                    <a:pt x="234" y="85"/>
                  </a:lnTo>
                  <a:lnTo>
                    <a:pt x="235" y="85"/>
                  </a:lnTo>
                  <a:lnTo>
                    <a:pt x="234" y="86"/>
                  </a:lnTo>
                  <a:lnTo>
                    <a:pt x="235" y="89"/>
                  </a:lnTo>
                  <a:lnTo>
                    <a:pt x="237" y="90"/>
                  </a:lnTo>
                  <a:lnTo>
                    <a:pt x="240" y="92"/>
                  </a:lnTo>
                  <a:lnTo>
                    <a:pt x="243" y="95"/>
                  </a:lnTo>
                  <a:lnTo>
                    <a:pt x="247" y="97"/>
                  </a:lnTo>
                  <a:lnTo>
                    <a:pt x="250" y="100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47" y="99"/>
                  </a:lnTo>
                  <a:lnTo>
                    <a:pt x="247" y="100"/>
                  </a:lnTo>
                  <a:lnTo>
                    <a:pt x="247" y="102"/>
                  </a:lnTo>
                  <a:lnTo>
                    <a:pt x="247" y="103"/>
                  </a:lnTo>
                  <a:lnTo>
                    <a:pt x="248" y="103"/>
                  </a:lnTo>
                  <a:lnTo>
                    <a:pt x="250" y="105"/>
                  </a:lnTo>
                  <a:lnTo>
                    <a:pt x="250" y="106"/>
                  </a:lnTo>
                  <a:lnTo>
                    <a:pt x="250" y="110"/>
                  </a:lnTo>
                  <a:lnTo>
                    <a:pt x="250" y="110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47" y="110"/>
                  </a:lnTo>
                  <a:lnTo>
                    <a:pt x="248" y="113"/>
                  </a:lnTo>
                  <a:lnTo>
                    <a:pt x="250" y="115"/>
                  </a:lnTo>
                  <a:lnTo>
                    <a:pt x="250" y="116"/>
                  </a:lnTo>
                  <a:lnTo>
                    <a:pt x="251" y="119"/>
                  </a:lnTo>
                  <a:lnTo>
                    <a:pt x="251" y="120"/>
                  </a:lnTo>
                  <a:lnTo>
                    <a:pt x="254" y="122"/>
                  </a:lnTo>
                  <a:lnTo>
                    <a:pt x="255" y="125"/>
                  </a:lnTo>
                  <a:lnTo>
                    <a:pt x="255" y="127"/>
                  </a:lnTo>
                  <a:lnTo>
                    <a:pt x="258" y="130"/>
                  </a:lnTo>
                  <a:lnTo>
                    <a:pt x="258" y="132"/>
                  </a:lnTo>
                  <a:lnTo>
                    <a:pt x="260" y="133"/>
                  </a:lnTo>
                  <a:lnTo>
                    <a:pt x="261" y="135"/>
                  </a:lnTo>
                  <a:lnTo>
                    <a:pt x="263" y="136"/>
                  </a:lnTo>
                  <a:lnTo>
                    <a:pt x="263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5" y="137"/>
                  </a:lnTo>
                  <a:lnTo>
                    <a:pt x="267" y="136"/>
                  </a:lnTo>
                  <a:lnTo>
                    <a:pt x="268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68" y="139"/>
                  </a:lnTo>
                  <a:lnTo>
                    <a:pt x="268" y="142"/>
                  </a:lnTo>
                  <a:lnTo>
                    <a:pt x="270" y="142"/>
                  </a:lnTo>
                  <a:lnTo>
                    <a:pt x="271" y="142"/>
                  </a:lnTo>
                  <a:lnTo>
                    <a:pt x="271" y="142"/>
                  </a:lnTo>
                  <a:lnTo>
                    <a:pt x="273" y="142"/>
                  </a:lnTo>
                  <a:lnTo>
                    <a:pt x="273" y="143"/>
                  </a:lnTo>
                  <a:lnTo>
                    <a:pt x="273" y="145"/>
                  </a:lnTo>
                  <a:lnTo>
                    <a:pt x="273" y="146"/>
                  </a:lnTo>
                  <a:lnTo>
                    <a:pt x="273" y="146"/>
                  </a:lnTo>
                  <a:lnTo>
                    <a:pt x="274" y="147"/>
                  </a:lnTo>
                  <a:lnTo>
                    <a:pt x="275" y="149"/>
                  </a:lnTo>
                  <a:lnTo>
                    <a:pt x="275" y="150"/>
                  </a:lnTo>
                  <a:lnTo>
                    <a:pt x="277" y="152"/>
                  </a:lnTo>
                  <a:lnTo>
                    <a:pt x="277" y="152"/>
                  </a:lnTo>
                  <a:lnTo>
                    <a:pt x="278" y="153"/>
                  </a:lnTo>
                  <a:lnTo>
                    <a:pt x="280" y="155"/>
                  </a:lnTo>
                  <a:lnTo>
                    <a:pt x="280" y="156"/>
                  </a:lnTo>
                  <a:lnTo>
                    <a:pt x="281" y="157"/>
                  </a:lnTo>
                  <a:lnTo>
                    <a:pt x="283" y="157"/>
                  </a:lnTo>
                  <a:lnTo>
                    <a:pt x="283" y="159"/>
                  </a:lnTo>
                  <a:lnTo>
                    <a:pt x="284" y="160"/>
                  </a:lnTo>
                  <a:lnTo>
                    <a:pt x="284" y="162"/>
                  </a:lnTo>
                  <a:lnTo>
                    <a:pt x="285" y="163"/>
                  </a:lnTo>
                  <a:lnTo>
                    <a:pt x="287" y="163"/>
                  </a:lnTo>
                  <a:lnTo>
                    <a:pt x="287" y="165"/>
                  </a:lnTo>
                  <a:lnTo>
                    <a:pt x="288" y="166"/>
                  </a:lnTo>
                  <a:lnTo>
                    <a:pt x="290" y="166"/>
                  </a:lnTo>
                  <a:lnTo>
                    <a:pt x="290" y="166"/>
                  </a:lnTo>
                  <a:lnTo>
                    <a:pt x="291" y="166"/>
                  </a:lnTo>
                  <a:lnTo>
                    <a:pt x="293" y="166"/>
                  </a:lnTo>
                  <a:lnTo>
                    <a:pt x="295" y="166"/>
                  </a:lnTo>
                  <a:lnTo>
                    <a:pt x="298" y="167"/>
                  </a:lnTo>
                  <a:lnTo>
                    <a:pt x="301" y="167"/>
                  </a:lnTo>
                  <a:lnTo>
                    <a:pt x="305" y="167"/>
                  </a:lnTo>
                  <a:lnTo>
                    <a:pt x="308" y="169"/>
                  </a:lnTo>
                  <a:lnTo>
                    <a:pt x="312" y="169"/>
                  </a:lnTo>
                  <a:lnTo>
                    <a:pt x="315" y="169"/>
                  </a:lnTo>
                  <a:lnTo>
                    <a:pt x="318" y="170"/>
                  </a:lnTo>
                  <a:lnTo>
                    <a:pt x="321" y="170"/>
                  </a:lnTo>
                  <a:lnTo>
                    <a:pt x="324" y="170"/>
                  </a:lnTo>
                  <a:lnTo>
                    <a:pt x="325" y="170"/>
                  </a:lnTo>
                  <a:lnTo>
                    <a:pt x="327" y="170"/>
                  </a:lnTo>
                  <a:lnTo>
                    <a:pt x="327" y="170"/>
                  </a:lnTo>
                  <a:lnTo>
                    <a:pt x="328" y="172"/>
                  </a:lnTo>
                  <a:lnTo>
                    <a:pt x="330" y="170"/>
                  </a:lnTo>
                  <a:lnTo>
                    <a:pt x="330" y="170"/>
                  </a:lnTo>
                  <a:lnTo>
                    <a:pt x="331" y="172"/>
                  </a:lnTo>
                  <a:lnTo>
                    <a:pt x="332" y="173"/>
                  </a:lnTo>
                  <a:lnTo>
                    <a:pt x="334" y="176"/>
                  </a:lnTo>
                  <a:lnTo>
                    <a:pt x="335" y="177"/>
                  </a:lnTo>
                  <a:lnTo>
                    <a:pt x="337" y="180"/>
                  </a:lnTo>
                  <a:lnTo>
                    <a:pt x="337" y="182"/>
                  </a:lnTo>
                  <a:lnTo>
                    <a:pt x="337" y="183"/>
                  </a:lnTo>
                  <a:lnTo>
                    <a:pt x="337" y="186"/>
                  </a:lnTo>
                  <a:lnTo>
                    <a:pt x="335" y="187"/>
                  </a:lnTo>
                  <a:lnTo>
                    <a:pt x="335" y="189"/>
                  </a:lnTo>
                  <a:lnTo>
                    <a:pt x="334" y="192"/>
                  </a:lnTo>
                  <a:lnTo>
                    <a:pt x="334" y="193"/>
                  </a:lnTo>
                  <a:lnTo>
                    <a:pt x="334" y="195"/>
                  </a:lnTo>
                  <a:lnTo>
                    <a:pt x="332" y="197"/>
                  </a:lnTo>
                  <a:lnTo>
                    <a:pt x="332" y="199"/>
                  </a:lnTo>
                  <a:lnTo>
                    <a:pt x="331" y="200"/>
                  </a:lnTo>
                  <a:lnTo>
                    <a:pt x="331" y="202"/>
                  </a:lnTo>
                  <a:lnTo>
                    <a:pt x="330" y="205"/>
                  </a:lnTo>
                  <a:lnTo>
                    <a:pt x="330" y="206"/>
                  </a:lnTo>
                  <a:lnTo>
                    <a:pt x="330" y="207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3"/>
                  </a:lnTo>
                  <a:lnTo>
                    <a:pt x="327" y="216"/>
                  </a:lnTo>
                  <a:lnTo>
                    <a:pt x="325" y="216"/>
                  </a:lnTo>
                  <a:lnTo>
                    <a:pt x="322" y="217"/>
                  </a:lnTo>
                  <a:lnTo>
                    <a:pt x="320" y="219"/>
                  </a:lnTo>
                  <a:lnTo>
                    <a:pt x="317" y="219"/>
                  </a:lnTo>
                  <a:lnTo>
                    <a:pt x="314" y="220"/>
                  </a:lnTo>
                  <a:lnTo>
                    <a:pt x="311" y="222"/>
                  </a:lnTo>
                  <a:lnTo>
                    <a:pt x="308" y="222"/>
                  </a:lnTo>
                  <a:lnTo>
                    <a:pt x="305" y="223"/>
                  </a:lnTo>
                  <a:lnTo>
                    <a:pt x="303" y="224"/>
                  </a:lnTo>
                  <a:lnTo>
                    <a:pt x="300" y="226"/>
                  </a:lnTo>
                  <a:lnTo>
                    <a:pt x="297" y="226"/>
                  </a:lnTo>
                  <a:lnTo>
                    <a:pt x="294" y="227"/>
                  </a:lnTo>
                  <a:lnTo>
                    <a:pt x="293" y="229"/>
                  </a:lnTo>
                  <a:lnTo>
                    <a:pt x="290" y="229"/>
                  </a:lnTo>
                  <a:lnTo>
                    <a:pt x="287" y="230"/>
                  </a:lnTo>
                  <a:lnTo>
                    <a:pt x="284" y="232"/>
                  </a:lnTo>
                  <a:lnTo>
                    <a:pt x="281" y="232"/>
                  </a:lnTo>
                  <a:lnTo>
                    <a:pt x="278" y="233"/>
                  </a:lnTo>
                  <a:lnTo>
                    <a:pt x="275" y="233"/>
                  </a:lnTo>
                  <a:lnTo>
                    <a:pt x="271" y="234"/>
                  </a:lnTo>
                  <a:lnTo>
                    <a:pt x="267" y="234"/>
                  </a:lnTo>
                  <a:lnTo>
                    <a:pt x="263" y="234"/>
                  </a:lnTo>
                  <a:lnTo>
                    <a:pt x="258" y="236"/>
                  </a:lnTo>
                  <a:lnTo>
                    <a:pt x="253" y="236"/>
                  </a:lnTo>
                  <a:lnTo>
                    <a:pt x="247" y="237"/>
                  </a:lnTo>
                  <a:lnTo>
                    <a:pt x="243" y="237"/>
                  </a:lnTo>
                  <a:lnTo>
                    <a:pt x="238" y="239"/>
                  </a:lnTo>
                  <a:lnTo>
                    <a:pt x="234" y="239"/>
                  </a:lnTo>
                  <a:lnTo>
                    <a:pt x="231" y="240"/>
                  </a:lnTo>
                  <a:lnTo>
                    <a:pt x="228" y="242"/>
                  </a:lnTo>
                  <a:lnTo>
                    <a:pt x="224" y="243"/>
                  </a:lnTo>
                  <a:lnTo>
                    <a:pt x="220" y="246"/>
                  </a:lnTo>
                  <a:lnTo>
                    <a:pt x="218" y="247"/>
                  </a:lnTo>
                  <a:lnTo>
                    <a:pt x="215" y="250"/>
                  </a:lnTo>
                  <a:lnTo>
                    <a:pt x="214" y="252"/>
                  </a:lnTo>
                  <a:lnTo>
                    <a:pt x="211" y="254"/>
                  </a:lnTo>
                  <a:lnTo>
                    <a:pt x="210" y="256"/>
                  </a:lnTo>
                  <a:lnTo>
                    <a:pt x="208" y="259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6" y="266"/>
                  </a:lnTo>
                  <a:lnTo>
                    <a:pt x="203" y="266"/>
                  </a:lnTo>
                  <a:lnTo>
                    <a:pt x="201" y="267"/>
                  </a:lnTo>
                  <a:lnTo>
                    <a:pt x="198" y="267"/>
                  </a:lnTo>
                  <a:lnTo>
                    <a:pt x="197" y="264"/>
                  </a:lnTo>
                  <a:lnTo>
                    <a:pt x="196" y="263"/>
                  </a:lnTo>
                  <a:lnTo>
                    <a:pt x="194" y="262"/>
                  </a:lnTo>
                  <a:lnTo>
                    <a:pt x="194" y="262"/>
                  </a:lnTo>
                  <a:lnTo>
                    <a:pt x="191" y="262"/>
                  </a:lnTo>
                  <a:lnTo>
                    <a:pt x="188" y="263"/>
                  </a:lnTo>
                  <a:lnTo>
                    <a:pt x="184" y="262"/>
                  </a:lnTo>
                  <a:lnTo>
                    <a:pt x="180" y="262"/>
                  </a:lnTo>
                  <a:lnTo>
                    <a:pt x="176" y="262"/>
                  </a:lnTo>
                  <a:lnTo>
                    <a:pt x="173" y="262"/>
                  </a:lnTo>
                  <a:lnTo>
                    <a:pt x="171" y="260"/>
                  </a:lnTo>
                  <a:lnTo>
                    <a:pt x="170" y="259"/>
                  </a:lnTo>
                  <a:lnTo>
                    <a:pt x="170" y="259"/>
                  </a:lnTo>
                  <a:lnTo>
                    <a:pt x="166" y="259"/>
                  </a:lnTo>
                  <a:lnTo>
                    <a:pt x="163" y="259"/>
                  </a:lnTo>
                  <a:lnTo>
                    <a:pt x="160" y="260"/>
                  </a:lnTo>
                  <a:lnTo>
                    <a:pt x="157" y="259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1" y="260"/>
                  </a:lnTo>
                  <a:lnTo>
                    <a:pt x="150" y="260"/>
                  </a:lnTo>
                  <a:lnTo>
                    <a:pt x="150" y="260"/>
                  </a:lnTo>
                  <a:lnTo>
                    <a:pt x="148" y="260"/>
                  </a:lnTo>
                  <a:lnTo>
                    <a:pt x="148" y="260"/>
                  </a:lnTo>
                  <a:lnTo>
                    <a:pt x="146" y="260"/>
                  </a:lnTo>
                  <a:lnTo>
                    <a:pt x="146" y="259"/>
                  </a:lnTo>
                  <a:lnTo>
                    <a:pt x="144" y="259"/>
                  </a:lnTo>
                  <a:lnTo>
                    <a:pt x="144" y="257"/>
                  </a:lnTo>
                  <a:lnTo>
                    <a:pt x="143" y="257"/>
                  </a:lnTo>
                  <a:lnTo>
                    <a:pt x="141" y="257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38" y="260"/>
                  </a:lnTo>
                  <a:lnTo>
                    <a:pt x="138" y="260"/>
                  </a:lnTo>
                  <a:lnTo>
                    <a:pt x="138" y="262"/>
                  </a:lnTo>
                  <a:lnTo>
                    <a:pt x="138" y="262"/>
                  </a:lnTo>
                  <a:lnTo>
                    <a:pt x="137" y="263"/>
                  </a:lnTo>
                  <a:lnTo>
                    <a:pt x="137" y="264"/>
                  </a:lnTo>
                  <a:lnTo>
                    <a:pt x="137" y="266"/>
                  </a:lnTo>
                  <a:lnTo>
                    <a:pt x="137" y="267"/>
                  </a:lnTo>
                  <a:lnTo>
                    <a:pt x="137" y="269"/>
                  </a:lnTo>
                  <a:lnTo>
                    <a:pt x="138" y="269"/>
                  </a:lnTo>
                  <a:lnTo>
                    <a:pt x="138" y="270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6" y="273"/>
                  </a:lnTo>
                  <a:lnTo>
                    <a:pt x="136" y="274"/>
                  </a:lnTo>
                  <a:lnTo>
                    <a:pt x="134" y="274"/>
                  </a:lnTo>
                  <a:lnTo>
                    <a:pt x="131" y="277"/>
                  </a:lnTo>
                  <a:lnTo>
                    <a:pt x="131" y="276"/>
                  </a:lnTo>
                  <a:lnTo>
                    <a:pt x="130" y="273"/>
                  </a:lnTo>
                  <a:lnTo>
                    <a:pt x="130" y="272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27" y="269"/>
                  </a:lnTo>
                  <a:lnTo>
                    <a:pt x="127" y="267"/>
                  </a:lnTo>
                  <a:lnTo>
                    <a:pt x="127" y="266"/>
                  </a:lnTo>
                  <a:lnTo>
                    <a:pt x="126" y="264"/>
                  </a:lnTo>
                  <a:lnTo>
                    <a:pt x="124" y="262"/>
                  </a:lnTo>
                  <a:lnTo>
                    <a:pt x="124" y="259"/>
                  </a:lnTo>
                  <a:lnTo>
                    <a:pt x="120" y="254"/>
                  </a:lnTo>
                  <a:lnTo>
                    <a:pt x="114" y="252"/>
                  </a:lnTo>
                  <a:lnTo>
                    <a:pt x="113" y="249"/>
                  </a:lnTo>
                  <a:lnTo>
                    <a:pt x="111" y="246"/>
                  </a:lnTo>
                  <a:lnTo>
                    <a:pt x="110" y="242"/>
                  </a:lnTo>
                  <a:lnTo>
                    <a:pt x="107" y="239"/>
                  </a:lnTo>
                  <a:lnTo>
                    <a:pt x="107" y="237"/>
                  </a:lnTo>
                  <a:lnTo>
                    <a:pt x="106" y="234"/>
                  </a:lnTo>
                  <a:lnTo>
                    <a:pt x="106" y="233"/>
                  </a:lnTo>
                  <a:lnTo>
                    <a:pt x="104" y="232"/>
                  </a:lnTo>
                  <a:lnTo>
                    <a:pt x="101" y="224"/>
                  </a:lnTo>
                  <a:lnTo>
                    <a:pt x="100" y="223"/>
                  </a:lnTo>
                  <a:lnTo>
                    <a:pt x="100" y="222"/>
                  </a:lnTo>
                  <a:lnTo>
                    <a:pt x="100" y="220"/>
                  </a:lnTo>
                  <a:lnTo>
                    <a:pt x="99" y="220"/>
                  </a:lnTo>
                  <a:lnTo>
                    <a:pt x="97" y="219"/>
                  </a:lnTo>
                  <a:lnTo>
                    <a:pt x="94" y="216"/>
                  </a:lnTo>
                  <a:lnTo>
                    <a:pt x="89" y="212"/>
                  </a:lnTo>
                  <a:lnTo>
                    <a:pt x="84" y="210"/>
                  </a:lnTo>
                  <a:lnTo>
                    <a:pt x="83" y="209"/>
                  </a:lnTo>
                  <a:lnTo>
                    <a:pt x="80" y="207"/>
                  </a:lnTo>
                  <a:lnTo>
                    <a:pt x="79" y="203"/>
                  </a:lnTo>
                  <a:lnTo>
                    <a:pt x="76" y="199"/>
                  </a:lnTo>
                  <a:lnTo>
                    <a:pt x="73" y="193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3" y="187"/>
                  </a:lnTo>
                  <a:lnTo>
                    <a:pt x="71" y="186"/>
                  </a:lnTo>
                  <a:lnTo>
                    <a:pt x="70" y="183"/>
                  </a:lnTo>
                  <a:lnTo>
                    <a:pt x="71" y="182"/>
                  </a:lnTo>
                  <a:lnTo>
                    <a:pt x="71" y="179"/>
                  </a:lnTo>
                  <a:lnTo>
                    <a:pt x="71" y="177"/>
                  </a:lnTo>
                  <a:lnTo>
                    <a:pt x="73" y="175"/>
                  </a:lnTo>
                  <a:lnTo>
                    <a:pt x="71" y="172"/>
                  </a:lnTo>
                  <a:lnTo>
                    <a:pt x="71" y="170"/>
                  </a:lnTo>
                  <a:lnTo>
                    <a:pt x="71" y="169"/>
                  </a:lnTo>
                  <a:lnTo>
                    <a:pt x="70" y="167"/>
                  </a:lnTo>
                  <a:lnTo>
                    <a:pt x="69" y="166"/>
                  </a:lnTo>
                  <a:lnTo>
                    <a:pt x="70" y="166"/>
                  </a:lnTo>
                  <a:lnTo>
                    <a:pt x="69" y="165"/>
                  </a:lnTo>
                  <a:lnTo>
                    <a:pt x="67" y="163"/>
                  </a:lnTo>
                  <a:lnTo>
                    <a:pt x="67" y="162"/>
                  </a:lnTo>
                  <a:lnTo>
                    <a:pt x="66" y="159"/>
                  </a:lnTo>
                  <a:lnTo>
                    <a:pt x="63" y="155"/>
                  </a:lnTo>
                  <a:lnTo>
                    <a:pt x="63" y="152"/>
                  </a:lnTo>
                  <a:lnTo>
                    <a:pt x="60" y="149"/>
                  </a:lnTo>
                  <a:lnTo>
                    <a:pt x="56" y="146"/>
                  </a:lnTo>
                  <a:lnTo>
                    <a:pt x="54" y="145"/>
                  </a:lnTo>
                  <a:lnTo>
                    <a:pt x="53" y="145"/>
                  </a:lnTo>
                  <a:lnTo>
                    <a:pt x="51" y="143"/>
                  </a:lnTo>
                  <a:lnTo>
                    <a:pt x="50" y="142"/>
                  </a:lnTo>
                  <a:lnTo>
                    <a:pt x="49" y="142"/>
                  </a:lnTo>
                  <a:lnTo>
                    <a:pt x="47" y="142"/>
                  </a:lnTo>
                  <a:lnTo>
                    <a:pt x="46" y="139"/>
                  </a:lnTo>
                  <a:lnTo>
                    <a:pt x="44" y="136"/>
                  </a:lnTo>
                  <a:lnTo>
                    <a:pt x="41" y="133"/>
                  </a:lnTo>
                  <a:lnTo>
                    <a:pt x="43" y="132"/>
                  </a:lnTo>
                  <a:lnTo>
                    <a:pt x="43" y="130"/>
                  </a:lnTo>
                  <a:lnTo>
                    <a:pt x="43" y="129"/>
                  </a:lnTo>
                  <a:lnTo>
                    <a:pt x="43" y="127"/>
                  </a:lnTo>
                  <a:lnTo>
                    <a:pt x="41" y="125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4" y="116"/>
                  </a:lnTo>
                  <a:lnTo>
                    <a:pt x="34" y="113"/>
                  </a:lnTo>
                  <a:lnTo>
                    <a:pt x="33" y="112"/>
                  </a:lnTo>
                  <a:lnTo>
                    <a:pt x="31" y="110"/>
                  </a:lnTo>
                  <a:lnTo>
                    <a:pt x="27" y="102"/>
                  </a:lnTo>
                  <a:lnTo>
                    <a:pt x="24" y="99"/>
                  </a:lnTo>
                  <a:lnTo>
                    <a:pt x="23" y="96"/>
                  </a:lnTo>
                  <a:lnTo>
                    <a:pt x="20" y="93"/>
                  </a:lnTo>
                  <a:lnTo>
                    <a:pt x="19" y="89"/>
                  </a:lnTo>
                  <a:lnTo>
                    <a:pt x="16" y="86"/>
                  </a:lnTo>
                  <a:lnTo>
                    <a:pt x="13" y="80"/>
                  </a:lnTo>
                  <a:lnTo>
                    <a:pt x="10" y="76"/>
                  </a:lnTo>
                  <a:lnTo>
                    <a:pt x="9" y="75"/>
                  </a:lnTo>
                  <a:lnTo>
                    <a:pt x="4" y="75"/>
                  </a:lnTo>
                  <a:lnTo>
                    <a:pt x="3" y="73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2"/>
                  </a:lnTo>
                  <a:lnTo>
                    <a:pt x="3" y="67"/>
                  </a:lnTo>
                  <a:lnTo>
                    <a:pt x="3" y="63"/>
                  </a:lnTo>
                  <a:lnTo>
                    <a:pt x="6" y="52"/>
                  </a:lnTo>
                  <a:lnTo>
                    <a:pt x="10" y="52"/>
                  </a:lnTo>
                  <a:lnTo>
                    <a:pt x="12" y="53"/>
                  </a:lnTo>
                  <a:lnTo>
                    <a:pt x="16" y="53"/>
                  </a:lnTo>
                  <a:lnTo>
                    <a:pt x="20" y="55"/>
                  </a:lnTo>
                  <a:lnTo>
                    <a:pt x="23" y="55"/>
                  </a:lnTo>
                  <a:lnTo>
                    <a:pt x="24" y="55"/>
                  </a:lnTo>
                  <a:lnTo>
                    <a:pt x="27" y="52"/>
                  </a:lnTo>
                  <a:lnTo>
                    <a:pt x="30" y="49"/>
                  </a:lnTo>
                  <a:lnTo>
                    <a:pt x="33" y="46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7" y="42"/>
                  </a:lnTo>
                  <a:lnTo>
                    <a:pt x="41" y="40"/>
                  </a:lnTo>
                  <a:lnTo>
                    <a:pt x="46" y="40"/>
                  </a:lnTo>
                  <a:lnTo>
                    <a:pt x="47" y="39"/>
                  </a:lnTo>
                  <a:lnTo>
                    <a:pt x="47" y="37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50" y="33"/>
                  </a:lnTo>
                  <a:lnTo>
                    <a:pt x="53" y="32"/>
                  </a:lnTo>
                  <a:lnTo>
                    <a:pt x="54" y="30"/>
                  </a:lnTo>
                  <a:lnTo>
                    <a:pt x="51" y="27"/>
                  </a:lnTo>
                  <a:lnTo>
                    <a:pt x="50" y="25"/>
                  </a:lnTo>
                  <a:lnTo>
                    <a:pt x="47" y="20"/>
                  </a:lnTo>
                  <a:lnTo>
                    <a:pt x="44" y="19"/>
                  </a:lnTo>
                  <a:lnTo>
                    <a:pt x="40" y="15"/>
                  </a:lnTo>
                  <a:lnTo>
                    <a:pt x="39" y="12"/>
                  </a:lnTo>
                  <a:lnTo>
                    <a:pt x="43" y="10"/>
                  </a:lnTo>
                  <a:lnTo>
                    <a:pt x="47" y="9"/>
                  </a:lnTo>
                  <a:lnTo>
                    <a:pt x="51" y="7"/>
                  </a:lnTo>
                  <a:lnTo>
                    <a:pt x="57" y="6"/>
                  </a:lnTo>
                  <a:lnTo>
                    <a:pt x="61" y="5"/>
                  </a:lnTo>
                  <a:lnTo>
                    <a:pt x="67" y="3"/>
                  </a:lnTo>
                  <a:lnTo>
                    <a:pt x="70" y="3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77" y="0"/>
                  </a:lnTo>
                  <a:lnTo>
                    <a:pt x="81" y="2"/>
                  </a:lnTo>
                  <a:lnTo>
                    <a:pt x="87" y="3"/>
                  </a:lnTo>
                  <a:lnTo>
                    <a:pt x="93" y="3"/>
                  </a:lnTo>
                  <a:lnTo>
                    <a:pt x="94" y="5"/>
                  </a:lnTo>
                  <a:lnTo>
                    <a:pt x="100" y="7"/>
                  </a:lnTo>
                  <a:lnTo>
                    <a:pt x="103" y="9"/>
                  </a:lnTo>
                  <a:lnTo>
                    <a:pt x="107" y="12"/>
                  </a:lnTo>
                  <a:lnTo>
                    <a:pt x="113" y="15"/>
                  </a:lnTo>
                  <a:lnTo>
                    <a:pt x="116" y="17"/>
                  </a:lnTo>
                  <a:lnTo>
                    <a:pt x="120" y="19"/>
                  </a:lnTo>
                  <a:lnTo>
                    <a:pt x="124" y="23"/>
                  </a:lnTo>
                  <a:lnTo>
                    <a:pt x="128" y="26"/>
                  </a:lnTo>
                  <a:lnTo>
                    <a:pt x="133" y="30"/>
                  </a:lnTo>
                  <a:lnTo>
                    <a:pt x="137" y="33"/>
                  </a:lnTo>
                  <a:lnTo>
                    <a:pt x="141" y="37"/>
                  </a:lnTo>
                  <a:lnTo>
                    <a:pt x="147" y="42"/>
                  </a:lnTo>
                  <a:lnTo>
                    <a:pt x="153" y="46"/>
                  </a:lnTo>
                  <a:lnTo>
                    <a:pt x="157" y="50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8" y="55"/>
                  </a:lnTo>
                  <a:lnTo>
                    <a:pt x="176" y="56"/>
                  </a:lnTo>
                  <a:lnTo>
                    <a:pt x="183" y="56"/>
                  </a:lnTo>
                  <a:lnTo>
                    <a:pt x="188" y="57"/>
                  </a:lnTo>
                  <a:lnTo>
                    <a:pt x="191" y="56"/>
                  </a:lnTo>
                  <a:close/>
                  <a:moveTo>
                    <a:pt x="33" y="117"/>
                  </a:moveTo>
                  <a:lnTo>
                    <a:pt x="33" y="117"/>
                  </a:lnTo>
                  <a:lnTo>
                    <a:pt x="31" y="116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6"/>
                  </a:lnTo>
                  <a:lnTo>
                    <a:pt x="33" y="116"/>
                  </a:lnTo>
                  <a:lnTo>
                    <a:pt x="33" y="117"/>
                  </a:lnTo>
                  <a:close/>
                  <a:moveTo>
                    <a:pt x="37" y="123"/>
                  </a:moveTo>
                  <a:lnTo>
                    <a:pt x="37" y="123"/>
                  </a:lnTo>
                  <a:lnTo>
                    <a:pt x="36" y="122"/>
                  </a:lnTo>
                  <a:lnTo>
                    <a:pt x="36" y="120"/>
                  </a:lnTo>
                  <a:lnTo>
                    <a:pt x="34" y="120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3" y="119"/>
                  </a:lnTo>
                  <a:lnTo>
                    <a:pt x="34" y="120"/>
                  </a:lnTo>
                  <a:lnTo>
                    <a:pt x="37" y="122"/>
                  </a:lnTo>
                  <a:lnTo>
                    <a:pt x="39" y="122"/>
                  </a:lnTo>
                  <a:lnTo>
                    <a:pt x="37" y="123"/>
                  </a:lnTo>
                  <a:close/>
                  <a:moveTo>
                    <a:pt x="118" y="272"/>
                  </a:moveTo>
                  <a:lnTo>
                    <a:pt x="120" y="272"/>
                  </a:lnTo>
                  <a:lnTo>
                    <a:pt x="120" y="270"/>
                  </a:lnTo>
                  <a:lnTo>
                    <a:pt x="120" y="270"/>
                  </a:lnTo>
                  <a:lnTo>
                    <a:pt x="120" y="270"/>
                  </a:lnTo>
                  <a:lnTo>
                    <a:pt x="121" y="272"/>
                  </a:lnTo>
                  <a:lnTo>
                    <a:pt x="121" y="273"/>
                  </a:lnTo>
                  <a:lnTo>
                    <a:pt x="121" y="273"/>
                  </a:lnTo>
                  <a:lnTo>
                    <a:pt x="121" y="273"/>
                  </a:lnTo>
                  <a:lnTo>
                    <a:pt x="121" y="273"/>
                  </a:lnTo>
                  <a:lnTo>
                    <a:pt x="120" y="272"/>
                  </a:lnTo>
                  <a:lnTo>
                    <a:pt x="120" y="272"/>
                  </a:lnTo>
                  <a:lnTo>
                    <a:pt x="118" y="272"/>
                  </a:lnTo>
                  <a:lnTo>
                    <a:pt x="117" y="272"/>
                  </a:lnTo>
                  <a:lnTo>
                    <a:pt x="116" y="270"/>
                  </a:lnTo>
                  <a:lnTo>
                    <a:pt x="116" y="269"/>
                  </a:lnTo>
                  <a:lnTo>
                    <a:pt x="116" y="269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6"/>
                  </a:lnTo>
                  <a:lnTo>
                    <a:pt x="117" y="266"/>
                  </a:lnTo>
                  <a:lnTo>
                    <a:pt x="118" y="267"/>
                  </a:lnTo>
                  <a:lnTo>
                    <a:pt x="118" y="269"/>
                  </a:lnTo>
                  <a:lnTo>
                    <a:pt x="118" y="270"/>
                  </a:lnTo>
                  <a:lnTo>
                    <a:pt x="118" y="270"/>
                  </a:lnTo>
                  <a:lnTo>
                    <a:pt x="118" y="27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3" name="Google Shape;303;p3"/>
            <p:cNvSpPr/>
            <p:nvPr/>
          </p:nvSpPr>
          <p:spPr>
            <a:xfrm>
              <a:off x="5699766" y="4439480"/>
              <a:ext cx="126935" cy="52734"/>
            </a:xfrm>
            <a:custGeom>
              <a:rect b="b" l="l" r="r" t="t"/>
              <a:pathLst>
                <a:path extrusionOk="0" h="84" w="181">
                  <a:moveTo>
                    <a:pt x="30" y="11"/>
                  </a:moveTo>
                  <a:lnTo>
                    <a:pt x="30" y="11"/>
                  </a:lnTo>
                  <a:lnTo>
                    <a:pt x="28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2" y="11"/>
                  </a:lnTo>
                  <a:lnTo>
                    <a:pt x="20" y="9"/>
                  </a:lnTo>
                  <a:lnTo>
                    <a:pt x="17" y="4"/>
                  </a:lnTo>
                  <a:lnTo>
                    <a:pt x="14" y="1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8" y="1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4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1"/>
                  </a:lnTo>
                  <a:close/>
                  <a:moveTo>
                    <a:pt x="2" y="7"/>
                  </a:moveTo>
                  <a:lnTo>
                    <a:pt x="1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4" y="6"/>
                  </a:lnTo>
                  <a:lnTo>
                    <a:pt x="2" y="7"/>
                  </a:lnTo>
                  <a:close/>
                  <a:moveTo>
                    <a:pt x="68" y="30"/>
                  </a:moveTo>
                  <a:lnTo>
                    <a:pt x="68" y="30"/>
                  </a:lnTo>
                  <a:lnTo>
                    <a:pt x="65" y="30"/>
                  </a:lnTo>
                  <a:lnTo>
                    <a:pt x="64" y="27"/>
                  </a:lnTo>
                  <a:lnTo>
                    <a:pt x="60" y="26"/>
                  </a:lnTo>
                  <a:lnTo>
                    <a:pt x="58" y="24"/>
                  </a:lnTo>
                  <a:lnTo>
                    <a:pt x="57" y="24"/>
                  </a:lnTo>
                  <a:lnTo>
                    <a:pt x="55" y="23"/>
                  </a:lnTo>
                  <a:lnTo>
                    <a:pt x="52" y="23"/>
                  </a:lnTo>
                  <a:lnTo>
                    <a:pt x="51" y="21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48" y="19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50" y="16"/>
                  </a:lnTo>
                  <a:lnTo>
                    <a:pt x="51" y="17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5" y="20"/>
                  </a:lnTo>
                  <a:lnTo>
                    <a:pt x="57" y="20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1" y="23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8" y="30"/>
                  </a:lnTo>
                  <a:close/>
                  <a:moveTo>
                    <a:pt x="17" y="20"/>
                  </a:moveTo>
                  <a:lnTo>
                    <a:pt x="17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7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5" y="16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9"/>
                  </a:lnTo>
                  <a:lnTo>
                    <a:pt x="17" y="20"/>
                  </a:lnTo>
                  <a:lnTo>
                    <a:pt x="17" y="20"/>
                  </a:lnTo>
                  <a:close/>
                  <a:moveTo>
                    <a:pt x="24" y="23"/>
                  </a:moveTo>
                  <a:lnTo>
                    <a:pt x="24" y="24"/>
                  </a:lnTo>
                  <a:lnTo>
                    <a:pt x="22" y="24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5" y="21"/>
                  </a:lnTo>
                  <a:lnTo>
                    <a:pt x="24" y="23"/>
                  </a:lnTo>
                  <a:lnTo>
                    <a:pt x="24" y="23"/>
                  </a:lnTo>
                  <a:close/>
                  <a:moveTo>
                    <a:pt x="15" y="24"/>
                  </a:moveTo>
                  <a:lnTo>
                    <a:pt x="15" y="24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3"/>
                  </a:lnTo>
                  <a:lnTo>
                    <a:pt x="15" y="24"/>
                  </a:lnTo>
                  <a:close/>
                  <a:moveTo>
                    <a:pt x="34" y="26"/>
                  </a:moveTo>
                  <a:lnTo>
                    <a:pt x="35" y="27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4" y="31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27" y="26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7" y="24"/>
                  </a:lnTo>
                  <a:lnTo>
                    <a:pt x="27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1" y="21"/>
                  </a:lnTo>
                  <a:lnTo>
                    <a:pt x="31" y="24"/>
                  </a:lnTo>
                  <a:lnTo>
                    <a:pt x="32" y="26"/>
                  </a:lnTo>
                  <a:lnTo>
                    <a:pt x="34" y="26"/>
                  </a:lnTo>
                  <a:close/>
                  <a:moveTo>
                    <a:pt x="81" y="27"/>
                  </a:moveTo>
                  <a:lnTo>
                    <a:pt x="85" y="31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5" y="34"/>
                  </a:lnTo>
                  <a:lnTo>
                    <a:pt x="85" y="36"/>
                  </a:lnTo>
                  <a:lnTo>
                    <a:pt x="87" y="36"/>
                  </a:lnTo>
                  <a:lnTo>
                    <a:pt x="88" y="37"/>
                  </a:lnTo>
                  <a:lnTo>
                    <a:pt x="88" y="39"/>
                  </a:lnTo>
                  <a:lnTo>
                    <a:pt x="89" y="40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91" y="46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88" y="44"/>
                  </a:lnTo>
                  <a:lnTo>
                    <a:pt x="87" y="43"/>
                  </a:lnTo>
                  <a:lnTo>
                    <a:pt x="85" y="43"/>
                  </a:lnTo>
                  <a:lnTo>
                    <a:pt x="84" y="40"/>
                  </a:lnTo>
                  <a:lnTo>
                    <a:pt x="82" y="37"/>
                  </a:lnTo>
                  <a:lnTo>
                    <a:pt x="80" y="31"/>
                  </a:lnTo>
                  <a:lnTo>
                    <a:pt x="81" y="30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close/>
                  <a:moveTo>
                    <a:pt x="64" y="30"/>
                  </a:moveTo>
                  <a:lnTo>
                    <a:pt x="64" y="30"/>
                  </a:lnTo>
                  <a:lnTo>
                    <a:pt x="62" y="30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0"/>
                  </a:lnTo>
                  <a:close/>
                  <a:moveTo>
                    <a:pt x="28" y="33"/>
                  </a:moveTo>
                  <a:lnTo>
                    <a:pt x="28" y="33"/>
                  </a:lnTo>
                  <a:lnTo>
                    <a:pt x="27" y="33"/>
                  </a:lnTo>
                  <a:lnTo>
                    <a:pt x="25" y="31"/>
                  </a:lnTo>
                  <a:lnTo>
                    <a:pt x="25" y="30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8" y="33"/>
                  </a:lnTo>
                  <a:close/>
                  <a:moveTo>
                    <a:pt x="40" y="33"/>
                  </a:moveTo>
                  <a:lnTo>
                    <a:pt x="38" y="34"/>
                  </a:lnTo>
                  <a:lnTo>
                    <a:pt x="37" y="33"/>
                  </a:lnTo>
                  <a:lnTo>
                    <a:pt x="35" y="33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7" y="31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close/>
                  <a:moveTo>
                    <a:pt x="41" y="34"/>
                  </a:moveTo>
                  <a:lnTo>
                    <a:pt x="41" y="34"/>
                  </a:lnTo>
                  <a:lnTo>
                    <a:pt x="40" y="34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close/>
                  <a:moveTo>
                    <a:pt x="32" y="34"/>
                  </a:moveTo>
                  <a:lnTo>
                    <a:pt x="31" y="34"/>
                  </a:lnTo>
                  <a:lnTo>
                    <a:pt x="31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30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2" y="34"/>
                  </a:lnTo>
                  <a:close/>
                  <a:moveTo>
                    <a:pt x="57" y="40"/>
                  </a:moveTo>
                  <a:lnTo>
                    <a:pt x="57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40"/>
                  </a:lnTo>
                  <a:lnTo>
                    <a:pt x="57" y="40"/>
                  </a:lnTo>
                  <a:close/>
                  <a:moveTo>
                    <a:pt x="72" y="37"/>
                  </a:moveTo>
                  <a:lnTo>
                    <a:pt x="72" y="39"/>
                  </a:lnTo>
                  <a:lnTo>
                    <a:pt x="74" y="39"/>
                  </a:lnTo>
                  <a:lnTo>
                    <a:pt x="75" y="39"/>
                  </a:lnTo>
                  <a:lnTo>
                    <a:pt x="77" y="40"/>
                  </a:lnTo>
                  <a:lnTo>
                    <a:pt x="75" y="41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2" y="37"/>
                  </a:lnTo>
                  <a:close/>
                  <a:moveTo>
                    <a:pt x="65" y="43"/>
                  </a:moveTo>
                  <a:lnTo>
                    <a:pt x="70" y="44"/>
                  </a:lnTo>
                  <a:lnTo>
                    <a:pt x="71" y="44"/>
                  </a:lnTo>
                  <a:lnTo>
                    <a:pt x="75" y="44"/>
                  </a:lnTo>
                  <a:lnTo>
                    <a:pt x="78" y="47"/>
                  </a:lnTo>
                  <a:lnTo>
                    <a:pt x="80" y="47"/>
                  </a:lnTo>
                  <a:lnTo>
                    <a:pt x="81" y="49"/>
                  </a:lnTo>
                  <a:lnTo>
                    <a:pt x="81" y="50"/>
                  </a:lnTo>
                  <a:lnTo>
                    <a:pt x="82" y="50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1" y="53"/>
                  </a:lnTo>
                  <a:lnTo>
                    <a:pt x="80" y="53"/>
                  </a:lnTo>
                  <a:lnTo>
                    <a:pt x="77" y="53"/>
                  </a:lnTo>
                  <a:lnTo>
                    <a:pt x="75" y="51"/>
                  </a:lnTo>
                  <a:lnTo>
                    <a:pt x="70" y="51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4" y="49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1"/>
                  </a:lnTo>
                  <a:lnTo>
                    <a:pt x="65" y="43"/>
                  </a:lnTo>
                  <a:close/>
                  <a:moveTo>
                    <a:pt x="94" y="49"/>
                  </a:moveTo>
                  <a:lnTo>
                    <a:pt x="94" y="50"/>
                  </a:lnTo>
                  <a:lnTo>
                    <a:pt x="94" y="50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92" y="49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1" y="43"/>
                  </a:lnTo>
                  <a:lnTo>
                    <a:pt x="92" y="44"/>
                  </a:lnTo>
                  <a:lnTo>
                    <a:pt x="94" y="49"/>
                  </a:lnTo>
                  <a:close/>
                  <a:moveTo>
                    <a:pt x="97" y="60"/>
                  </a:moveTo>
                  <a:lnTo>
                    <a:pt x="99" y="61"/>
                  </a:lnTo>
                  <a:lnTo>
                    <a:pt x="99" y="61"/>
                  </a:lnTo>
                  <a:lnTo>
                    <a:pt x="102" y="61"/>
                  </a:lnTo>
                  <a:lnTo>
                    <a:pt x="104" y="61"/>
                  </a:lnTo>
                  <a:lnTo>
                    <a:pt x="104" y="63"/>
                  </a:lnTo>
                  <a:lnTo>
                    <a:pt x="107" y="66"/>
                  </a:lnTo>
                  <a:lnTo>
                    <a:pt x="107" y="67"/>
                  </a:lnTo>
                  <a:lnTo>
                    <a:pt x="108" y="67"/>
                  </a:lnTo>
                  <a:lnTo>
                    <a:pt x="107" y="67"/>
                  </a:lnTo>
                  <a:lnTo>
                    <a:pt x="105" y="67"/>
                  </a:lnTo>
                  <a:lnTo>
                    <a:pt x="104" y="67"/>
                  </a:lnTo>
                  <a:lnTo>
                    <a:pt x="102" y="67"/>
                  </a:lnTo>
                  <a:lnTo>
                    <a:pt x="99" y="66"/>
                  </a:lnTo>
                  <a:lnTo>
                    <a:pt x="98" y="66"/>
                  </a:lnTo>
                  <a:lnTo>
                    <a:pt x="94" y="63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0"/>
                  </a:lnTo>
                  <a:lnTo>
                    <a:pt x="92" y="60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91" y="57"/>
                  </a:lnTo>
                  <a:lnTo>
                    <a:pt x="91" y="57"/>
                  </a:lnTo>
                  <a:lnTo>
                    <a:pt x="94" y="57"/>
                  </a:lnTo>
                  <a:lnTo>
                    <a:pt x="97" y="60"/>
                  </a:lnTo>
                  <a:lnTo>
                    <a:pt x="97" y="60"/>
                  </a:lnTo>
                  <a:lnTo>
                    <a:pt x="97" y="60"/>
                  </a:lnTo>
                  <a:close/>
                  <a:moveTo>
                    <a:pt x="168" y="66"/>
                  </a:moveTo>
                  <a:lnTo>
                    <a:pt x="167" y="67"/>
                  </a:lnTo>
                  <a:lnTo>
                    <a:pt x="167" y="66"/>
                  </a:lnTo>
                  <a:lnTo>
                    <a:pt x="165" y="67"/>
                  </a:lnTo>
                  <a:lnTo>
                    <a:pt x="164" y="67"/>
                  </a:lnTo>
                  <a:lnTo>
                    <a:pt x="164" y="67"/>
                  </a:lnTo>
                  <a:lnTo>
                    <a:pt x="162" y="67"/>
                  </a:lnTo>
                  <a:lnTo>
                    <a:pt x="162" y="67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4" y="66"/>
                  </a:lnTo>
                  <a:lnTo>
                    <a:pt x="164" y="64"/>
                  </a:lnTo>
                  <a:lnTo>
                    <a:pt x="167" y="64"/>
                  </a:lnTo>
                  <a:lnTo>
                    <a:pt x="168" y="64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close/>
                  <a:moveTo>
                    <a:pt x="78" y="83"/>
                  </a:moveTo>
                  <a:lnTo>
                    <a:pt x="78" y="84"/>
                  </a:lnTo>
                  <a:lnTo>
                    <a:pt x="77" y="83"/>
                  </a:lnTo>
                  <a:lnTo>
                    <a:pt x="75" y="83"/>
                  </a:lnTo>
                  <a:lnTo>
                    <a:pt x="75" y="81"/>
                  </a:lnTo>
                  <a:lnTo>
                    <a:pt x="74" y="81"/>
                  </a:lnTo>
                  <a:lnTo>
                    <a:pt x="72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70" y="77"/>
                  </a:lnTo>
                  <a:lnTo>
                    <a:pt x="71" y="79"/>
                  </a:lnTo>
                  <a:lnTo>
                    <a:pt x="77" y="81"/>
                  </a:lnTo>
                  <a:lnTo>
                    <a:pt x="78" y="83"/>
                  </a:lnTo>
                  <a:lnTo>
                    <a:pt x="78" y="83"/>
                  </a:lnTo>
                  <a:close/>
                  <a:moveTo>
                    <a:pt x="181" y="81"/>
                  </a:moveTo>
                  <a:lnTo>
                    <a:pt x="179" y="81"/>
                  </a:lnTo>
                  <a:lnTo>
                    <a:pt x="178" y="81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81" y="8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4" name="Google Shape;304;p3"/>
            <p:cNvSpPr/>
            <p:nvPr/>
          </p:nvSpPr>
          <p:spPr>
            <a:xfrm>
              <a:off x="4196885" y="4145677"/>
              <a:ext cx="187948" cy="140624"/>
            </a:xfrm>
            <a:custGeom>
              <a:rect b="b" l="l" r="r" t="t"/>
              <a:pathLst>
                <a:path extrusionOk="0" h="224" w="268">
                  <a:moveTo>
                    <a:pt x="154" y="1"/>
                  </a:moveTo>
                  <a:lnTo>
                    <a:pt x="154" y="3"/>
                  </a:lnTo>
                  <a:lnTo>
                    <a:pt x="157" y="3"/>
                  </a:lnTo>
                  <a:lnTo>
                    <a:pt x="161" y="3"/>
                  </a:lnTo>
                  <a:lnTo>
                    <a:pt x="167" y="3"/>
                  </a:lnTo>
                  <a:lnTo>
                    <a:pt x="173" y="3"/>
                  </a:lnTo>
                  <a:lnTo>
                    <a:pt x="178" y="3"/>
                  </a:lnTo>
                  <a:lnTo>
                    <a:pt x="183" y="3"/>
                  </a:lnTo>
                  <a:lnTo>
                    <a:pt x="188" y="3"/>
                  </a:lnTo>
                  <a:lnTo>
                    <a:pt x="194" y="3"/>
                  </a:lnTo>
                  <a:lnTo>
                    <a:pt x="198" y="3"/>
                  </a:lnTo>
                  <a:lnTo>
                    <a:pt x="204" y="3"/>
                  </a:lnTo>
                  <a:lnTo>
                    <a:pt x="210" y="3"/>
                  </a:lnTo>
                  <a:lnTo>
                    <a:pt x="214" y="3"/>
                  </a:lnTo>
                  <a:lnTo>
                    <a:pt x="220" y="3"/>
                  </a:lnTo>
                  <a:lnTo>
                    <a:pt x="225" y="3"/>
                  </a:lnTo>
                  <a:lnTo>
                    <a:pt x="230" y="3"/>
                  </a:lnTo>
                  <a:lnTo>
                    <a:pt x="235" y="3"/>
                  </a:lnTo>
                  <a:lnTo>
                    <a:pt x="241" y="3"/>
                  </a:lnTo>
                  <a:lnTo>
                    <a:pt x="241" y="7"/>
                  </a:lnTo>
                  <a:lnTo>
                    <a:pt x="241" y="10"/>
                  </a:lnTo>
                  <a:lnTo>
                    <a:pt x="244" y="14"/>
                  </a:lnTo>
                  <a:lnTo>
                    <a:pt x="247" y="17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20"/>
                  </a:lnTo>
                  <a:lnTo>
                    <a:pt x="247" y="18"/>
                  </a:lnTo>
                  <a:lnTo>
                    <a:pt x="245" y="18"/>
                  </a:lnTo>
                  <a:lnTo>
                    <a:pt x="245" y="20"/>
                  </a:lnTo>
                  <a:lnTo>
                    <a:pt x="245" y="21"/>
                  </a:lnTo>
                  <a:lnTo>
                    <a:pt x="245" y="24"/>
                  </a:lnTo>
                  <a:lnTo>
                    <a:pt x="247" y="27"/>
                  </a:lnTo>
                  <a:lnTo>
                    <a:pt x="245" y="30"/>
                  </a:lnTo>
                  <a:lnTo>
                    <a:pt x="245" y="34"/>
                  </a:lnTo>
                  <a:lnTo>
                    <a:pt x="247" y="40"/>
                  </a:lnTo>
                  <a:lnTo>
                    <a:pt x="247" y="44"/>
                  </a:lnTo>
                  <a:lnTo>
                    <a:pt x="248" y="53"/>
                  </a:lnTo>
                  <a:lnTo>
                    <a:pt x="250" y="57"/>
                  </a:lnTo>
                  <a:lnTo>
                    <a:pt x="251" y="58"/>
                  </a:lnTo>
                  <a:lnTo>
                    <a:pt x="253" y="58"/>
                  </a:lnTo>
                  <a:lnTo>
                    <a:pt x="254" y="58"/>
                  </a:lnTo>
                  <a:lnTo>
                    <a:pt x="258" y="61"/>
                  </a:lnTo>
                  <a:lnTo>
                    <a:pt x="260" y="64"/>
                  </a:lnTo>
                  <a:lnTo>
                    <a:pt x="261" y="65"/>
                  </a:lnTo>
                  <a:lnTo>
                    <a:pt x="263" y="67"/>
                  </a:lnTo>
                  <a:lnTo>
                    <a:pt x="263" y="65"/>
                  </a:lnTo>
                  <a:lnTo>
                    <a:pt x="264" y="65"/>
                  </a:lnTo>
                  <a:lnTo>
                    <a:pt x="264" y="67"/>
                  </a:lnTo>
                  <a:lnTo>
                    <a:pt x="268" y="70"/>
                  </a:lnTo>
                  <a:lnTo>
                    <a:pt x="268" y="70"/>
                  </a:lnTo>
                  <a:lnTo>
                    <a:pt x="267" y="71"/>
                  </a:lnTo>
                  <a:lnTo>
                    <a:pt x="265" y="74"/>
                  </a:lnTo>
                  <a:lnTo>
                    <a:pt x="265" y="74"/>
                  </a:lnTo>
                  <a:lnTo>
                    <a:pt x="265" y="74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4" y="77"/>
                  </a:lnTo>
                  <a:lnTo>
                    <a:pt x="263" y="77"/>
                  </a:lnTo>
                  <a:lnTo>
                    <a:pt x="263" y="77"/>
                  </a:lnTo>
                  <a:lnTo>
                    <a:pt x="263" y="78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0" y="78"/>
                  </a:lnTo>
                  <a:lnTo>
                    <a:pt x="258" y="78"/>
                  </a:lnTo>
                  <a:lnTo>
                    <a:pt x="258" y="78"/>
                  </a:lnTo>
                  <a:lnTo>
                    <a:pt x="257" y="80"/>
                  </a:lnTo>
                  <a:lnTo>
                    <a:pt x="255" y="80"/>
                  </a:lnTo>
                  <a:lnTo>
                    <a:pt x="255" y="80"/>
                  </a:lnTo>
                  <a:lnTo>
                    <a:pt x="254" y="80"/>
                  </a:lnTo>
                  <a:lnTo>
                    <a:pt x="254" y="81"/>
                  </a:lnTo>
                  <a:lnTo>
                    <a:pt x="253" y="81"/>
                  </a:lnTo>
                  <a:lnTo>
                    <a:pt x="251" y="81"/>
                  </a:lnTo>
                  <a:lnTo>
                    <a:pt x="251" y="83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48" y="87"/>
                  </a:lnTo>
                  <a:lnTo>
                    <a:pt x="247" y="87"/>
                  </a:lnTo>
                  <a:lnTo>
                    <a:pt x="245" y="87"/>
                  </a:lnTo>
                  <a:lnTo>
                    <a:pt x="244" y="87"/>
                  </a:lnTo>
                  <a:lnTo>
                    <a:pt x="243" y="87"/>
                  </a:lnTo>
                  <a:lnTo>
                    <a:pt x="243" y="87"/>
                  </a:lnTo>
                  <a:lnTo>
                    <a:pt x="243" y="90"/>
                  </a:lnTo>
                  <a:lnTo>
                    <a:pt x="243" y="91"/>
                  </a:lnTo>
                  <a:lnTo>
                    <a:pt x="241" y="91"/>
                  </a:lnTo>
                  <a:lnTo>
                    <a:pt x="241" y="94"/>
                  </a:lnTo>
                  <a:lnTo>
                    <a:pt x="241" y="97"/>
                  </a:lnTo>
                  <a:lnTo>
                    <a:pt x="241" y="98"/>
                  </a:lnTo>
                  <a:lnTo>
                    <a:pt x="240" y="103"/>
                  </a:lnTo>
                  <a:lnTo>
                    <a:pt x="240" y="104"/>
                  </a:lnTo>
                  <a:lnTo>
                    <a:pt x="238" y="107"/>
                  </a:lnTo>
                  <a:lnTo>
                    <a:pt x="238" y="108"/>
                  </a:lnTo>
                  <a:lnTo>
                    <a:pt x="235" y="114"/>
                  </a:lnTo>
                  <a:lnTo>
                    <a:pt x="235" y="117"/>
                  </a:lnTo>
                  <a:lnTo>
                    <a:pt x="234" y="118"/>
                  </a:lnTo>
                  <a:lnTo>
                    <a:pt x="234" y="121"/>
                  </a:lnTo>
                  <a:lnTo>
                    <a:pt x="234" y="124"/>
                  </a:lnTo>
                  <a:lnTo>
                    <a:pt x="234" y="128"/>
                  </a:lnTo>
                  <a:lnTo>
                    <a:pt x="235" y="133"/>
                  </a:lnTo>
                  <a:lnTo>
                    <a:pt x="234" y="137"/>
                  </a:lnTo>
                  <a:lnTo>
                    <a:pt x="234" y="140"/>
                  </a:lnTo>
                  <a:lnTo>
                    <a:pt x="233" y="143"/>
                  </a:lnTo>
                  <a:lnTo>
                    <a:pt x="233" y="144"/>
                  </a:lnTo>
                  <a:lnTo>
                    <a:pt x="231" y="145"/>
                  </a:lnTo>
                  <a:lnTo>
                    <a:pt x="231" y="147"/>
                  </a:lnTo>
                  <a:lnTo>
                    <a:pt x="230" y="148"/>
                  </a:lnTo>
                  <a:lnTo>
                    <a:pt x="230" y="151"/>
                  </a:lnTo>
                  <a:lnTo>
                    <a:pt x="230" y="154"/>
                  </a:lnTo>
                  <a:lnTo>
                    <a:pt x="228" y="157"/>
                  </a:lnTo>
                  <a:lnTo>
                    <a:pt x="228" y="157"/>
                  </a:lnTo>
                  <a:lnTo>
                    <a:pt x="228" y="158"/>
                  </a:lnTo>
                  <a:lnTo>
                    <a:pt x="227" y="158"/>
                  </a:lnTo>
                  <a:lnTo>
                    <a:pt x="224" y="158"/>
                  </a:lnTo>
                  <a:lnTo>
                    <a:pt x="223" y="158"/>
                  </a:lnTo>
                  <a:lnTo>
                    <a:pt x="221" y="160"/>
                  </a:lnTo>
                  <a:lnTo>
                    <a:pt x="220" y="161"/>
                  </a:lnTo>
                  <a:lnTo>
                    <a:pt x="218" y="164"/>
                  </a:lnTo>
                  <a:lnTo>
                    <a:pt x="217" y="167"/>
                  </a:lnTo>
                  <a:lnTo>
                    <a:pt x="216" y="170"/>
                  </a:lnTo>
                  <a:lnTo>
                    <a:pt x="213" y="173"/>
                  </a:lnTo>
                  <a:lnTo>
                    <a:pt x="213" y="174"/>
                  </a:lnTo>
                  <a:lnTo>
                    <a:pt x="211" y="175"/>
                  </a:lnTo>
                  <a:lnTo>
                    <a:pt x="211" y="178"/>
                  </a:lnTo>
                  <a:lnTo>
                    <a:pt x="210" y="181"/>
                  </a:lnTo>
                  <a:lnTo>
                    <a:pt x="210" y="183"/>
                  </a:lnTo>
                  <a:lnTo>
                    <a:pt x="210" y="187"/>
                  </a:lnTo>
                  <a:lnTo>
                    <a:pt x="210" y="188"/>
                  </a:lnTo>
                  <a:lnTo>
                    <a:pt x="208" y="188"/>
                  </a:lnTo>
                  <a:lnTo>
                    <a:pt x="208" y="190"/>
                  </a:lnTo>
                  <a:lnTo>
                    <a:pt x="207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88"/>
                  </a:lnTo>
                  <a:lnTo>
                    <a:pt x="203" y="188"/>
                  </a:lnTo>
                  <a:lnTo>
                    <a:pt x="201" y="190"/>
                  </a:lnTo>
                  <a:lnTo>
                    <a:pt x="200" y="191"/>
                  </a:lnTo>
                  <a:lnTo>
                    <a:pt x="200" y="194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200" y="200"/>
                  </a:lnTo>
                  <a:lnTo>
                    <a:pt x="198" y="203"/>
                  </a:lnTo>
                  <a:lnTo>
                    <a:pt x="197" y="204"/>
                  </a:lnTo>
                  <a:lnTo>
                    <a:pt x="197" y="207"/>
                  </a:lnTo>
                  <a:lnTo>
                    <a:pt x="196" y="210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3" y="211"/>
                  </a:lnTo>
                  <a:lnTo>
                    <a:pt x="193" y="211"/>
                  </a:lnTo>
                  <a:lnTo>
                    <a:pt x="193" y="211"/>
                  </a:lnTo>
                  <a:lnTo>
                    <a:pt x="193" y="211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08"/>
                  </a:lnTo>
                  <a:lnTo>
                    <a:pt x="193" y="207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4" y="203"/>
                  </a:lnTo>
                  <a:lnTo>
                    <a:pt x="194" y="203"/>
                  </a:lnTo>
                  <a:lnTo>
                    <a:pt x="194" y="201"/>
                  </a:lnTo>
                  <a:lnTo>
                    <a:pt x="194" y="201"/>
                  </a:lnTo>
                  <a:lnTo>
                    <a:pt x="194" y="201"/>
                  </a:lnTo>
                  <a:lnTo>
                    <a:pt x="193" y="200"/>
                  </a:lnTo>
                  <a:lnTo>
                    <a:pt x="193" y="198"/>
                  </a:lnTo>
                  <a:lnTo>
                    <a:pt x="186" y="193"/>
                  </a:lnTo>
                  <a:lnTo>
                    <a:pt x="186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1" y="190"/>
                  </a:lnTo>
                  <a:lnTo>
                    <a:pt x="181" y="190"/>
                  </a:lnTo>
                  <a:lnTo>
                    <a:pt x="181" y="190"/>
                  </a:lnTo>
                  <a:lnTo>
                    <a:pt x="181" y="190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5"/>
                  </a:lnTo>
                  <a:lnTo>
                    <a:pt x="180" y="175"/>
                  </a:lnTo>
                  <a:lnTo>
                    <a:pt x="180" y="175"/>
                  </a:lnTo>
                  <a:lnTo>
                    <a:pt x="180" y="175"/>
                  </a:lnTo>
                  <a:lnTo>
                    <a:pt x="181" y="174"/>
                  </a:lnTo>
                  <a:lnTo>
                    <a:pt x="181" y="174"/>
                  </a:lnTo>
                  <a:lnTo>
                    <a:pt x="181" y="173"/>
                  </a:lnTo>
                  <a:lnTo>
                    <a:pt x="181" y="171"/>
                  </a:lnTo>
                  <a:lnTo>
                    <a:pt x="181" y="167"/>
                  </a:lnTo>
                  <a:lnTo>
                    <a:pt x="183" y="165"/>
                  </a:lnTo>
                  <a:lnTo>
                    <a:pt x="174" y="165"/>
                  </a:lnTo>
                  <a:lnTo>
                    <a:pt x="174" y="165"/>
                  </a:lnTo>
                  <a:lnTo>
                    <a:pt x="174" y="165"/>
                  </a:lnTo>
                  <a:lnTo>
                    <a:pt x="174" y="165"/>
                  </a:lnTo>
                  <a:lnTo>
                    <a:pt x="174" y="167"/>
                  </a:lnTo>
                  <a:lnTo>
                    <a:pt x="174" y="167"/>
                  </a:lnTo>
                  <a:lnTo>
                    <a:pt x="174" y="167"/>
                  </a:lnTo>
                  <a:lnTo>
                    <a:pt x="174" y="167"/>
                  </a:lnTo>
                  <a:lnTo>
                    <a:pt x="174" y="167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64" y="170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68" y="177"/>
                  </a:lnTo>
                  <a:lnTo>
                    <a:pt x="168" y="178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5"/>
                  </a:lnTo>
                  <a:lnTo>
                    <a:pt x="161" y="191"/>
                  </a:lnTo>
                  <a:lnTo>
                    <a:pt x="161" y="191"/>
                  </a:lnTo>
                  <a:lnTo>
                    <a:pt x="160" y="194"/>
                  </a:lnTo>
                  <a:lnTo>
                    <a:pt x="160" y="195"/>
                  </a:lnTo>
                  <a:lnTo>
                    <a:pt x="158" y="197"/>
                  </a:lnTo>
                  <a:lnTo>
                    <a:pt x="157" y="198"/>
                  </a:lnTo>
                  <a:lnTo>
                    <a:pt x="150" y="205"/>
                  </a:lnTo>
                  <a:lnTo>
                    <a:pt x="150" y="205"/>
                  </a:lnTo>
                  <a:lnTo>
                    <a:pt x="146" y="205"/>
                  </a:lnTo>
                  <a:lnTo>
                    <a:pt x="144" y="205"/>
                  </a:lnTo>
                  <a:lnTo>
                    <a:pt x="144" y="205"/>
                  </a:lnTo>
                  <a:lnTo>
                    <a:pt x="144" y="205"/>
                  </a:lnTo>
                  <a:lnTo>
                    <a:pt x="143" y="207"/>
                  </a:lnTo>
                  <a:lnTo>
                    <a:pt x="143" y="207"/>
                  </a:lnTo>
                  <a:lnTo>
                    <a:pt x="143" y="207"/>
                  </a:lnTo>
                  <a:lnTo>
                    <a:pt x="143" y="207"/>
                  </a:lnTo>
                  <a:lnTo>
                    <a:pt x="138" y="203"/>
                  </a:lnTo>
                  <a:lnTo>
                    <a:pt x="131" y="197"/>
                  </a:lnTo>
                  <a:lnTo>
                    <a:pt x="130" y="198"/>
                  </a:lnTo>
                  <a:lnTo>
                    <a:pt x="126" y="200"/>
                  </a:lnTo>
                  <a:lnTo>
                    <a:pt x="126" y="201"/>
                  </a:lnTo>
                  <a:lnTo>
                    <a:pt x="124" y="201"/>
                  </a:lnTo>
                  <a:lnTo>
                    <a:pt x="124" y="203"/>
                  </a:lnTo>
                  <a:lnTo>
                    <a:pt x="124" y="204"/>
                  </a:lnTo>
                  <a:lnTo>
                    <a:pt x="123" y="205"/>
                  </a:lnTo>
                  <a:lnTo>
                    <a:pt x="119" y="207"/>
                  </a:lnTo>
                  <a:lnTo>
                    <a:pt x="117" y="207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10"/>
                  </a:lnTo>
                  <a:lnTo>
                    <a:pt x="113" y="211"/>
                  </a:lnTo>
                  <a:lnTo>
                    <a:pt x="111" y="213"/>
                  </a:lnTo>
                  <a:lnTo>
                    <a:pt x="113" y="213"/>
                  </a:lnTo>
                  <a:lnTo>
                    <a:pt x="100" y="213"/>
                  </a:lnTo>
                  <a:lnTo>
                    <a:pt x="99" y="213"/>
                  </a:lnTo>
                  <a:lnTo>
                    <a:pt x="97" y="208"/>
                  </a:lnTo>
                  <a:lnTo>
                    <a:pt x="97" y="208"/>
                  </a:lnTo>
                  <a:lnTo>
                    <a:pt x="96" y="208"/>
                  </a:lnTo>
                  <a:lnTo>
                    <a:pt x="84" y="208"/>
                  </a:lnTo>
                  <a:lnTo>
                    <a:pt x="83" y="208"/>
                  </a:lnTo>
                  <a:lnTo>
                    <a:pt x="79" y="210"/>
                  </a:lnTo>
                  <a:lnTo>
                    <a:pt x="77" y="210"/>
                  </a:lnTo>
                  <a:lnTo>
                    <a:pt x="76" y="210"/>
                  </a:lnTo>
                  <a:lnTo>
                    <a:pt x="70" y="203"/>
                  </a:lnTo>
                  <a:lnTo>
                    <a:pt x="69" y="201"/>
                  </a:lnTo>
                  <a:lnTo>
                    <a:pt x="67" y="201"/>
                  </a:lnTo>
                  <a:lnTo>
                    <a:pt x="67" y="200"/>
                  </a:lnTo>
                  <a:lnTo>
                    <a:pt x="66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7"/>
                  </a:lnTo>
                  <a:lnTo>
                    <a:pt x="64" y="195"/>
                  </a:lnTo>
                  <a:lnTo>
                    <a:pt x="63" y="195"/>
                  </a:lnTo>
                  <a:lnTo>
                    <a:pt x="56" y="197"/>
                  </a:lnTo>
                  <a:lnTo>
                    <a:pt x="54" y="197"/>
                  </a:lnTo>
                  <a:lnTo>
                    <a:pt x="53" y="197"/>
                  </a:lnTo>
                  <a:lnTo>
                    <a:pt x="51" y="197"/>
                  </a:lnTo>
                  <a:lnTo>
                    <a:pt x="51" y="198"/>
                  </a:lnTo>
                  <a:lnTo>
                    <a:pt x="51" y="200"/>
                  </a:lnTo>
                  <a:lnTo>
                    <a:pt x="51" y="200"/>
                  </a:lnTo>
                  <a:lnTo>
                    <a:pt x="50" y="201"/>
                  </a:lnTo>
                  <a:lnTo>
                    <a:pt x="50" y="203"/>
                  </a:lnTo>
                  <a:lnTo>
                    <a:pt x="47" y="204"/>
                  </a:lnTo>
                  <a:lnTo>
                    <a:pt x="47" y="205"/>
                  </a:lnTo>
                  <a:lnTo>
                    <a:pt x="47" y="208"/>
                  </a:lnTo>
                  <a:lnTo>
                    <a:pt x="47" y="210"/>
                  </a:lnTo>
                  <a:lnTo>
                    <a:pt x="47" y="210"/>
                  </a:lnTo>
                  <a:lnTo>
                    <a:pt x="46" y="211"/>
                  </a:lnTo>
                  <a:lnTo>
                    <a:pt x="46" y="213"/>
                  </a:lnTo>
                  <a:lnTo>
                    <a:pt x="46" y="213"/>
                  </a:lnTo>
                  <a:lnTo>
                    <a:pt x="46" y="214"/>
                  </a:lnTo>
                  <a:lnTo>
                    <a:pt x="46" y="215"/>
                  </a:lnTo>
                  <a:lnTo>
                    <a:pt x="44" y="217"/>
                  </a:lnTo>
                  <a:lnTo>
                    <a:pt x="43" y="218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0" y="221"/>
                  </a:lnTo>
                  <a:lnTo>
                    <a:pt x="39" y="223"/>
                  </a:lnTo>
                  <a:lnTo>
                    <a:pt x="37" y="223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6" y="223"/>
                  </a:lnTo>
                  <a:lnTo>
                    <a:pt x="33" y="223"/>
                  </a:lnTo>
                  <a:lnTo>
                    <a:pt x="30" y="223"/>
                  </a:lnTo>
                  <a:lnTo>
                    <a:pt x="29" y="223"/>
                  </a:lnTo>
                  <a:lnTo>
                    <a:pt x="27" y="221"/>
                  </a:lnTo>
                  <a:lnTo>
                    <a:pt x="27" y="220"/>
                  </a:lnTo>
                  <a:lnTo>
                    <a:pt x="27" y="218"/>
                  </a:lnTo>
                  <a:lnTo>
                    <a:pt x="26" y="218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9" y="214"/>
                  </a:lnTo>
                  <a:lnTo>
                    <a:pt x="29" y="213"/>
                  </a:lnTo>
                  <a:lnTo>
                    <a:pt x="29" y="208"/>
                  </a:lnTo>
                  <a:lnTo>
                    <a:pt x="29" y="207"/>
                  </a:lnTo>
                  <a:lnTo>
                    <a:pt x="29" y="205"/>
                  </a:lnTo>
                  <a:lnTo>
                    <a:pt x="27" y="201"/>
                  </a:lnTo>
                  <a:lnTo>
                    <a:pt x="26" y="200"/>
                  </a:lnTo>
                  <a:lnTo>
                    <a:pt x="24" y="195"/>
                  </a:lnTo>
                  <a:lnTo>
                    <a:pt x="23" y="194"/>
                  </a:lnTo>
                  <a:lnTo>
                    <a:pt x="19" y="190"/>
                  </a:lnTo>
                  <a:lnTo>
                    <a:pt x="17" y="190"/>
                  </a:lnTo>
                  <a:lnTo>
                    <a:pt x="16" y="187"/>
                  </a:lnTo>
                  <a:lnTo>
                    <a:pt x="17" y="185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7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3" y="177"/>
                  </a:lnTo>
                  <a:lnTo>
                    <a:pt x="12" y="177"/>
                  </a:lnTo>
                  <a:lnTo>
                    <a:pt x="12" y="175"/>
                  </a:lnTo>
                  <a:lnTo>
                    <a:pt x="12" y="170"/>
                  </a:lnTo>
                  <a:lnTo>
                    <a:pt x="12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7"/>
                  </a:lnTo>
                  <a:lnTo>
                    <a:pt x="10" y="164"/>
                  </a:lnTo>
                  <a:lnTo>
                    <a:pt x="9" y="163"/>
                  </a:lnTo>
                  <a:lnTo>
                    <a:pt x="9" y="161"/>
                  </a:lnTo>
                  <a:lnTo>
                    <a:pt x="9" y="158"/>
                  </a:lnTo>
                  <a:lnTo>
                    <a:pt x="6" y="158"/>
                  </a:lnTo>
                  <a:lnTo>
                    <a:pt x="4" y="158"/>
                  </a:lnTo>
                  <a:lnTo>
                    <a:pt x="3" y="158"/>
                  </a:lnTo>
                  <a:lnTo>
                    <a:pt x="2" y="158"/>
                  </a:lnTo>
                  <a:lnTo>
                    <a:pt x="0" y="158"/>
                  </a:lnTo>
                  <a:lnTo>
                    <a:pt x="0" y="157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3"/>
                  </a:lnTo>
                  <a:lnTo>
                    <a:pt x="3" y="151"/>
                  </a:lnTo>
                  <a:lnTo>
                    <a:pt x="6" y="150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6" y="147"/>
                  </a:lnTo>
                  <a:lnTo>
                    <a:pt x="6" y="145"/>
                  </a:lnTo>
                  <a:lnTo>
                    <a:pt x="6" y="144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40"/>
                  </a:lnTo>
                  <a:lnTo>
                    <a:pt x="4" y="140"/>
                  </a:lnTo>
                  <a:lnTo>
                    <a:pt x="6" y="138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9" y="137"/>
                  </a:lnTo>
                  <a:lnTo>
                    <a:pt x="9" y="135"/>
                  </a:lnTo>
                  <a:lnTo>
                    <a:pt x="12" y="135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0" y="130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9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4"/>
                  </a:lnTo>
                  <a:lnTo>
                    <a:pt x="13" y="123"/>
                  </a:lnTo>
                  <a:lnTo>
                    <a:pt x="14" y="123"/>
                  </a:lnTo>
                  <a:lnTo>
                    <a:pt x="14" y="120"/>
                  </a:lnTo>
                  <a:lnTo>
                    <a:pt x="16" y="120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1"/>
                  </a:lnTo>
                  <a:lnTo>
                    <a:pt x="19" y="110"/>
                  </a:lnTo>
                  <a:lnTo>
                    <a:pt x="20" y="108"/>
                  </a:lnTo>
                  <a:lnTo>
                    <a:pt x="23" y="108"/>
                  </a:lnTo>
                  <a:lnTo>
                    <a:pt x="26" y="108"/>
                  </a:lnTo>
                  <a:lnTo>
                    <a:pt x="29" y="108"/>
                  </a:lnTo>
                  <a:lnTo>
                    <a:pt x="30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7"/>
                  </a:lnTo>
                  <a:lnTo>
                    <a:pt x="34" y="105"/>
                  </a:lnTo>
                  <a:lnTo>
                    <a:pt x="34" y="98"/>
                  </a:lnTo>
                  <a:lnTo>
                    <a:pt x="34" y="90"/>
                  </a:lnTo>
                  <a:lnTo>
                    <a:pt x="34" y="83"/>
                  </a:lnTo>
                  <a:lnTo>
                    <a:pt x="34" y="75"/>
                  </a:lnTo>
                  <a:lnTo>
                    <a:pt x="34" y="68"/>
                  </a:lnTo>
                  <a:lnTo>
                    <a:pt x="34" y="60"/>
                  </a:lnTo>
                  <a:lnTo>
                    <a:pt x="34" y="53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4" y="41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9" y="37"/>
                  </a:lnTo>
                  <a:lnTo>
                    <a:pt x="43" y="37"/>
                  </a:lnTo>
                  <a:lnTo>
                    <a:pt x="46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28"/>
                  </a:lnTo>
                  <a:lnTo>
                    <a:pt x="50" y="20"/>
                  </a:lnTo>
                  <a:lnTo>
                    <a:pt x="50" y="11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3" y="3"/>
                  </a:lnTo>
                  <a:lnTo>
                    <a:pt x="69" y="3"/>
                  </a:lnTo>
                  <a:lnTo>
                    <a:pt x="74" y="3"/>
                  </a:lnTo>
                  <a:lnTo>
                    <a:pt x="81" y="3"/>
                  </a:lnTo>
                  <a:lnTo>
                    <a:pt x="87" y="3"/>
                  </a:lnTo>
                  <a:lnTo>
                    <a:pt x="93" y="3"/>
                  </a:lnTo>
                  <a:lnTo>
                    <a:pt x="100" y="3"/>
                  </a:lnTo>
                  <a:lnTo>
                    <a:pt x="106" y="3"/>
                  </a:lnTo>
                  <a:lnTo>
                    <a:pt x="111" y="3"/>
                  </a:lnTo>
                  <a:lnTo>
                    <a:pt x="117" y="3"/>
                  </a:lnTo>
                  <a:lnTo>
                    <a:pt x="124" y="3"/>
                  </a:lnTo>
                  <a:lnTo>
                    <a:pt x="130" y="3"/>
                  </a:lnTo>
                  <a:lnTo>
                    <a:pt x="136" y="3"/>
                  </a:lnTo>
                  <a:lnTo>
                    <a:pt x="143" y="3"/>
                  </a:lnTo>
                  <a:lnTo>
                    <a:pt x="148" y="3"/>
                  </a:lnTo>
                  <a:lnTo>
                    <a:pt x="150" y="3"/>
                  </a:lnTo>
                  <a:lnTo>
                    <a:pt x="151" y="3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5" name="Google Shape;305;p3"/>
            <p:cNvSpPr/>
            <p:nvPr/>
          </p:nvSpPr>
          <p:spPr>
            <a:xfrm>
              <a:off x="4076963" y="3403635"/>
              <a:ext cx="145870" cy="300709"/>
            </a:xfrm>
            <a:custGeom>
              <a:rect b="b" l="l" r="r" t="t"/>
              <a:pathLst>
                <a:path extrusionOk="0" h="479" w="208">
                  <a:moveTo>
                    <a:pt x="208" y="135"/>
                  </a:moveTo>
                  <a:lnTo>
                    <a:pt x="204" y="137"/>
                  </a:lnTo>
                  <a:lnTo>
                    <a:pt x="201" y="134"/>
                  </a:lnTo>
                  <a:lnTo>
                    <a:pt x="200" y="135"/>
                  </a:lnTo>
                  <a:lnTo>
                    <a:pt x="197" y="135"/>
                  </a:lnTo>
                  <a:lnTo>
                    <a:pt x="193" y="135"/>
                  </a:lnTo>
                  <a:lnTo>
                    <a:pt x="193" y="137"/>
                  </a:lnTo>
                  <a:lnTo>
                    <a:pt x="191" y="138"/>
                  </a:lnTo>
                  <a:lnTo>
                    <a:pt x="188" y="135"/>
                  </a:lnTo>
                  <a:lnTo>
                    <a:pt x="185" y="133"/>
                  </a:lnTo>
                  <a:lnTo>
                    <a:pt x="184" y="135"/>
                  </a:lnTo>
                  <a:lnTo>
                    <a:pt x="183" y="135"/>
                  </a:lnTo>
                  <a:lnTo>
                    <a:pt x="181" y="134"/>
                  </a:lnTo>
                  <a:lnTo>
                    <a:pt x="180" y="133"/>
                  </a:lnTo>
                  <a:lnTo>
                    <a:pt x="180" y="134"/>
                  </a:lnTo>
                  <a:lnTo>
                    <a:pt x="180" y="135"/>
                  </a:lnTo>
                  <a:lnTo>
                    <a:pt x="178" y="137"/>
                  </a:lnTo>
                  <a:lnTo>
                    <a:pt x="178" y="138"/>
                  </a:lnTo>
                  <a:lnTo>
                    <a:pt x="178" y="143"/>
                  </a:lnTo>
                  <a:lnTo>
                    <a:pt x="178" y="144"/>
                  </a:lnTo>
                  <a:lnTo>
                    <a:pt x="175" y="143"/>
                  </a:lnTo>
                  <a:lnTo>
                    <a:pt x="175" y="144"/>
                  </a:lnTo>
                  <a:lnTo>
                    <a:pt x="175" y="144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3" y="145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1" y="150"/>
                  </a:lnTo>
                  <a:lnTo>
                    <a:pt x="168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5" y="152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5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5"/>
                  </a:lnTo>
                  <a:lnTo>
                    <a:pt x="165" y="157"/>
                  </a:lnTo>
                  <a:lnTo>
                    <a:pt x="167" y="158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4" y="165"/>
                  </a:lnTo>
                  <a:lnTo>
                    <a:pt x="163" y="168"/>
                  </a:lnTo>
                  <a:lnTo>
                    <a:pt x="161" y="171"/>
                  </a:lnTo>
                  <a:lnTo>
                    <a:pt x="160" y="174"/>
                  </a:lnTo>
                  <a:lnTo>
                    <a:pt x="161" y="175"/>
                  </a:lnTo>
                  <a:lnTo>
                    <a:pt x="163" y="177"/>
                  </a:lnTo>
                  <a:lnTo>
                    <a:pt x="163" y="180"/>
                  </a:lnTo>
                  <a:lnTo>
                    <a:pt x="164" y="184"/>
                  </a:lnTo>
                  <a:lnTo>
                    <a:pt x="165" y="187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1" y="192"/>
                  </a:lnTo>
                  <a:lnTo>
                    <a:pt x="158" y="197"/>
                  </a:lnTo>
                  <a:lnTo>
                    <a:pt x="154" y="208"/>
                  </a:lnTo>
                  <a:lnTo>
                    <a:pt x="153" y="210"/>
                  </a:lnTo>
                  <a:lnTo>
                    <a:pt x="148" y="211"/>
                  </a:lnTo>
                  <a:lnTo>
                    <a:pt x="147" y="214"/>
                  </a:lnTo>
                  <a:lnTo>
                    <a:pt x="145" y="215"/>
                  </a:lnTo>
                  <a:lnTo>
                    <a:pt x="140" y="218"/>
                  </a:lnTo>
                  <a:lnTo>
                    <a:pt x="138" y="220"/>
                  </a:lnTo>
                  <a:lnTo>
                    <a:pt x="137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4" y="221"/>
                  </a:lnTo>
                  <a:lnTo>
                    <a:pt x="134" y="222"/>
                  </a:lnTo>
                  <a:lnTo>
                    <a:pt x="134" y="224"/>
                  </a:lnTo>
                  <a:lnTo>
                    <a:pt x="131" y="222"/>
                  </a:lnTo>
                  <a:lnTo>
                    <a:pt x="130" y="224"/>
                  </a:lnTo>
                  <a:lnTo>
                    <a:pt x="130" y="227"/>
                  </a:lnTo>
                  <a:lnTo>
                    <a:pt x="125" y="231"/>
                  </a:lnTo>
                  <a:lnTo>
                    <a:pt x="123" y="230"/>
                  </a:lnTo>
                  <a:lnTo>
                    <a:pt x="123" y="231"/>
                  </a:lnTo>
                  <a:lnTo>
                    <a:pt x="123" y="231"/>
                  </a:lnTo>
                  <a:lnTo>
                    <a:pt x="124" y="232"/>
                  </a:lnTo>
                  <a:lnTo>
                    <a:pt x="123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18" y="235"/>
                  </a:lnTo>
                  <a:lnTo>
                    <a:pt x="118" y="237"/>
                  </a:lnTo>
                  <a:lnTo>
                    <a:pt x="115" y="238"/>
                  </a:lnTo>
                  <a:lnTo>
                    <a:pt x="115" y="238"/>
                  </a:lnTo>
                  <a:lnTo>
                    <a:pt x="114" y="240"/>
                  </a:lnTo>
                  <a:lnTo>
                    <a:pt x="118" y="240"/>
                  </a:lnTo>
                  <a:lnTo>
                    <a:pt x="117" y="241"/>
                  </a:lnTo>
                  <a:lnTo>
                    <a:pt x="117" y="242"/>
                  </a:lnTo>
                  <a:lnTo>
                    <a:pt x="117" y="242"/>
                  </a:lnTo>
                  <a:lnTo>
                    <a:pt x="114" y="245"/>
                  </a:lnTo>
                  <a:lnTo>
                    <a:pt x="113" y="245"/>
                  </a:lnTo>
                  <a:lnTo>
                    <a:pt x="113" y="247"/>
                  </a:lnTo>
                  <a:lnTo>
                    <a:pt x="111" y="247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08" y="245"/>
                  </a:lnTo>
                  <a:lnTo>
                    <a:pt x="108" y="244"/>
                  </a:lnTo>
                  <a:lnTo>
                    <a:pt x="108" y="244"/>
                  </a:lnTo>
                  <a:lnTo>
                    <a:pt x="108" y="245"/>
                  </a:lnTo>
                  <a:lnTo>
                    <a:pt x="108" y="247"/>
                  </a:lnTo>
                  <a:lnTo>
                    <a:pt x="110" y="250"/>
                  </a:lnTo>
                  <a:lnTo>
                    <a:pt x="108" y="251"/>
                  </a:lnTo>
                  <a:lnTo>
                    <a:pt x="108" y="251"/>
                  </a:lnTo>
                  <a:lnTo>
                    <a:pt x="108" y="252"/>
                  </a:lnTo>
                  <a:lnTo>
                    <a:pt x="110" y="252"/>
                  </a:lnTo>
                  <a:lnTo>
                    <a:pt x="110" y="254"/>
                  </a:lnTo>
                  <a:lnTo>
                    <a:pt x="108" y="254"/>
                  </a:lnTo>
                  <a:lnTo>
                    <a:pt x="107" y="257"/>
                  </a:lnTo>
                  <a:lnTo>
                    <a:pt x="106" y="257"/>
                  </a:lnTo>
                  <a:lnTo>
                    <a:pt x="104" y="258"/>
                  </a:lnTo>
                  <a:lnTo>
                    <a:pt x="103" y="258"/>
                  </a:lnTo>
                  <a:lnTo>
                    <a:pt x="101" y="257"/>
                  </a:lnTo>
                  <a:lnTo>
                    <a:pt x="100" y="257"/>
                  </a:lnTo>
                  <a:lnTo>
                    <a:pt x="100" y="258"/>
                  </a:lnTo>
                  <a:lnTo>
                    <a:pt x="100" y="260"/>
                  </a:lnTo>
                  <a:lnTo>
                    <a:pt x="100" y="262"/>
                  </a:lnTo>
                  <a:lnTo>
                    <a:pt x="103" y="265"/>
                  </a:lnTo>
                  <a:lnTo>
                    <a:pt x="104" y="267"/>
                  </a:lnTo>
                  <a:lnTo>
                    <a:pt x="103" y="267"/>
                  </a:lnTo>
                  <a:lnTo>
                    <a:pt x="101" y="268"/>
                  </a:lnTo>
                  <a:lnTo>
                    <a:pt x="101" y="274"/>
                  </a:lnTo>
                  <a:lnTo>
                    <a:pt x="100" y="275"/>
                  </a:lnTo>
                  <a:lnTo>
                    <a:pt x="100" y="278"/>
                  </a:lnTo>
                  <a:lnTo>
                    <a:pt x="100" y="281"/>
                  </a:lnTo>
                  <a:lnTo>
                    <a:pt x="100" y="282"/>
                  </a:lnTo>
                  <a:lnTo>
                    <a:pt x="101" y="285"/>
                  </a:lnTo>
                  <a:lnTo>
                    <a:pt x="98" y="284"/>
                  </a:lnTo>
                  <a:lnTo>
                    <a:pt x="97" y="284"/>
                  </a:lnTo>
                  <a:lnTo>
                    <a:pt x="97" y="285"/>
                  </a:lnTo>
                  <a:lnTo>
                    <a:pt x="96" y="288"/>
                  </a:lnTo>
                  <a:lnTo>
                    <a:pt x="96" y="291"/>
                  </a:lnTo>
                  <a:lnTo>
                    <a:pt x="96" y="292"/>
                  </a:lnTo>
                  <a:lnTo>
                    <a:pt x="96" y="295"/>
                  </a:lnTo>
                  <a:lnTo>
                    <a:pt x="97" y="295"/>
                  </a:lnTo>
                  <a:lnTo>
                    <a:pt x="97" y="297"/>
                  </a:lnTo>
                  <a:lnTo>
                    <a:pt x="96" y="298"/>
                  </a:lnTo>
                  <a:lnTo>
                    <a:pt x="97" y="300"/>
                  </a:lnTo>
                  <a:lnTo>
                    <a:pt x="97" y="302"/>
                  </a:lnTo>
                  <a:lnTo>
                    <a:pt x="97" y="308"/>
                  </a:lnTo>
                  <a:lnTo>
                    <a:pt x="97" y="310"/>
                  </a:lnTo>
                  <a:lnTo>
                    <a:pt x="98" y="314"/>
                  </a:lnTo>
                  <a:lnTo>
                    <a:pt x="98" y="315"/>
                  </a:lnTo>
                  <a:lnTo>
                    <a:pt x="97" y="317"/>
                  </a:lnTo>
                  <a:lnTo>
                    <a:pt x="100" y="320"/>
                  </a:lnTo>
                  <a:lnTo>
                    <a:pt x="101" y="320"/>
                  </a:lnTo>
                  <a:lnTo>
                    <a:pt x="103" y="320"/>
                  </a:lnTo>
                  <a:lnTo>
                    <a:pt x="103" y="320"/>
                  </a:lnTo>
                  <a:lnTo>
                    <a:pt x="104" y="321"/>
                  </a:lnTo>
                  <a:lnTo>
                    <a:pt x="104" y="322"/>
                  </a:lnTo>
                  <a:lnTo>
                    <a:pt x="106" y="322"/>
                  </a:lnTo>
                  <a:lnTo>
                    <a:pt x="107" y="321"/>
                  </a:lnTo>
                  <a:lnTo>
                    <a:pt x="108" y="321"/>
                  </a:lnTo>
                  <a:lnTo>
                    <a:pt x="110" y="324"/>
                  </a:lnTo>
                  <a:lnTo>
                    <a:pt x="113" y="327"/>
                  </a:lnTo>
                  <a:lnTo>
                    <a:pt x="114" y="328"/>
                  </a:lnTo>
                  <a:lnTo>
                    <a:pt x="115" y="330"/>
                  </a:lnTo>
                  <a:lnTo>
                    <a:pt x="118" y="332"/>
                  </a:lnTo>
                  <a:lnTo>
                    <a:pt x="118" y="335"/>
                  </a:lnTo>
                  <a:lnTo>
                    <a:pt x="120" y="337"/>
                  </a:lnTo>
                  <a:lnTo>
                    <a:pt x="123" y="338"/>
                  </a:lnTo>
                  <a:lnTo>
                    <a:pt x="123" y="340"/>
                  </a:lnTo>
                  <a:lnTo>
                    <a:pt x="124" y="341"/>
                  </a:lnTo>
                  <a:lnTo>
                    <a:pt x="124" y="342"/>
                  </a:lnTo>
                  <a:lnTo>
                    <a:pt x="125" y="345"/>
                  </a:lnTo>
                  <a:lnTo>
                    <a:pt x="125" y="348"/>
                  </a:lnTo>
                  <a:lnTo>
                    <a:pt x="124" y="348"/>
                  </a:lnTo>
                  <a:lnTo>
                    <a:pt x="121" y="351"/>
                  </a:lnTo>
                  <a:lnTo>
                    <a:pt x="120" y="352"/>
                  </a:lnTo>
                  <a:lnTo>
                    <a:pt x="118" y="354"/>
                  </a:lnTo>
                  <a:lnTo>
                    <a:pt x="115" y="357"/>
                  </a:lnTo>
                  <a:lnTo>
                    <a:pt x="115" y="357"/>
                  </a:lnTo>
                  <a:lnTo>
                    <a:pt x="114" y="358"/>
                  </a:lnTo>
                  <a:lnTo>
                    <a:pt x="113" y="358"/>
                  </a:lnTo>
                  <a:lnTo>
                    <a:pt x="113" y="358"/>
                  </a:lnTo>
                  <a:lnTo>
                    <a:pt x="108" y="361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7" y="354"/>
                  </a:lnTo>
                  <a:lnTo>
                    <a:pt x="106" y="352"/>
                  </a:lnTo>
                  <a:lnTo>
                    <a:pt x="106" y="352"/>
                  </a:lnTo>
                  <a:lnTo>
                    <a:pt x="104" y="352"/>
                  </a:lnTo>
                  <a:lnTo>
                    <a:pt x="104" y="355"/>
                  </a:lnTo>
                  <a:lnTo>
                    <a:pt x="103" y="355"/>
                  </a:lnTo>
                  <a:lnTo>
                    <a:pt x="100" y="354"/>
                  </a:lnTo>
                  <a:lnTo>
                    <a:pt x="100" y="357"/>
                  </a:lnTo>
                  <a:lnTo>
                    <a:pt x="94" y="354"/>
                  </a:lnTo>
                  <a:lnTo>
                    <a:pt x="93" y="354"/>
                  </a:lnTo>
                  <a:lnTo>
                    <a:pt x="91" y="354"/>
                  </a:lnTo>
                  <a:lnTo>
                    <a:pt x="90" y="355"/>
                  </a:lnTo>
                  <a:lnTo>
                    <a:pt x="88" y="354"/>
                  </a:lnTo>
                  <a:lnTo>
                    <a:pt x="87" y="352"/>
                  </a:lnTo>
                  <a:lnTo>
                    <a:pt x="86" y="355"/>
                  </a:lnTo>
                  <a:lnTo>
                    <a:pt x="81" y="357"/>
                  </a:lnTo>
                  <a:lnTo>
                    <a:pt x="78" y="357"/>
                  </a:lnTo>
                  <a:lnTo>
                    <a:pt x="80" y="358"/>
                  </a:lnTo>
                  <a:lnTo>
                    <a:pt x="87" y="358"/>
                  </a:lnTo>
                  <a:lnTo>
                    <a:pt x="90" y="358"/>
                  </a:lnTo>
                  <a:lnTo>
                    <a:pt x="93" y="358"/>
                  </a:lnTo>
                  <a:lnTo>
                    <a:pt x="94" y="360"/>
                  </a:lnTo>
                  <a:lnTo>
                    <a:pt x="97" y="361"/>
                  </a:lnTo>
                  <a:lnTo>
                    <a:pt x="98" y="364"/>
                  </a:lnTo>
                  <a:lnTo>
                    <a:pt x="100" y="362"/>
                  </a:lnTo>
                  <a:lnTo>
                    <a:pt x="101" y="362"/>
                  </a:lnTo>
                  <a:lnTo>
                    <a:pt x="103" y="364"/>
                  </a:lnTo>
                  <a:lnTo>
                    <a:pt x="107" y="364"/>
                  </a:lnTo>
                  <a:lnTo>
                    <a:pt x="110" y="361"/>
                  </a:lnTo>
                  <a:lnTo>
                    <a:pt x="111" y="362"/>
                  </a:lnTo>
                  <a:lnTo>
                    <a:pt x="113" y="361"/>
                  </a:lnTo>
                  <a:lnTo>
                    <a:pt x="114" y="360"/>
                  </a:lnTo>
                  <a:lnTo>
                    <a:pt x="115" y="360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8" y="360"/>
                  </a:lnTo>
                  <a:lnTo>
                    <a:pt x="118" y="360"/>
                  </a:lnTo>
                  <a:lnTo>
                    <a:pt x="120" y="361"/>
                  </a:lnTo>
                  <a:lnTo>
                    <a:pt x="117" y="362"/>
                  </a:lnTo>
                  <a:lnTo>
                    <a:pt x="115" y="362"/>
                  </a:lnTo>
                  <a:lnTo>
                    <a:pt x="115" y="367"/>
                  </a:lnTo>
                  <a:lnTo>
                    <a:pt x="114" y="368"/>
                  </a:lnTo>
                  <a:lnTo>
                    <a:pt x="114" y="368"/>
                  </a:lnTo>
                  <a:lnTo>
                    <a:pt x="111" y="369"/>
                  </a:lnTo>
                  <a:lnTo>
                    <a:pt x="110" y="371"/>
                  </a:lnTo>
                  <a:lnTo>
                    <a:pt x="107" y="372"/>
                  </a:lnTo>
                  <a:lnTo>
                    <a:pt x="106" y="372"/>
                  </a:lnTo>
                  <a:lnTo>
                    <a:pt x="104" y="374"/>
                  </a:lnTo>
                  <a:lnTo>
                    <a:pt x="101" y="377"/>
                  </a:lnTo>
                  <a:lnTo>
                    <a:pt x="100" y="378"/>
                  </a:lnTo>
                  <a:lnTo>
                    <a:pt x="96" y="381"/>
                  </a:lnTo>
                  <a:lnTo>
                    <a:pt x="93" y="382"/>
                  </a:lnTo>
                  <a:lnTo>
                    <a:pt x="88" y="382"/>
                  </a:lnTo>
                  <a:lnTo>
                    <a:pt x="83" y="382"/>
                  </a:lnTo>
                  <a:lnTo>
                    <a:pt x="81" y="382"/>
                  </a:lnTo>
                  <a:lnTo>
                    <a:pt x="83" y="384"/>
                  </a:lnTo>
                  <a:lnTo>
                    <a:pt x="84" y="384"/>
                  </a:lnTo>
                  <a:lnTo>
                    <a:pt x="86" y="384"/>
                  </a:lnTo>
                  <a:lnTo>
                    <a:pt x="88" y="384"/>
                  </a:lnTo>
                  <a:lnTo>
                    <a:pt x="90" y="384"/>
                  </a:lnTo>
                  <a:lnTo>
                    <a:pt x="93" y="387"/>
                  </a:lnTo>
                  <a:lnTo>
                    <a:pt x="91" y="388"/>
                  </a:lnTo>
                  <a:lnTo>
                    <a:pt x="88" y="389"/>
                  </a:lnTo>
                  <a:lnTo>
                    <a:pt x="88" y="392"/>
                  </a:lnTo>
                  <a:lnTo>
                    <a:pt x="90" y="395"/>
                  </a:lnTo>
                  <a:lnTo>
                    <a:pt x="88" y="397"/>
                  </a:lnTo>
                  <a:lnTo>
                    <a:pt x="88" y="405"/>
                  </a:lnTo>
                  <a:lnTo>
                    <a:pt x="87" y="405"/>
                  </a:lnTo>
                  <a:lnTo>
                    <a:pt x="87" y="408"/>
                  </a:lnTo>
                  <a:lnTo>
                    <a:pt x="87" y="409"/>
                  </a:lnTo>
                  <a:lnTo>
                    <a:pt x="87" y="412"/>
                  </a:lnTo>
                  <a:lnTo>
                    <a:pt x="87" y="415"/>
                  </a:lnTo>
                  <a:lnTo>
                    <a:pt x="88" y="417"/>
                  </a:lnTo>
                  <a:lnTo>
                    <a:pt x="87" y="419"/>
                  </a:lnTo>
                  <a:lnTo>
                    <a:pt x="86" y="424"/>
                  </a:lnTo>
                  <a:lnTo>
                    <a:pt x="86" y="427"/>
                  </a:lnTo>
                  <a:lnTo>
                    <a:pt x="86" y="428"/>
                  </a:lnTo>
                  <a:lnTo>
                    <a:pt x="86" y="429"/>
                  </a:lnTo>
                  <a:lnTo>
                    <a:pt x="86" y="434"/>
                  </a:lnTo>
                  <a:lnTo>
                    <a:pt x="84" y="438"/>
                  </a:lnTo>
                  <a:lnTo>
                    <a:pt x="83" y="441"/>
                  </a:lnTo>
                  <a:lnTo>
                    <a:pt x="81" y="444"/>
                  </a:lnTo>
                  <a:lnTo>
                    <a:pt x="80" y="447"/>
                  </a:lnTo>
                  <a:lnTo>
                    <a:pt x="77" y="455"/>
                  </a:lnTo>
                  <a:lnTo>
                    <a:pt x="76" y="457"/>
                  </a:lnTo>
                  <a:lnTo>
                    <a:pt x="74" y="458"/>
                  </a:lnTo>
                  <a:lnTo>
                    <a:pt x="73" y="457"/>
                  </a:lnTo>
                  <a:lnTo>
                    <a:pt x="71" y="455"/>
                  </a:lnTo>
                  <a:lnTo>
                    <a:pt x="70" y="455"/>
                  </a:lnTo>
                  <a:lnTo>
                    <a:pt x="67" y="457"/>
                  </a:lnTo>
                  <a:lnTo>
                    <a:pt x="63" y="457"/>
                  </a:lnTo>
                  <a:lnTo>
                    <a:pt x="58" y="457"/>
                  </a:lnTo>
                  <a:lnTo>
                    <a:pt x="57" y="457"/>
                  </a:lnTo>
                  <a:lnTo>
                    <a:pt x="57" y="459"/>
                  </a:lnTo>
                  <a:lnTo>
                    <a:pt x="56" y="461"/>
                  </a:lnTo>
                  <a:lnTo>
                    <a:pt x="54" y="459"/>
                  </a:lnTo>
                  <a:lnTo>
                    <a:pt x="53" y="461"/>
                  </a:lnTo>
                  <a:lnTo>
                    <a:pt x="51" y="462"/>
                  </a:lnTo>
                  <a:lnTo>
                    <a:pt x="50" y="464"/>
                  </a:lnTo>
                  <a:lnTo>
                    <a:pt x="48" y="465"/>
                  </a:lnTo>
                  <a:lnTo>
                    <a:pt x="48" y="468"/>
                  </a:lnTo>
                  <a:lnTo>
                    <a:pt x="50" y="471"/>
                  </a:lnTo>
                  <a:lnTo>
                    <a:pt x="51" y="474"/>
                  </a:lnTo>
                  <a:lnTo>
                    <a:pt x="48" y="478"/>
                  </a:lnTo>
                  <a:lnTo>
                    <a:pt x="47" y="478"/>
                  </a:lnTo>
                  <a:lnTo>
                    <a:pt x="43" y="477"/>
                  </a:lnTo>
                  <a:lnTo>
                    <a:pt x="34" y="479"/>
                  </a:lnTo>
                  <a:lnTo>
                    <a:pt x="27" y="478"/>
                  </a:lnTo>
                  <a:lnTo>
                    <a:pt x="28" y="475"/>
                  </a:lnTo>
                  <a:lnTo>
                    <a:pt x="28" y="474"/>
                  </a:lnTo>
                  <a:lnTo>
                    <a:pt x="28" y="472"/>
                  </a:lnTo>
                  <a:lnTo>
                    <a:pt x="28" y="469"/>
                  </a:lnTo>
                  <a:lnTo>
                    <a:pt x="28" y="468"/>
                  </a:lnTo>
                  <a:lnTo>
                    <a:pt x="28" y="467"/>
                  </a:lnTo>
                  <a:lnTo>
                    <a:pt x="27" y="464"/>
                  </a:lnTo>
                  <a:lnTo>
                    <a:pt x="23" y="457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21" y="452"/>
                  </a:lnTo>
                  <a:lnTo>
                    <a:pt x="24" y="454"/>
                  </a:lnTo>
                  <a:lnTo>
                    <a:pt x="26" y="454"/>
                  </a:lnTo>
                  <a:lnTo>
                    <a:pt x="26" y="454"/>
                  </a:lnTo>
                  <a:lnTo>
                    <a:pt x="26" y="451"/>
                  </a:lnTo>
                  <a:lnTo>
                    <a:pt x="24" y="449"/>
                  </a:lnTo>
                  <a:lnTo>
                    <a:pt x="24" y="448"/>
                  </a:lnTo>
                  <a:lnTo>
                    <a:pt x="26" y="448"/>
                  </a:lnTo>
                  <a:lnTo>
                    <a:pt x="27" y="448"/>
                  </a:lnTo>
                  <a:lnTo>
                    <a:pt x="28" y="447"/>
                  </a:lnTo>
                  <a:lnTo>
                    <a:pt x="27" y="444"/>
                  </a:lnTo>
                  <a:lnTo>
                    <a:pt x="26" y="442"/>
                  </a:lnTo>
                  <a:lnTo>
                    <a:pt x="26" y="442"/>
                  </a:lnTo>
                  <a:lnTo>
                    <a:pt x="23" y="437"/>
                  </a:lnTo>
                  <a:lnTo>
                    <a:pt x="20" y="435"/>
                  </a:lnTo>
                  <a:lnTo>
                    <a:pt x="16" y="425"/>
                  </a:lnTo>
                  <a:lnTo>
                    <a:pt x="14" y="419"/>
                  </a:lnTo>
                  <a:lnTo>
                    <a:pt x="13" y="419"/>
                  </a:lnTo>
                  <a:lnTo>
                    <a:pt x="13" y="417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9" y="411"/>
                  </a:lnTo>
                  <a:lnTo>
                    <a:pt x="9" y="409"/>
                  </a:lnTo>
                  <a:lnTo>
                    <a:pt x="9" y="402"/>
                  </a:lnTo>
                  <a:lnTo>
                    <a:pt x="6" y="402"/>
                  </a:lnTo>
                  <a:lnTo>
                    <a:pt x="4" y="398"/>
                  </a:lnTo>
                  <a:lnTo>
                    <a:pt x="4" y="392"/>
                  </a:lnTo>
                  <a:lnTo>
                    <a:pt x="3" y="391"/>
                  </a:lnTo>
                  <a:lnTo>
                    <a:pt x="1" y="391"/>
                  </a:lnTo>
                  <a:lnTo>
                    <a:pt x="1" y="389"/>
                  </a:lnTo>
                  <a:lnTo>
                    <a:pt x="1" y="388"/>
                  </a:lnTo>
                  <a:lnTo>
                    <a:pt x="1" y="381"/>
                  </a:lnTo>
                  <a:lnTo>
                    <a:pt x="1" y="375"/>
                  </a:lnTo>
                  <a:lnTo>
                    <a:pt x="0" y="374"/>
                  </a:lnTo>
                  <a:lnTo>
                    <a:pt x="0" y="372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3" y="369"/>
                  </a:lnTo>
                  <a:lnTo>
                    <a:pt x="4" y="371"/>
                  </a:lnTo>
                  <a:lnTo>
                    <a:pt x="6" y="374"/>
                  </a:lnTo>
                  <a:lnTo>
                    <a:pt x="6" y="375"/>
                  </a:lnTo>
                  <a:lnTo>
                    <a:pt x="7" y="374"/>
                  </a:lnTo>
                  <a:lnTo>
                    <a:pt x="9" y="371"/>
                  </a:lnTo>
                  <a:lnTo>
                    <a:pt x="10" y="367"/>
                  </a:lnTo>
                  <a:lnTo>
                    <a:pt x="10" y="362"/>
                  </a:lnTo>
                  <a:lnTo>
                    <a:pt x="10" y="358"/>
                  </a:lnTo>
                  <a:lnTo>
                    <a:pt x="9" y="354"/>
                  </a:lnTo>
                  <a:lnTo>
                    <a:pt x="9" y="352"/>
                  </a:lnTo>
                  <a:lnTo>
                    <a:pt x="11" y="350"/>
                  </a:lnTo>
                  <a:lnTo>
                    <a:pt x="11" y="347"/>
                  </a:lnTo>
                  <a:lnTo>
                    <a:pt x="13" y="344"/>
                  </a:lnTo>
                  <a:lnTo>
                    <a:pt x="13" y="344"/>
                  </a:lnTo>
                  <a:lnTo>
                    <a:pt x="14" y="344"/>
                  </a:lnTo>
                  <a:lnTo>
                    <a:pt x="16" y="342"/>
                  </a:lnTo>
                  <a:lnTo>
                    <a:pt x="18" y="341"/>
                  </a:lnTo>
                  <a:lnTo>
                    <a:pt x="20" y="338"/>
                  </a:lnTo>
                  <a:lnTo>
                    <a:pt x="21" y="337"/>
                  </a:lnTo>
                  <a:lnTo>
                    <a:pt x="21" y="332"/>
                  </a:lnTo>
                  <a:lnTo>
                    <a:pt x="21" y="331"/>
                  </a:lnTo>
                  <a:lnTo>
                    <a:pt x="23" y="328"/>
                  </a:lnTo>
                  <a:lnTo>
                    <a:pt x="23" y="325"/>
                  </a:lnTo>
                  <a:lnTo>
                    <a:pt x="23" y="322"/>
                  </a:lnTo>
                  <a:lnTo>
                    <a:pt x="20" y="318"/>
                  </a:lnTo>
                  <a:lnTo>
                    <a:pt x="18" y="311"/>
                  </a:lnTo>
                  <a:lnTo>
                    <a:pt x="18" y="308"/>
                  </a:lnTo>
                  <a:lnTo>
                    <a:pt x="18" y="307"/>
                  </a:lnTo>
                  <a:lnTo>
                    <a:pt x="21" y="307"/>
                  </a:lnTo>
                  <a:lnTo>
                    <a:pt x="24" y="307"/>
                  </a:lnTo>
                  <a:lnTo>
                    <a:pt x="24" y="305"/>
                  </a:lnTo>
                  <a:lnTo>
                    <a:pt x="26" y="304"/>
                  </a:lnTo>
                  <a:lnTo>
                    <a:pt x="26" y="302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295"/>
                  </a:lnTo>
                  <a:lnTo>
                    <a:pt x="26" y="292"/>
                  </a:lnTo>
                  <a:lnTo>
                    <a:pt x="23" y="290"/>
                  </a:lnTo>
                  <a:lnTo>
                    <a:pt x="21" y="288"/>
                  </a:lnTo>
                  <a:lnTo>
                    <a:pt x="18" y="285"/>
                  </a:lnTo>
                  <a:lnTo>
                    <a:pt x="16" y="284"/>
                  </a:lnTo>
                  <a:lnTo>
                    <a:pt x="17" y="275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4"/>
                  </a:lnTo>
                  <a:lnTo>
                    <a:pt x="16" y="254"/>
                  </a:lnTo>
                  <a:lnTo>
                    <a:pt x="16" y="251"/>
                  </a:lnTo>
                  <a:lnTo>
                    <a:pt x="16" y="250"/>
                  </a:lnTo>
                  <a:lnTo>
                    <a:pt x="16" y="245"/>
                  </a:lnTo>
                  <a:lnTo>
                    <a:pt x="16" y="242"/>
                  </a:lnTo>
                  <a:lnTo>
                    <a:pt x="16" y="241"/>
                  </a:lnTo>
                  <a:lnTo>
                    <a:pt x="17" y="240"/>
                  </a:lnTo>
                  <a:lnTo>
                    <a:pt x="16" y="237"/>
                  </a:lnTo>
                  <a:lnTo>
                    <a:pt x="16" y="237"/>
                  </a:lnTo>
                  <a:lnTo>
                    <a:pt x="13" y="230"/>
                  </a:lnTo>
                  <a:lnTo>
                    <a:pt x="17" y="222"/>
                  </a:lnTo>
                  <a:lnTo>
                    <a:pt x="16" y="218"/>
                  </a:lnTo>
                  <a:lnTo>
                    <a:pt x="18" y="215"/>
                  </a:lnTo>
                  <a:lnTo>
                    <a:pt x="21" y="210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6" y="204"/>
                  </a:lnTo>
                  <a:lnTo>
                    <a:pt x="30" y="201"/>
                  </a:lnTo>
                  <a:lnTo>
                    <a:pt x="33" y="201"/>
                  </a:lnTo>
                  <a:lnTo>
                    <a:pt x="34" y="201"/>
                  </a:lnTo>
                  <a:lnTo>
                    <a:pt x="40" y="202"/>
                  </a:lnTo>
                  <a:lnTo>
                    <a:pt x="44" y="202"/>
                  </a:lnTo>
                  <a:lnTo>
                    <a:pt x="46" y="202"/>
                  </a:lnTo>
                  <a:lnTo>
                    <a:pt x="47" y="200"/>
                  </a:lnTo>
                  <a:lnTo>
                    <a:pt x="47" y="197"/>
                  </a:lnTo>
                  <a:lnTo>
                    <a:pt x="48" y="194"/>
                  </a:lnTo>
                  <a:lnTo>
                    <a:pt x="47" y="190"/>
                  </a:lnTo>
                  <a:lnTo>
                    <a:pt x="47" y="187"/>
                  </a:lnTo>
                  <a:lnTo>
                    <a:pt x="43" y="184"/>
                  </a:lnTo>
                  <a:lnTo>
                    <a:pt x="40" y="182"/>
                  </a:lnTo>
                  <a:lnTo>
                    <a:pt x="44" y="174"/>
                  </a:lnTo>
                  <a:lnTo>
                    <a:pt x="47" y="168"/>
                  </a:lnTo>
                  <a:lnTo>
                    <a:pt x="51" y="160"/>
                  </a:lnTo>
                  <a:lnTo>
                    <a:pt x="53" y="157"/>
                  </a:lnTo>
                  <a:lnTo>
                    <a:pt x="53" y="155"/>
                  </a:lnTo>
                  <a:lnTo>
                    <a:pt x="54" y="141"/>
                  </a:lnTo>
                  <a:lnTo>
                    <a:pt x="56" y="138"/>
                  </a:lnTo>
                  <a:lnTo>
                    <a:pt x="56" y="135"/>
                  </a:lnTo>
                  <a:lnTo>
                    <a:pt x="56" y="134"/>
                  </a:lnTo>
                  <a:lnTo>
                    <a:pt x="56" y="130"/>
                  </a:lnTo>
                  <a:lnTo>
                    <a:pt x="54" y="123"/>
                  </a:lnTo>
                  <a:lnTo>
                    <a:pt x="60" y="121"/>
                  </a:lnTo>
                  <a:lnTo>
                    <a:pt x="63" y="121"/>
                  </a:lnTo>
                  <a:lnTo>
                    <a:pt x="64" y="120"/>
                  </a:lnTo>
                  <a:lnTo>
                    <a:pt x="67" y="118"/>
                  </a:lnTo>
                  <a:lnTo>
                    <a:pt x="70" y="115"/>
                  </a:lnTo>
                  <a:lnTo>
                    <a:pt x="68" y="108"/>
                  </a:lnTo>
                  <a:lnTo>
                    <a:pt x="70" y="105"/>
                  </a:lnTo>
                  <a:lnTo>
                    <a:pt x="76" y="97"/>
                  </a:lnTo>
                  <a:lnTo>
                    <a:pt x="81" y="88"/>
                  </a:lnTo>
                  <a:lnTo>
                    <a:pt x="84" y="85"/>
                  </a:lnTo>
                  <a:lnTo>
                    <a:pt x="84" y="84"/>
                  </a:lnTo>
                  <a:lnTo>
                    <a:pt x="84" y="81"/>
                  </a:lnTo>
                  <a:lnTo>
                    <a:pt x="83" y="77"/>
                  </a:lnTo>
                  <a:lnTo>
                    <a:pt x="81" y="74"/>
                  </a:lnTo>
                  <a:lnTo>
                    <a:pt x="80" y="70"/>
                  </a:lnTo>
                  <a:lnTo>
                    <a:pt x="81" y="67"/>
                  </a:lnTo>
                  <a:lnTo>
                    <a:pt x="83" y="65"/>
                  </a:lnTo>
                  <a:lnTo>
                    <a:pt x="84" y="64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90" y="50"/>
                  </a:lnTo>
                  <a:lnTo>
                    <a:pt x="96" y="44"/>
                  </a:lnTo>
                  <a:lnTo>
                    <a:pt x="98" y="41"/>
                  </a:lnTo>
                  <a:lnTo>
                    <a:pt x="103" y="44"/>
                  </a:lnTo>
                  <a:lnTo>
                    <a:pt x="108" y="47"/>
                  </a:lnTo>
                  <a:lnTo>
                    <a:pt x="111" y="43"/>
                  </a:lnTo>
                  <a:lnTo>
                    <a:pt x="111" y="40"/>
                  </a:lnTo>
                  <a:lnTo>
                    <a:pt x="113" y="37"/>
                  </a:lnTo>
                  <a:lnTo>
                    <a:pt x="113" y="33"/>
                  </a:lnTo>
                  <a:lnTo>
                    <a:pt x="111" y="25"/>
                  </a:lnTo>
                  <a:lnTo>
                    <a:pt x="113" y="23"/>
                  </a:lnTo>
                  <a:lnTo>
                    <a:pt x="114" y="21"/>
                  </a:lnTo>
                  <a:lnTo>
                    <a:pt x="115" y="21"/>
                  </a:lnTo>
                  <a:lnTo>
                    <a:pt x="121" y="24"/>
                  </a:lnTo>
                  <a:lnTo>
                    <a:pt x="124" y="24"/>
                  </a:lnTo>
                  <a:lnTo>
                    <a:pt x="127" y="24"/>
                  </a:lnTo>
                  <a:lnTo>
                    <a:pt x="130" y="25"/>
                  </a:lnTo>
                  <a:lnTo>
                    <a:pt x="137" y="28"/>
                  </a:lnTo>
                  <a:lnTo>
                    <a:pt x="140" y="30"/>
                  </a:lnTo>
                  <a:lnTo>
                    <a:pt x="141" y="30"/>
                  </a:lnTo>
                  <a:lnTo>
                    <a:pt x="143" y="28"/>
                  </a:lnTo>
                  <a:lnTo>
                    <a:pt x="145" y="25"/>
                  </a:lnTo>
                  <a:lnTo>
                    <a:pt x="141" y="23"/>
                  </a:lnTo>
                  <a:lnTo>
                    <a:pt x="144" y="20"/>
                  </a:lnTo>
                  <a:lnTo>
                    <a:pt x="145" y="17"/>
                  </a:lnTo>
                  <a:lnTo>
                    <a:pt x="147" y="13"/>
                  </a:lnTo>
                  <a:lnTo>
                    <a:pt x="147" y="8"/>
                  </a:lnTo>
                  <a:lnTo>
                    <a:pt x="147" y="7"/>
                  </a:lnTo>
                  <a:lnTo>
                    <a:pt x="145" y="5"/>
                  </a:lnTo>
                  <a:lnTo>
                    <a:pt x="144" y="1"/>
                  </a:lnTo>
                  <a:lnTo>
                    <a:pt x="150" y="1"/>
                  </a:lnTo>
                  <a:lnTo>
                    <a:pt x="151" y="0"/>
                  </a:lnTo>
                  <a:lnTo>
                    <a:pt x="155" y="3"/>
                  </a:lnTo>
                  <a:lnTo>
                    <a:pt x="155" y="4"/>
                  </a:lnTo>
                  <a:lnTo>
                    <a:pt x="155" y="5"/>
                  </a:lnTo>
                  <a:lnTo>
                    <a:pt x="157" y="5"/>
                  </a:lnTo>
                  <a:lnTo>
                    <a:pt x="161" y="10"/>
                  </a:lnTo>
                  <a:lnTo>
                    <a:pt x="161" y="11"/>
                  </a:lnTo>
                  <a:lnTo>
                    <a:pt x="164" y="14"/>
                  </a:lnTo>
                  <a:lnTo>
                    <a:pt x="165" y="15"/>
                  </a:lnTo>
                  <a:lnTo>
                    <a:pt x="167" y="17"/>
                  </a:lnTo>
                  <a:lnTo>
                    <a:pt x="170" y="20"/>
                  </a:lnTo>
                  <a:lnTo>
                    <a:pt x="171" y="21"/>
                  </a:lnTo>
                  <a:lnTo>
                    <a:pt x="174" y="23"/>
                  </a:lnTo>
                  <a:lnTo>
                    <a:pt x="177" y="25"/>
                  </a:lnTo>
                  <a:lnTo>
                    <a:pt x="180" y="25"/>
                  </a:lnTo>
                  <a:lnTo>
                    <a:pt x="185" y="28"/>
                  </a:lnTo>
                  <a:lnTo>
                    <a:pt x="187" y="30"/>
                  </a:lnTo>
                  <a:lnTo>
                    <a:pt x="190" y="33"/>
                  </a:lnTo>
                  <a:lnTo>
                    <a:pt x="191" y="34"/>
                  </a:lnTo>
                  <a:lnTo>
                    <a:pt x="193" y="40"/>
                  </a:lnTo>
                  <a:lnTo>
                    <a:pt x="195" y="40"/>
                  </a:lnTo>
                  <a:lnTo>
                    <a:pt x="195" y="43"/>
                  </a:lnTo>
                  <a:lnTo>
                    <a:pt x="197" y="45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198" y="51"/>
                  </a:lnTo>
                  <a:lnTo>
                    <a:pt x="197" y="54"/>
                  </a:lnTo>
                  <a:lnTo>
                    <a:pt x="198" y="58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198" y="64"/>
                  </a:lnTo>
                  <a:lnTo>
                    <a:pt x="197" y="65"/>
                  </a:lnTo>
                  <a:lnTo>
                    <a:pt x="197" y="68"/>
                  </a:lnTo>
                  <a:lnTo>
                    <a:pt x="197" y="68"/>
                  </a:lnTo>
                  <a:lnTo>
                    <a:pt x="197" y="68"/>
                  </a:lnTo>
                  <a:lnTo>
                    <a:pt x="198" y="68"/>
                  </a:lnTo>
                  <a:lnTo>
                    <a:pt x="200" y="70"/>
                  </a:lnTo>
                  <a:lnTo>
                    <a:pt x="201" y="70"/>
                  </a:lnTo>
                  <a:lnTo>
                    <a:pt x="203" y="74"/>
                  </a:lnTo>
                  <a:lnTo>
                    <a:pt x="201" y="75"/>
                  </a:lnTo>
                  <a:lnTo>
                    <a:pt x="200" y="77"/>
                  </a:lnTo>
                  <a:lnTo>
                    <a:pt x="200" y="78"/>
                  </a:lnTo>
                  <a:lnTo>
                    <a:pt x="200" y="80"/>
                  </a:lnTo>
                  <a:lnTo>
                    <a:pt x="200" y="83"/>
                  </a:lnTo>
                  <a:lnTo>
                    <a:pt x="201" y="85"/>
                  </a:lnTo>
                  <a:lnTo>
                    <a:pt x="201" y="87"/>
                  </a:lnTo>
                  <a:lnTo>
                    <a:pt x="204" y="90"/>
                  </a:lnTo>
                  <a:lnTo>
                    <a:pt x="205" y="93"/>
                  </a:lnTo>
                  <a:lnTo>
                    <a:pt x="205" y="94"/>
                  </a:lnTo>
                  <a:lnTo>
                    <a:pt x="205" y="95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04" y="103"/>
                  </a:lnTo>
                  <a:lnTo>
                    <a:pt x="204" y="105"/>
                  </a:lnTo>
                  <a:lnTo>
                    <a:pt x="203" y="108"/>
                  </a:lnTo>
                  <a:lnTo>
                    <a:pt x="201" y="108"/>
                  </a:lnTo>
                  <a:lnTo>
                    <a:pt x="201" y="110"/>
                  </a:lnTo>
                  <a:lnTo>
                    <a:pt x="201" y="113"/>
                  </a:lnTo>
                  <a:lnTo>
                    <a:pt x="201" y="115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0"/>
                  </a:lnTo>
                  <a:lnTo>
                    <a:pt x="204" y="123"/>
                  </a:lnTo>
                  <a:lnTo>
                    <a:pt x="205" y="125"/>
                  </a:lnTo>
                  <a:lnTo>
                    <a:pt x="207" y="128"/>
                  </a:lnTo>
                  <a:lnTo>
                    <a:pt x="208" y="135"/>
                  </a:lnTo>
                  <a:close/>
                  <a:moveTo>
                    <a:pt x="120" y="357"/>
                  </a:moveTo>
                  <a:lnTo>
                    <a:pt x="118" y="358"/>
                  </a:lnTo>
                  <a:lnTo>
                    <a:pt x="118" y="357"/>
                  </a:lnTo>
                  <a:lnTo>
                    <a:pt x="118" y="357"/>
                  </a:lnTo>
                  <a:lnTo>
                    <a:pt x="118" y="355"/>
                  </a:lnTo>
                  <a:lnTo>
                    <a:pt x="120" y="354"/>
                  </a:lnTo>
                  <a:lnTo>
                    <a:pt x="121" y="355"/>
                  </a:lnTo>
                  <a:lnTo>
                    <a:pt x="121" y="355"/>
                  </a:lnTo>
                  <a:lnTo>
                    <a:pt x="120" y="357"/>
                  </a:lnTo>
                  <a:lnTo>
                    <a:pt x="120" y="357"/>
                  </a:lnTo>
                  <a:close/>
                  <a:moveTo>
                    <a:pt x="117" y="371"/>
                  </a:moveTo>
                  <a:lnTo>
                    <a:pt x="115" y="371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68"/>
                  </a:lnTo>
                  <a:lnTo>
                    <a:pt x="117" y="368"/>
                  </a:lnTo>
                  <a:lnTo>
                    <a:pt x="117" y="368"/>
                  </a:lnTo>
                  <a:lnTo>
                    <a:pt x="117" y="371"/>
                  </a:lnTo>
                  <a:close/>
                  <a:moveTo>
                    <a:pt x="128" y="405"/>
                  </a:moveTo>
                  <a:lnTo>
                    <a:pt x="128" y="407"/>
                  </a:lnTo>
                  <a:lnTo>
                    <a:pt x="127" y="407"/>
                  </a:lnTo>
                  <a:lnTo>
                    <a:pt x="127" y="405"/>
                  </a:lnTo>
                  <a:lnTo>
                    <a:pt x="128" y="402"/>
                  </a:lnTo>
                  <a:lnTo>
                    <a:pt x="130" y="402"/>
                  </a:lnTo>
                  <a:lnTo>
                    <a:pt x="131" y="404"/>
                  </a:lnTo>
                  <a:lnTo>
                    <a:pt x="128" y="405"/>
                  </a:lnTo>
                  <a:close/>
                  <a:moveTo>
                    <a:pt x="127" y="407"/>
                  </a:moveTo>
                  <a:lnTo>
                    <a:pt x="125" y="408"/>
                  </a:lnTo>
                  <a:lnTo>
                    <a:pt x="124" y="409"/>
                  </a:lnTo>
                  <a:lnTo>
                    <a:pt x="124" y="411"/>
                  </a:lnTo>
                  <a:lnTo>
                    <a:pt x="123" y="411"/>
                  </a:lnTo>
                  <a:lnTo>
                    <a:pt x="123" y="418"/>
                  </a:lnTo>
                  <a:lnTo>
                    <a:pt x="124" y="419"/>
                  </a:lnTo>
                  <a:lnTo>
                    <a:pt x="123" y="421"/>
                  </a:lnTo>
                  <a:lnTo>
                    <a:pt x="123" y="421"/>
                  </a:lnTo>
                  <a:lnTo>
                    <a:pt x="121" y="422"/>
                  </a:lnTo>
                  <a:lnTo>
                    <a:pt x="121" y="425"/>
                  </a:lnTo>
                  <a:lnTo>
                    <a:pt x="118" y="427"/>
                  </a:lnTo>
                  <a:lnTo>
                    <a:pt x="117" y="427"/>
                  </a:lnTo>
                  <a:lnTo>
                    <a:pt x="115" y="429"/>
                  </a:lnTo>
                  <a:lnTo>
                    <a:pt x="115" y="432"/>
                  </a:lnTo>
                  <a:lnTo>
                    <a:pt x="114" y="434"/>
                  </a:lnTo>
                  <a:lnTo>
                    <a:pt x="113" y="434"/>
                  </a:lnTo>
                  <a:lnTo>
                    <a:pt x="113" y="432"/>
                  </a:lnTo>
                  <a:lnTo>
                    <a:pt x="114" y="429"/>
                  </a:lnTo>
                  <a:lnTo>
                    <a:pt x="113" y="428"/>
                  </a:lnTo>
                  <a:lnTo>
                    <a:pt x="113" y="425"/>
                  </a:lnTo>
                  <a:lnTo>
                    <a:pt x="111" y="424"/>
                  </a:lnTo>
                  <a:lnTo>
                    <a:pt x="113" y="422"/>
                  </a:lnTo>
                  <a:lnTo>
                    <a:pt x="111" y="418"/>
                  </a:lnTo>
                  <a:lnTo>
                    <a:pt x="111" y="415"/>
                  </a:lnTo>
                  <a:lnTo>
                    <a:pt x="113" y="414"/>
                  </a:lnTo>
                  <a:lnTo>
                    <a:pt x="114" y="412"/>
                  </a:lnTo>
                  <a:lnTo>
                    <a:pt x="115" y="409"/>
                  </a:lnTo>
                  <a:lnTo>
                    <a:pt x="118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4" y="405"/>
                  </a:lnTo>
                  <a:lnTo>
                    <a:pt x="125" y="405"/>
                  </a:lnTo>
                  <a:lnTo>
                    <a:pt x="127" y="407"/>
                  </a:lnTo>
                  <a:close/>
                  <a:moveTo>
                    <a:pt x="86" y="452"/>
                  </a:moveTo>
                  <a:lnTo>
                    <a:pt x="86" y="454"/>
                  </a:lnTo>
                  <a:lnTo>
                    <a:pt x="84" y="454"/>
                  </a:lnTo>
                  <a:lnTo>
                    <a:pt x="84" y="452"/>
                  </a:lnTo>
                  <a:lnTo>
                    <a:pt x="84" y="447"/>
                  </a:lnTo>
                  <a:lnTo>
                    <a:pt x="84" y="445"/>
                  </a:lnTo>
                  <a:lnTo>
                    <a:pt x="87" y="435"/>
                  </a:lnTo>
                  <a:lnTo>
                    <a:pt x="90" y="435"/>
                  </a:lnTo>
                  <a:lnTo>
                    <a:pt x="91" y="429"/>
                  </a:lnTo>
                  <a:lnTo>
                    <a:pt x="93" y="427"/>
                  </a:lnTo>
                  <a:lnTo>
                    <a:pt x="93" y="425"/>
                  </a:lnTo>
                  <a:lnTo>
                    <a:pt x="94" y="422"/>
                  </a:lnTo>
                  <a:lnTo>
                    <a:pt x="94" y="422"/>
                  </a:lnTo>
                  <a:lnTo>
                    <a:pt x="96" y="422"/>
                  </a:lnTo>
                  <a:lnTo>
                    <a:pt x="96" y="422"/>
                  </a:lnTo>
                  <a:lnTo>
                    <a:pt x="94" y="424"/>
                  </a:lnTo>
                  <a:lnTo>
                    <a:pt x="94" y="425"/>
                  </a:lnTo>
                  <a:lnTo>
                    <a:pt x="94" y="425"/>
                  </a:lnTo>
                  <a:lnTo>
                    <a:pt x="91" y="432"/>
                  </a:lnTo>
                  <a:lnTo>
                    <a:pt x="91" y="437"/>
                  </a:lnTo>
                  <a:lnTo>
                    <a:pt x="90" y="438"/>
                  </a:lnTo>
                  <a:lnTo>
                    <a:pt x="86" y="45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6" name="Google Shape;306;p3"/>
            <p:cNvSpPr/>
            <p:nvPr/>
          </p:nvSpPr>
          <p:spPr>
            <a:xfrm>
              <a:off x="5115585" y="4359123"/>
              <a:ext cx="3507" cy="1256"/>
            </a:xfrm>
            <a:custGeom>
              <a:rect b="b" l="l" r="r" t="t"/>
              <a:pathLst>
                <a:path extrusionOk="0" h="2" w="5">
                  <a:moveTo>
                    <a:pt x="5" y="1"/>
                  </a:moveTo>
                  <a:lnTo>
                    <a:pt x="2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7" name="Google Shape;307;p3"/>
            <p:cNvSpPr/>
            <p:nvPr/>
          </p:nvSpPr>
          <p:spPr>
            <a:xfrm>
              <a:off x="4102210" y="3840573"/>
              <a:ext cx="35065" cy="20717"/>
            </a:xfrm>
            <a:custGeom>
              <a:rect b="b" l="l" r="r" t="t"/>
              <a:pathLst>
                <a:path extrusionOk="0" h="33" w="50">
                  <a:moveTo>
                    <a:pt x="50" y="9"/>
                  </a:moveTo>
                  <a:lnTo>
                    <a:pt x="48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0" y="15"/>
                  </a:lnTo>
                  <a:lnTo>
                    <a:pt x="38" y="15"/>
                  </a:lnTo>
                  <a:lnTo>
                    <a:pt x="37" y="15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5" y="25"/>
                  </a:lnTo>
                  <a:lnTo>
                    <a:pt x="32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3"/>
                  </a:lnTo>
                  <a:lnTo>
                    <a:pt x="27" y="33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4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1" y="12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4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30" y="5"/>
                  </a:lnTo>
                  <a:lnTo>
                    <a:pt x="32" y="6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0" y="8"/>
                  </a:lnTo>
                  <a:lnTo>
                    <a:pt x="50" y="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8" name="Google Shape;308;p3"/>
            <p:cNvSpPr/>
            <p:nvPr/>
          </p:nvSpPr>
          <p:spPr>
            <a:xfrm>
              <a:off x="3849742" y="2943469"/>
              <a:ext cx="478987" cy="408060"/>
            </a:xfrm>
            <a:custGeom>
              <a:rect b="b" l="l" r="r" t="t"/>
              <a:pathLst>
                <a:path extrusionOk="0" h="650" w="683">
                  <a:moveTo>
                    <a:pt x="2" y="649"/>
                  </a:moveTo>
                  <a:lnTo>
                    <a:pt x="0" y="650"/>
                  </a:lnTo>
                  <a:lnTo>
                    <a:pt x="0" y="649"/>
                  </a:lnTo>
                  <a:lnTo>
                    <a:pt x="2" y="646"/>
                  </a:lnTo>
                  <a:lnTo>
                    <a:pt x="9" y="640"/>
                  </a:lnTo>
                  <a:lnTo>
                    <a:pt x="12" y="634"/>
                  </a:lnTo>
                  <a:lnTo>
                    <a:pt x="17" y="633"/>
                  </a:lnTo>
                  <a:lnTo>
                    <a:pt x="17" y="636"/>
                  </a:lnTo>
                  <a:lnTo>
                    <a:pt x="17" y="639"/>
                  </a:lnTo>
                  <a:lnTo>
                    <a:pt x="13" y="643"/>
                  </a:lnTo>
                  <a:lnTo>
                    <a:pt x="7" y="644"/>
                  </a:lnTo>
                  <a:lnTo>
                    <a:pt x="2" y="649"/>
                  </a:lnTo>
                  <a:close/>
                  <a:moveTo>
                    <a:pt x="454" y="459"/>
                  </a:moveTo>
                  <a:lnTo>
                    <a:pt x="451" y="460"/>
                  </a:lnTo>
                  <a:lnTo>
                    <a:pt x="448" y="457"/>
                  </a:lnTo>
                  <a:lnTo>
                    <a:pt x="447" y="453"/>
                  </a:lnTo>
                  <a:lnTo>
                    <a:pt x="448" y="450"/>
                  </a:lnTo>
                  <a:lnTo>
                    <a:pt x="452" y="450"/>
                  </a:lnTo>
                  <a:lnTo>
                    <a:pt x="454" y="453"/>
                  </a:lnTo>
                  <a:lnTo>
                    <a:pt x="454" y="454"/>
                  </a:lnTo>
                  <a:lnTo>
                    <a:pt x="454" y="459"/>
                  </a:lnTo>
                  <a:close/>
                  <a:moveTo>
                    <a:pt x="491" y="167"/>
                  </a:moveTo>
                  <a:lnTo>
                    <a:pt x="494" y="169"/>
                  </a:lnTo>
                  <a:lnTo>
                    <a:pt x="498" y="169"/>
                  </a:lnTo>
                  <a:lnTo>
                    <a:pt x="501" y="183"/>
                  </a:lnTo>
                  <a:lnTo>
                    <a:pt x="502" y="196"/>
                  </a:lnTo>
                  <a:lnTo>
                    <a:pt x="505" y="197"/>
                  </a:lnTo>
                  <a:lnTo>
                    <a:pt x="509" y="196"/>
                  </a:lnTo>
                  <a:lnTo>
                    <a:pt x="514" y="195"/>
                  </a:lnTo>
                  <a:lnTo>
                    <a:pt x="515" y="196"/>
                  </a:lnTo>
                  <a:lnTo>
                    <a:pt x="519" y="200"/>
                  </a:lnTo>
                  <a:lnTo>
                    <a:pt x="521" y="203"/>
                  </a:lnTo>
                  <a:lnTo>
                    <a:pt x="519" y="205"/>
                  </a:lnTo>
                  <a:lnTo>
                    <a:pt x="517" y="207"/>
                  </a:lnTo>
                  <a:lnTo>
                    <a:pt x="515" y="215"/>
                  </a:lnTo>
                  <a:lnTo>
                    <a:pt x="519" y="217"/>
                  </a:lnTo>
                  <a:lnTo>
                    <a:pt x="525" y="225"/>
                  </a:lnTo>
                  <a:lnTo>
                    <a:pt x="528" y="225"/>
                  </a:lnTo>
                  <a:lnTo>
                    <a:pt x="534" y="222"/>
                  </a:lnTo>
                  <a:lnTo>
                    <a:pt x="539" y="227"/>
                  </a:lnTo>
                  <a:lnTo>
                    <a:pt x="544" y="233"/>
                  </a:lnTo>
                  <a:lnTo>
                    <a:pt x="532" y="240"/>
                  </a:lnTo>
                  <a:lnTo>
                    <a:pt x="531" y="243"/>
                  </a:lnTo>
                  <a:lnTo>
                    <a:pt x="529" y="247"/>
                  </a:lnTo>
                  <a:lnTo>
                    <a:pt x="527" y="252"/>
                  </a:lnTo>
                  <a:lnTo>
                    <a:pt x="525" y="254"/>
                  </a:lnTo>
                  <a:lnTo>
                    <a:pt x="522" y="259"/>
                  </a:lnTo>
                  <a:lnTo>
                    <a:pt x="519" y="262"/>
                  </a:lnTo>
                  <a:lnTo>
                    <a:pt x="515" y="260"/>
                  </a:lnTo>
                  <a:lnTo>
                    <a:pt x="514" y="263"/>
                  </a:lnTo>
                  <a:lnTo>
                    <a:pt x="512" y="266"/>
                  </a:lnTo>
                  <a:lnTo>
                    <a:pt x="511" y="269"/>
                  </a:lnTo>
                  <a:lnTo>
                    <a:pt x="507" y="269"/>
                  </a:lnTo>
                  <a:lnTo>
                    <a:pt x="505" y="266"/>
                  </a:lnTo>
                  <a:lnTo>
                    <a:pt x="505" y="264"/>
                  </a:lnTo>
                  <a:lnTo>
                    <a:pt x="505" y="263"/>
                  </a:lnTo>
                  <a:lnTo>
                    <a:pt x="505" y="257"/>
                  </a:lnTo>
                  <a:lnTo>
                    <a:pt x="508" y="252"/>
                  </a:lnTo>
                  <a:lnTo>
                    <a:pt x="509" y="249"/>
                  </a:lnTo>
                  <a:lnTo>
                    <a:pt x="508" y="249"/>
                  </a:lnTo>
                  <a:lnTo>
                    <a:pt x="508" y="249"/>
                  </a:lnTo>
                  <a:lnTo>
                    <a:pt x="505" y="247"/>
                  </a:lnTo>
                  <a:lnTo>
                    <a:pt x="504" y="247"/>
                  </a:lnTo>
                  <a:lnTo>
                    <a:pt x="502" y="250"/>
                  </a:lnTo>
                  <a:lnTo>
                    <a:pt x="498" y="252"/>
                  </a:lnTo>
                  <a:lnTo>
                    <a:pt x="495" y="253"/>
                  </a:lnTo>
                  <a:lnTo>
                    <a:pt x="482" y="256"/>
                  </a:lnTo>
                  <a:lnTo>
                    <a:pt x="481" y="254"/>
                  </a:lnTo>
                  <a:lnTo>
                    <a:pt x="479" y="247"/>
                  </a:lnTo>
                  <a:lnTo>
                    <a:pt x="485" y="243"/>
                  </a:lnTo>
                  <a:lnTo>
                    <a:pt x="485" y="236"/>
                  </a:lnTo>
                  <a:lnTo>
                    <a:pt x="487" y="232"/>
                  </a:lnTo>
                  <a:lnTo>
                    <a:pt x="488" y="229"/>
                  </a:lnTo>
                  <a:lnTo>
                    <a:pt x="491" y="220"/>
                  </a:lnTo>
                  <a:lnTo>
                    <a:pt x="492" y="220"/>
                  </a:lnTo>
                  <a:lnTo>
                    <a:pt x="485" y="215"/>
                  </a:lnTo>
                  <a:lnTo>
                    <a:pt x="482" y="210"/>
                  </a:lnTo>
                  <a:lnTo>
                    <a:pt x="479" y="202"/>
                  </a:lnTo>
                  <a:lnTo>
                    <a:pt x="478" y="195"/>
                  </a:lnTo>
                  <a:lnTo>
                    <a:pt x="474" y="189"/>
                  </a:lnTo>
                  <a:lnTo>
                    <a:pt x="475" y="182"/>
                  </a:lnTo>
                  <a:lnTo>
                    <a:pt x="472" y="182"/>
                  </a:lnTo>
                  <a:lnTo>
                    <a:pt x="469" y="177"/>
                  </a:lnTo>
                  <a:lnTo>
                    <a:pt x="471" y="175"/>
                  </a:lnTo>
                  <a:lnTo>
                    <a:pt x="482" y="170"/>
                  </a:lnTo>
                  <a:lnTo>
                    <a:pt x="489" y="167"/>
                  </a:lnTo>
                  <a:lnTo>
                    <a:pt x="491" y="167"/>
                  </a:lnTo>
                  <a:close/>
                  <a:moveTo>
                    <a:pt x="576" y="163"/>
                  </a:moveTo>
                  <a:lnTo>
                    <a:pt x="574" y="163"/>
                  </a:lnTo>
                  <a:lnTo>
                    <a:pt x="569" y="157"/>
                  </a:lnTo>
                  <a:lnTo>
                    <a:pt x="568" y="152"/>
                  </a:lnTo>
                  <a:lnTo>
                    <a:pt x="569" y="150"/>
                  </a:lnTo>
                  <a:lnTo>
                    <a:pt x="571" y="150"/>
                  </a:lnTo>
                  <a:lnTo>
                    <a:pt x="575" y="157"/>
                  </a:lnTo>
                  <a:lnTo>
                    <a:pt x="578" y="159"/>
                  </a:lnTo>
                  <a:lnTo>
                    <a:pt x="576" y="163"/>
                  </a:lnTo>
                  <a:close/>
                  <a:moveTo>
                    <a:pt x="325" y="166"/>
                  </a:moveTo>
                  <a:lnTo>
                    <a:pt x="325" y="172"/>
                  </a:lnTo>
                  <a:lnTo>
                    <a:pt x="328" y="172"/>
                  </a:lnTo>
                  <a:lnTo>
                    <a:pt x="331" y="177"/>
                  </a:lnTo>
                  <a:lnTo>
                    <a:pt x="335" y="180"/>
                  </a:lnTo>
                  <a:lnTo>
                    <a:pt x="335" y="182"/>
                  </a:lnTo>
                  <a:lnTo>
                    <a:pt x="337" y="185"/>
                  </a:lnTo>
                  <a:lnTo>
                    <a:pt x="338" y="190"/>
                  </a:lnTo>
                  <a:lnTo>
                    <a:pt x="340" y="196"/>
                  </a:lnTo>
                  <a:lnTo>
                    <a:pt x="337" y="197"/>
                  </a:lnTo>
                  <a:lnTo>
                    <a:pt x="334" y="189"/>
                  </a:lnTo>
                  <a:lnTo>
                    <a:pt x="331" y="185"/>
                  </a:lnTo>
                  <a:lnTo>
                    <a:pt x="327" y="180"/>
                  </a:lnTo>
                  <a:lnTo>
                    <a:pt x="325" y="180"/>
                  </a:lnTo>
                  <a:lnTo>
                    <a:pt x="324" y="177"/>
                  </a:lnTo>
                  <a:lnTo>
                    <a:pt x="318" y="163"/>
                  </a:lnTo>
                  <a:lnTo>
                    <a:pt x="318" y="160"/>
                  </a:lnTo>
                  <a:lnTo>
                    <a:pt x="315" y="155"/>
                  </a:lnTo>
                  <a:lnTo>
                    <a:pt x="314" y="147"/>
                  </a:lnTo>
                  <a:lnTo>
                    <a:pt x="314" y="142"/>
                  </a:lnTo>
                  <a:lnTo>
                    <a:pt x="318" y="143"/>
                  </a:lnTo>
                  <a:lnTo>
                    <a:pt x="321" y="147"/>
                  </a:lnTo>
                  <a:lnTo>
                    <a:pt x="324" y="155"/>
                  </a:lnTo>
                  <a:lnTo>
                    <a:pt x="324" y="157"/>
                  </a:lnTo>
                  <a:lnTo>
                    <a:pt x="323" y="160"/>
                  </a:lnTo>
                  <a:lnTo>
                    <a:pt x="324" y="163"/>
                  </a:lnTo>
                  <a:lnTo>
                    <a:pt x="325" y="166"/>
                  </a:lnTo>
                  <a:close/>
                  <a:moveTo>
                    <a:pt x="611" y="142"/>
                  </a:moveTo>
                  <a:lnTo>
                    <a:pt x="615" y="142"/>
                  </a:lnTo>
                  <a:lnTo>
                    <a:pt x="621" y="140"/>
                  </a:lnTo>
                  <a:lnTo>
                    <a:pt x="621" y="142"/>
                  </a:lnTo>
                  <a:lnTo>
                    <a:pt x="615" y="146"/>
                  </a:lnTo>
                  <a:lnTo>
                    <a:pt x="608" y="145"/>
                  </a:lnTo>
                  <a:lnTo>
                    <a:pt x="602" y="143"/>
                  </a:lnTo>
                  <a:lnTo>
                    <a:pt x="595" y="149"/>
                  </a:lnTo>
                  <a:lnTo>
                    <a:pt x="592" y="146"/>
                  </a:lnTo>
                  <a:lnTo>
                    <a:pt x="595" y="142"/>
                  </a:lnTo>
                  <a:lnTo>
                    <a:pt x="599" y="140"/>
                  </a:lnTo>
                  <a:lnTo>
                    <a:pt x="601" y="137"/>
                  </a:lnTo>
                  <a:lnTo>
                    <a:pt x="602" y="136"/>
                  </a:lnTo>
                  <a:lnTo>
                    <a:pt x="608" y="136"/>
                  </a:lnTo>
                  <a:lnTo>
                    <a:pt x="611" y="142"/>
                  </a:lnTo>
                  <a:close/>
                  <a:moveTo>
                    <a:pt x="414" y="55"/>
                  </a:moveTo>
                  <a:lnTo>
                    <a:pt x="415" y="55"/>
                  </a:lnTo>
                  <a:lnTo>
                    <a:pt x="415" y="53"/>
                  </a:lnTo>
                  <a:lnTo>
                    <a:pt x="417" y="52"/>
                  </a:lnTo>
                  <a:lnTo>
                    <a:pt x="417" y="50"/>
                  </a:lnTo>
                  <a:lnTo>
                    <a:pt x="421" y="52"/>
                  </a:lnTo>
                  <a:lnTo>
                    <a:pt x="427" y="56"/>
                  </a:lnTo>
                  <a:lnTo>
                    <a:pt x="428" y="59"/>
                  </a:lnTo>
                  <a:lnTo>
                    <a:pt x="431" y="65"/>
                  </a:lnTo>
                  <a:lnTo>
                    <a:pt x="432" y="73"/>
                  </a:lnTo>
                  <a:lnTo>
                    <a:pt x="431" y="79"/>
                  </a:lnTo>
                  <a:lnTo>
                    <a:pt x="430" y="85"/>
                  </a:lnTo>
                  <a:lnTo>
                    <a:pt x="428" y="87"/>
                  </a:lnTo>
                  <a:lnTo>
                    <a:pt x="430" y="93"/>
                  </a:lnTo>
                  <a:lnTo>
                    <a:pt x="430" y="97"/>
                  </a:lnTo>
                  <a:lnTo>
                    <a:pt x="428" y="100"/>
                  </a:lnTo>
                  <a:lnTo>
                    <a:pt x="431" y="96"/>
                  </a:lnTo>
                  <a:lnTo>
                    <a:pt x="438" y="82"/>
                  </a:lnTo>
                  <a:lnTo>
                    <a:pt x="439" y="82"/>
                  </a:lnTo>
                  <a:lnTo>
                    <a:pt x="439" y="82"/>
                  </a:lnTo>
                  <a:lnTo>
                    <a:pt x="442" y="85"/>
                  </a:lnTo>
                  <a:lnTo>
                    <a:pt x="445" y="92"/>
                  </a:lnTo>
                  <a:lnTo>
                    <a:pt x="447" y="95"/>
                  </a:lnTo>
                  <a:lnTo>
                    <a:pt x="447" y="97"/>
                  </a:lnTo>
                  <a:lnTo>
                    <a:pt x="447" y="102"/>
                  </a:lnTo>
                  <a:lnTo>
                    <a:pt x="447" y="105"/>
                  </a:lnTo>
                  <a:lnTo>
                    <a:pt x="447" y="107"/>
                  </a:lnTo>
                  <a:lnTo>
                    <a:pt x="445" y="110"/>
                  </a:lnTo>
                  <a:lnTo>
                    <a:pt x="444" y="112"/>
                  </a:lnTo>
                  <a:lnTo>
                    <a:pt x="447" y="112"/>
                  </a:lnTo>
                  <a:lnTo>
                    <a:pt x="448" y="115"/>
                  </a:lnTo>
                  <a:lnTo>
                    <a:pt x="449" y="119"/>
                  </a:lnTo>
                  <a:lnTo>
                    <a:pt x="451" y="120"/>
                  </a:lnTo>
                  <a:lnTo>
                    <a:pt x="458" y="119"/>
                  </a:lnTo>
                  <a:lnTo>
                    <a:pt x="462" y="122"/>
                  </a:lnTo>
                  <a:lnTo>
                    <a:pt x="464" y="129"/>
                  </a:lnTo>
                  <a:lnTo>
                    <a:pt x="468" y="127"/>
                  </a:lnTo>
                  <a:lnTo>
                    <a:pt x="468" y="123"/>
                  </a:lnTo>
                  <a:lnTo>
                    <a:pt x="468" y="122"/>
                  </a:lnTo>
                  <a:lnTo>
                    <a:pt x="472" y="123"/>
                  </a:lnTo>
                  <a:lnTo>
                    <a:pt x="475" y="125"/>
                  </a:lnTo>
                  <a:lnTo>
                    <a:pt x="478" y="129"/>
                  </a:lnTo>
                  <a:lnTo>
                    <a:pt x="474" y="136"/>
                  </a:lnTo>
                  <a:lnTo>
                    <a:pt x="477" y="142"/>
                  </a:lnTo>
                  <a:lnTo>
                    <a:pt x="484" y="146"/>
                  </a:lnTo>
                  <a:lnTo>
                    <a:pt x="487" y="150"/>
                  </a:lnTo>
                  <a:lnTo>
                    <a:pt x="488" y="153"/>
                  </a:lnTo>
                  <a:lnTo>
                    <a:pt x="488" y="156"/>
                  </a:lnTo>
                  <a:lnTo>
                    <a:pt x="485" y="159"/>
                  </a:lnTo>
                  <a:lnTo>
                    <a:pt x="484" y="160"/>
                  </a:lnTo>
                  <a:lnTo>
                    <a:pt x="477" y="162"/>
                  </a:lnTo>
                  <a:lnTo>
                    <a:pt x="472" y="163"/>
                  </a:lnTo>
                  <a:lnTo>
                    <a:pt x="462" y="165"/>
                  </a:lnTo>
                  <a:lnTo>
                    <a:pt x="461" y="166"/>
                  </a:lnTo>
                  <a:lnTo>
                    <a:pt x="459" y="167"/>
                  </a:lnTo>
                  <a:lnTo>
                    <a:pt x="459" y="170"/>
                  </a:lnTo>
                  <a:lnTo>
                    <a:pt x="455" y="176"/>
                  </a:lnTo>
                  <a:lnTo>
                    <a:pt x="452" y="185"/>
                  </a:lnTo>
                  <a:lnTo>
                    <a:pt x="451" y="189"/>
                  </a:lnTo>
                  <a:lnTo>
                    <a:pt x="449" y="196"/>
                  </a:lnTo>
                  <a:lnTo>
                    <a:pt x="449" y="200"/>
                  </a:lnTo>
                  <a:lnTo>
                    <a:pt x="449" y="205"/>
                  </a:lnTo>
                  <a:lnTo>
                    <a:pt x="449" y="207"/>
                  </a:lnTo>
                  <a:lnTo>
                    <a:pt x="447" y="212"/>
                  </a:lnTo>
                  <a:lnTo>
                    <a:pt x="445" y="212"/>
                  </a:lnTo>
                  <a:lnTo>
                    <a:pt x="442" y="210"/>
                  </a:lnTo>
                  <a:lnTo>
                    <a:pt x="441" y="213"/>
                  </a:lnTo>
                  <a:lnTo>
                    <a:pt x="441" y="215"/>
                  </a:lnTo>
                  <a:lnTo>
                    <a:pt x="441" y="219"/>
                  </a:lnTo>
                  <a:lnTo>
                    <a:pt x="439" y="230"/>
                  </a:lnTo>
                  <a:lnTo>
                    <a:pt x="439" y="239"/>
                  </a:lnTo>
                  <a:lnTo>
                    <a:pt x="438" y="246"/>
                  </a:lnTo>
                  <a:lnTo>
                    <a:pt x="437" y="250"/>
                  </a:lnTo>
                  <a:lnTo>
                    <a:pt x="435" y="252"/>
                  </a:lnTo>
                  <a:lnTo>
                    <a:pt x="431" y="253"/>
                  </a:lnTo>
                  <a:lnTo>
                    <a:pt x="428" y="260"/>
                  </a:lnTo>
                  <a:lnTo>
                    <a:pt x="425" y="272"/>
                  </a:lnTo>
                  <a:lnTo>
                    <a:pt x="424" y="277"/>
                  </a:lnTo>
                  <a:lnTo>
                    <a:pt x="420" y="284"/>
                  </a:lnTo>
                  <a:lnTo>
                    <a:pt x="421" y="287"/>
                  </a:lnTo>
                  <a:lnTo>
                    <a:pt x="421" y="290"/>
                  </a:lnTo>
                  <a:lnTo>
                    <a:pt x="420" y="296"/>
                  </a:lnTo>
                  <a:lnTo>
                    <a:pt x="417" y="302"/>
                  </a:lnTo>
                  <a:lnTo>
                    <a:pt x="417" y="304"/>
                  </a:lnTo>
                  <a:lnTo>
                    <a:pt x="418" y="309"/>
                  </a:lnTo>
                  <a:lnTo>
                    <a:pt x="418" y="313"/>
                  </a:lnTo>
                  <a:lnTo>
                    <a:pt x="417" y="316"/>
                  </a:lnTo>
                  <a:lnTo>
                    <a:pt x="412" y="317"/>
                  </a:lnTo>
                  <a:lnTo>
                    <a:pt x="410" y="316"/>
                  </a:lnTo>
                  <a:lnTo>
                    <a:pt x="407" y="313"/>
                  </a:lnTo>
                  <a:lnTo>
                    <a:pt x="405" y="309"/>
                  </a:lnTo>
                  <a:lnTo>
                    <a:pt x="404" y="307"/>
                  </a:lnTo>
                  <a:lnTo>
                    <a:pt x="401" y="306"/>
                  </a:lnTo>
                  <a:lnTo>
                    <a:pt x="394" y="296"/>
                  </a:lnTo>
                  <a:lnTo>
                    <a:pt x="388" y="283"/>
                  </a:lnTo>
                  <a:lnTo>
                    <a:pt x="381" y="277"/>
                  </a:lnTo>
                  <a:lnTo>
                    <a:pt x="377" y="274"/>
                  </a:lnTo>
                  <a:lnTo>
                    <a:pt x="375" y="272"/>
                  </a:lnTo>
                  <a:lnTo>
                    <a:pt x="374" y="269"/>
                  </a:lnTo>
                  <a:lnTo>
                    <a:pt x="372" y="264"/>
                  </a:lnTo>
                  <a:lnTo>
                    <a:pt x="371" y="259"/>
                  </a:lnTo>
                  <a:lnTo>
                    <a:pt x="370" y="256"/>
                  </a:lnTo>
                  <a:lnTo>
                    <a:pt x="370" y="252"/>
                  </a:lnTo>
                  <a:lnTo>
                    <a:pt x="370" y="249"/>
                  </a:lnTo>
                  <a:lnTo>
                    <a:pt x="371" y="247"/>
                  </a:lnTo>
                  <a:lnTo>
                    <a:pt x="375" y="246"/>
                  </a:lnTo>
                  <a:lnTo>
                    <a:pt x="377" y="247"/>
                  </a:lnTo>
                  <a:lnTo>
                    <a:pt x="380" y="249"/>
                  </a:lnTo>
                  <a:lnTo>
                    <a:pt x="381" y="250"/>
                  </a:lnTo>
                  <a:lnTo>
                    <a:pt x="384" y="237"/>
                  </a:lnTo>
                  <a:lnTo>
                    <a:pt x="405" y="232"/>
                  </a:lnTo>
                  <a:lnTo>
                    <a:pt x="411" y="230"/>
                  </a:lnTo>
                  <a:lnTo>
                    <a:pt x="418" y="230"/>
                  </a:lnTo>
                  <a:lnTo>
                    <a:pt x="417" y="226"/>
                  </a:lnTo>
                  <a:lnTo>
                    <a:pt x="417" y="222"/>
                  </a:lnTo>
                  <a:lnTo>
                    <a:pt x="415" y="222"/>
                  </a:lnTo>
                  <a:lnTo>
                    <a:pt x="410" y="223"/>
                  </a:lnTo>
                  <a:lnTo>
                    <a:pt x="402" y="226"/>
                  </a:lnTo>
                  <a:lnTo>
                    <a:pt x="398" y="226"/>
                  </a:lnTo>
                  <a:lnTo>
                    <a:pt x="395" y="225"/>
                  </a:lnTo>
                  <a:lnTo>
                    <a:pt x="391" y="226"/>
                  </a:lnTo>
                  <a:lnTo>
                    <a:pt x="387" y="229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1" y="232"/>
                  </a:lnTo>
                  <a:lnTo>
                    <a:pt x="370" y="230"/>
                  </a:lnTo>
                  <a:lnTo>
                    <a:pt x="367" y="226"/>
                  </a:lnTo>
                  <a:lnTo>
                    <a:pt x="365" y="223"/>
                  </a:lnTo>
                  <a:lnTo>
                    <a:pt x="365" y="220"/>
                  </a:lnTo>
                  <a:lnTo>
                    <a:pt x="364" y="212"/>
                  </a:lnTo>
                  <a:lnTo>
                    <a:pt x="365" y="210"/>
                  </a:lnTo>
                  <a:lnTo>
                    <a:pt x="365" y="209"/>
                  </a:lnTo>
                  <a:lnTo>
                    <a:pt x="367" y="207"/>
                  </a:lnTo>
                  <a:lnTo>
                    <a:pt x="368" y="207"/>
                  </a:lnTo>
                  <a:lnTo>
                    <a:pt x="371" y="209"/>
                  </a:lnTo>
                  <a:lnTo>
                    <a:pt x="374" y="215"/>
                  </a:lnTo>
                  <a:lnTo>
                    <a:pt x="374" y="209"/>
                  </a:lnTo>
                  <a:lnTo>
                    <a:pt x="385" y="203"/>
                  </a:lnTo>
                  <a:lnTo>
                    <a:pt x="391" y="197"/>
                  </a:lnTo>
                  <a:lnTo>
                    <a:pt x="394" y="196"/>
                  </a:lnTo>
                  <a:lnTo>
                    <a:pt x="397" y="196"/>
                  </a:lnTo>
                  <a:lnTo>
                    <a:pt x="397" y="193"/>
                  </a:lnTo>
                  <a:lnTo>
                    <a:pt x="397" y="192"/>
                  </a:lnTo>
                  <a:lnTo>
                    <a:pt x="398" y="189"/>
                  </a:lnTo>
                  <a:lnTo>
                    <a:pt x="400" y="187"/>
                  </a:lnTo>
                  <a:lnTo>
                    <a:pt x="404" y="187"/>
                  </a:lnTo>
                  <a:lnTo>
                    <a:pt x="414" y="187"/>
                  </a:lnTo>
                  <a:lnTo>
                    <a:pt x="418" y="186"/>
                  </a:lnTo>
                  <a:lnTo>
                    <a:pt x="421" y="182"/>
                  </a:lnTo>
                  <a:lnTo>
                    <a:pt x="418" y="183"/>
                  </a:lnTo>
                  <a:lnTo>
                    <a:pt x="415" y="183"/>
                  </a:lnTo>
                  <a:lnTo>
                    <a:pt x="414" y="183"/>
                  </a:lnTo>
                  <a:lnTo>
                    <a:pt x="410" y="179"/>
                  </a:lnTo>
                  <a:lnTo>
                    <a:pt x="408" y="175"/>
                  </a:lnTo>
                  <a:lnTo>
                    <a:pt x="412" y="166"/>
                  </a:lnTo>
                  <a:lnTo>
                    <a:pt x="414" y="162"/>
                  </a:lnTo>
                  <a:lnTo>
                    <a:pt x="410" y="162"/>
                  </a:lnTo>
                  <a:lnTo>
                    <a:pt x="408" y="163"/>
                  </a:lnTo>
                  <a:lnTo>
                    <a:pt x="404" y="172"/>
                  </a:lnTo>
                  <a:lnTo>
                    <a:pt x="401" y="176"/>
                  </a:lnTo>
                  <a:lnTo>
                    <a:pt x="397" y="177"/>
                  </a:lnTo>
                  <a:lnTo>
                    <a:pt x="392" y="177"/>
                  </a:lnTo>
                  <a:lnTo>
                    <a:pt x="391" y="176"/>
                  </a:lnTo>
                  <a:lnTo>
                    <a:pt x="390" y="170"/>
                  </a:lnTo>
                  <a:lnTo>
                    <a:pt x="390" y="167"/>
                  </a:lnTo>
                  <a:lnTo>
                    <a:pt x="390" y="166"/>
                  </a:lnTo>
                  <a:lnTo>
                    <a:pt x="391" y="162"/>
                  </a:lnTo>
                  <a:lnTo>
                    <a:pt x="392" y="157"/>
                  </a:lnTo>
                  <a:lnTo>
                    <a:pt x="392" y="153"/>
                  </a:lnTo>
                  <a:lnTo>
                    <a:pt x="391" y="152"/>
                  </a:lnTo>
                  <a:lnTo>
                    <a:pt x="390" y="156"/>
                  </a:lnTo>
                  <a:lnTo>
                    <a:pt x="388" y="162"/>
                  </a:lnTo>
                  <a:lnTo>
                    <a:pt x="385" y="165"/>
                  </a:lnTo>
                  <a:lnTo>
                    <a:pt x="384" y="163"/>
                  </a:lnTo>
                  <a:lnTo>
                    <a:pt x="382" y="162"/>
                  </a:lnTo>
                  <a:lnTo>
                    <a:pt x="382" y="159"/>
                  </a:lnTo>
                  <a:lnTo>
                    <a:pt x="381" y="157"/>
                  </a:lnTo>
                  <a:lnTo>
                    <a:pt x="381" y="157"/>
                  </a:lnTo>
                  <a:lnTo>
                    <a:pt x="378" y="159"/>
                  </a:lnTo>
                  <a:lnTo>
                    <a:pt x="377" y="160"/>
                  </a:lnTo>
                  <a:lnTo>
                    <a:pt x="378" y="165"/>
                  </a:lnTo>
                  <a:lnTo>
                    <a:pt x="378" y="169"/>
                  </a:lnTo>
                  <a:lnTo>
                    <a:pt x="377" y="172"/>
                  </a:lnTo>
                  <a:lnTo>
                    <a:pt x="377" y="176"/>
                  </a:lnTo>
                  <a:lnTo>
                    <a:pt x="378" y="177"/>
                  </a:lnTo>
                  <a:lnTo>
                    <a:pt x="380" y="182"/>
                  </a:lnTo>
                  <a:lnTo>
                    <a:pt x="378" y="183"/>
                  </a:lnTo>
                  <a:lnTo>
                    <a:pt x="375" y="186"/>
                  </a:lnTo>
                  <a:lnTo>
                    <a:pt x="374" y="190"/>
                  </a:lnTo>
                  <a:lnTo>
                    <a:pt x="371" y="193"/>
                  </a:lnTo>
                  <a:lnTo>
                    <a:pt x="368" y="193"/>
                  </a:lnTo>
                  <a:lnTo>
                    <a:pt x="364" y="196"/>
                  </a:lnTo>
                  <a:lnTo>
                    <a:pt x="355" y="196"/>
                  </a:lnTo>
                  <a:lnTo>
                    <a:pt x="352" y="190"/>
                  </a:lnTo>
                  <a:lnTo>
                    <a:pt x="351" y="189"/>
                  </a:lnTo>
                  <a:lnTo>
                    <a:pt x="351" y="187"/>
                  </a:lnTo>
                  <a:lnTo>
                    <a:pt x="348" y="185"/>
                  </a:lnTo>
                  <a:lnTo>
                    <a:pt x="344" y="176"/>
                  </a:lnTo>
                  <a:lnTo>
                    <a:pt x="341" y="167"/>
                  </a:lnTo>
                  <a:lnTo>
                    <a:pt x="340" y="166"/>
                  </a:lnTo>
                  <a:lnTo>
                    <a:pt x="337" y="163"/>
                  </a:lnTo>
                  <a:lnTo>
                    <a:pt x="335" y="160"/>
                  </a:lnTo>
                  <a:lnTo>
                    <a:pt x="334" y="157"/>
                  </a:lnTo>
                  <a:lnTo>
                    <a:pt x="334" y="153"/>
                  </a:lnTo>
                  <a:lnTo>
                    <a:pt x="334" y="150"/>
                  </a:lnTo>
                  <a:lnTo>
                    <a:pt x="335" y="147"/>
                  </a:lnTo>
                  <a:lnTo>
                    <a:pt x="331" y="143"/>
                  </a:lnTo>
                  <a:lnTo>
                    <a:pt x="327" y="137"/>
                  </a:lnTo>
                  <a:lnTo>
                    <a:pt x="328" y="136"/>
                  </a:lnTo>
                  <a:lnTo>
                    <a:pt x="330" y="136"/>
                  </a:lnTo>
                  <a:lnTo>
                    <a:pt x="342" y="142"/>
                  </a:lnTo>
                  <a:lnTo>
                    <a:pt x="342" y="142"/>
                  </a:lnTo>
                  <a:lnTo>
                    <a:pt x="344" y="137"/>
                  </a:lnTo>
                  <a:lnTo>
                    <a:pt x="344" y="137"/>
                  </a:lnTo>
                  <a:lnTo>
                    <a:pt x="341" y="136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7" y="132"/>
                  </a:lnTo>
                  <a:lnTo>
                    <a:pt x="337" y="127"/>
                  </a:lnTo>
                  <a:lnTo>
                    <a:pt x="335" y="125"/>
                  </a:lnTo>
                  <a:lnTo>
                    <a:pt x="335" y="122"/>
                  </a:lnTo>
                  <a:lnTo>
                    <a:pt x="338" y="116"/>
                  </a:lnTo>
                  <a:lnTo>
                    <a:pt x="338" y="112"/>
                  </a:lnTo>
                  <a:lnTo>
                    <a:pt x="337" y="109"/>
                  </a:lnTo>
                  <a:lnTo>
                    <a:pt x="333" y="109"/>
                  </a:lnTo>
                  <a:lnTo>
                    <a:pt x="331" y="110"/>
                  </a:lnTo>
                  <a:lnTo>
                    <a:pt x="331" y="116"/>
                  </a:lnTo>
                  <a:lnTo>
                    <a:pt x="330" y="122"/>
                  </a:lnTo>
                  <a:lnTo>
                    <a:pt x="327" y="125"/>
                  </a:lnTo>
                  <a:lnTo>
                    <a:pt x="325" y="123"/>
                  </a:lnTo>
                  <a:lnTo>
                    <a:pt x="323" y="115"/>
                  </a:lnTo>
                  <a:lnTo>
                    <a:pt x="321" y="107"/>
                  </a:lnTo>
                  <a:lnTo>
                    <a:pt x="320" y="105"/>
                  </a:lnTo>
                  <a:lnTo>
                    <a:pt x="320" y="99"/>
                  </a:lnTo>
                  <a:lnTo>
                    <a:pt x="318" y="95"/>
                  </a:lnTo>
                  <a:lnTo>
                    <a:pt x="317" y="89"/>
                  </a:lnTo>
                  <a:lnTo>
                    <a:pt x="317" y="86"/>
                  </a:lnTo>
                  <a:lnTo>
                    <a:pt x="317" y="83"/>
                  </a:lnTo>
                  <a:lnTo>
                    <a:pt x="318" y="79"/>
                  </a:lnTo>
                  <a:lnTo>
                    <a:pt x="318" y="75"/>
                  </a:lnTo>
                  <a:lnTo>
                    <a:pt x="317" y="70"/>
                  </a:lnTo>
                  <a:lnTo>
                    <a:pt x="317" y="67"/>
                  </a:lnTo>
                  <a:lnTo>
                    <a:pt x="317" y="65"/>
                  </a:lnTo>
                  <a:lnTo>
                    <a:pt x="318" y="65"/>
                  </a:lnTo>
                  <a:lnTo>
                    <a:pt x="320" y="65"/>
                  </a:lnTo>
                  <a:lnTo>
                    <a:pt x="323" y="67"/>
                  </a:lnTo>
                  <a:lnTo>
                    <a:pt x="324" y="72"/>
                  </a:lnTo>
                  <a:lnTo>
                    <a:pt x="324" y="72"/>
                  </a:lnTo>
                  <a:lnTo>
                    <a:pt x="325" y="66"/>
                  </a:lnTo>
                  <a:lnTo>
                    <a:pt x="327" y="65"/>
                  </a:lnTo>
                  <a:lnTo>
                    <a:pt x="333" y="62"/>
                  </a:lnTo>
                  <a:lnTo>
                    <a:pt x="340" y="70"/>
                  </a:lnTo>
                  <a:lnTo>
                    <a:pt x="341" y="72"/>
                  </a:lnTo>
                  <a:lnTo>
                    <a:pt x="342" y="72"/>
                  </a:lnTo>
                  <a:lnTo>
                    <a:pt x="341" y="69"/>
                  </a:lnTo>
                  <a:lnTo>
                    <a:pt x="341" y="65"/>
                  </a:lnTo>
                  <a:lnTo>
                    <a:pt x="342" y="63"/>
                  </a:lnTo>
                  <a:lnTo>
                    <a:pt x="347" y="66"/>
                  </a:lnTo>
                  <a:lnTo>
                    <a:pt x="350" y="66"/>
                  </a:lnTo>
                  <a:lnTo>
                    <a:pt x="355" y="62"/>
                  </a:lnTo>
                  <a:lnTo>
                    <a:pt x="365" y="59"/>
                  </a:lnTo>
                  <a:lnTo>
                    <a:pt x="368" y="63"/>
                  </a:lnTo>
                  <a:lnTo>
                    <a:pt x="368" y="65"/>
                  </a:lnTo>
                  <a:lnTo>
                    <a:pt x="368" y="67"/>
                  </a:lnTo>
                  <a:lnTo>
                    <a:pt x="368" y="69"/>
                  </a:lnTo>
                  <a:lnTo>
                    <a:pt x="365" y="72"/>
                  </a:lnTo>
                  <a:lnTo>
                    <a:pt x="354" y="75"/>
                  </a:lnTo>
                  <a:lnTo>
                    <a:pt x="347" y="85"/>
                  </a:lnTo>
                  <a:lnTo>
                    <a:pt x="357" y="83"/>
                  </a:lnTo>
                  <a:lnTo>
                    <a:pt x="358" y="85"/>
                  </a:lnTo>
                  <a:lnTo>
                    <a:pt x="360" y="93"/>
                  </a:lnTo>
                  <a:lnTo>
                    <a:pt x="361" y="93"/>
                  </a:lnTo>
                  <a:lnTo>
                    <a:pt x="364" y="95"/>
                  </a:lnTo>
                  <a:lnTo>
                    <a:pt x="365" y="97"/>
                  </a:lnTo>
                  <a:lnTo>
                    <a:pt x="367" y="102"/>
                  </a:lnTo>
                  <a:lnTo>
                    <a:pt x="370" y="105"/>
                  </a:lnTo>
                  <a:lnTo>
                    <a:pt x="370" y="105"/>
                  </a:lnTo>
                  <a:lnTo>
                    <a:pt x="371" y="102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70" y="87"/>
                  </a:lnTo>
                  <a:lnTo>
                    <a:pt x="370" y="83"/>
                  </a:lnTo>
                  <a:lnTo>
                    <a:pt x="372" y="80"/>
                  </a:lnTo>
                  <a:lnTo>
                    <a:pt x="375" y="70"/>
                  </a:lnTo>
                  <a:lnTo>
                    <a:pt x="380" y="65"/>
                  </a:lnTo>
                  <a:lnTo>
                    <a:pt x="382" y="67"/>
                  </a:lnTo>
                  <a:lnTo>
                    <a:pt x="387" y="76"/>
                  </a:lnTo>
                  <a:lnTo>
                    <a:pt x="390" y="87"/>
                  </a:lnTo>
                  <a:lnTo>
                    <a:pt x="392" y="99"/>
                  </a:lnTo>
                  <a:lnTo>
                    <a:pt x="397" y="115"/>
                  </a:lnTo>
                  <a:lnTo>
                    <a:pt x="398" y="119"/>
                  </a:lnTo>
                  <a:lnTo>
                    <a:pt x="400" y="120"/>
                  </a:lnTo>
                  <a:lnTo>
                    <a:pt x="407" y="136"/>
                  </a:lnTo>
                  <a:lnTo>
                    <a:pt x="407" y="136"/>
                  </a:lnTo>
                  <a:lnTo>
                    <a:pt x="405" y="125"/>
                  </a:lnTo>
                  <a:lnTo>
                    <a:pt x="402" y="105"/>
                  </a:lnTo>
                  <a:lnTo>
                    <a:pt x="400" y="89"/>
                  </a:lnTo>
                  <a:lnTo>
                    <a:pt x="400" y="83"/>
                  </a:lnTo>
                  <a:lnTo>
                    <a:pt x="398" y="75"/>
                  </a:lnTo>
                  <a:lnTo>
                    <a:pt x="398" y="72"/>
                  </a:lnTo>
                  <a:lnTo>
                    <a:pt x="400" y="70"/>
                  </a:lnTo>
                  <a:lnTo>
                    <a:pt x="401" y="62"/>
                  </a:lnTo>
                  <a:lnTo>
                    <a:pt x="404" y="56"/>
                  </a:lnTo>
                  <a:lnTo>
                    <a:pt x="402" y="50"/>
                  </a:lnTo>
                  <a:lnTo>
                    <a:pt x="402" y="45"/>
                  </a:lnTo>
                  <a:lnTo>
                    <a:pt x="405" y="42"/>
                  </a:lnTo>
                  <a:lnTo>
                    <a:pt x="408" y="42"/>
                  </a:lnTo>
                  <a:lnTo>
                    <a:pt x="410" y="45"/>
                  </a:lnTo>
                  <a:lnTo>
                    <a:pt x="414" y="55"/>
                  </a:lnTo>
                  <a:close/>
                  <a:moveTo>
                    <a:pt x="666" y="35"/>
                  </a:moveTo>
                  <a:lnTo>
                    <a:pt x="651" y="39"/>
                  </a:lnTo>
                  <a:lnTo>
                    <a:pt x="649" y="36"/>
                  </a:lnTo>
                  <a:lnTo>
                    <a:pt x="673" y="26"/>
                  </a:lnTo>
                  <a:lnTo>
                    <a:pt x="675" y="25"/>
                  </a:lnTo>
                  <a:lnTo>
                    <a:pt x="681" y="23"/>
                  </a:lnTo>
                  <a:lnTo>
                    <a:pt x="683" y="26"/>
                  </a:lnTo>
                  <a:lnTo>
                    <a:pt x="682" y="28"/>
                  </a:lnTo>
                  <a:lnTo>
                    <a:pt x="666" y="35"/>
                  </a:lnTo>
                  <a:close/>
                  <a:moveTo>
                    <a:pt x="445" y="18"/>
                  </a:moveTo>
                  <a:lnTo>
                    <a:pt x="442" y="23"/>
                  </a:lnTo>
                  <a:lnTo>
                    <a:pt x="437" y="19"/>
                  </a:lnTo>
                  <a:lnTo>
                    <a:pt x="437" y="15"/>
                  </a:lnTo>
                  <a:lnTo>
                    <a:pt x="438" y="12"/>
                  </a:lnTo>
                  <a:lnTo>
                    <a:pt x="442" y="13"/>
                  </a:lnTo>
                  <a:lnTo>
                    <a:pt x="445" y="18"/>
                  </a:lnTo>
                  <a:close/>
                  <a:moveTo>
                    <a:pt x="479" y="23"/>
                  </a:moveTo>
                  <a:lnTo>
                    <a:pt x="482" y="23"/>
                  </a:lnTo>
                  <a:lnTo>
                    <a:pt x="491" y="23"/>
                  </a:lnTo>
                  <a:lnTo>
                    <a:pt x="492" y="26"/>
                  </a:lnTo>
                  <a:lnTo>
                    <a:pt x="492" y="32"/>
                  </a:lnTo>
                  <a:lnTo>
                    <a:pt x="494" y="33"/>
                  </a:lnTo>
                  <a:lnTo>
                    <a:pt x="497" y="33"/>
                  </a:lnTo>
                  <a:lnTo>
                    <a:pt x="501" y="40"/>
                  </a:lnTo>
                  <a:lnTo>
                    <a:pt x="502" y="42"/>
                  </a:lnTo>
                  <a:lnTo>
                    <a:pt x="504" y="37"/>
                  </a:lnTo>
                  <a:lnTo>
                    <a:pt x="505" y="29"/>
                  </a:lnTo>
                  <a:lnTo>
                    <a:pt x="505" y="18"/>
                  </a:lnTo>
                  <a:lnTo>
                    <a:pt x="504" y="12"/>
                  </a:lnTo>
                  <a:lnTo>
                    <a:pt x="505" y="8"/>
                  </a:lnTo>
                  <a:lnTo>
                    <a:pt x="507" y="6"/>
                  </a:lnTo>
                  <a:lnTo>
                    <a:pt x="508" y="8"/>
                  </a:lnTo>
                  <a:lnTo>
                    <a:pt x="511" y="5"/>
                  </a:lnTo>
                  <a:lnTo>
                    <a:pt x="512" y="2"/>
                  </a:lnTo>
                  <a:lnTo>
                    <a:pt x="514" y="2"/>
                  </a:lnTo>
                  <a:lnTo>
                    <a:pt x="518" y="3"/>
                  </a:lnTo>
                  <a:lnTo>
                    <a:pt x="519" y="6"/>
                  </a:lnTo>
                  <a:lnTo>
                    <a:pt x="518" y="10"/>
                  </a:lnTo>
                  <a:lnTo>
                    <a:pt x="518" y="16"/>
                  </a:lnTo>
                  <a:lnTo>
                    <a:pt x="515" y="29"/>
                  </a:lnTo>
                  <a:lnTo>
                    <a:pt x="519" y="29"/>
                  </a:lnTo>
                  <a:lnTo>
                    <a:pt x="525" y="26"/>
                  </a:lnTo>
                  <a:lnTo>
                    <a:pt x="527" y="23"/>
                  </a:lnTo>
                  <a:lnTo>
                    <a:pt x="529" y="18"/>
                  </a:lnTo>
                  <a:lnTo>
                    <a:pt x="532" y="19"/>
                  </a:lnTo>
                  <a:lnTo>
                    <a:pt x="534" y="18"/>
                  </a:lnTo>
                  <a:lnTo>
                    <a:pt x="534" y="15"/>
                  </a:lnTo>
                  <a:lnTo>
                    <a:pt x="535" y="12"/>
                  </a:lnTo>
                  <a:lnTo>
                    <a:pt x="536" y="13"/>
                  </a:lnTo>
                  <a:lnTo>
                    <a:pt x="538" y="19"/>
                  </a:lnTo>
                  <a:lnTo>
                    <a:pt x="539" y="19"/>
                  </a:lnTo>
                  <a:lnTo>
                    <a:pt x="541" y="18"/>
                  </a:lnTo>
                  <a:lnTo>
                    <a:pt x="542" y="18"/>
                  </a:lnTo>
                  <a:lnTo>
                    <a:pt x="544" y="20"/>
                  </a:lnTo>
                  <a:lnTo>
                    <a:pt x="554" y="25"/>
                  </a:lnTo>
                  <a:lnTo>
                    <a:pt x="556" y="26"/>
                  </a:lnTo>
                  <a:lnTo>
                    <a:pt x="558" y="29"/>
                  </a:lnTo>
                  <a:lnTo>
                    <a:pt x="559" y="30"/>
                  </a:lnTo>
                  <a:lnTo>
                    <a:pt x="569" y="29"/>
                  </a:lnTo>
                  <a:lnTo>
                    <a:pt x="575" y="32"/>
                  </a:lnTo>
                  <a:lnTo>
                    <a:pt x="578" y="35"/>
                  </a:lnTo>
                  <a:lnTo>
                    <a:pt x="581" y="40"/>
                  </a:lnTo>
                  <a:lnTo>
                    <a:pt x="581" y="55"/>
                  </a:lnTo>
                  <a:lnTo>
                    <a:pt x="579" y="59"/>
                  </a:lnTo>
                  <a:lnTo>
                    <a:pt x="565" y="75"/>
                  </a:lnTo>
                  <a:lnTo>
                    <a:pt x="562" y="80"/>
                  </a:lnTo>
                  <a:lnTo>
                    <a:pt x="561" y="86"/>
                  </a:lnTo>
                  <a:lnTo>
                    <a:pt x="558" y="96"/>
                  </a:lnTo>
                  <a:lnTo>
                    <a:pt x="556" y="99"/>
                  </a:lnTo>
                  <a:lnTo>
                    <a:pt x="549" y="105"/>
                  </a:lnTo>
                  <a:lnTo>
                    <a:pt x="548" y="105"/>
                  </a:lnTo>
                  <a:lnTo>
                    <a:pt x="544" y="103"/>
                  </a:lnTo>
                  <a:lnTo>
                    <a:pt x="542" y="103"/>
                  </a:lnTo>
                  <a:lnTo>
                    <a:pt x="536" y="109"/>
                  </a:lnTo>
                  <a:lnTo>
                    <a:pt x="534" y="112"/>
                  </a:lnTo>
                  <a:lnTo>
                    <a:pt x="532" y="116"/>
                  </a:lnTo>
                  <a:lnTo>
                    <a:pt x="529" y="117"/>
                  </a:lnTo>
                  <a:lnTo>
                    <a:pt x="527" y="116"/>
                  </a:lnTo>
                  <a:lnTo>
                    <a:pt x="512" y="115"/>
                  </a:lnTo>
                  <a:lnTo>
                    <a:pt x="511" y="112"/>
                  </a:lnTo>
                  <a:lnTo>
                    <a:pt x="509" y="106"/>
                  </a:lnTo>
                  <a:lnTo>
                    <a:pt x="511" y="99"/>
                  </a:lnTo>
                  <a:lnTo>
                    <a:pt x="497" y="102"/>
                  </a:lnTo>
                  <a:lnTo>
                    <a:pt x="479" y="100"/>
                  </a:lnTo>
                  <a:lnTo>
                    <a:pt x="478" y="99"/>
                  </a:lnTo>
                  <a:lnTo>
                    <a:pt x="478" y="96"/>
                  </a:lnTo>
                  <a:lnTo>
                    <a:pt x="472" y="95"/>
                  </a:lnTo>
                  <a:lnTo>
                    <a:pt x="468" y="92"/>
                  </a:lnTo>
                  <a:lnTo>
                    <a:pt x="464" y="87"/>
                  </a:lnTo>
                  <a:lnTo>
                    <a:pt x="461" y="83"/>
                  </a:lnTo>
                  <a:lnTo>
                    <a:pt x="461" y="80"/>
                  </a:lnTo>
                  <a:lnTo>
                    <a:pt x="462" y="79"/>
                  </a:lnTo>
                  <a:lnTo>
                    <a:pt x="465" y="79"/>
                  </a:lnTo>
                  <a:lnTo>
                    <a:pt x="468" y="79"/>
                  </a:lnTo>
                  <a:lnTo>
                    <a:pt x="474" y="79"/>
                  </a:lnTo>
                  <a:lnTo>
                    <a:pt x="475" y="75"/>
                  </a:lnTo>
                  <a:lnTo>
                    <a:pt x="477" y="73"/>
                  </a:lnTo>
                  <a:lnTo>
                    <a:pt x="478" y="69"/>
                  </a:lnTo>
                  <a:lnTo>
                    <a:pt x="472" y="66"/>
                  </a:lnTo>
                  <a:lnTo>
                    <a:pt x="468" y="66"/>
                  </a:lnTo>
                  <a:lnTo>
                    <a:pt x="464" y="69"/>
                  </a:lnTo>
                  <a:lnTo>
                    <a:pt x="459" y="70"/>
                  </a:lnTo>
                  <a:lnTo>
                    <a:pt x="457" y="70"/>
                  </a:lnTo>
                  <a:lnTo>
                    <a:pt x="448" y="70"/>
                  </a:lnTo>
                  <a:lnTo>
                    <a:pt x="445" y="67"/>
                  </a:lnTo>
                  <a:lnTo>
                    <a:pt x="441" y="62"/>
                  </a:lnTo>
                  <a:lnTo>
                    <a:pt x="439" y="59"/>
                  </a:lnTo>
                  <a:lnTo>
                    <a:pt x="438" y="56"/>
                  </a:lnTo>
                  <a:lnTo>
                    <a:pt x="438" y="53"/>
                  </a:lnTo>
                  <a:lnTo>
                    <a:pt x="444" y="49"/>
                  </a:lnTo>
                  <a:lnTo>
                    <a:pt x="445" y="46"/>
                  </a:lnTo>
                  <a:lnTo>
                    <a:pt x="447" y="43"/>
                  </a:lnTo>
                  <a:lnTo>
                    <a:pt x="439" y="40"/>
                  </a:lnTo>
                  <a:lnTo>
                    <a:pt x="435" y="37"/>
                  </a:lnTo>
                  <a:lnTo>
                    <a:pt x="432" y="33"/>
                  </a:lnTo>
                  <a:lnTo>
                    <a:pt x="435" y="30"/>
                  </a:lnTo>
                  <a:lnTo>
                    <a:pt x="447" y="28"/>
                  </a:lnTo>
                  <a:lnTo>
                    <a:pt x="449" y="30"/>
                  </a:lnTo>
                  <a:lnTo>
                    <a:pt x="452" y="33"/>
                  </a:lnTo>
                  <a:lnTo>
                    <a:pt x="455" y="35"/>
                  </a:lnTo>
                  <a:lnTo>
                    <a:pt x="458" y="30"/>
                  </a:lnTo>
                  <a:lnTo>
                    <a:pt x="455" y="29"/>
                  </a:lnTo>
                  <a:lnTo>
                    <a:pt x="452" y="22"/>
                  </a:lnTo>
                  <a:lnTo>
                    <a:pt x="452" y="18"/>
                  </a:lnTo>
                  <a:lnTo>
                    <a:pt x="452" y="15"/>
                  </a:lnTo>
                  <a:lnTo>
                    <a:pt x="454" y="15"/>
                  </a:lnTo>
                  <a:lnTo>
                    <a:pt x="455" y="16"/>
                  </a:lnTo>
                  <a:lnTo>
                    <a:pt x="458" y="23"/>
                  </a:lnTo>
                  <a:lnTo>
                    <a:pt x="462" y="25"/>
                  </a:lnTo>
                  <a:lnTo>
                    <a:pt x="462" y="19"/>
                  </a:lnTo>
                  <a:lnTo>
                    <a:pt x="462" y="15"/>
                  </a:lnTo>
                  <a:lnTo>
                    <a:pt x="462" y="13"/>
                  </a:lnTo>
                  <a:lnTo>
                    <a:pt x="461" y="8"/>
                  </a:lnTo>
                  <a:lnTo>
                    <a:pt x="459" y="2"/>
                  </a:lnTo>
                  <a:lnTo>
                    <a:pt x="461" y="0"/>
                  </a:lnTo>
                  <a:lnTo>
                    <a:pt x="464" y="2"/>
                  </a:lnTo>
                  <a:lnTo>
                    <a:pt x="467" y="6"/>
                  </a:lnTo>
                  <a:lnTo>
                    <a:pt x="471" y="8"/>
                  </a:lnTo>
                  <a:lnTo>
                    <a:pt x="474" y="10"/>
                  </a:lnTo>
                  <a:lnTo>
                    <a:pt x="477" y="18"/>
                  </a:lnTo>
                  <a:lnTo>
                    <a:pt x="479" y="2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9" name="Google Shape;309;p3"/>
            <p:cNvSpPr/>
            <p:nvPr/>
          </p:nvSpPr>
          <p:spPr>
            <a:xfrm>
              <a:off x="4140781" y="3799767"/>
              <a:ext cx="64519" cy="27623"/>
            </a:xfrm>
            <a:custGeom>
              <a:rect b="b" l="l" r="r" t="t"/>
              <a:pathLst>
                <a:path extrusionOk="0" h="44" w="92">
                  <a:moveTo>
                    <a:pt x="92" y="13"/>
                  </a:moveTo>
                  <a:lnTo>
                    <a:pt x="92" y="14"/>
                  </a:lnTo>
                  <a:lnTo>
                    <a:pt x="90" y="14"/>
                  </a:lnTo>
                  <a:lnTo>
                    <a:pt x="90" y="15"/>
                  </a:lnTo>
                  <a:lnTo>
                    <a:pt x="89" y="17"/>
                  </a:lnTo>
                  <a:lnTo>
                    <a:pt x="89" y="20"/>
                  </a:lnTo>
                  <a:lnTo>
                    <a:pt x="87" y="21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7" y="30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3" y="25"/>
                  </a:lnTo>
                  <a:lnTo>
                    <a:pt x="70" y="25"/>
                  </a:lnTo>
                  <a:lnTo>
                    <a:pt x="67" y="27"/>
                  </a:lnTo>
                  <a:lnTo>
                    <a:pt x="66" y="25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6" y="31"/>
                  </a:lnTo>
                  <a:lnTo>
                    <a:pt x="53" y="33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7" y="34"/>
                  </a:lnTo>
                  <a:lnTo>
                    <a:pt x="46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4"/>
                  </a:lnTo>
                  <a:lnTo>
                    <a:pt x="42" y="35"/>
                  </a:lnTo>
                  <a:lnTo>
                    <a:pt x="39" y="37"/>
                  </a:lnTo>
                  <a:lnTo>
                    <a:pt x="33" y="37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2" y="41"/>
                  </a:lnTo>
                  <a:lnTo>
                    <a:pt x="30" y="43"/>
                  </a:lnTo>
                  <a:lnTo>
                    <a:pt x="30" y="44"/>
                  </a:lnTo>
                  <a:lnTo>
                    <a:pt x="26" y="44"/>
                  </a:lnTo>
                  <a:lnTo>
                    <a:pt x="22" y="44"/>
                  </a:lnTo>
                  <a:lnTo>
                    <a:pt x="17" y="44"/>
                  </a:lnTo>
                  <a:lnTo>
                    <a:pt x="15" y="44"/>
                  </a:lnTo>
                  <a:lnTo>
                    <a:pt x="13" y="43"/>
                  </a:lnTo>
                  <a:lnTo>
                    <a:pt x="10" y="41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3" y="37"/>
                  </a:lnTo>
                  <a:lnTo>
                    <a:pt x="2" y="34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5" y="17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7" y="4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3" y="1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7" y="5"/>
                  </a:lnTo>
                  <a:lnTo>
                    <a:pt x="47" y="7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2" y="10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60" y="4"/>
                  </a:lnTo>
                  <a:lnTo>
                    <a:pt x="63" y="5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6" y="7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2" y="4"/>
                  </a:lnTo>
                  <a:lnTo>
                    <a:pt x="77" y="4"/>
                  </a:lnTo>
                  <a:lnTo>
                    <a:pt x="79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3" y="8"/>
                  </a:lnTo>
                  <a:lnTo>
                    <a:pt x="83" y="10"/>
                  </a:lnTo>
                  <a:lnTo>
                    <a:pt x="86" y="11"/>
                  </a:lnTo>
                  <a:lnTo>
                    <a:pt x="90" y="13"/>
                  </a:lnTo>
                  <a:lnTo>
                    <a:pt x="92" y="1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0" name="Google Shape;310;p3"/>
            <p:cNvSpPr/>
            <p:nvPr/>
          </p:nvSpPr>
          <p:spPr>
            <a:xfrm>
              <a:off x="3802756" y="4273117"/>
              <a:ext cx="32961" cy="30134"/>
            </a:xfrm>
            <a:custGeom>
              <a:rect b="b" l="l" r="r" t="t"/>
              <a:pathLst>
                <a:path extrusionOk="0" h="48" w="47">
                  <a:moveTo>
                    <a:pt x="47" y="24"/>
                  </a:moveTo>
                  <a:lnTo>
                    <a:pt x="47" y="24"/>
                  </a:lnTo>
                  <a:lnTo>
                    <a:pt x="47" y="27"/>
                  </a:lnTo>
                  <a:lnTo>
                    <a:pt x="47" y="28"/>
                  </a:lnTo>
                  <a:lnTo>
                    <a:pt x="46" y="28"/>
                  </a:lnTo>
                  <a:lnTo>
                    <a:pt x="44" y="30"/>
                  </a:lnTo>
                  <a:lnTo>
                    <a:pt x="43" y="30"/>
                  </a:lnTo>
                  <a:lnTo>
                    <a:pt x="43" y="32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39" y="38"/>
                  </a:lnTo>
                  <a:lnTo>
                    <a:pt x="36" y="40"/>
                  </a:lnTo>
                  <a:lnTo>
                    <a:pt x="34" y="41"/>
                  </a:lnTo>
                  <a:lnTo>
                    <a:pt x="33" y="42"/>
                  </a:lnTo>
                  <a:lnTo>
                    <a:pt x="31" y="44"/>
                  </a:lnTo>
                  <a:lnTo>
                    <a:pt x="30" y="45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4" y="45"/>
                  </a:lnTo>
                  <a:lnTo>
                    <a:pt x="22" y="44"/>
                  </a:lnTo>
                  <a:lnTo>
                    <a:pt x="14" y="42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2" y="37"/>
                  </a:lnTo>
                  <a:lnTo>
                    <a:pt x="13" y="35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1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2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7" y="10"/>
                  </a:lnTo>
                  <a:lnTo>
                    <a:pt x="9" y="10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6" y="0"/>
                  </a:lnTo>
                  <a:lnTo>
                    <a:pt x="19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1"/>
                  </a:lnTo>
                  <a:lnTo>
                    <a:pt x="36" y="2"/>
                  </a:lnTo>
                  <a:lnTo>
                    <a:pt x="37" y="4"/>
                  </a:lnTo>
                  <a:lnTo>
                    <a:pt x="39" y="7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3" y="14"/>
                  </a:lnTo>
                  <a:lnTo>
                    <a:pt x="43" y="15"/>
                  </a:lnTo>
                  <a:lnTo>
                    <a:pt x="43" y="17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1" y="22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7"/>
                  </a:lnTo>
                  <a:lnTo>
                    <a:pt x="41" y="25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4" y="25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4"/>
                  </a:lnTo>
                  <a:close/>
                  <a:moveTo>
                    <a:pt x="12" y="41"/>
                  </a:moveTo>
                  <a:lnTo>
                    <a:pt x="12" y="41"/>
                  </a:lnTo>
                  <a:lnTo>
                    <a:pt x="10" y="40"/>
                  </a:lnTo>
                  <a:lnTo>
                    <a:pt x="4" y="38"/>
                  </a:lnTo>
                  <a:lnTo>
                    <a:pt x="6" y="37"/>
                  </a:lnTo>
                  <a:lnTo>
                    <a:pt x="10" y="37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1" name="Google Shape;311;p3"/>
            <p:cNvSpPr/>
            <p:nvPr/>
          </p:nvSpPr>
          <p:spPr>
            <a:xfrm>
              <a:off x="4090989" y="3882007"/>
              <a:ext cx="702" cy="1256"/>
            </a:xfrm>
            <a:custGeom>
              <a:rect b="b" l="l" r="r" t="t"/>
              <a:pathLst>
                <a:path extrusionOk="0" h="2" w="1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2" name="Google Shape;312;p3"/>
            <p:cNvSpPr/>
            <p:nvPr/>
          </p:nvSpPr>
          <p:spPr>
            <a:xfrm>
              <a:off x="3755067" y="4204060"/>
              <a:ext cx="68727" cy="44573"/>
            </a:xfrm>
            <a:custGeom>
              <a:rect b="b" l="l" r="r" t="t"/>
              <a:pathLst>
                <a:path extrusionOk="0" h="71" w="98">
                  <a:moveTo>
                    <a:pt x="84" y="31"/>
                  </a:moveTo>
                  <a:lnTo>
                    <a:pt x="85" y="34"/>
                  </a:lnTo>
                  <a:lnTo>
                    <a:pt x="85" y="34"/>
                  </a:lnTo>
                  <a:lnTo>
                    <a:pt x="85" y="37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1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5"/>
                  </a:lnTo>
                  <a:lnTo>
                    <a:pt x="90" y="45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8"/>
                  </a:lnTo>
                  <a:lnTo>
                    <a:pt x="87" y="50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5" y="55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7" y="58"/>
                  </a:lnTo>
                  <a:lnTo>
                    <a:pt x="97" y="60"/>
                  </a:lnTo>
                  <a:lnTo>
                    <a:pt x="97" y="61"/>
                  </a:lnTo>
                  <a:lnTo>
                    <a:pt x="98" y="61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1" y="70"/>
                  </a:lnTo>
                  <a:lnTo>
                    <a:pt x="90" y="70"/>
                  </a:lnTo>
                  <a:lnTo>
                    <a:pt x="88" y="70"/>
                  </a:lnTo>
                  <a:lnTo>
                    <a:pt x="85" y="71"/>
                  </a:lnTo>
                  <a:lnTo>
                    <a:pt x="84" y="71"/>
                  </a:lnTo>
                  <a:lnTo>
                    <a:pt x="82" y="71"/>
                  </a:lnTo>
                  <a:lnTo>
                    <a:pt x="81" y="71"/>
                  </a:lnTo>
                  <a:lnTo>
                    <a:pt x="80" y="71"/>
                  </a:lnTo>
                  <a:lnTo>
                    <a:pt x="78" y="70"/>
                  </a:lnTo>
                  <a:lnTo>
                    <a:pt x="77" y="70"/>
                  </a:lnTo>
                  <a:lnTo>
                    <a:pt x="75" y="70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0" y="67"/>
                  </a:lnTo>
                  <a:lnTo>
                    <a:pt x="68" y="67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1" y="65"/>
                  </a:lnTo>
                  <a:lnTo>
                    <a:pt x="55" y="65"/>
                  </a:lnTo>
                  <a:lnTo>
                    <a:pt x="51" y="65"/>
                  </a:lnTo>
                  <a:lnTo>
                    <a:pt x="45" y="65"/>
                  </a:lnTo>
                  <a:lnTo>
                    <a:pt x="41" y="65"/>
                  </a:lnTo>
                  <a:lnTo>
                    <a:pt x="37" y="65"/>
                  </a:lnTo>
                  <a:lnTo>
                    <a:pt x="34" y="67"/>
                  </a:lnTo>
                  <a:lnTo>
                    <a:pt x="31" y="68"/>
                  </a:lnTo>
                  <a:lnTo>
                    <a:pt x="27" y="70"/>
                  </a:lnTo>
                  <a:lnTo>
                    <a:pt x="22" y="70"/>
                  </a:lnTo>
                  <a:lnTo>
                    <a:pt x="20" y="70"/>
                  </a:lnTo>
                  <a:lnTo>
                    <a:pt x="18" y="70"/>
                  </a:lnTo>
                  <a:lnTo>
                    <a:pt x="18" y="71"/>
                  </a:lnTo>
                  <a:lnTo>
                    <a:pt x="15" y="71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70"/>
                  </a:lnTo>
                  <a:lnTo>
                    <a:pt x="11" y="68"/>
                  </a:lnTo>
                  <a:lnTo>
                    <a:pt x="12" y="68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5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1" y="65"/>
                  </a:lnTo>
                  <a:lnTo>
                    <a:pt x="12" y="65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7" y="58"/>
                  </a:lnTo>
                  <a:lnTo>
                    <a:pt x="21" y="58"/>
                  </a:lnTo>
                  <a:lnTo>
                    <a:pt x="24" y="58"/>
                  </a:lnTo>
                  <a:lnTo>
                    <a:pt x="27" y="58"/>
                  </a:lnTo>
                  <a:lnTo>
                    <a:pt x="27" y="55"/>
                  </a:lnTo>
                  <a:lnTo>
                    <a:pt x="28" y="55"/>
                  </a:lnTo>
                  <a:lnTo>
                    <a:pt x="30" y="54"/>
                  </a:lnTo>
                  <a:lnTo>
                    <a:pt x="32" y="54"/>
                  </a:lnTo>
                  <a:lnTo>
                    <a:pt x="35" y="54"/>
                  </a:lnTo>
                  <a:lnTo>
                    <a:pt x="37" y="54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40" y="52"/>
                  </a:lnTo>
                  <a:lnTo>
                    <a:pt x="41" y="52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5" y="54"/>
                  </a:lnTo>
                  <a:lnTo>
                    <a:pt x="50" y="55"/>
                  </a:lnTo>
                  <a:lnTo>
                    <a:pt x="52" y="57"/>
                  </a:lnTo>
                  <a:lnTo>
                    <a:pt x="55" y="55"/>
                  </a:lnTo>
                  <a:lnTo>
                    <a:pt x="58" y="55"/>
                  </a:lnTo>
                  <a:lnTo>
                    <a:pt x="60" y="54"/>
                  </a:lnTo>
                  <a:lnTo>
                    <a:pt x="58" y="52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2" y="51"/>
                  </a:lnTo>
                  <a:lnTo>
                    <a:pt x="52" y="52"/>
                  </a:lnTo>
                  <a:lnTo>
                    <a:pt x="51" y="52"/>
                  </a:lnTo>
                  <a:lnTo>
                    <a:pt x="50" y="52"/>
                  </a:lnTo>
                  <a:lnTo>
                    <a:pt x="48" y="51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4" y="50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38" y="47"/>
                  </a:lnTo>
                  <a:lnTo>
                    <a:pt x="35" y="47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0" y="51"/>
                  </a:lnTo>
                  <a:lnTo>
                    <a:pt x="24" y="51"/>
                  </a:lnTo>
                  <a:lnTo>
                    <a:pt x="20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4" y="48"/>
                  </a:lnTo>
                  <a:lnTo>
                    <a:pt x="12" y="47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10" y="41"/>
                  </a:lnTo>
                  <a:lnTo>
                    <a:pt x="8" y="37"/>
                  </a:lnTo>
                  <a:lnTo>
                    <a:pt x="7" y="35"/>
                  </a:lnTo>
                  <a:lnTo>
                    <a:pt x="5" y="34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5" y="28"/>
                  </a:lnTo>
                  <a:lnTo>
                    <a:pt x="11" y="22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20" y="4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5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4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5" y="4"/>
                  </a:lnTo>
                  <a:lnTo>
                    <a:pt x="57" y="5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8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1"/>
                  </a:lnTo>
                  <a:lnTo>
                    <a:pt x="68" y="14"/>
                  </a:lnTo>
                  <a:lnTo>
                    <a:pt x="68" y="15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4" y="20"/>
                  </a:lnTo>
                  <a:lnTo>
                    <a:pt x="74" y="21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7" y="25"/>
                  </a:lnTo>
                  <a:lnTo>
                    <a:pt x="78" y="25"/>
                  </a:lnTo>
                  <a:lnTo>
                    <a:pt x="80" y="27"/>
                  </a:lnTo>
                  <a:lnTo>
                    <a:pt x="81" y="28"/>
                  </a:lnTo>
                  <a:lnTo>
                    <a:pt x="82" y="30"/>
                  </a:lnTo>
                  <a:lnTo>
                    <a:pt x="84" y="31"/>
                  </a:lnTo>
                  <a:lnTo>
                    <a:pt x="84" y="3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3" name="Google Shape;313;p3"/>
            <p:cNvSpPr/>
            <p:nvPr/>
          </p:nvSpPr>
          <p:spPr>
            <a:xfrm>
              <a:off x="4412183" y="4252400"/>
              <a:ext cx="117117" cy="138113"/>
            </a:xfrm>
            <a:custGeom>
              <a:rect b="b" l="l" r="r" t="t"/>
              <a:pathLst>
                <a:path extrusionOk="0" h="220" w="167">
                  <a:moveTo>
                    <a:pt x="8" y="220"/>
                  </a:moveTo>
                  <a:lnTo>
                    <a:pt x="8" y="218"/>
                  </a:lnTo>
                  <a:lnTo>
                    <a:pt x="8" y="217"/>
                  </a:lnTo>
                  <a:lnTo>
                    <a:pt x="7" y="215"/>
                  </a:lnTo>
                  <a:lnTo>
                    <a:pt x="4" y="211"/>
                  </a:lnTo>
                  <a:lnTo>
                    <a:pt x="1" y="208"/>
                  </a:lnTo>
                  <a:lnTo>
                    <a:pt x="0" y="205"/>
                  </a:lnTo>
                  <a:lnTo>
                    <a:pt x="0" y="204"/>
                  </a:lnTo>
                  <a:lnTo>
                    <a:pt x="0" y="197"/>
                  </a:lnTo>
                  <a:lnTo>
                    <a:pt x="0" y="184"/>
                  </a:lnTo>
                  <a:lnTo>
                    <a:pt x="0" y="170"/>
                  </a:lnTo>
                  <a:lnTo>
                    <a:pt x="0" y="157"/>
                  </a:lnTo>
                  <a:lnTo>
                    <a:pt x="0" y="150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3" y="144"/>
                  </a:lnTo>
                  <a:lnTo>
                    <a:pt x="6" y="141"/>
                  </a:lnTo>
                  <a:lnTo>
                    <a:pt x="10" y="135"/>
                  </a:lnTo>
                  <a:lnTo>
                    <a:pt x="13" y="131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7" y="125"/>
                  </a:lnTo>
                  <a:lnTo>
                    <a:pt x="20" y="125"/>
                  </a:lnTo>
                  <a:lnTo>
                    <a:pt x="21" y="125"/>
                  </a:lnTo>
                  <a:lnTo>
                    <a:pt x="28" y="124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1" y="121"/>
                  </a:lnTo>
                  <a:lnTo>
                    <a:pt x="33" y="120"/>
                  </a:lnTo>
                  <a:lnTo>
                    <a:pt x="34" y="118"/>
                  </a:lnTo>
                  <a:lnTo>
                    <a:pt x="37" y="117"/>
                  </a:lnTo>
                  <a:lnTo>
                    <a:pt x="41" y="115"/>
                  </a:lnTo>
                  <a:lnTo>
                    <a:pt x="41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54" y="114"/>
                  </a:lnTo>
                  <a:lnTo>
                    <a:pt x="58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5" y="110"/>
                  </a:lnTo>
                  <a:lnTo>
                    <a:pt x="71" y="105"/>
                  </a:lnTo>
                  <a:lnTo>
                    <a:pt x="74" y="101"/>
                  </a:lnTo>
                  <a:lnTo>
                    <a:pt x="78" y="97"/>
                  </a:lnTo>
                  <a:lnTo>
                    <a:pt x="83" y="92"/>
                  </a:lnTo>
                  <a:lnTo>
                    <a:pt x="87" y="88"/>
                  </a:lnTo>
                  <a:lnTo>
                    <a:pt x="91" y="84"/>
                  </a:lnTo>
                  <a:lnTo>
                    <a:pt x="95" y="80"/>
                  </a:lnTo>
                  <a:lnTo>
                    <a:pt x="98" y="77"/>
                  </a:lnTo>
                  <a:lnTo>
                    <a:pt x="103" y="73"/>
                  </a:lnTo>
                  <a:lnTo>
                    <a:pt x="108" y="68"/>
                  </a:lnTo>
                  <a:lnTo>
                    <a:pt x="111" y="64"/>
                  </a:lnTo>
                  <a:lnTo>
                    <a:pt x="107" y="64"/>
                  </a:lnTo>
                  <a:lnTo>
                    <a:pt x="101" y="64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90" y="63"/>
                  </a:lnTo>
                  <a:lnTo>
                    <a:pt x="85" y="61"/>
                  </a:lnTo>
                  <a:lnTo>
                    <a:pt x="78" y="58"/>
                  </a:lnTo>
                  <a:lnTo>
                    <a:pt x="73" y="57"/>
                  </a:lnTo>
                  <a:lnTo>
                    <a:pt x="67" y="55"/>
                  </a:lnTo>
                  <a:lnTo>
                    <a:pt x="63" y="53"/>
                  </a:lnTo>
                  <a:lnTo>
                    <a:pt x="58" y="51"/>
                  </a:lnTo>
                  <a:lnTo>
                    <a:pt x="53" y="50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5" y="45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0" y="43"/>
                  </a:lnTo>
                  <a:lnTo>
                    <a:pt x="38" y="40"/>
                  </a:lnTo>
                  <a:lnTo>
                    <a:pt x="37" y="38"/>
                  </a:lnTo>
                  <a:lnTo>
                    <a:pt x="35" y="35"/>
                  </a:lnTo>
                  <a:lnTo>
                    <a:pt x="35" y="34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1" y="30"/>
                  </a:lnTo>
                  <a:lnTo>
                    <a:pt x="30" y="28"/>
                  </a:lnTo>
                  <a:lnTo>
                    <a:pt x="28" y="28"/>
                  </a:lnTo>
                  <a:lnTo>
                    <a:pt x="28" y="25"/>
                  </a:lnTo>
                  <a:lnTo>
                    <a:pt x="27" y="24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5"/>
                  </a:lnTo>
                  <a:lnTo>
                    <a:pt x="33" y="13"/>
                  </a:lnTo>
                  <a:lnTo>
                    <a:pt x="34" y="10"/>
                  </a:lnTo>
                  <a:lnTo>
                    <a:pt x="35" y="8"/>
                  </a:lnTo>
                  <a:lnTo>
                    <a:pt x="38" y="10"/>
                  </a:lnTo>
                  <a:lnTo>
                    <a:pt x="43" y="15"/>
                  </a:lnTo>
                  <a:lnTo>
                    <a:pt x="45" y="20"/>
                  </a:lnTo>
                  <a:lnTo>
                    <a:pt x="51" y="23"/>
                  </a:lnTo>
                  <a:lnTo>
                    <a:pt x="53" y="24"/>
                  </a:lnTo>
                  <a:lnTo>
                    <a:pt x="54" y="25"/>
                  </a:lnTo>
                  <a:lnTo>
                    <a:pt x="63" y="25"/>
                  </a:lnTo>
                  <a:lnTo>
                    <a:pt x="70" y="21"/>
                  </a:lnTo>
                  <a:lnTo>
                    <a:pt x="75" y="18"/>
                  </a:lnTo>
                  <a:lnTo>
                    <a:pt x="77" y="18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7" y="20"/>
                  </a:lnTo>
                  <a:lnTo>
                    <a:pt x="90" y="20"/>
                  </a:lnTo>
                  <a:lnTo>
                    <a:pt x="95" y="17"/>
                  </a:lnTo>
                  <a:lnTo>
                    <a:pt x="100" y="14"/>
                  </a:lnTo>
                  <a:lnTo>
                    <a:pt x="103" y="13"/>
                  </a:lnTo>
                  <a:lnTo>
                    <a:pt x="104" y="13"/>
                  </a:lnTo>
                  <a:lnTo>
                    <a:pt x="107" y="14"/>
                  </a:lnTo>
                  <a:lnTo>
                    <a:pt x="112" y="14"/>
                  </a:lnTo>
                  <a:lnTo>
                    <a:pt x="120" y="11"/>
                  </a:lnTo>
                  <a:lnTo>
                    <a:pt x="121" y="11"/>
                  </a:lnTo>
                  <a:lnTo>
                    <a:pt x="122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30" y="11"/>
                  </a:lnTo>
                  <a:lnTo>
                    <a:pt x="134" y="10"/>
                  </a:lnTo>
                  <a:lnTo>
                    <a:pt x="138" y="8"/>
                  </a:lnTo>
                  <a:lnTo>
                    <a:pt x="145" y="7"/>
                  </a:lnTo>
                  <a:lnTo>
                    <a:pt x="151" y="4"/>
                  </a:lnTo>
                  <a:lnTo>
                    <a:pt x="152" y="3"/>
                  </a:lnTo>
                  <a:lnTo>
                    <a:pt x="154" y="0"/>
                  </a:lnTo>
                  <a:lnTo>
                    <a:pt x="157" y="0"/>
                  </a:lnTo>
                  <a:lnTo>
                    <a:pt x="162" y="3"/>
                  </a:lnTo>
                  <a:lnTo>
                    <a:pt x="164" y="3"/>
                  </a:lnTo>
                  <a:lnTo>
                    <a:pt x="164" y="4"/>
                  </a:lnTo>
                  <a:lnTo>
                    <a:pt x="164" y="5"/>
                  </a:lnTo>
                  <a:lnTo>
                    <a:pt x="162" y="7"/>
                  </a:lnTo>
                  <a:lnTo>
                    <a:pt x="161" y="10"/>
                  </a:lnTo>
                  <a:lnTo>
                    <a:pt x="162" y="14"/>
                  </a:lnTo>
                  <a:lnTo>
                    <a:pt x="162" y="21"/>
                  </a:lnTo>
                  <a:lnTo>
                    <a:pt x="162" y="23"/>
                  </a:lnTo>
                  <a:lnTo>
                    <a:pt x="162" y="23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4" y="23"/>
                  </a:lnTo>
                  <a:lnTo>
                    <a:pt x="165" y="24"/>
                  </a:lnTo>
                  <a:lnTo>
                    <a:pt x="165" y="24"/>
                  </a:lnTo>
                  <a:lnTo>
                    <a:pt x="167" y="25"/>
                  </a:lnTo>
                  <a:lnTo>
                    <a:pt x="167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1" y="25"/>
                  </a:lnTo>
                  <a:lnTo>
                    <a:pt x="160" y="27"/>
                  </a:lnTo>
                  <a:lnTo>
                    <a:pt x="158" y="28"/>
                  </a:lnTo>
                  <a:lnTo>
                    <a:pt x="158" y="33"/>
                  </a:lnTo>
                  <a:lnTo>
                    <a:pt x="157" y="37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4" y="47"/>
                  </a:lnTo>
                  <a:lnTo>
                    <a:pt x="151" y="51"/>
                  </a:lnTo>
                  <a:lnTo>
                    <a:pt x="150" y="54"/>
                  </a:lnTo>
                  <a:lnTo>
                    <a:pt x="148" y="55"/>
                  </a:lnTo>
                  <a:lnTo>
                    <a:pt x="145" y="61"/>
                  </a:lnTo>
                  <a:lnTo>
                    <a:pt x="141" y="65"/>
                  </a:lnTo>
                  <a:lnTo>
                    <a:pt x="140" y="70"/>
                  </a:lnTo>
                  <a:lnTo>
                    <a:pt x="138" y="73"/>
                  </a:lnTo>
                  <a:lnTo>
                    <a:pt x="137" y="75"/>
                  </a:lnTo>
                  <a:lnTo>
                    <a:pt x="134" y="81"/>
                  </a:lnTo>
                  <a:lnTo>
                    <a:pt x="132" y="84"/>
                  </a:lnTo>
                  <a:lnTo>
                    <a:pt x="130" y="90"/>
                  </a:lnTo>
                  <a:lnTo>
                    <a:pt x="128" y="94"/>
                  </a:lnTo>
                  <a:lnTo>
                    <a:pt x="122" y="104"/>
                  </a:lnTo>
                  <a:lnTo>
                    <a:pt x="115" y="112"/>
                  </a:lnTo>
                  <a:lnTo>
                    <a:pt x="111" y="120"/>
                  </a:lnTo>
                  <a:lnTo>
                    <a:pt x="104" y="128"/>
                  </a:lnTo>
                  <a:lnTo>
                    <a:pt x="94" y="140"/>
                  </a:lnTo>
                  <a:lnTo>
                    <a:pt x="81" y="152"/>
                  </a:lnTo>
                  <a:lnTo>
                    <a:pt x="77" y="155"/>
                  </a:lnTo>
                  <a:lnTo>
                    <a:pt x="63" y="162"/>
                  </a:lnTo>
                  <a:lnTo>
                    <a:pt x="53" y="170"/>
                  </a:lnTo>
                  <a:lnTo>
                    <a:pt x="48" y="174"/>
                  </a:lnTo>
                  <a:lnTo>
                    <a:pt x="44" y="178"/>
                  </a:lnTo>
                  <a:lnTo>
                    <a:pt x="40" y="182"/>
                  </a:lnTo>
                  <a:lnTo>
                    <a:pt x="27" y="195"/>
                  </a:lnTo>
                  <a:lnTo>
                    <a:pt x="25" y="195"/>
                  </a:lnTo>
                  <a:lnTo>
                    <a:pt x="25" y="197"/>
                  </a:lnTo>
                  <a:lnTo>
                    <a:pt x="24" y="200"/>
                  </a:lnTo>
                  <a:lnTo>
                    <a:pt x="23" y="200"/>
                  </a:lnTo>
                  <a:lnTo>
                    <a:pt x="20" y="204"/>
                  </a:lnTo>
                  <a:lnTo>
                    <a:pt x="17" y="205"/>
                  </a:lnTo>
                  <a:lnTo>
                    <a:pt x="15" y="208"/>
                  </a:lnTo>
                  <a:lnTo>
                    <a:pt x="14" y="208"/>
                  </a:lnTo>
                  <a:lnTo>
                    <a:pt x="14" y="210"/>
                  </a:lnTo>
                  <a:lnTo>
                    <a:pt x="14" y="211"/>
                  </a:lnTo>
                  <a:lnTo>
                    <a:pt x="11" y="215"/>
                  </a:lnTo>
                  <a:lnTo>
                    <a:pt x="10" y="217"/>
                  </a:lnTo>
                  <a:lnTo>
                    <a:pt x="8" y="22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4" name="Google Shape;314;p3"/>
            <p:cNvSpPr/>
            <p:nvPr/>
          </p:nvSpPr>
          <p:spPr>
            <a:xfrm>
              <a:off x="3299925" y="4313295"/>
              <a:ext cx="45585" cy="40806"/>
            </a:xfrm>
            <a:custGeom>
              <a:rect b="b" l="l" r="r" t="t"/>
              <a:pathLst>
                <a:path extrusionOk="0" h="65" w="65">
                  <a:moveTo>
                    <a:pt x="62" y="10"/>
                  </a:moveTo>
                  <a:lnTo>
                    <a:pt x="61" y="11"/>
                  </a:lnTo>
                  <a:lnTo>
                    <a:pt x="60" y="13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20"/>
                  </a:lnTo>
                  <a:lnTo>
                    <a:pt x="58" y="20"/>
                  </a:lnTo>
                  <a:lnTo>
                    <a:pt x="58" y="23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5"/>
                  </a:lnTo>
                  <a:lnTo>
                    <a:pt x="58" y="27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5" y="37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2" y="47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1"/>
                  </a:lnTo>
                  <a:lnTo>
                    <a:pt x="58" y="55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4" y="58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0" y="55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5" y="54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2" y="55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60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4" y="63"/>
                  </a:lnTo>
                  <a:lnTo>
                    <a:pt x="34" y="64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2" y="65"/>
                  </a:lnTo>
                  <a:lnTo>
                    <a:pt x="30" y="65"/>
                  </a:lnTo>
                  <a:lnTo>
                    <a:pt x="27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4" y="64"/>
                  </a:lnTo>
                  <a:lnTo>
                    <a:pt x="24" y="63"/>
                  </a:lnTo>
                  <a:lnTo>
                    <a:pt x="22" y="63"/>
                  </a:lnTo>
                  <a:lnTo>
                    <a:pt x="21" y="63"/>
                  </a:lnTo>
                  <a:lnTo>
                    <a:pt x="21" y="61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18" y="58"/>
                  </a:lnTo>
                  <a:lnTo>
                    <a:pt x="18" y="57"/>
                  </a:lnTo>
                  <a:lnTo>
                    <a:pt x="18" y="55"/>
                  </a:lnTo>
                  <a:lnTo>
                    <a:pt x="17" y="55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2" y="47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7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4" y="17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1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4" y="3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7"/>
                  </a:lnTo>
                  <a:lnTo>
                    <a:pt x="62" y="1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5" name="Google Shape;315;p3"/>
            <p:cNvSpPr/>
            <p:nvPr/>
          </p:nvSpPr>
          <p:spPr>
            <a:xfrm>
              <a:off x="4222833" y="4249261"/>
              <a:ext cx="125533" cy="89145"/>
            </a:xfrm>
            <a:custGeom>
              <a:rect b="b" l="l" r="r" t="t"/>
              <a:pathLst>
                <a:path extrusionOk="0" h="142" w="179">
                  <a:moveTo>
                    <a:pt x="157" y="39"/>
                  </a:moveTo>
                  <a:lnTo>
                    <a:pt x="156" y="42"/>
                  </a:lnTo>
                  <a:lnTo>
                    <a:pt x="156" y="43"/>
                  </a:lnTo>
                  <a:lnTo>
                    <a:pt x="156" y="45"/>
                  </a:lnTo>
                  <a:lnTo>
                    <a:pt x="156" y="45"/>
                  </a:lnTo>
                  <a:lnTo>
                    <a:pt x="156" y="46"/>
                  </a:lnTo>
                  <a:lnTo>
                    <a:pt x="156" y="46"/>
                  </a:lnTo>
                  <a:lnTo>
                    <a:pt x="156" y="46"/>
                  </a:lnTo>
                  <a:lnTo>
                    <a:pt x="156" y="46"/>
                  </a:lnTo>
                  <a:lnTo>
                    <a:pt x="156" y="46"/>
                  </a:lnTo>
                  <a:lnTo>
                    <a:pt x="159" y="46"/>
                  </a:lnTo>
                  <a:lnTo>
                    <a:pt x="159" y="46"/>
                  </a:lnTo>
                  <a:lnTo>
                    <a:pt x="159" y="46"/>
                  </a:lnTo>
                  <a:lnTo>
                    <a:pt x="159" y="46"/>
                  </a:lnTo>
                  <a:lnTo>
                    <a:pt x="159" y="49"/>
                  </a:lnTo>
                  <a:lnTo>
                    <a:pt x="160" y="52"/>
                  </a:lnTo>
                  <a:lnTo>
                    <a:pt x="160" y="58"/>
                  </a:lnTo>
                  <a:lnTo>
                    <a:pt x="160" y="59"/>
                  </a:lnTo>
                  <a:lnTo>
                    <a:pt x="160" y="60"/>
                  </a:lnTo>
                  <a:lnTo>
                    <a:pt x="159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4" y="62"/>
                  </a:lnTo>
                  <a:lnTo>
                    <a:pt x="151" y="62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46" y="62"/>
                  </a:lnTo>
                  <a:lnTo>
                    <a:pt x="146" y="63"/>
                  </a:lnTo>
                  <a:lnTo>
                    <a:pt x="144" y="65"/>
                  </a:lnTo>
                  <a:lnTo>
                    <a:pt x="143" y="69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1" y="72"/>
                  </a:lnTo>
                  <a:lnTo>
                    <a:pt x="143" y="72"/>
                  </a:lnTo>
                  <a:lnTo>
                    <a:pt x="146" y="73"/>
                  </a:lnTo>
                  <a:lnTo>
                    <a:pt x="149" y="73"/>
                  </a:lnTo>
                  <a:lnTo>
                    <a:pt x="150" y="73"/>
                  </a:lnTo>
                  <a:lnTo>
                    <a:pt x="151" y="75"/>
                  </a:lnTo>
                  <a:lnTo>
                    <a:pt x="153" y="75"/>
                  </a:lnTo>
                  <a:lnTo>
                    <a:pt x="156" y="78"/>
                  </a:lnTo>
                  <a:lnTo>
                    <a:pt x="157" y="79"/>
                  </a:lnTo>
                  <a:lnTo>
                    <a:pt x="159" y="79"/>
                  </a:lnTo>
                  <a:lnTo>
                    <a:pt x="159" y="80"/>
                  </a:lnTo>
                  <a:lnTo>
                    <a:pt x="159" y="82"/>
                  </a:lnTo>
                  <a:lnTo>
                    <a:pt x="161" y="83"/>
                  </a:lnTo>
                  <a:lnTo>
                    <a:pt x="163" y="85"/>
                  </a:lnTo>
                  <a:lnTo>
                    <a:pt x="166" y="87"/>
                  </a:lnTo>
                  <a:lnTo>
                    <a:pt x="167" y="89"/>
                  </a:lnTo>
                  <a:lnTo>
                    <a:pt x="169" y="90"/>
                  </a:lnTo>
                  <a:lnTo>
                    <a:pt x="169" y="90"/>
                  </a:lnTo>
                  <a:lnTo>
                    <a:pt x="170" y="92"/>
                  </a:lnTo>
                  <a:lnTo>
                    <a:pt x="171" y="96"/>
                  </a:lnTo>
                  <a:lnTo>
                    <a:pt x="173" y="99"/>
                  </a:lnTo>
                  <a:lnTo>
                    <a:pt x="173" y="100"/>
                  </a:lnTo>
                  <a:lnTo>
                    <a:pt x="174" y="103"/>
                  </a:lnTo>
                  <a:lnTo>
                    <a:pt x="174" y="105"/>
                  </a:lnTo>
                  <a:lnTo>
                    <a:pt x="176" y="106"/>
                  </a:lnTo>
                  <a:lnTo>
                    <a:pt x="177" y="107"/>
                  </a:lnTo>
                  <a:lnTo>
                    <a:pt x="179" y="109"/>
                  </a:lnTo>
                  <a:lnTo>
                    <a:pt x="179" y="109"/>
                  </a:lnTo>
                  <a:lnTo>
                    <a:pt x="176" y="112"/>
                  </a:lnTo>
                  <a:lnTo>
                    <a:pt x="171" y="116"/>
                  </a:lnTo>
                  <a:lnTo>
                    <a:pt x="169" y="119"/>
                  </a:lnTo>
                  <a:lnTo>
                    <a:pt x="164" y="123"/>
                  </a:lnTo>
                  <a:lnTo>
                    <a:pt x="160" y="126"/>
                  </a:lnTo>
                  <a:lnTo>
                    <a:pt x="157" y="130"/>
                  </a:lnTo>
                  <a:lnTo>
                    <a:pt x="154" y="133"/>
                  </a:lnTo>
                  <a:lnTo>
                    <a:pt x="151" y="136"/>
                  </a:lnTo>
                  <a:lnTo>
                    <a:pt x="150" y="136"/>
                  </a:lnTo>
                  <a:lnTo>
                    <a:pt x="150" y="137"/>
                  </a:lnTo>
                  <a:lnTo>
                    <a:pt x="147" y="137"/>
                  </a:lnTo>
                  <a:lnTo>
                    <a:pt x="144" y="137"/>
                  </a:lnTo>
                  <a:lnTo>
                    <a:pt x="141" y="135"/>
                  </a:lnTo>
                  <a:lnTo>
                    <a:pt x="139" y="136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4" y="137"/>
                  </a:lnTo>
                  <a:lnTo>
                    <a:pt x="131" y="137"/>
                  </a:lnTo>
                  <a:lnTo>
                    <a:pt x="130" y="139"/>
                  </a:lnTo>
                  <a:lnTo>
                    <a:pt x="129" y="139"/>
                  </a:lnTo>
                  <a:lnTo>
                    <a:pt x="129" y="140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40"/>
                  </a:lnTo>
                  <a:lnTo>
                    <a:pt x="124" y="139"/>
                  </a:lnTo>
                  <a:lnTo>
                    <a:pt x="124" y="137"/>
                  </a:lnTo>
                  <a:lnTo>
                    <a:pt x="123" y="137"/>
                  </a:lnTo>
                  <a:lnTo>
                    <a:pt x="123" y="136"/>
                  </a:lnTo>
                  <a:lnTo>
                    <a:pt x="120" y="137"/>
                  </a:lnTo>
                  <a:lnTo>
                    <a:pt x="119" y="139"/>
                  </a:lnTo>
                  <a:lnTo>
                    <a:pt x="117" y="139"/>
                  </a:lnTo>
                  <a:lnTo>
                    <a:pt x="116" y="137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0" y="137"/>
                  </a:lnTo>
                  <a:lnTo>
                    <a:pt x="109" y="139"/>
                  </a:lnTo>
                  <a:lnTo>
                    <a:pt x="107" y="140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07" y="140"/>
                  </a:lnTo>
                  <a:lnTo>
                    <a:pt x="106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3" y="137"/>
                  </a:lnTo>
                  <a:lnTo>
                    <a:pt x="103" y="136"/>
                  </a:lnTo>
                  <a:lnTo>
                    <a:pt x="101" y="136"/>
                  </a:lnTo>
                  <a:lnTo>
                    <a:pt x="100" y="135"/>
                  </a:lnTo>
                  <a:lnTo>
                    <a:pt x="97" y="133"/>
                  </a:lnTo>
                  <a:lnTo>
                    <a:pt x="94" y="130"/>
                  </a:lnTo>
                  <a:lnTo>
                    <a:pt x="93" y="129"/>
                  </a:lnTo>
                  <a:lnTo>
                    <a:pt x="92" y="127"/>
                  </a:lnTo>
                  <a:lnTo>
                    <a:pt x="90" y="126"/>
                  </a:lnTo>
                  <a:lnTo>
                    <a:pt x="89" y="123"/>
                  </a:lnTo>
                  <a:lnTo>
                    <a:pt x="87" y="123"/>
                  </a:lnTo>
                  <a:lnTo>
                    <a:pt x="86" y="123"/>
                  </a:lnTo>
                  <a:lnTo>
                    <a:pt x="84" y="125"/>
                  </a:lnTo>
                  <a:lnTo>
                    <a:pt x="82" y="127"/>
                  </a:lnTo>
                  <a:lnTo>
                    <a:pt x="80" y="127"/>
                  </a:lnTo>
                  <a:lnTo>
                    <a:pt x="79" y="126"/>
                  </a:lnTo>
                  <a:lnTo>
                    <a:pt x="77" y="126"/>
                  </a:lnTo>
                  <a:lnTo>
                    <a:pt x="73" y="125"/>
                  </a:lnTo>
                  <a:lnTo>
                    <a:pt x="72" y="126"/>
                  </a:lnTo>
                  <a:lnTo>
                    <a:pt x="70" y="127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66" y="127"/>
                  </a:lnTo>
                  <a:lnTo>
                    <a:pt x="64" y="127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62" y="125"/>
                  </a:lnTo>
                  <a:lnTo>
                    <a:pt x="60" y="125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7" y="122"/>
                  </a:lnTo>
                  <a:lnTo>
                    <a:pt x="57" y="120"/>
                  </a:lnTo>
                  <a:lnTo>
                    <a:pt x="56" y="120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0" y="113"/>
                  </a:lnTo>
                  <a:lnTo>
                    <a:pt x="50" y="110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7" y="105"/>
                  </a:lnTo>
                  <a:lnTo>
                    <a:pt x="44" y="103"/>
                  </a:lnTo>
                  <a:lnTo>
                    <a:pt x="43" y="102"/>
                  </a:lnTo>
                  <a:lnTo>
                    <a:pt x="42" y="102"/>
                  </a:lnTo>
                  <a:lnTo>
                    <a:pt x="39" y="100"/>
                  </a:lnTo>
                  <a:lnTo>
                    <a:pt x="37" y="100"/>
                  </a:lnTo>
                  <a:lnTo>
                    <a:pt x="37" y="99"/>
                  </a:lnTo>
                  <a:lnTo>
                    <a:pt x="36" y="97"/>
                  </a:lnTo>
                  <a:lnTo>
                    <a:pt x="36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6" y="90"/>
                  </a:lnTo>
                  <a:lnTo>
                    <a:pt x="34" y="90"/>
                  </a:lnTo>
                  <a:lnTo>
                    <a:pt x="33" y="89"/>
                  </a:lnTo>
                  <a:lnTo>
                    <a:pt x="32" y="87"/>
                  </a:lnTo>
                  <a:lnTo>
                    <a:pt x="30" y="86"/>
                  </a:lnTo>
                  <a:lnTo>
                    <a:pt x="27" y="85"/>
                  </a:lnTo>
                  <a:lnTo>
                    <a:pt x="23" y="82"/>
                  </a:lnTo>
                  <a:lnTo>
                    <a:pt x="20" y="80"/>
                  </a:lnTo>
                  <a:lnTo>
                    <a:pt x="19" y="79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4" y="70"/>
                  </a:lnTo>
                  <a:lnTo>
                    <a:pt x="12" y="68"/>
                  </a:lnTo>
                  <a:lnTo>
                    <a:pt x="10" y="66"/>
                  </a:lnTo>
                  <a:lnTo>
                    <a:pt x="4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2" y="63"/>
                  </a:lnTo>
                  <a:lnTo>
                    <a:pt x="0" y="62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2" y="56"/>
                  </a:lnTo>
                  <a:lnTo>
                    <a:pt x="3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7" y="52"/>
                  </a:lnTo>
                  <a:lnTo>
                    <a:pt x="9" y="50"/>
                  </a:lnTo>
                  <a:lnTo>
                    <a:pt x="9" y="49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3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4" y="33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26" y="30"/>
                  </a:lnTo>
                  <a:lnTo>
                    <a:pt x="27" y="30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33" y="38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2" y="45"/>
                  </a:lnTo>
                  <a:lnTo>
                    <a:pt x="46" y="43"/>
                  </a:lnTo>
                  <a:lnTo>
                    <a:pt x="47" y="43"/>
                  </a:lnTo>
                  <a:lnTo>
                    <a:pt x="59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2" y="48"/>
                  </a:lnTo>
                  <a:lnTo>
                    <a:pt x="63" y="48"/>
                  </a:lnTo>
                  <a:lnTo>
                    <a:pt x="76" y="48"/>
                  </a:lnTo>
                  <a:lnTo>
                    <a:pt x="74" y="46"/>
                  </a:lnTo>
                  <a:lnTo>
                    <a:pt x="76" y="46"/>
                  </a:lnTo>
                  <a:lnTo>
                    <a:pt x="77" y="45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6" y="40"/>
                  </a:lnTo>
                  <a:lnTo>
                    <a:pt x="87" y="39"/>
                  </a:lnTo>
                  <a:lnTo>
                    <a:pt x="87" y="38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9" y="35"/>
                  </a:lnTo>
                  <a:lnTo>
                    <a:pt x="93" y="33"/>
                  </a:lnTo>
                  <a:lnTo>
                    <a:pt x="94" y="32"/>
                  </a:lnTo>
                  <a:lnTo>
                    <a:pt x="101" y="38"/>
                  </a:lnTo>
                  <a:lnTo>
                    <a:pt x="106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9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20" y="33"/>
                  </a:lnTo>
                  <a:lnTo>
                    <a:pt x="121" y="32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33" y="20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3"/>
                  </a:lnTo>
                  <a:lnTo>
                    <a:pt x="131" y="12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27" y="5"/>
                  </a:lnTo>
                  <a:lnTo>
                    <a:pt x="137" y="5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4" y="5"/>
                  </a:lnTo>
                  <a:lnTo>
                    <a:pt x="144" y="8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43" y="12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9" y="26"/>
                  </a:lnTo>
                  <a:lnTo>
                    <a:pt x="149" y="28"/>
                  </a:lnTo>
                  <a:lnTo>
                    <a:pt x="156" y="33"/>
                  </a:lnTo>
                  <a:lnTo>
                    <a:pt x="156" y="35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6" name="Google Shape;316;p3"/>
            <p:cNvSpPr/>
            <p:nvPr/>
          </p:nvSpPr>
          <p:spPr>
            <a:xfrm>
              <a:off x="2939458" y="4227289"/>
              <a:ext cx="27351" cy="13184"/>
            </a:xfrm>
            <a:custGeom>
              <a:rect b="b" l="l" r="r" t="t"/>
              <a:pathLst>
                <a:path extrusionOk="0" h="21" w="39">
                  <a:moveTo>
                    <a:pt x="13" y="0"/>
                  </a:moveTo>
                  <a:lnTo>
                    <a:pt x="13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3"/>
                  </a:lnTo>
                  <a:lnTo>
                    <a:pt x="19" y="3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30" y="8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3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4" y="21"/>
                  </a:lnTo>
                  <a:lnTo>
                    <a:pt x="31" y="21"/>
                  </a:lnTo>
                  <a:lnTo>
                    <a:pt x="27" y="20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0" y="18"/>
                  </a:lnTo>
                  <a:lnTo>
                    <a:pt x="14" y="15"/>
                  </a:lnTo>
                  <a:lnTo>
                    <a:pt x="10" y="15"/>
                  </a:lnTo>
                  <a:lnTo>
                    <a:pt x="6" y="14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7" name="Google Shape;317;p3"/>
            <p:cNvSpPr/>
            <p:nvPr/>
          </p:nvSpPr>
          <p:spPr>
            <a:xfrm>
              <a:off x="4353274" y="3969897"/>
              <a:ext cx="73637" cy="60895"/>
            </a:xfrm>
            <a:custGeom>
              <a:rect b="b" l="l" r="r" t="t"/>
              <a:pathLst>
                <a:path extrusionOk="0" h="97" w="105">
                  <a:moveTo>
                    <a:pt x="105" y="4"/>
                  </a:moveTo>
                  <a:lnTo>
                    <a:pt x="105" y="4"/>
                  </a:lnTo>
                  <a:lnTo>
                    <a:pt x="105" y="6"/>
                  </a:lnTo>
                  <a:lnTo>
                    <a:pt x="104" y="7"/>
                  </a:lnTo>
                  <a:lnTo>
                    <a:pt x="101" y="10"/>
                  </a:lnTo>
                  <a:lnTo>
                    <a:pt x="99" y="11"/>
                  </a:lnTo>
                  <a:lnTo>
                    <a:pt x="97" y="14"/>
                  </a:lnTo>
                  <a:lnTo>
                    <a:pt x="94" y="16"/>
                  </a:lnTo>
                  <a:lnTo>
                    <a:pt x="91" y="16"/>
                  </a:lnTo>
                  <a:lnTo>
                    <a:pt x="90" y="17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88" y="26"/>
                  </a:lnTo>
                  <a:lnTo>
                    <a:pt x="88" y="27"/>
                  </a:lnTo>
                  <a:lnTo>
                    <a:pt x="90" y="30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7" y="40"/>
                  </a:lnTo>
                  <a:lnTo>
                    <a:pt x="87" y="46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5" y="54"/>
                  </a:lnTo>
                  <a:lnTo>
                    <a:pt x="84" y="57"/>
                  </a:lnTo>
                  <a:lnTo>
                    <a:pt x="82" y="59"/>
                  </a:lnTo>
                  <a:lnTo>
                    <a:pt x="80" y="59"/>
                  </a:lnTo>
                  <a:lnTo>
                    <a:pt x="75" y="61"/>
                  </a:lnTo>
                  <a:lnTo>
                    <a:pt x="70" y="64"/>
                  </a:lnTo>
                  <a:lnTo>
                    <a:pt x="65" y="67"/>
                  </a:lnTo>
                  <a:lnTo>
                    <a:pt x="61" y="70"/>
                  </a:lnTo>
                  <a:lnTo>
                    <a:pt x="57" y="73"/>
                  </a:lnTo>
                  <a:lnTo>
                    <a:pt x="52" y="74"/>
                  </a:lnTo>
                  <a:lnTo>
                    <a:pt x="48" y="77"/>
                  </a:lnTo>
                  <a:lnTo>
                    <a:pt x="44" y="80"/>
                  </a:lnTo>
                  <a:lnTo>
                    <a:pt x="40" y="83"/>
                  </a:lnTo>
                  <a:lnTo>
                    <a:pt x="37" y="84"/>
                  </a:lnTo>
                  <a:lnTo>
                    <a:pt x="32" y="87"/>
                  </a:lnTo>
                  <a:lnTo>
                    <a:pt x="30" y="90"/>
                  </a:lnTo>
                  <a:lnTo>
                    <a:pt x="25" y="93"/>
                  </a:lnTo>
                  <a:lnTo>
                    <a:pt x="21" y="94"/>
                  </a:lnTo>
                  <a:lnTo>
                    <a:pt x="17" y="97"/>
                  </a:lnTo>
                  <a:lnTo>
                    <a:pt x="11" y="97"/>
                  </a:lnTo>
                  <a:lnTo>
                    <a:pt x="10" y="96"/>
                  </a:lnTo>
                  <a:lnTo>
                    <a:pt x="8" y="94"/>
                  </a:lnTo>
                  <a:lnTo>
                    <a:pt x="7" y="94"/>
                  </a:lnTo>
                  <a:lnTo>
                    <a:pt x="5" y="93"/>
                  </a:lnTo>
                  <a:lnTo>
                    <a:pt x="2" y="91"/>
                  </a:lnTo>
                  <a:lnTo>
                    <a:pt x="2" y="90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87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1" y="84"/>
                  </a:lnTo>
                  <a:lnTo>
                    <a:pt x="1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1" y="77"/>
                  </a:lnTo>
                  <a:lnTo>
                    <a:pt x="1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2" y="71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5" y="6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8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6"/>
                  </a:lnTo>
                  <a:lnTo>
                    <a:pt x="10" y="66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2" y="57"/>
                  </a:lnTo>
                  <a:lnTo>
                    <a:pt x="11" y="57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0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4" y="53"/>
                  </a:lnTo>
                  <a:lnTo>
                    <a:pt x="2" y="49"/>
                  </a:lnTo>
                  <a:lnTo>
                    <a:pt x="2" y="47"/>
                  </a:lnTo>
                  <a:lnTo>
                    <a:pt x="2" y="44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0" y="34"/>
                  </a:lnTo>
                  <a:lnTo>
                    <a:pt x="1" y="30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5" y="30"/>
                  </a:lnTo>
                  <a:lnTo>
                    <a:pt x="7" y="30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10" y="26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4" y="10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5" y="14"/>
                  </a:lnTo>
                  <a:lnTo>
                    <a:pt x="27" y="14"/>
                  </a:lnTo>
                  <a:lnTo>
                    <a:pt x="28" y="13"/>
                  </a:lnTo>
                  <a:lnTo>
                    <a:pt x="31" y="11"/>
                  </a:lnTo>
                  <a:lnTo>
                    <a:pt x="32" y="11"/>
                  </a:lnTo>
                  <a:lnTo>
                    <a:pt x="34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5" y="11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51" y="13"/>
                  </a:lnTo>
                  <a:lnTo>
                    <a:pt x="54" y="13"/>
                  </a:lnTo>
                  <a:lnTo>
                    <a:pt x="58" y="13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8" y="10"/>
                  </a:lnTo>
                  <a:lnTo>
                    <a:pt x="75" y="6"/>
                  </a:lnTo>
                  <a:lnTo>
                    <a:pt x="80" y="4"/>
                  </a:lnTo>
                  <a:lnTo>
                    <a:pt x="81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8" y="6"/>
                  </a:lnTo>
                  <a:lnTo>
                    <a:pt x="90" y="6"/>
                  </a:lnTo>
                  <a:lnTo>
                    <a:pt x="92" y="4"/>
                  </a:lnTo>
                  <a:lnTo>
                    <a:pt x="95" y="4"/>
                  </a:lnTo>
                  <a:lnTo>
                    <a:pt x="98" y="3"/>
                  </a:lnTo>
                  <a:lnTo>
                    <a:pt x="101" y="3"/>
                  </a:lnTo>
                  <a:lnTo>
                    <a:pt x="102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8" name="Google Shape;318;p3"/>
            <p:cNvSpPr/>
            <p:nvPr/>
          </p:nvSpPr>
          <p:spPr>
            <a:xfrm>
              <a:off x="4297170" y="4639115"/>
              <a:ext cx="14727" cy="18206"/>
            </a:xfrm>
            <a:custGeom>
              <a:rect b="b" l="l" r="r" t="t"/>
              <a:pathLst>
                <a:path extrusionOk="0" h="29" w="21">
                  <a:moveTo>
                    <a:pt x="18" y="5"/>
                  </a:moveTo>
                  <a:lnTo>
                    <a:pt x="20" y="5"/>
                  </a:lnTo>
                  <a:lnTo>
                    <a:pt x="21" y="5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0" y="10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5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0" y="29"/>
                  </a:lnTo>
                  <a:lnTo>
                    <a:pt x="15" y="29"/>
                  </a:lnTo>
                  <a:lnTo>
                    <a:pt x="11" y="28"/>
                  </a:lnTo>
                  <a:lnTo>
                    <a:pt x="8" y="28"/>
                  </a:lnTo>
                  <a:lnTo>
                    <a:pt x="5" y="25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1" y="12"/>
                  </a:lnTo>
                  <a:lnTo>
                    <a:pt x="3" y="9"/>
                  </a:lnTo>
                  <a:lnTo>
                    <a:pt x="4" y="6"/>
                  </a:lnTo>
                  <a:lnTo>
                    <a:pt x="5" y="5"/>
                  </a:lnTo>
                  <a:lnTo>
                    <a:pt x="7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3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9" name="Google Shape;319;p3"/>
            <p:cNvSpPr/>
            <p:nvPr/>
          </p:nvSpPr>
          <p:spPr>
            <a:xfrm>
              <a:off x="3139328" y="4148188"/>
              <a:ext cx="8416" cy="1884"/>
            </a:xfrm>
            <a:custGeom>
              <a:rect b="b" l="l" r="r" t="t"/>
              <a:pathLst>
                <a:path extrusionOk="0" h="3" w="12">
                  <a:moveTo>
                    <a:pt x="8" y="2"/>
                  </a:moveTo>
                  <a:lnTo>
                    <a:pt x="8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2"/>
                  </a:lnTo>
                  <a:close/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2" y="3"/>
                  </a:lnTo>
                  <a:lnTo>
                    <a:pt x="10" y="3"/>
                  </a:lnTo>
                  <a:close/>
                  <a:moveTo>
                    <a:pt x="0" y="2"/>
                  </a:moveTo>
                  <a:lnTo>
                    <a:pt x="2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0" name="Google Shape;320;p3"/>
            <p:cNvSpPr/>
            <p:nvPr/>
          </p:nvSpPr>
          <p:spPr>
            <a:xfrm>
              <a:off x="4102911" y="4131865"/>
              <a:ext cx="117818" cy="166363"/>
            </a:xfrm>
            <a:custGeom>
              <a:rect b="b" l="l" r="r" t="t"/>
              <a:pathLst>
                <a:path extrusionOk="0" h="265" w="168">
                  <a:moveTo>
                    <a:pt x="168" y="67"/>
                  </a:moveTo>
                  <a:lnTo>
                    <a:pt x="168" y="75"/>
                  </a:lnTo>
                  <a:lnTo>
                    <a:pt x="168" y="82"/>
                  </a:lnTo>
                  <a:lnTo>
                    <a:pt x="168" y="90"/>
                  </a:lnTo>
                  <a:lnTo>
                    <a:pt x="168" y="97"/>
                  </a:lnTo>
                  <a:lnTo>
                    <a:pt x="168" y="105"/>
                  </a:lnTo>
                  <a:lnTo>
                    <a:pt x="168" y="112"/>
                  </a:lnTo>
                  <a:lnTo>
                    <a:pt x="168" y="120"/>
                  </a:lnTo>
                  <a:lnTo>
                    <a:pt x="168" y="127"/>
                  </a:lnTo>
                  <a:lnTo>
                    <a:pt x="168" y="129"/>
                  </a:lnTo>
                  <a:lnTo>
                    <a:pt x="168" y="130"/>
                  </a:lnTo>
                  <a:lnTo>
                    <a:pt x="168" y="130"/>
                  </a:lnTo>
                  <a:lnTo>
                    <a:pt x="168" y="130"/>
                  </a:lnTo>
                  <a:lnTo>
                    <a:pt x="164" y="130"/>
                  </a:lnTo>
                  <a:lnTo>
                    <a:pt x="163" y="130"/>
                  </a:lnTo>
                  <a:lnTo>
                    <a:pt x="160" y="130"/>
                  </a:lnTo>
                  <a:lnTo>
                    <a:pt x="157" y="130"/>
                  </a:lnTo>
                  <a:lnTo>
                    <a:pt x="154" y="130"/>
                  </a:lnTo>
                  <a:lnTo>
                    <a:pt x="153" y="132"/>
                  </a:lnTo>
                  <a:lnTo>
                    <a:pt x="151" y="133"/>
                  </a:lnTo>
                  <a:lnTo>
                    <a:pt x="153" y="137"/>
                  </a:lnTo>
                  <a:lnTo>
                    <a:pt x="153" y="139"/>
                  </a:lnTo>
                  <a:lnTo>
                    <a:pt x="151" y="140"/>
                  </a:lnTo>
                  <a:lnTo>
                    <a:pt x="151" y="140"/>
                  </a:lnTo>
                  <a:lnTo>
                    <a:pt x="150" y="142"/>
                  </a:lnTo>
                  <a:lnTo>
                    <a:pt x="148" y="142"/>
                  </a:lnTo>
                  <a:lnTo>
                    <a:pt x="148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6" y="147"/>
                  </a:lnTo>
                  <a:lnTo>
                    <a:pt x="144" y="149"/>
                  </a:lnTo>
                  <a:lnTo>
                    <a:pt x="143" y="149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4" y="152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6" y="156"/>
                  </a:lnTo>
                  <a:lnTo>
                    <a:pt x="146" y="156"/>
                  </a:lnTo>
                  <a:lnTo>
                    <a:pt x="144" y="157"/>
                  </a:lnTo>
                  <a:lnTo>
                    <a:pt x="143" y="157"/>
                  </a:lnTo>
                  <a:lnTo>
                    <a:pt x="143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0" y="160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38" y="163"/>
                  </a:lnTo>
                  <a:lnTo>
                    <a:pt x="138" y="165"/>
                  </a:lnTo>
                  <a:lnTo>
                    <a:pt x="140" y="166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0" y="170"/>
                  </a:lnTo>
                  <a:lnTo>
                    <a:pt x="140" y="170"/>
                  </a:lnTo>
                  <a:lnTo>
                    <a:pt x="140" y="172"/>
                  </a:lnTo>
                  <a:lnTo>
                    <a:pt x="137" y="173"/>
                  </a:lnTo>
                  <a:lnTo>
                    <a:pt x="136" y="175"/>
                  </a:lnTo>
                  <a:lnTo>
                    <a:pt x="134" y="177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4" y="180"/>
                  </a:lnTo>
                  <a:lnTo>
                    <a:pt x="136" y="180"/>
                  </a:lnTo>
                  <a:lnTo>
                    <a:pt x="137" y="180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3" y="180"/>
                  </a:lnTo>
                  <a:lnTo>
                    <a:pt x="143" y="183"/>
                  </a:lnTo>
                  <a:lnTo>
                    <a:pt x="143" y="185"/>
                  </a:lnTo>
                  <a:lnTo>
                    <a:pt x="144" y="186"/>
                  </a:lnTo>
                  <a:lnTo>
                    <a:pt x="144" y="189"/>
                  </a:lnTo>
                  <a:lnTo>
                    <a:pt x="144" y="190"/>
                  </a:lnTo>
                  <a:lnTo>
                    <a:pt x="144" y="190"/>
                  </a:lnTo>
                  <a:lnTo>
                    <a:pt x="146" y="192"/>
                  </a:lnTo>
                  <a:lnTo>
                    <a:pt x="146" y="192"/>
                  </a:lnTo>
                  <a:lnTo>
                    <a:pt x="146" y="197"/>
                  </a:lnTo>
                  <a:lnTo>
                    <a:pt x="146" y="199"/>
                  </a:lnTo>
                  <a:lnTo>
                    <a:pt x="147" y="199"/>
                  </a:lnTo>
                  <a:lnTo>
                    <a:pt x="148" y="200"/>
                  </a:lnTo>
                  <a:lnTo>
                    <a:pt x="148" y="200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1" y="202"/>
                  </a:lnTo>
                  <a:lnTo>
                    <a:pt x="151" y="203"/>
                  </a:lnTo>
                  <a:lnTo>
                    <a:pt x="151" y="205"/>
                  </a:lnTo>
                  <a:lnTo>
                    <a:pt x="151" y="207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48" y="209"/>
                  </a:lnTo>
                  <a:lnTo>
                    <a:pt x="147" y="209"/>
                  </a:lnTo>
                  <a:lnTo>
                    <a:pt x="144" y="207"/>
                  </a:lnTo>
                  <a:lnTo>
                    <a:pt x="143" y="209"/>
                  </a:lnTo>
                  <a:lnTo>
                    <a:pt x="140" y="209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38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6" y="212"/>
                  </a:lnTo>
                  <a:lnTo>
                    <a:pt x="133" y="213"/>
                  </a:lnTo>
                  <a:lnTo>
                    <a:pt x="133" y="215"/>
                  </a:lnTo>
                  <a:lnTo>
                    <a:pt x="131" y="215"/>
                  </a:lnTo>
                  <a:lnTo>
                    <a:pt x="131" y="216"/>
                  </a:lnTo>
                  <a:lnTo>
                    <a:pt x="133" y="216"/>
                  </a:lnTo>
                  <a:lnTo>
                    <a:pt x="133" y="217"/>
                  </a:lnTo>
                  <a:lnTo>
                    <a:pt x="131" y="219"/>
                  </a:lnTo>
                  <a:lnTo>
                    <a:pt x="131" y="220"/>
                  </a:lnTo>
                  <a:lnTo>
                    <a:pt x="130" y="220"/>
                  </a:lnTo>
                  <a:lnTo>
                    <a:pt x="128" y="220"/>
                  </a:lnTo>
                  <a:lnTo>
                    <a:pt x="128" y="222"/>
                  </a:lnTo>
                  <a:lnTo>
                    <a:pt x="127" y="225"/>
                  </a:lnTo>
                  <a:lnTo>
                    <a:pt x="127" y="225"/>
                  </a:lnTo>
                  <a:lnTo>
                    <a:pt x="126" y="225"/>
                  </a:lnTo>
                  <a:lnTo>
                    <a:pt x="121" y="229"/>
                  </a:lnTo>
                  <a:lnTo>
                    <a:pt x="120" y="230"/>
                  </a:lnTo>
                  <a:lnTo>
                    <a:pt x="118" y="232"/>
                  </a:lnTo>
                  <a:lnTo>
                    <a:pt x="117" y="233"/>
                  </a:lnTo>
                  <a:lnTo>
                    <a:pt x="116" y="235"/>
                  </a:lnTo>
                  <a:lnTo>
                    <a:pt x="116" y="235"/>
                  </a:lnTo>
                  <a:lnTo>
                    <a:pt x="114" y="235"/>
                  </a:lnTo>
                  <a:lnTo>
                    <a:pt x="114" y="236"/>
                  </a:lnTo>
                  <a:lnTo>
                    <a:pt x="110" y="237"/>
                  </a:lnTo>
                  <a:lnTo>
                    <a:pt x="106" y="237"/>
                  </a:lnTo>
                  <a:lnTo>
                    <a:pt x="104" y="239"/>
                  </a:lnTo>
                  <a:lnTo>
                    <a:pt x="101" y="239"/>
                  </a:lnTo>
                  <a:lnTo>
                    <a:pt x="100" y="240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1" y="240"/>
                  </a:lnTo>
                  <a:lnTo>
                    <a:pt x="90" y="240"/>
                  </a:lnTo>
                  <a:lnTo>
                    <a:pt x="88" y="242"/>
                  </a:lnTo>
                  <a:lnTo>
                    <a:pt x="87" y="242"/>
                  </a:lnTo>
                  <a:lnTo>
                    <a:pt x="87" y="242"/>
                  </a:lnTo>
                  <a:lnTo>
                    <a:pt x="87" y="243"/>
                  </a:lnTo>
                  <a:lnTo>
                    <a:pt x="87" y="243"/>
                  </a:lnTo>
                  <a:lnTo>
                    <a:pt x="90" y="245"/>
                  </a:lnTo>
                  <a:lnTo>
                    <a:pt x="90" y="246"/>
                  </a:lnTo>
                  <a:lnTo>
                    <a:pt x="90" y="246"/>
                  </a:lnTo>
                  <a:lnTo>
                    <a:pt x="90" y="247"/>
                  </a:lnTo>
                  <a:lnTo>
                    <a:pt x="90" y="247"/>
                  </a:lnTo>
                  <a:lnTo>
                    <a:pt x="88" y="247"/>
                  </a:lnTo>
                  <a:lnTo>
                    <a:pt x="87" y="250"/>
                  </a:lnTo>
                  <a:lnTo>
                    <a:pt x="84" y="252"/>
                  </a:lnTo>
                  <a:lnTo>
                    <a:pt x="83" y="253"/>
                  </a:lnTo>
                  <a:lnTo>
                    <a:pt x="83" y="253"/>
                  </a:lnTo>
                  <a:lnTo>
                    <a:pt x="83" y="255"/>
                  </a:lnTo>
                  <a:lnTo>
                    <a:pt x="81" y="256"/>
                  </a:lnTo>
                  <a:lnTo>
                    <a:pt x="80" y="256"/>
                  </a:lnTo>
                  <a:lnTo>
                    <a:pt x="77" y="256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7" y="256"/>
                  </a:lnTo>
                  <a:lnTo>
                    <a:pt x="64" y="257"/>
                  </a:lnTo>
                  <a:lnTo>
                    <a:pt x="64" y="257"/>
                  </a:lnTo>
                  <a:lnTo>
                    <a:pt x="63" y="257"/>
                  </a:lnTo>
                  <a:lnTo>
                    <a:pt x="60" y="259"/>
                  </a:lnTo>
                  <a:lnTo>
                    <a:pt x="59" y="262"/>
                  </a:lnTo>
                  <a:lnTo>
                    <a:pt x="57" y="262"/>
                  </a:lnTo>
                  <a:lnTo>
                    <a:pt x="54" y="262"/>
                  </a:lnTo>
                  <a:lnTo>
                    <a:pt x="54" y="263"/>
                  </a:lnTo>
                  <a:lnTo>
                    <a:pt x="53" y="263"/>
                  </a:lnTo>
                  <a:lnTo>
                    <a:pt x="51" y="262"/>
                  </a:lnTo>
                  <a:lnTo>
                    <a:pt x="50" y="260"/>
                  </a:lnTo>
                  <a:lnTo>
                    <a:pt x="50" y="259"/>
                  </a:lnTo>
                  <a:lnTo>
                    <a:pt x="50" y="259"/>
                  </a:lnTo>
                  <a:lnTo>
                    <a:pt x="49" y="259"/>
                  </a:lnTo>
                  <a:lnTo>
                    <a:pt x="49" y="259"/>
                  </a:lnTo>
                  <a:lnTo>
                    <a:pt x="47" y="260"/>
                  </a:lnTo>
                  <a:lnTo>
                    <a:pt x="47" y="262"/>
                  </a:lnTo>
                  <a:lnTo>
                    <a:pt x="44" y="262"/>
                  </a:lnTo>
                  <a:lnTo>
                    <a:pt x="41" y="263"/>
                  </a:lnTo>
                  <a:lnTo>
                    <a:pt x="40" y="265"/>
                  </a:lnTo>
                  <a:lnTo>
                    <a:pt x="39" y="265"/>
                  </a:lnTo>
                  <a:lnTo>
                    <a:pt x="36" y="265"/>
                  </a:lnTo>
                  <a:lnTo>
                    <a:pt x="34" y="265"/>
                  </a:lnTo>
                  <a:lnTo>
                    <a:pt x="33" y="265"/>
                  </a:lnTo>
                  <a:lnTo>
                    <a:pt x="33" y="263"/>
                  </a:lnTo>
                  <a:lnTo>
                    <a:pt x="33" y="262"/>
                  </a:lnTo>
                  <a:lnTo>
                    <a:pt x="33" y="260"/>
                  </a:lnTo>
                  <a:lnTo>
                    <a:pt x="33" y="260"/>
                  </a:lnTo>
                  <a:lnTo>
                    <a:pt x="33" y="259"/>
                  </a:lnTo>
                  <a:lnTo>
                    <a:pt x="31" y="259"/>
                  </a:lnTo>
                  <a:lnTo>
                    <a:pt x="30" y="255"/>
                  </a:lnTo>
                  <a:lnTo>
                    <a:pt x="29" y="252"/>
                  </a:lnTo>
                  <a:lnTo>
                    <a:pt x="26" y="247"/>
                  </a:lnTo>
                  <a:lnTo>
                    <a:pt x="24" y="245"/>
                  </a:lnTo>
                  <a:lnTo>
                    <a:pt x="23" y="243"/>
                  </a:lnTo>
                  <a:lnTo>
                    <a:pt x="21" y="243"/>
                  </a:lnTo>
                  <a:lnTo>
                    <a:pt x="21" y="243"/>
                  </a:lnTo>
                  <a:lnTo>
                    <a:pt x="20" y="242"/>
                  </a:lnTo>
                  <a:lnTo>
                    <a:pt x="17" y="240"/>
                  </a:lnTo>
                  <a:lnTo>
                    <a:pt x="14" y="237"/>
                  </a:lnTo>
                  <a:lnTo>
                    <a:pt x="13" y="236"/>
                  </a:lnTo>
                  <a:lnTo>
                    <a:pt x="11" y="233"/>
                  </a:lnTo>
                  <a:lnTo>
                    <a:pt x="10" y="232"/>
                  </a:lnTo>
                  <a:lnTo>
                    <a:pt x="9" y="230"/>
                  </a:lnTo>
                  <a:lnTo>
                    <a:pt x="9" y="229"/>
                  </a:lnTo>
                  <a:lnTo>
                    <a:pt x="10" y="227"/>
                  </a:lnTo>
                  <a:lnTo>
                    <a:pt x="11" y="226"/>
                  </a:lnTo>
                  <a:lnTo>
                    <a:pt x="13" y="225"/>
                  </a:lnTo>
                  <a:lnTo>
                    <a:pt x="14" y="225"/>
                  </a:lnTo>
                  <a:lnTo>
                    <a:pt x="19" y="225"/>
                  </a:lnTo>
                  <a:lnTo>
                    <a:pt x="21" y="225"/>
                  </a:lnTo>
                  <a:lnTo>
                    <a:pt x="26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30" y="225"/>
                  </a:lnTo>
                  <a:lnTo>
                    <a:pt x="33" y="225"/>
                  </a:lnTo>
                  <a:lnTo>
                    <a:pt x="36" y="225"/>
                  </a:lnTo>
                  <a:lnTo>
                    <a:pt x="33" y="223"/>
                  </a:lnTo>
                  <a:lnTo>
                    <a:pt x="31" y="220"/>
                  </a:lnTo>
                  <a:lnTo>
                    <a:pt x="29" y="219"/>
                  </a:lnTo>
                  <a:lnTo>
                    <a:pt x="27" y="216"/>
                  </a:lnTo>
                  <a:lnTo>
                    <a:pt x="27" y="213"/>
                  </a:lnTo>
                  <a:lnTo>
                    <a:pt x="26" y="210"/>
                  </a:lnTo>
                  <a:lnTo>
                    <a:pt x="26" y="206"/>
                  </a:lnTo>
                  <a:lnTo>
                    <a:pt x="26" y="203"/>
                  </a:lnTo>
                  <a:lnTo>
                    <a:pt x="26" y="202"/>
                  </a:lnTo>
                  <a:lnTo>
                    <a:pt x="27" y="199"/>
                  </a:lnTo>
                  <a:lnTo>
                    <a:pt x="26" y="197"/>
                  </a:lnTo>
                  <a:lnTo>
                    <a:pt x="26" y="196"/>
                  </a:lnTo>
                  <a:lnTo>
                    <a:pt x="26" y="195"/>
                  </a:lnTo>
                  <a:lnTo>
                    <a:pt x="26" y="193"/>
                  </a:lnTo>
                  <a:lnTo>
                    <a:pt x="24" y="190"/>
                  </a:lnTo>
                  <a:lnTo>
                    <a:pt x="24" y="189"/>
                  </a:lnTo>
                  <a:lnTo>
                    <a:pt x="23" y="187"/>
                  </a:lnTo>
                  <a:lnTo>
                    <a:pt x="21" y="183"/>
                  </a:lnTo>
                  <a:lnTo>
                    <a:pt x="21" y="180"/>
                  </a:lnTo>
                  <a:lnTo>
                    <a:pt x="19" y="180"/>
                  </a:lnTo>
                  <a:lnTo>
                    <a:pt x="17" y="179"/>
                  </a:lnTo>
                  <a:lnTo>
                    <a:pt x="17" y="176"/>
                  </a:lnTo>
                  <a:lnTo>
                    <a:pt x="16" y="175"/>
                  </a:lnTo>
                  <a:lnTo>
                    <a:pt x="13" y="175"/>
                  </a:lnTo>
                  <a:lnTo>
                    <a:pt x="10" y="175"/>
                  </a:lnTo>
                  <a:lnTo>
                    <a:pt x="7" y="172"/>
                  </a:lnTo>
                  <a:lnTo>
                    <a:pt x="4" y="167"/>
                  </a:lnTo>
                  <a:lnTo>
                    <a:pt x="3" y="163"/>
                  </a:lnTo>
                  <a:lnTo>
                    <a:pt x="0" y="156"/>
                  </a:lnTo>
                  <a:lnTo>
                    <a:pt x="0" y="153"/>
                  </a:lnTo>
                  <a:lnTo>
                    <a:pt x="1" y="152"/>
                  </a:lnTo>
                  <a:lnTo>
                    <a:pt x="3" y="149"/>
                  </a:lnTo>
                  <a:lnTo>
                    <a:pt x="6" y="143"/>
                  </a:lnTo>
                  <a:lnTo>
                    <a:pt x="11" y="135"/>
                  </a:lnTo>
                  <a:lnTo>
                    <a:pt x="14" y="130"/>
                  </a:lnTo>
                  <a:lnTo>
                    <a:pt x="20" y="123"/>
                  </a:lnTo>
                  <a:lnTo>
                    <a:pt x="29" y="116"/>
                  </a:lnTo>
                  <a:lnTo>
                    <a:pt x="33" y="110"/>
                  </a:lnTo>
                  <a:lnTo>
                    <a:pt x="33" y="102"/>
                  </a:lnTo>
                  <a:lnTo>
                    <a:pt x="33" y="93"/>
                  </a:lnTo>
                  <a:lnTo>
                    <a:pt x="34" y="87"/>
                  </a:lnTo>
                  <a:lnTo>
                    <a:pt x="34" y="79"/>
                  </a:lnTo>
                  <a:lnTo>
                    <a:pt x="36" y="72"/>
                  </a:lnTo>
                  <a:lnTo>
                    <a:pt x="36" y="67"/>
                  </a:lnTo>
                  <a:lnTo>
                    <a:pt x="36" y="60"/>
                  </a:lnTo>
                  <a:lnTo>
                    <a:pt x="37" y="59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4" y="46"/>
                  </a:lnTo>
                  <a:lnTo>
                    <a:pt x="33" y="45"/>
                  </a:lnTo>
                  <a:lnTo>
                    <a:pt x="34" y="43"/>
                  </a:lnTo>
                  <a:lnTo>
                    <a:pt x="29" y="35"/>
                  </a:lnTo>
                  <a:lnTo>
                    <a:pt x="29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26"/>
                  </a:lnTo>
                  <a:lnTo>
                    <a:pt x="26" y="18"/>
                  </a:lnTo>
                  <a:lnTo>
                    <a:pt x="24" y="8"/>
                  </a:lnTo>
                  <a:lnTo>
                    <a:pt x="30" y="5"/>
                  </a:lnTo>
                  <a:lnTo>
                    <a:pt x="34" y="2"/>
                  </a:lnTo>
                  <a:lnTo>
                    <a:pt x="40" y="0"/>
                  </a:lnTo>
                  <a:lnTo>
                    <a:pt x="46" y="3"/>
                  </a:lnTo>
                  <a:lnTo>
                    <a:pt x="53" y="6"/>
                  </a:lnTo>
                  <a:lnTo>
                    <a:pt x="61" y="10"/>
                  </a:lnTo>
                  <a:lnTo>
                    <a:pt x="69" y="15"/>
                  </a:lnTo>
                  <a:lnTo>
                    <a:pt x="76" y="19"/>
                  </a:lnTo>
                  <a:lnTo>
                    <a:pt x="84" y="23"/>
                  </a:lnTo>
                  <a:lnTo>
                    <a:pt x="91" y="28"/>
                  </a:lnTo>
                  <a:lnTo>
                    <a:pt x="100" y="32"/>
                  </a:lnTo>
                  <a:lnTo>
                    <a:pt x="107" y="35"/>
                  </a:lnTo>
                  <a:lnTo>
                    <a:pt x="114" y="39"/>
                  </a:lnTo>
                  <a:lnTo>
                    <a:pt x="123" y="43"/>
                  </a:lnTo>
                  <a:lnTo>
                    <a:pt x="130" y="48"/>
                  </a:lnTo>
                  <a:lnTo>
                    <a:pt x="138" y="52"/>
                  </a:lnTo>
                  <a:lnTo>
                    <a:pt x="146" y="55"/>
                  </a:lnTo>
                  <a:lnTo>
                    <a:pt x="153" y="59"/>
                  </a:lnTo>
                  <a:lnTo>
                    <a:pt x="161" y="63"/>
                  </a:lnTo>
                  <a:lnTo>
                    <a:pt x="168" y="6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1" name="Google Shape;321;p3"/>
            <p:cNvSpPr/>
            <p:nvPr/>
          </p:nvSpPr>
          <p:spPr>
            <a:xfrm>
              <a:off x="3950729" y="4261189"/>
              <a:ext cx="21039" cy="50851"/>
            </a:xfrm>
            <a:custGeom>
              <a:rect b="b" l="l" r="r" t="t"/>
              <a:pathLst>
                <a:path extrusionOk="0" h="81" w="30">
                  <a:moveTo>
                    <a:pt x="16" y="1"/>
                  </a:moveTo>
                  <a:lnTo>
                    <a:pt x="16" y="4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3" y="11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7" y="14"/>
                  </a:lnTo>
                  <a:lnTo>
                    <a:pt x="20" y="16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3" y="24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4" y="30"/>
                  </a:lnTo>
                  <a:lnTo>
                    <a:pt x="26" y="31"/>
                  </a:lnTo>
                  <a:lnTo>
                    <a:pt x="27" y="33"/>
                  </a:lnTo>
                  <a:lnTo>
                    <a:pt x="27" y="37"/>
                  </a:lnTo>
                  <a:lnTo>
                    <a:pt x="27" y="41"/>
                  </a:lnTo>
                  <a:lnTo>
                    <a:pt x="27" y="46"/>
                  </a:lnTo>
                  <a:lnTo>
                    <a:pt x="27" y="50"/>
                  </a:lnTo>
                  <a:lnTo>
                    <a:pt x="27" y="54"/>
                  </a:lnTo>
                  <a:lnTo>
                    <a:pt x="27" y="60"/>
                  </a:lnTo>
                  <a:lnTo>
                    <a:pt x="27" y="66"/>
                  </a:lnTo>
                  <a:lnTo>
                    <a:pt x="26" y="67"/>
                  </a:lnTo>
                  <a:lnTo>
                    <a:pt x="27" y="68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1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9" y="76"/>
                  </a:lnTo>
                  <a:lnTo>
                    <a:pt x="30" y="77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3" y="80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9" y="80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77"/>
                  </a:lnTo>
                  <a:lnTo>
                    <a:pt x="16" y="77"/>
                  </a:lnTo>
                  <a:lnTo>
                    <a:pt x="14" y="76"/>
                  </a:lnTo>
                  <a:lnTo>
                    <a:pt x="13" y="76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2" y="73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12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9" y="59"/>
                  </a:lnTo>
                  <a:lnTo>
                    <a:pt x="9" y="57"/>
                  </a:lnTo>
                  <a:lnTo>
                    <a:pt x="12" y="54"/>
                  </a:lnTo>
                  <a:lnTo>
                    <a:pt x="10" y="49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3" y="46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9" y="41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0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9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2" y="1"/>
                  </a:lnTo>
                  <a:lnTo>
                    <a:pt x="16" y="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2" name="Google Shape;322;p3"/>
            <p:cNvSpPr/>
            <p:nvPr/>
          </p:nvSpPr>
          <p:spPr>
            <a:xfrm>
              <a:off x="5045456" y="4164510"/>
              <a:ext cx="92571" cy="151924"/>
            </a:xfrm>
            <a:custGeom>
              <a:rect b="b" l="l" r="r" t="t"/>
              <a:pathLst>
                <a:path extrusionOk="0" h="242" w="132">
                  <a:moveTo>
                    <a:pt x="44" y="1"/>
                  </a:move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1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8" y="1"/>
                  </a:lnTo>
                  <a:lnTo>
                    <a:pt x="48" y="3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48" y="11"/>
                  </a:lnTo>
                  <a:lnTo>
                    <a:pt x="48" y="13"/>
                  </a:lnTo>
                  <a:lnTo>
                    <a:pt x="50" y="14"/>
                  </a:lnTo>
                  <a:lnTo>
                    <a:pt x="51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1" y="15"/>
                  </a:lnTo>
                  <a:lnTo>
                    <a:pt x="61" y="18"/>
                  </a:lnTo>
                  <a:lnTo>
                    <a:pt x="61" y="20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1" y="27"/>
                  </a:lnTo>
                  <a:lnTo>
                    <a:pt x="60" y="30"/>
                  </a:lnTo>
                  <a:lnTo>
                    <a:pt x="60" y="31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60" y="37"/>
                  </a:lnTo>
                  <a:lnTo>
                    <a:pt x="60" y="38"/>
                  </a:lnTo>
                  <a:lnTo>
                    <a:pt x="60" y="40"/>
                  </a:lnTo>
                  <a:lnTo>
                    <a:pt x="58" y="44"/>
                  </a:lnTo>
                  <a:lnTo>
                    <a:pt x="57" y="47"/>
                  </a:lnTo>
                  <a:lnTo>
                    <a:pt x="57" y="48"/>
                  </a:lnTo>
                  <a:lnTo>
                    <a:pt x="58" y="48"/>
                  </a:lnTo>
                  <a:lnTo>
                    <a:pt x="60" y="50"/>
                  </a:lnTo>
                  <a:lnTo>
                    <a:pt x="61" y="48"/>
                  </a:lnTo>
                  <a:lnTo>
                    <a:pt x="63" y="47"/>
                  </a:lnTo>
                  <a:lnTo>
                    <a:pt x="64" y="45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8" y="43"/>
                  </a:lnTo>
                  <a:lnTo>
                    <a:pt x="70" y="41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2" y="40"/>
                  </a:lnTo>
                  <a:lnTo>
                    <a:pt x="74" y="38"/>
                  </a:lnTo>
                  <a:lnTo>
                    <a:pt x="75" y="37"/>
                  </a:lnTo>
                  <a:lnTo>
                    <a:pt x="77" y="37"/>
                  </a:lnTo>
                  <a:lnTo>
                    <a:pt x="77" y="38"/>
                  </a:lnTo>
                  <a:lnTo>
                    <a:pt x="80" y="40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4" y="41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3"/>
                  </a:lnTo>
                  <a:lnTo>
                    <a:pt x="85" y="43"/>
                  </a:lnTo>
                  <a:lnTo>
                    <a:pt x="87" y="41"/>
                  </a:lnTo>
                  <a:lnTo>
                    <a:pt x="88" y="41"/>
                  </a:lnTo>
                  <a:lnTo>
                    <a:pt x="90" y="41"/>
                  </a:lnTo>
                  <a:lnTo>
                    <a:pt x="91" y="40"/>
                  </a:lnTo>
                  <a:lnTo>
                    <a:pt x="91" y="38"/>
                  </a:lnTo>
                  <a:lnTo>
                    <a:pt x="92" y="37"/>
                  </a:lnTo>
                  <a:lnTo>
                    <a:pt x="92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5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2" y="35"/>
                  </a:lnTo>
                  <a:lnTo>
                    <a:pt x="104" y="35"/>
                  </a:lnTo>
                  <a:lnTo>
                    <a:pt x="105" y="35"/>
                  </a:lnTo>
                  <a:lnTo>
                    <a:pt x="107" y="37"/>
                  </a:lnTo>
                  <a:lnTo>
                    <a:pt x="110" y="41"/>
                  </a:lnTo>
                  <a:lnTo>
                    <a:pt x="111" y="44"/>
                  </a:lnTo>
                  <a:lnTo>
                    <a:pt x="112" y="45"/>
                  </a:lnTo>
                  <a:lnTo>
                    <a:pt x="114" y="47"/>
                  </a:lnTo>
                  <a:lnTo>
                    <a:pt x="117" y="48"/>
                  </a:lnTo>
                  <a:lnTo>
                    <a:pt x="118" y="50"/>
                  </a:lnTo>
                  <a:lnTo>
                    <a:pt x="118" y="53"/>
                  </a:lnTo>
                  <a:lnTo>
                    <a:pt x="118" y="55"/>
                  </a:lnTo>
                  <a:lnTo>
                    <a:pt x="118" y="60"/>
                  </a:lnTo>
                  <a:lnTo>
                    <a:pt x="118" y="63"/>
                  </a:lnTo>
                  <a:lnTo>
                    <a:pt x="120" y="65"/>
                  </a:lnTo>
                  <a:lnTo>
                    <a:pt x="121" y="68"/>
                  </a:lnTo>
                  <a:lnTo>
                    <a:pt x="122" y="70"/>
                  </a:lnTo>
                  <a:lnTo>
                    <a:pt x="122" y="71"/>
                  </a:lnTo>
                  <a:lnTo>
                    <a:pt x="124" y="73"/>
                  </a:lnTo>
                  <a:lnTo>
                    <a:pt x="127" y="73"/>
                  </a:lnTo>
                  <a:lnTo>
                    <a:pt x="128" y="74"/>
                  </a:lnTo>
                  <a:lnTo>
                    <a:pt x="128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30" y="77"/>
                  </a:lnTo>
                  <a:lnTo>
                    <a:pt x="131" y="78"/>
                  </a:lnTo>
                  <a:lnTo>
                    <a:pt x="132" y="78"/>
                  </a:lnTo>
                  <a:lnTo>
                    <a:pt x="132" y="80"/>
                  </a:lnTo>
                  <a:lnTo>
                    <a:pt x="132" y="81"/>
                  </a:lnTo>
                  <a:lnTo>
                    <a:pt x="131" y="83"/>
                  </a:lnTo>
                  <a:lnTo>
                    <a:pt x="131" y="84"/>
                  </a:lnTo>
                  <a:lnTo>
                    <a:pt x="130" y="84"/>
                  </a:lnTo>
                  <a:lnTo>
                    <a:pt x="130" y="85"/>
                  </a:lnTo>
                  <a:lnTo>
                    <a:pt x="130" y="85"/>
                  </a:lnTo>
                  <a:lnTo>
                    <a:pt x="130" y="88"/>
                  </a:lnTo>
                  <a:lnTo>
                    <a:pt x="131" y="90"/>
                  </a:lnTo>
                  <a:lnTo>
                    <a:pt x="131" y="91"/>
                  </a:lnTo>
                  <a:lnTo>
                    <a:pt x="130" y="93"/>
                  </a:lnTo>
                  <a:lnTo>
                    <a:pt x="130" y="95"/>
                  </a:lnTo>
                  <a:lnTo>
                    <a:pt x="130" y="97"/>
                  </a:lnTo>
                  <a:lnTo>
                    <a:pt x="130" y="98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4" y="101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22" y="103"/>
                  </a:lnTo>
                  <a:lnTo>
                    <a:pt x="122" y="103"/>
                  </a:lnTo>
                  <a:lnTo>
                    <a:pt x="121" y="103"/>
                  </a:lnTo>
                  <a:lnTo>
                    <a:pt x="121" y="101"/>
                  </a:lnTo>
                  <a:lnTo>
                    <a:pt x="120" y="100"/>
                  </a:lnTo>
                  <a:lnTo>
                    <a:pt x="118" y="100"/>
                  </a:lnTo>
                  <a:lnTo>
                    <a:pt x="115" y="100"/>
                  </a:lnTo>
                  <a:lnTo>
                    <a:pt x="112" y="101"/>
                  </a:lnTo>
                  <a:lnTo>
                    <a:pt x="110" y="100"/>
                  </a:lnTo>
                  <a:lnTo>
                    <a:pt x="107" y="101"/>
                  </a:lnTo>
                  <a:lnTo>
                    <a:pt x="105" y="101"/>
                  </a:lnTo>
                  <a:lnTo>
                    <a:pt x="104" y="101"/>
                  </a:lnTo>
                  <a:lnTo>
                    <a:pt x="102" y="101"/>
                  </a:lnTo>
                  <a:lnTo>
                    <a:pt x="101" y="101"/>
                  </a:lnTo>
                  <a:lnTo>
                    <a:pt x="100" y="100"/>
                  </a:lnTo>
                  <a:lnTo>
                    <a:pt x="98" y="100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2" y="101"/>
                  </a:lnTo>
                  <a:lnTo>
                    <a:pt x="90" y="103"/>
                  </a:lnTo>
                  <a:lnTo>
                    <a:pt x="88" y="104"/>
                  </a:lnTo>
                  <a:lnTo>
                    <a:pt x="88" y="105"/>
                  </a:lnTo>
                  <a:lnTo>
                    <a:pt x="87" y="107"/>
                  </a:lnTo>
                  <a:lnTo>
                    <a:pt x="85" y="110"/>
                  </a:lnTo>
                  <a:lnTo>
                    <a:pt x="84" y="111"/>
                  </a:lnTo>
                  <a:lnTo>
                    <a:pt x="82" y="113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81" y="114"/>
                  </a:lnTo>
                  <a:lnTo>
                    <a:pt x="80" y="114"/>
                  </a:lnTo>
                  <a:lnTo>
                    <a:pt x="78" y="114"/>
                  </a:lnTo>
                  <a:lnTo>
                    <a:pt x="80" y="118"/>
                  </a:lnTo>
                  <a:lnTo>
                    <a:pt x="80" y="120"/>
                  </a:lnTo>
                  <a:lnTo>
                    <a:pt x="81" y="123"/>
                  </a:lnTo>
                  <a:lnTo>
                    <a:pt x="81" y="123"/>
                  </a:lnTo>
                  <a:lnTo>
                    <a:pt x="81" y="125"/>
                  </a:lnTo>
                  <a:lnTo>
                    <a:pt x="81" y="128"/>
                  </a:lnTo>
                  <a:lnTo>
                    <a:pt x="84" y="130"/>
                  </a:lnTo>
                  <a:lnTo>
                    <a:pt x="85" y="131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5"/>
                  </a:lnTo>
                  <a:lnTo>
                    <a:pt x="85" y="138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3"/>
                  </a:lnTo>
                  <a:lnTo>
                    <a:pt x="87" y="141"/>
                  </a:lnTo>
                  <a:lnTo>
                    <a:pt x="85" y="140"/>
                  </a:lnTo>
                  <a:lnTo>
                    <a:pt x="84" y="137"/>
                  </a:lnTo>
                  <a:lnTo>
                    <a:pt x="84" y="137"/>
                  </a:lnTo>
                  <a:lnTo>
                    <a:pt x="82" y="137"/>
                  </a:lnTo>
                  <a:lnTo>
                    <a:pt x="82" y="138"/>
                  </a:lnTo>
                  <a:lnTo>
                    <a:pt x="81" y="137"/>
                  </a:lnTo>
                  <a:lnTo>
                    <a:pt x="80" y="135"/>
                  </a:lnTo>
                  <a:lnTo>
                    <a:pt x="78" y="133"/>
                  </a:lnTo>
                  <a:lnTo>
                    <a:pt x="78" y="134"/>
                  </a:lnTo>
                  <a:lnTo>
                    <a:pt x="77" y="134"/>
                  </a:lnTo>
                  <a:lnTo>
                    <a:pt x="75" y="133"/>
                  </a:lnTo>
                  <a:lnTo>
                    <a:pt x="74" y="131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1" y="130"/>
                  </a:lnTo>
                  <a:lnTo>
                    <a:pt x="70" y="128"/>
                  </a:lnTo>
                  <a:lnTo>
                    <a:pt x="65" y="130"/>
                  </a:lnTo>
                  <a:lnTo>
                    <a:pt x="60" y="128"/>
                  </a:lnTo>
                  <a:lnTo>
                    <a:pt x="57" y="130"/>
                  </a:lnTo>
                  <a:lnTo>
                    <a:pt x="55" y="128"/>
                  </a:lnTo>
                  <a:lnTo>
                    <a:pt x="55" y="128"/>
                  </a:lnTo>
                  <a:lnTo>
                    <a:pt x="55" y="127"/>
                  </a:lnTo>
                  <a:lnTo>
                    <a:pt x="57" y="123"/>
                  </a:lnTo>
                  <a:lnTo>
                    <a:pt x="57" y="120"/>
                  </a:lnTo>
                  <a:lnTo>
                    <a:pt x="57" y="118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3" y="114"/>
                  </a:lnTo>
                  <a:lnTo>
                    <a:pt x="51" y="114"/>
                  </a:lnTo>
                  <a:lnTo>
                    <a:pt x="50" y="115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3" y="117"/>
                  </a:lnTo>
                  <a:lnTo>
                    <a:pt x="41" y="120"/>
                  </a:lnTo>
                  <a:lnTo>
                    <a:pt x="43" y="120"/>
                  </a:lnTo>
                  <a:lnTo>
                    <a:pt x="43" y="123"/>
                  </a:lnTo>
                  <a:lnTo>
                    <a:pt x="41" y="127"/>
                  </a:lnTo>
                  <a:lnTo>
                    <a:pt x="41" y="128"/>
                  </a:lnTo>
                  <a:lnTo>
                    <a:pt x="41" y="134"/>
                  </a:lnTo>
                  <a:lnTo>
                    <a:pt x="41" y="137"/>
                  </a:lnTo>
                  <a:lnTo>
                    <a:pt x="41" y="138"/>
                  </a:lnTo>
                  <a:lnTo>
                    <a:pt x="40" y="141"/>
                  </a:lnTo>
                  <a:lnTo>
                    <a:pt x="38" y="144"/>
                  </a:lnTo>
                  <a:lnTo>
                    <a:pt x="37" y="145"/>
                  </a:lnTo>
                  <a:lnTo>
                    <a:pt x="35" y="148"/>
                  </a:lnTo>
                  <a:lnTo>
                    <a:pt x="34" y="153"/>
                  </a:lnTo>
                  <a:lnTo>
                    <a:pt x="34" y="154"/>
                  </a:lnTo>
                  <a:lnTo>
                    <a:pt x="34" y="157"/>
                  </a:lnTo>
                  <a:lnTo>
                    <a:pt x="30" y="163"/>
                  </a:lnTo>
                  <a:lnTo>
                    <a:pt x="30" y="165"/>
                  </a:lnTo>
                  <a:lnTo>
                    <a:pt x="28" y="167"/>
                  </a:lnTo>
                  <a:lnTo>
                    <a:pt x="28" y="168"/>
                  </a:lnTo>
                  <a:lnTo>
                    <a:pt x="28" y="170"/>
                  </a:lnTo>
                  <a:lnTo>
                    <a:pt x="28" y="173"/>
                  </a:lnTo>
                  <a:lnTo>
                    <a:pt x="28" y="177"/>
                  </a:lnTo>
                  <a:lnTo>
                    <a:pt x="28" y="178"/>
                  </a:lnTo>
                  <a:lnTo>
                    <a:pt x="30" y="181"/>
                  </a:lnTo>
                  <a:lnTo>
                    <a:pt x="30" y="183"/>
                  </a:lnTo>
                  <a:lnTo>
                    <a:pt x="30" y="184"/>
                  </a:lnTo>
                  <a:lnTo>
                    <a:pt x="31" y="184"/>
                  </a:lnTo>
                  <a:lnTo>
                    <a:pt x="33" y="184"/>
                  </a:lnTo>
                  <a:lnTo>
                    <a:pt x="37" y="183"/>
                  </a:lnTo>
                  <a:lnTo>
                    <a:pt x="40" y="184"/>
                  </a:lnTo>
                  <a:lnTo>
                    <a:pt x="40" y="185"/>
                  </a:lnTo>
                  <a:lnTo>
                    <a:pt x="40" y="187"/>
                  </a:lnTo>
                  <a:lnTo>
                    <a:pt x="41" y="194"/>
                  </a:lnTo>
                  <a:lnTo>
                    <a:pt x="41" y="195"/>
                  </a:lnTo>
                  <a:lnTo>
                    <a:pt x="43" y="195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5" y="197"/>
                  </a:lnTo>
                  <a:lnTo>
                    <a:pt x="47" y="200"/>
                  </a:lnTo>
                  <a:lnTo>
                    <a:pt x="50" y="213"/>
                  </a:lnTo>
                  <a:lnTo>
                    <a:pt x="50" y="215"/>
                  </a:lnTo>
                  <a:lnTo>
                    <a:pt x="51" y="217"/>
                  </a:lnTo>
                  <a:lnTo>
                    <a:pt x="48" y="215"/>
                  </a:lnTo>
                  <a:lnTo>
                    <a:pt x="48" y="213"/>
                  </a:lnTo>
                  <a:lnTo>
                    <a:pt x="48" y="211"/>
                  </a:lnTo>
                  <a:lnTo>
                    <a:pt x="47" y="211"/>
                  </a:lnTo>
                  <a:lnTo>
                    <a:pt x="47" y="211"/>
                  </a:lnTo>
                  <a:lnTo>
                    <a:pt x="47" y="211"/>
                  </a:lnTo>
                  <a:lnTo>
                    <a:pt x="47" y="210"/>
                  </a:lnTo>
                  <a:lnTo>
                    <a:pt x="47" y="208"/>
                  </a:lnTo>
                  <a:lnTo>
                    <a:pt x="45" y="208"/>
                  </a:lnTo>
                  <a:lnTo>
                    <a:pt x="44" y="208"/>
                  </a:lnTo>
                  <a:lnTo>
                    <a:pt x="44" y="211"/>
                  </a:lnTo>
                  <a:lnTo>
                    <a:pt x="45" y="213"/>
                  </a:lnTo>
                  <a:lnTo>
                    <a:pt x="48" y="215"/>
                  </a:lnTo>
                  <a:lnTo>
                    <a:pt x="48" y="217"/>
                  </a:lnTo>
                  <a:lnTo>
                    <a:pt x="50" y="218"/>
                  </a:lnTo>
                  <a:lnTo>
                    <a:pt x="51" y="217"/>
                  </a:lnTo>
                  <a:lnTo>
                    <a:pt x="53" y="218"/>
                  </a:lnTo>
                  <a:lnTo>
                    <a:pt x="54" y="220"/>
                  </a:lnTo>
                  <a:lnTo>
                    <a:pt x="58" y="222"/>
                  </a:lnTo>
                  <a:lnTo>
                    <a:pt x="60" y="222"/>
                  </a:lnTo>
                  <a:lnTo>
                    <a:pt x="63" y="221"/>
                  </a:lnTo>
                  <a:lnTo>
                    <a:pt x="64" y="222"/>
                  </a:lnTo>
                  <a:lnTo>
                    <a:pt x="65" y="222"/>
                  </a:lnTo>
                  <a:lnTo>
                    <a:pt x="68" y="224"/>
                  </a:lnTo>
                  <a:lnTo>
                    <a:pt x="71" y="228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4" y="235"/>
                  </a:lnTo>
                  <a:lnTo>
                    <a:pt x="72" y="237"/>
                  </a:lnTo>
                  <a:lnTo>
                    <a:pt x="72" y="238"/>
                  </a:lnTo>
                  <a:lnTo>
                    <a:pt x="71" y="240"/>
                  </a:lnTo>
                  <a:lnTo>
                    <a:pt x="71" y="240"/>
                  </a:lnTo>
                  <a:lnTo>
                    <a:pt x="70" y="240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4" y="238"/>
                  </a:lnTo>
                  <a:lnTo>
                    <a:pt x="63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1"/>
                  </a:lnTo>
                  <a:lnTo>
                    <a:pt x="58" y="241"/>
                  </a:lnTo>
                  <a:lnTo>
                    <a:pt x="57" y="240"/>
                  </a:lnTo>
                  <a:lnTo>
                    <a:pt x="58" y="238"/>
                  </a:lnTo>
                  <a:lnTo>
                    <a:pt x="60" y="237"/>
                  </a:lnTo>
                  <a:lnTo>
                    <a:pt x="60" y="235"/>
                  </a:lnTo>
                  <a:lnTo>
                    <a:pt x="60" y="234"/>
                  </a:lnTo>
                  <a:lnTo>
                    <a:pt x="58" y="232"/>
                  </a:lnTo>
                  <a:lnTo>
                    <a:pt x="58" y="232"/>
                  </a:lnTo>
                  <a:lnTo>
                    <a:pt x="58" y="232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4" y="230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30"/>
                  </a:lnTo>
                  <a:lnTo>
                    <a:pt x="51" y="228"/>
                  </a:lnTo>
                  <a:lnTo>
                    <a:pt x="47" y="227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44" y="228"/>
                  </a:lnTo>
                  <a:lnTo>
                    <a:pt x="44" y="230"/>
                  </a:lnTo>
                  <a:lnTo>
                    <a:pt x="40" y="224"/>
                  </a:lnTo>
                  <a:lnTo>
                    <a:pt x="37" y="222"/>
                  </a:lnTo>
                  <a:lnTo>
                    <a:pt x="37" y="218"/>
                  </a:lnTo>
                  <a:lnTo>
                    <a:pt x="37" y="218"/>
                  </a:lnTo>
                  <a:lnTo>
                    <a:pt x="35" y="218"/>
                  </a:lnTo>
                  <a:lnTo>
                    <a:pt x="34" y="217"/>
                  </a:lnTo>
                  <a:lnTo>
                    <a:pt x="35" y="214"/>
                  </a:lnTo>
                  <a:lnTo>
                    <a:pt x="34" y="215"/>
                  </a:lnTo>
                  <a:lnTo>
                    <a:pt x="33" y="215"/>
                  </a:lnTo>
                  <a:lnTo>
                    <a:pt x="31" y="214"/>
                  </a:lnTo>
                  <a:lnTo>
                    <a:pt x="31" y="211"/>
                  </a:lnTo>
                  <a:lnTo>
                    <a:pt x="30" y="210"/>
                  </a:lnTo>
                  <a:lnTo>
                    <a:pt x="28" y="208"/>
                  </a:lnTo>
                  <a:lnTo>
                    <a:pt x="27" y="208"/>
                  </a:lnTo>
                  <a:lnTo>
                    <a:pt x="27" y="208"/>
                  </a:lnTo>
                  <a:lnTo>
                    <a:pt x="27" y="205"/>
                  </a:lnTo>
                  <a:lnTo>
                    <a:pt x="25" y="205"/>
                  </a:lnTo>
                  <a:lnTo>
                    <a:pt x="24" y="204"/>
                  </a:lnTo>
                  <a:lnTo>
                    <a:pt x="23" y="203"/>
                  </a:lnTo>
                  <a:lnTo>
                    <a:pt x="21" y="200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8" y="200"/>
                  </a:lnTo>
                  <a:lnTo>
                    <a:pt x="17" y="200"/>
                  </a:lnTo>
                  <a:lnTo>
                    <a:pt x="17" y="201"/>
                  </a:lnTo>
                  <a:lnTo>
                    <a:pt x="15" y="201"/>
                  </a:lnTo>
                  <a:lnTo>
                    <a:pt x="14" y="201"/>
                  </a:lnTo>
                  <a:lnTo>
                    <a:pt x="14" y="197"/>
                  </a:lnTo>
                  <a:lnTo>
                    <a:pt x="14" y="195"/>
                  </a:lnTo>
                  <a:lnTo>
                    <a:pt x="14" y="191"/>
                  </a:lnTo>
                  <a:lnTo>
                    <a:pt x="15" y="188"/>
                  </a:lnTo>
                  <a:lnTo>
                    <a:pt x="15" y="184"/>
                  </a:lnTo>
                  <a:lnTo>
                    <a:pt x="17" y="180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1" y="167"/>
                  </a:lnTo>
                  <a:lnTo>
                    <a:pt x="23" y="165"/>
                  </a:lnTo>
                  <a:lnTo>
                    <a:pt x="23" y="163"/>
                  </a:lnTo>
                  <a:lnTo>
                    <a:pt x="23" y="161"/>
                  </a:lnTo>
                  <a:lnTo>
                    <a:pt x="23" y="161"/>
                  </a:lnTo>
                  <a:lnTo>
                    <a:pt x="23" y="161"/>
                  </a:lnTo>
                  <a:lnTo>
                    <a:pt x="24" y="160"/>
                  </a:lnTo>
                  <a:lnTo>
                    <a:pt x="27" y="157"/>
                  </a:lnTo>
                  <a:lnTo>
                    <a:pt x="28" y="154"/>
                  </a:lnTo>
                  <a:lnTo>
                    <a:pt x="31" y="150"/>
                  </a:lnTo>
                  <a:lnTo>
                    <a:pt x="33" y="147"/>
                  </a:lnTo>
                  <a:lnTo>
                    <a:pt x="34" y="145"/>
                  </a:lnTo>
                  <a:lnTo>
                    <a:pt x="34" y="145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5" y="143"/>
                  </a:lnTo>
                  <a:lnTo>
                    <a:pt x="34" y="138"/>
                  </a:lnTo>
                  <a:lnTo>
                    <a:pt x="33" y="137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1" y="130"/>
                  </a:lnTo>
                  <a:lnTo>
                    <a:pt x="31" y="128"/>
                  </a:lnTo>
                  <a:lnTo>
                    <a:pt x="30" y="127"/>
                  </a:lnTo>
                  <a:lnTo>
                    <a:pt x="28" y="125"/>
                  </a:lnTo>
                  <a:lnTo>
                    <a:pt x="28" y="124"/>
                  </a:lnTo>
                  <a:lnTo>
                    <a:pt x="28" y="123"/>
                  </a:lnTo>
                  <a:lnTo>
                    <a:pt x="27" y="121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15"/>
                  </a:lnTo>
                  <a:lnTo>
                    <a:pt x="28" y="114"/>
                  </a:lnTo>
                  <a:lnTo>
                    <a:pt x="28" y="111"/>
                  </a:lnTo>
                  <a:lnTo>
                    <a:pt x="27" y="110"/>
                  </a:lnTo>
                  <a:lnTo>
                    <a:pt x="25" y="108"/>
                  </a:lnTo>
                  <a:lnTo>
                    <a:pt x="24" y="105"/>
                  </a:lnTo>
                  <a:lnTo>
                    <a:pt x="21" y="103"/>
                  </a:lnTo>
                  <a:lnTo>
                    <a:pt x="18" y="101"/>
                  </a:lnTo>
                  <a:lnTo>
                    <a:pt x="18" y="98"/>
                  </a:lnTo>
                  <a:lnTo>
                    <a:pt x="15" y="97"/>
                  </a:lnTo>
                  <a:lnTo>
                    <a:pt x="15" y="95"/>
                  </a:lnTo>
                  <a:lnTo>
                    <a:pt x="14" y="94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4" y="87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7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1"/>
                  </a:lnTo>
                  <a:lnTo>
                    <a:pt x="18" y="78"/>
                  </a:lnTo>
                  <a:lnTo>
                    <a:pt x="18" y="75"/>
                  </a:lnTo>
                  <a:lnTo>
                    <a:pt x="20" y="73"/>
                  </a:lnTo>
                  <a:lnTo>
                    <a:pt x="23" y="71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3" y="67"/>
                  </a:lnTo>
                  <a:lnTo>
                    <a:pt x="21" y="68"/>
                  </a:lnTo>
                  <a:lnTo>
                    <a:pt x="20" y="68"/>
                  </a:lnTo>
                  <a:lnTo>
                    <a:pt x="20" y="65"/>
                  </a:lnTo>
                  <a:lnTo>
                    <a:pt x="18" y="64"/>
                  </a:lnTo>
                  <a:lnTo>
                    <a:pt x="18" y="63"/>
                  </a:lnTo>
                  <a:lnTo>
                    <a:pt x="17" y="61"/>
                  </a:lnTo>
                  <a:lnTo>
                    <a:pt x="17" y="58"/>
                  </a:lnTo>
                  <a:lnTo>
                    <a:pt x="17" y="57"/>
                  </a:lnTo>
                  <a:lnTo>
                    <a:pt x="14" y="54"/>
                  </a:lnTo>
                  <a:lnTo>
                    <a:pt x="13" y="53"/>
                  </a:lnTo>
                  <a:lnTo>
                    <a:pt x="11" y="51"/>
                  </a:lnTo>
                  <a:lnTo>
                    <a:pt x="8" y="48"/>
                  </a:lnTo>
                  <a:lnTo>
                    <a:pt x="7" y="45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4" y="37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1" y="34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7" y="15"/>
                  </a:lnTo>
                  <a:lnTo>
                    <a:pt x="8" y="14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10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1"/>
                  </a:lnTo>
                  <a:close/>
                  <a:moveTo>
                    <a:pt x="81" y="140"/>
                  </a:moveTo>
                  <a:lnTo>
                    <a:pt x="81" y="140"/>
                  </a:lnTo>
                  <a:lnTo>
                    <a:pt x="80" y="140"/>
                  </a:lnTo>
                  <a:lnTo>
                    <a:pt x="80" y="140"/>
                  </a:lnTo>
                  <a:lnTo>
                    <a:pt x="78" y="140"/>
                  </a:lnTo>
                  <a:lnTo>
                    <a:pt x="78" y="137"/>
                  </a:lnTo>
                  <a:lnTo>
                    <a:pt x="78" y="137"/>
                  </a:lnTo>
                  <a:lnTo>
                    <a:pt x="78" y="137"/>
                  </a:lnTo>
                  <a:lnTo>
                    <a:pt x="80" y="138"/>
                  </a:lnTo>
                  <a:lnTo>
                    <a:pt x="80" y="140"/>
                  </a:lnTo>
                  <a:lnTo>
                    <a:pt x="81" y="140"/>
                  </a:lnTo>
                  <a:close/>
                  <a:moveTo>
                    <a:pt x="84" y="145"/>
                  </a:moveTo>
                  <a:lnTo>
                    <a:pt x="82" y="147"/>
                  </a:lnTo>
                  <a:lnTo>
                    <a:pt x="82" y="145"/>
                  </a:lnTo>
                  <a:lnTo>
                    <a:pt x="82" y="145"/>
                  </a:lnTo>
                  <a:lnTo>
                    <a:pt x="82" y="144"/>
                  </a:lnTo>
                  <a:lnTo>
                    <a:pt x="84" y="145"/>
                  </a:lnTo>
                  <a:close/>
                  <a:moveTo>
                    <a:pt x="43" y="177"/>
                  </a:moveTo>
                  <a:lnTo>
                    <a:pt x="43" y="177"/>
                  </a:lnTo>
                  <a:lnTo>
                    <a:pt x="43" y="177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3" y="175"/>
                  </a:lnTo>
                  <a:lnTo>
                    <a:pt x="43" y="175"/>
                  </a:lnTo>
                  <a:lnTo>
                    <a:pt x="43" y="177"/>
                  </a:lnTo>
                  <a:close/>
                  <a:moveTo>
                    <a:pt x="43" y="178"/>
                  </a:moveTo>
                  <a:lnTo>
                    <a:pt x="43" y="180"/>
                  </a:lnTo>
                  <a:lnTo>
                    <a:pt x="43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0"/>
                  </a:lnTo>
                  <a:lnTo>
                    <a:pt x="41" y="178"/>
                  </a:lnTo>
                  <a:lnTo>
                    <a:pt x="43" y="178"/>
                  </a:lnTo>
                  <a:lnTo>
                    <a:pt x="43" y="178"/>
                  </a:lnTo>
                  <a:close/>
                  <a:moveTo>
                    <a:pt x="14" y="187"/>
                  </a:moveTo>
                  <a:lnTo>
                    <a:pt x="14" y="187"/>
                  </a:lnTo>
                  <a:lnTo>
                    <a:pt x="14" y="187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7"/>
                  </a:lnTo>
                  <a:lnTo>
                    <a:pt x="14" y="187"/>
                  </a:lnTo>
                  <a:close/>
                  <a:moveTo>
                    <a:pt x="17" y="205"/>
                  </a:moveTo>
                  <a:lnTo>
                    <a:pt x="15" y="207"/>
                  </a:lnTo>
                  <a:lnTo>
                    <a:pt x="15" y="207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14" y="205"/>
                  </a:lnTo>
                  <a:lnTo>
                    <a:pt x="14" y="203"/>
                  </a:lnTo>
                  <a:lnTo>
                    <a:pt x="15" y="201"/>
                  </a:lnTo>
                  <a:lnTo>
                    <a:pt x="15" y="203"/>
                  </a:lnTo>
                  <a:lnTo>
                    <a:pt x="17" y="203"/>
                  </a:lnTo>
                  <a:lnTo>
                    <a:pt x="15" y="205"/>
                  </a:lnTo>
                  <a:lnTo>
                    <a:pt x="17" y="205"/>
                  </a:lnTo>
                  <a:close/>
                  <a:moveTo>
                    <a:pt x="20" y="205"/>
                  </a:moveTo>
                  <a:lnTo>
                    <a:pt x="18" y="205"/>
                  </a:lnTo>
                  <a:lnTo>
                    <a:pt x="18" y="203"/>
                  </a:lnTo>
                  <a:lnTo>
                    <a:pt x="20" y="204"/>
                  </a:lnTo>
                  <a:lnTo>
                    <a:pt x="20" y="205"/>
                  </a:lnTo>
                  <a:close/>
                  <a:moveTo>
                    <a:pt x="27" y="211"/>
                  </a:moveTo>
                  <a:lnTo>
                    <a:pt x="27" y="213"/>
                  </a:lnTo>
                  <a:lnTo>
                    <a:pt x="27" y="213"/>
                  </a:lnTo>
                  <a:lnTo>
                    <a:pt x="27" y="211"/>
                  </a:lnTo>
                  <a:lnTo>
                    <a:pt x="27" y="210"/>
                  </a:lnTo>
                  <a:lnTo>
                    <a:pt x="27" y="210"/>
                  </a:lnTo>
                  <a:lnTo>
                    <a:pt x="27" y="211"/>
                  </a:lnTo>
                  <a:close/>
                  <a:moveTo>
                    <a:pt x="37" y="228"/>
                  </a:moveTo>
                  <a:lnTo>
                    <a:pt x="35" y="228"/>
                  </a:lnTo>
                  <a:lnTo>
                    <a:pt x="35" y="227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37" y="22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3" name="Google Shape;323;p3"/>
            <p:cNvSpPr/>
            <p:nvPr/>
          </p:nvSpPr>
          <p:spPr>
            <a:xfrm>
              <a:off x="4708131" y="3922185"/>
              <a:ext cx="86961" cy="55873"/>
            </a:xfrm>
            <a:custGeom>
              <a:rect b="b" l="l" r="r" t="t"/>
              <a:pathLst>
                <a:path extrusionOk="0" h="89" w="124">
                  <a:moveTo>
                    <a:pt x="57" y="16"/>
                  </a:moveTo>
                  <a:lnTo>
                    <a:pt x="57" y="17"/>
                  </a:lnTo>
                  <a:lnTo>
                    <a:pt x="57" y="17"/>
                  </a:lnTo>
                  <a:lnTo>
                    <a:pt x="54" y="19"/>
                  </a:lnTo>
                  <a:lnTo>
                    <a:pt x="53" y="20"/>
                  </a:lnTo>
                  <a:lnTo>
                    <a:pt x="53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7" y="19"/>
                  </a:lnTo>
                  <a:lnTo>
                    <a:pt x="43" y="17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34" y="19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0" y="25"/>
                  </a:lnTo>
                  <a:lnTo>
                    <a:pt x="30" y="26"/>
                  </a:lnTo>
                  <a:lnTo>
                    <a:pt x="31" y="29"/>
                  </a:lnTo>
                  <a:lnTo>
                    <a:pt x="31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6" y="30"/>
                  </a:lnTo>
                  <a:lnTo>
                    <a:pt x="37" y="30"/>
                  </a:lnTo>
                  <a:lnTo>
                    <a:pt x="39" y="30"/>
                  </a:lnTo>
                  <a:lnTo>
                    <a:pt x="41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3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9" y="33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1" y="32"/>
                  </a:lnTo>
                  <a:lnTo>
                    <a:pt x="63" y="32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6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3"/>
                  </a:lnTo>
                  <a:lnTo>
                    <a:pt x="68" y="33"/>
                  </a:lnTo>
                  <a:lnTo>
                    <a:pt x="70" y="33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4" y="35"/>
                  </a:lnTo>
                  <a:lnTo>
                    <a:pt x="76" y="35"/>
                  </a:lnTo>
                  <a:lnTo>
                    <a:pt x="76" y="36"/>
                  </a:lnTo>
                  <a:lnTo>
                    <a:pt x="77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6"/>
                  </a:lnTo>
                  <a:lnTo>
                    <a:pt x="80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4" y="35"/>
                  </a:lnTo>
                  <a:lnTo>
                    <a:pt x="88" y="35"/>
                  </a:lnTo>
                  <a:lnTo>
                    <a:pt x="90" y="35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0" y="33"/>
                  </a:lnTo>
                  <a:lnTo>
                    <a:pt x="100" y="35"/>
                  </a:lnTo>
                  <a:lnTo>
                    <a:pt x="100" y="36"/>
                  </a:lnTo>
                  <a:lnTo>
                    <a:pt x="100" y="37"/>
                  </a:lnTo>
                  <a:lnTo>
                    <a:pt x="101" y="40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1" y="43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3" y="49"/>
                  </a:lnTo>
                  <a:lnTo>
                    <a:pt x="103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7" y="52"/>
                  </a:lnTo>
                  <a:lnTo>
                    <a:pt x="107" y="50"/>
                  </a:lnTo>
                  <a:lnTo>
                    <a:pt x="108" y="49"/>
                  </a:lnTo>
                  <a:lnTo>
                    <a:pt x="110" y="49"/>
                  </a:lnTo>
                  <a:lnTo>
                    <a:pt x="111" y="49"/>
                  </a:lnTo>
                  <a:lnTo>
                    <a:pt x="114" y="50"/>
                  </a:lnTo>
                  <a:lnTo>
                    <a:pt x="118" y="52"/>
                  </a:lnTo>
                  <a:lnTo>
                    <a:pt x="120" y="53"/>
                  </a:lnTo>
                  <a:lnTo>
                    <a:pt x="120" y="55"/>
                  </a:lnTo>
                  <a:lnTo>
                    <a:pt x="118" y="57"/>
                  </a:lnTo>
                  <a:lnTo>
                    <a:pt x="118" y="59"/>
                  </a:lnTo>
                  <a:lnTo>
                    <a:pt x="118" y="60"/>
                  </a:lnTo>
                  <a:lnTo>
                    <a:pt x="120" y="62"/>
                  </a:lnTo>
                  <a:lnTo>
                    <a:pt x="121" y="65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1" y="67"/>
                  </a:lnTo>
                  <a:lnTo>
                    <a:pt x="121" y="69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23" y="72"/>
                  </a:lnTo>
                  <a:lnTo>
                    <a:pt x="124" y="73"/>
                  </a:lnTo>
                  <a:lnTo>
                    <a:pt x="124" y="75"/>
                  </a:lnTo>
                  <a:lnTo>
                    <a:pt x="124" y="76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18" y="76"/>
                  </a:lnTo>
                  <a:lnTo>
                    <a:pt x="117" y="75"/>
                  </a:lnTo>
                  <a:lnTo>
                    <a:pt x="114" y="75"/>
                  </a:lnTo>
                  <a:lnTo>
                    <a:pt x="114" y="75"/>
                  </a:lnTo>
                  <a:lnTo>
                    <a:pt x="111" y="75"/>
                  </a:lnTo>
                  <a:lnTo>
                    <a:pt x="110" y="75"/>
                  </a:lnTo>
                  <a:lnTo>
                    <a:pt x="110" y="75"/>
                  </a:lnTo>
                  <a:lnTo>
                    <a:pt x="108" y="76"/>
                  </a:lnTo>
                  <a:lnTo>
                    <a:pt x="107" y="76"/>
                  </a:lnTo>
                  <a:lnTo>
                    <a:pt x="106" y="77"/>
                  </a:lnTo>
                  <a:lnTo>
                    <a:pt x="103" y="77"/>
                  </a:lnTo>
                  <a:lnTo>
                    <a:pt x="101" y="77"/>
                  </a:lnTo>
                  <a:lnTo>
                    <a:pt x="100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3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4" y="75"/>
                  </a:lnTo>
                  <a:lnTo>
                    <a:pt x="88" y="77"/>
                  </a:lnTo>
                  <a:lnTo>
                    <a:pt x="87" y="79"/>
                  </a:lnTo>
                  <a:lnTo>
                    <a:pt x="84" y="82"/>
                  </a:lnTo>
                  <a:lnTo>
                    <a:pt x="80" y="83"/>
                  </a:lnTo>
                  <a:lnTo>
                    <a:pt x="77" y="85"/>
                  </a:lnTo>
                  <a:lnTo>
                    <a:pt x="73" y="87"/>
                  </a:lnTo>
                  <a:lnTo>
                    <a:pt x="71" y="89"/>
                  </a:lnTo>
                  <a:lnTo>
                    <a:pt x="70" y="89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7" y="86"/>
                  </a:lnTo>
                  <a:lnTo>
                    <a:pt x="66" y="82"/>
                  </a:lnTo>
                  <a:lnTo>
                    <a:pt x="66" y="80"/>
                  </a:lnTo>
                  <a:lnTo>
                    <a:pt x="66" y="77"/>
                  </a:lnTo>
                  <a:lnTo>
                    <a:pt x="66" y="73"/>
                  </a:lnTo>
                  <a:lnTo>
                    <a:pt x="67" y="70"/>
                  </a:lnTo>
                  <a:lnTo>
                    <a:pt x="67" y="66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3"/>
                  </a:lnTo>
                  <a:lnTo>
                    <a:pt x="66" y="63"/>
                  </a:lnTo>
                  <a:lnTo>
                    <a:pt x="64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2"/>
                  </a:lnTo>
                  <a:lnTo>
                    <a:pt x="64" y="59"/>
                  </a:lnTo>
                  <a:lnTo>
                    <a:pt x="63" y="56"/>
                  </a:lnTo>
                  <a:lnTo>
                    <a:pt x="59" y="55"/>
                  </a:lnTo>
                  <a:lnTo>
                    <a:pt x="56" y="53"/>
                  </a:lnTo>
                  <a:lnTo>
                    <a:pt x="54" y="55"/>
                  </a:lnTo>
                  <a:lnTo>
                    <a:pt x="53" y="56"/>
                  </a:lnTo>
                  <a:lnTo>
                    <a:pt x="50" y="59"/>
                  </a:lnTo>
                  <a:lnTo>
                    <a:pt x="49" y="60"/>
                  </a:lnTo>
                  <a:lnTo>
                    <a:pt x="47" y="63"/>
                  </a:lnTo>
                  <a:lnTo>
                    <a:pt x="46" y="63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6" y="67"/>
                  </a:lnTo>
                  <a:lnTo>
                    <a:pt x="46" y="69"/>
                  </a:lnTo>
                  <a:lnTo>
                    <a:pt x="46" y="70"/>
                  </a:lnTo>
                  <a:lnTo>
                    <a:pt x="44" y="72"/>
                  </a:lnTo>
                  <a:lnTo>
                    <a:pt x="43" y="72"/>
                  </a:lnTo>
                  <a:lnTo>
                    <a:pt x="41" y="72"/>
                  </a:lnTo>
                  <a:lnTo>
                    <a:pt x="41" y="70"/>
                  </a:lnTo>
                  <a:lnTo>
                    <a:pt x="40" y="70"/>
                  </a:lnTo>
                  <a:lnTo>
                    <a:pt x="36" y="70"/>
                  </a:lnTo>
                  <a:lnTo>
                    <a:pt x="34" y="72"/>
                  </a:lnTo>
                  <a:lnTo>
                    <a:pt x="33" y="73"/>
                  </a:lnTo>
                  <a:lnTo>
                    <a:pt x="33" y="75"/>
                  </a:lnTo>
                  <a:lnTo>
                    <a:pt x="33" y="77"/>
                  </a:lnTo>
                  <a:lnTo>
                    <a:pt x="33" y="79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0" y="80"/>
                  </a:lnTo>
                  <a:lnTo>
                    <a:pt x="29" y="79"/>
                  </a:lnTo>
                  <a:lnTo>
                    <a:pt x="27" y="77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20" y="77"/>
                  </a:lnTo>
                  <a:lnTo>
                    <a:pt x="19" y="79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1" y="83"/>
                  </a:lnTo>
                  <a:lnTo>
                    <a:pt x="10" y="83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6" y="79"/>
                  </a:lnTo>
                  <a:lnTo>
                    <a:pt x="7" y="77"/>
                  </a:lnTo>
                  <a:lnTo>
                    <a:pt x="7" y="73"/>
                  </a:lnTo>
                  <a:lnTo>
                    <a:pt x="9" y="72"/>
                  </a:lnTo>
                  <a:lnTo>
                    <a:pt x="10" y="67"/>
                  </a:lnTo>
                  <a:lnTo>
                    <a:pt x="11" y="66"/>
                  </a:lnTo>
                  <a:lnTo>
                    <a:pt x="13" y="65"/>
                  </a:lnTo>
                  <a:lnTo>
                    <a:pt x="14" y="63"/>
                  </a:lnTo>
                  <a:lnTo>
                    <a:pt x="14" y="62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4" y="56"/>
                  </a:lnTo>
                  <a:lnTo>
                    <a:pt x="13" y="55"/>
                  </a:lnTo>
                  <a:lnTo>
                    <a:pt x="11" y="53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3" y="45"/>
                  </a:lnTo>
                  <a:lnTo>
                    <a:pt x="13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9" y="42"/>
                  </a:lnTo>
                  <a:lnTo>
                    <a:pt x="7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3" y="30"/>
                  </a:lnTo>
                  <a:lnTo>
                    <a:pt x="6" y="29"/>
                  </a:lnTo>
                  <a:lnTo>
                    <a:pt x="9" y="30"/>
                  </a:lnTo>
                  <a:lnTo>
                    <a:pt x="11" y="30"/>
                  </a:lnTo>
                  <a:lnTo>
                    <a:pt x="14" y="30"/>
                  </a:lnTo>
                  <a:lnTo>
                    <a:pt x="16" y="30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9" y="30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3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0" y="16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7" y="3"/>
                  </a:lnTo>
                  <a:lnTo>
                    <a:pt x="47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1" y="2"/>
                  </a:lnTo>
                  <a:lnTo>
                    <a:pt x="53" y="3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1" y="10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0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3" y="17"/>
                  </a:lnTo>
                  <a:lnTo>
                    <a:pt x="57" y="16"/>
                  </a:lnTo>
                  <a:lnTo>
                    <a:pt x="57" y="16"/>
                  </a:lnTo>
                  <a:close/>
                  <a:moveTo>
                    <a:pt x="53" y="2"/>
                  </a:moveTo>
                  <a:lnTo>
                    <a:pt x="53" y="2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3" y="2"/>
                  </a:lnTo>
                  <a:lnTo>
                    <a:pt x="53" y="2"/>
                  </a:lnTo>
                  <a:close/>
                  <a:moveTo>
                    <a:pt x="53" y="25"/>
                  </a:moveTo>
                  <a:lnTo>
                    <a:pt x="51" y="26"/>
                  </a:lnTo>
                  <a:lnTo>
                    <a:pt x="51" y="2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4" name="Google Shape;324;p3"/>
            <p:cNvSpPr/>
            <p:nvPr/>
          </p:nvSpPr>
          <p:spPr>
            <a:xfrm>
              <a:off x="5344209" y="4454547"/>
              <a:ext cx="37169" cy="13811"/>
            </a:xfrm>
            <a:custGeom>
              <a:rect b="b" l="l" r="r" t="t"/>
              <a:pathLst>
                <a:path extrusionOk="0" h="22" w="53">
                  <a:moveTo>
                    <a:pt x="26" y="0"/>
                  </a:moveTo>
                  <a:lnTo>
                    <a:pt x="26" y="3"/>
                  </a:lnTo>
                  <a:lnTo>
                    <a:pt x="24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17" y="22"/>
                  </a:moveTo>
                  <a:lnTo>
                    <a:pt x="16" y="2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6" y="12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9" y="3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0" y="7"/>
                  </a:lnTo>
                  <a:lnTo>
                    <a:pt x="47" y="9"/>
                  </a:lnTo>
                  <a:lnTo>
                    <a:pt x="44" y="10"/>
                  </a:lnTo>
                  <a:lnTo>
                    <a:pt x="43" y="10"/>
                  </a:lnTo>
                  <a:lnTo>
                    <a:pt x="42" y="12"/>
                  </a:lnTo>
                  <a:lnTo>
                    <a:pt x="40" y="12"/>
                  </a:lnTo>
                  <a:lnTo>
                    <a:pt x="39" y="13"/>
                  </a:lnTo>
                  <a:lnTo>
                    <a:pt x="36" y="13"/>
                  </a:lnTo>
                  <a:lnTo>
                    <a:pt x="34" y="13"/>
                  </a:lnTo>
                  <a:lnTo>
                    <a:pt x="33" y="15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3" y="19"/>
                  </a:lnTo>
                  <a:lnTo>
                    <a:pt x="19" y="20"/>
                  </a:lnTo>
                  <a:lnTo>
                    <a:pt x="17" y="22"/>
                  </a:lnTo>
                  <a:close/>
                  <a:moveTo>
                    <a:pt x="0" y="19"/>
                  </a:moveTo>
                  <a:lnTo>
                    <a:pt x="3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5" name="Google Shape;325;p3"/>
            <p:cNvSpPr/>
            <p:nvPr/>
          </p:nvSpPr>
          <p:spPr>
            <a:xfrm>
              <a:off x="4541222" y="3898330"/>
              <a:ext cx="159195" cy="98562"/>
            </a:xfrm>
            <a:custGeom>
              <a:rect b="b" l="l" r="r" t="t"/>
              <a:pathLst>
                <a:path extrusionOk="0" h="157" w="227">
                  <a:moveTo>
                    <a:pt x="225" y="114"/>
                  </a:moveTo>
                  <a:lnTo>
                    <a:pt x="224" y="114"/>
                  </a:lnTo>
                  <a:lnTo>
                    <a:pt x="222" y="113"/>
                  </a:lnTo>
                  <a:lnTo>
                    <a:pt x="218" y="113"/>
                  </a:lnTo>
                  <a:lnTo>
                    <a:pt x="215" y="110"/>
                  </a:lnTo>
                  <a:lnTo>
                    <a:pt x="212" y="110"/>
                  </a:lnTo>
                  <a:lnTo>
                    <a:pt x="212" y="110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0" y="113"/>
                  </a:lnTo>
                  <a:lnTo>
                    <a:pt x="210" y="115"/>
                  </a:lnTo>
                  <a:lnTo>
                    <a:pt x="205" y="115"/>
                  </a:lnTo>
                  <a:lnTo>
                    <a:pt x="201" y="115"/>
                  </a:lnTo>
                  <a:lnTo>
                    <a:pt x="200" y="117"/>
                  </a:lnTo>
                  <a:lnTo>
                    <a:pt x="197" y="118"/>
                  </a:lnTo>
                  <a:lnTo>
                    <a:pt x="197" y="120"/>
                  </a:lnTo>
                  <a:lnTo>
                    <a:pt x="197" y="121"/>
                  </a:lnTo>
                  <a:lnTo>
                    <a:pt x="195" y="125"/>
                  </a:lnTo>
                  <a:lnTo>
                    <a:pt x="194" y="130"/>
                  </a:lnTo>
                  <a:lnTo>
                    <a:pt x="194" y="133"/>
                  </a:lnTo>
                  <a:lnTo>
                    <a:pt x="192" y="134"/>
                  </a:lnTo>
                  <a:lnTo>
                    <a:pt x="190" y="135"/>
                  </a:lnTo>
                  <a:lnTo>
                    <a:pt x="187" y="137"/>
                  </a:lnTo>
                  <a:lnTo>
                    <a:pt x="185" y="138"/>
                  </a:lnTo>
                  <a:lnTo>
                    <a:pt x="185" y="140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0" y="141"/>
                  </a:lnTo>
                  <a:lnTo>
                    <a:pt x="177" y="143"/>
                  </a:lnTo>
                  <a:lnTo>
                    <a:pt x="172" y="143"/>
                  </a:lnTo>
                  <a:lnTo>
                    <a:pt x="171" y="143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70" y="145"/>
                  </a:lnTo>
                  <a:lnTo>
                    <a:pt x="171" y="145"/>
                  </a:lnTo>
                  <a:lnTo>
                    <a:pt x="171" y="147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70" y="151"/>
                  </a:lnTo>
                  <a:lnTo>
                    <a:pt x="168" y="153"/>
                  </a:lnTo>
                  <a:lnTo>
                    <a:pt x="165" y="153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2" y="155"/>
                  </a:lnTo>
                  <a:lnTo>
                    <a:pt x="161" y="155"/>
                  </a:lnTo>
                  <a:lnTo>
                    <a:pt x="160" y="155"/>
                  </a:lnTo>
                  <a:lnTo>
                    <a:pt x="158" y="155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5"/>
                  </a:lnTo>
                  <a:lnTo>
                    <a:pt x="155" y="154"/>
                  </a:lnTo>
                  <a:lnTo>
                    <a:pt x="154" y="153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0" y="151"/>
                  </a:lnTo>
                  <a:lnTo>
                    <a:pt x="148" y="153"/>
                  </a:lnTo>
                  <a:lnTo>
                    <a:pt x="147" y="151"/>
                  </a:lnTo>
                  <a:lnTo>
                    <a:pt x="145" y="151"/>
                  </a:lnTo>
                  <a:lnTo>
                    <a:pt x="142" y="150"/>
                  </a:lnTo>
                  <a:lnTo>
                    <a:pt x="142" y="148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41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40" y="140"/>
                  </a:lnTo>
                  <a:lnTo>
                    <a:pt x="140" y="138"/>
                  </a:lnTo>
                  <a:lnTo>
                    <a:pt x="140" y="137"/>
                  </a:lnTo>
                  <a:lnTo>
                    <a:pt x="140" y="135"/>
                  </a:lnTo>
                  <a:lnTo>
                    <a:pt x="138" y="133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1" y="128"/>
                  </a:lnTo>
                  <a:lnTo>
                    <a:pt x="125" y="128"/>
                  </a:lnTo>
                  <a:lnTo>
                    <a:pt x="125" y="127"/>
                  </a:lnTo>
                  <a:lnTo>
                    <a:pt x="122" y="124"/>
                  </a:lnTo>
                  <a:lnTo>
                    <a:pt x="121" y="121"/>
                  </a:lnTo>
                  <a:lnTo>
                    <a:pt x="120" y="120"/>
                  </a:lnTo>
                  <a:lnTo>
                    <a:pt x="115" y="118"/>
                  </a:lnTo>
                  <a:lnTo>
                    <a:pt x="113" y="117"/>
                  </a:lnTo>
                  <a:lnTo>
                    <a:pt x="111" y="115"/>
                  </a:lnTo>
                  <a:lnTo>
                    <a:pt x="110" y="114"/>
                  </a:lnTo>
                  <a:lnTo>
                    <a:pt x="110" y="111"/>
                  </a:lnTo>
                  <a:lnTo>
                    <a:pt x="110" y="111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3" y="107"/>
                  </a:lnTo>
                  <a:lnTo>
                    <a:pt x="101" y="107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5" y="108"/>
                  </a:lnTo>
                  <a:lnTo>
                    <a:pt x="94" y="108"/>
                  </a:lnTo>
                  <a:lnTo>
                    <a:pt x="93" y="108"/>
                  </a:lnTo>
                  <a:lnTo>
                    <a:pt x="93" y="107"/>
                  </a:lnTo>
                  <a:lnTo>
                    <a:pt x="90" y="105"/>
                  </a:lnTo>
                  <a:lnTo>
                    <a:pt x="88" y="104"/>
                  </a:lnTo>
                  <a:lnTo>
                    <a:pt x="87" y="104"/>
                  </a:lnTo>
                  <a:lnTo>
                    <a:pt x="84" y="103"/>
                  </a:lnTo>
                  <a:lnTo>
                    <a:pt x="81" y="103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7" y="101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7"/>
                  </a:lnTo>
                  <a:lnTo>
                    <a:pt x="75" y="95"/>
                  </a:lnTo>
                  <a:lnTo>
                    <a:pt x="74" y="97"/>
                  </a:lnTo>
                  <a:lnTo>
                    <a:pt x="71" y="97"/>
                  </a:lnTo>
                  <a:lnTo>
                    <a:pt x="68" y="95"/>
                  </a:lnTo>
                  <a:lnTo>
                    <a:pt x="67" y="95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1" y="97"/>
                  </a:lnTo>
                  <a:lnTo>
                    <a:pt x="61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57" y="98"/>
                  </a:lnTo>
                  <a:lnTo>
                    <a:pt x="54" y="98"/>
                  </a:lnTo>
                  <a:lnTo>
                    <a:pt x="50" y="98"/>
                  </a:lnTo>
                  <a:lnTo>
                    <a:pt x="45" y="100"/>
                  </a:lnTo>
                  <a:lnTo>
                    <a:pt x="44" y="101"/>
                  </a:lnTo>
                  <a:lnTo>
                    <a:pt x="41" y="103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4" y="111"/>
                  </a:lnTo>
                  <a:lnTo>
                    <a:pt x="33" y="111"/>
                  </a:lnTo>
                  <a:lnTo>
                    <a:pt x="31" y="113"/>
                  </a:lnTo>
                  <a:lnTo>
                    <a:pt x="28" y="114"/>
                  </a:lnTo>
                  <a:lnTo>
                    <a:pt x="27" y="114"/>
                  </a:lnTo>
                  <a:lnTo>
                    <a:pt x="23" y="114"/>
                  </a:lnTo>
                  <a:lnTo>
                    <a:pt x="23" y="113"/>
                  </a:lnTo>
                  <a:lnTo>
                    <a:pt x="21" y="107"/>
                  </a:lnTo>
                  <a:lnTo>
                    <a:pt x="21" y="103"/>
                  </a:lnTo>
                  <a:lnTo>
                    <a:pt x="21" y="100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3" y="81"/>
                  </a:lnTo>
                  <a:lnTo>
                    <a:pt x="21" y="80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7" y="74"/>
                  </a:lnTo>
                  <a:lnTo>
                    <a:pt x="16" y="74"/>
                  </a:lnTo>
                  <a:lnTo>
                    <a:pt x="14" y="73"/>
                  </a:lnTo>
                  <a:lnTo>
                    <a:pt x="13" y="73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0" y="73"/>
                  </a:lnTo>
                  <a:lnTo>
                    <a:pt x="10" y="71"/>
                  </a:lnTo>
                  <a:lnTo>
                    <a:pt x="11" y="67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6" y="70"/>
                  </a:lnTo>
                  <a:lnTo>
                    <a:pt x="18" y="6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6" y="67"/>
                  </a:lnTo>
                  <a:lnTo>
                    <a:pt x="16" y="64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4" y="60"/>
                  </a:lnTo>
                  <a:lnTo>
                    <a:pt x="13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7" y="61"/>
                  </a:lnTo>
                  <a:lnTo>
                    <a:pt x="8" y="64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6" y="58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4" y="48"/>
                  </a:lnTo>
                  <a:lnTo>
                    <a:pt x="6" y="45"/>
                  </a:lnTo>
                  <a:lnTo>
                    <a:pt x="6" y="41"/>
                  </a:lnTo>
                  <a:lnTo>
                    <a:pt x="7" y="37"/>
                  </a:lnTo>
                  <a:lnTo>
                    <a:pt x="8" y="40"/>
                  </a:lnTo>
                  <a:lnTo>
                    <a:pt x="8" y="41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23" y="45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8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4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3" y="43"/>
                  </a:lnTo>
                  <a:lnTo>
                    <a:pt x="34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0"/>
                  </a:lnTo>
                  <a:lnTo>
                    <a:pt x="35" y="38"/>
                  </a:lnTo>
                  <a:lnTo>
                    <a:pt x="35" y="37"/>
                  </a:lnTo>
                  <a:lnTo>
                    <a:pt x="35" y="35"/>
                  </a:lnTo>
                  <a:lnTo>
                    <a:pt x="34" y="34"/>
                  </a:lnTo>
                  <a:lnTo>
                    <a:pt x="28" y="31"/>
                  </a:lnTo>
                  <a:lnTo>
                    <a:pt x="27" y="30"/>
                  </a:lnTo>
                  <a:lnTo>
                    <a:pt x="25" y="27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0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7" y="20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31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4" y="31"/>
                  </a:lnTo>
                  <a:lnTo>
                    <a:pt x="1" y="27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6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3" y="13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31" y="13"/>
                  </a:lnTo>
                  <a:lnTo>
                    <a:pt x="35" y="15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21"/>
                  </a:lnTo>
                  <a:lnTo>
                    <a:pt x="41" y="25"/>
                  </a:lnTo>
                  <a:lnTo>
                    <a:pt x="43" y="27"/>
                  </a:lnTo>
                  <a:lnTo>
                    <a:pt x="44" y="28"/>
                  </a:lnTo>
                  <a:lnTo>
                    <a:pt x="45" y="30"/>
                  </a:lnTo>
                  <a:lnTo>
                    <a:pt x="47" y="31"/>
                  </a:lnTo>
                  <a:lnTo>
                    <a:pt x="47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51" y="33"/>
                  </a:lnTo>
                  <a:lnTo>
                    <a:pt x="54" y="31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60" y="31"/>
                  </a:lnTo>
                  <a:lnTo>
                    <a:pt x="64" y="33"/>
                  </a:lnTo>
                  <a:lnTo>
                    <a:pt x="68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3" y="30"/>
                  </a:lnTo>
                  <a:lnTo>
                    <a:pt x="73" y="28"/>
                  </a:lnTo>
                  <a:lnTo>
                    <a:pt x="71" y="24"/>
                  </a:lnTo>
                  <a:lnTo>
                    <a:pt x="71" y="20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5" y="15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83" y="14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7" y="10"/>
                  </a:lnTo>
                  <a:lnTo>
                    <a:pt x="87" y="8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3" y="8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5" y="8"/>
                  </a:lnTo>
                  <a:lnTo>
                    <a:pt x="93" y="5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3"/>
                  </a:lnTo>
                  <a:lnTo>
                    <a:pt x="93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100" y="3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4" y="5"/>
                  </a:lnTo>
                  <a:lnTo>
                    <a:pt x="105" y="5"/>
                  </a:lnTo>
                  <a:lnTo>
                    <a:pt x="107" y="5"/>
                  </a:lnTo>
                  <a:lnTo>
                    <a:pt x="107" y="7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1" y="11"/>
                  </a:lnTo>
                  <a:lnTo>
                    <a:pt x="117" y="11"/>
                  </a:lnTo>
                  <a:lnTo>
                    <a:pt x="118" y="11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1" y="20"/>
                  </a:lnTo>
                  <a:lnTo>
                    <a:pt x="122" y="20"/>
                  </a:lnTo>
                  <a:lnTo>
                    <a:pt x="122" y="21"/>
                  </a:lnTo>
                  <a:lnTo>
                    <a:pt x="124" y="21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21" y="23"/>
                  </a:lnTo>
                  <a:lnTo>
                    <a:pt x="121" y="24"/>
                  </a:lnTo>
                  <a:lnTo>
                    <a:pt x="122" y="24"/>
                  </a:lnTo>
                  <a:lnTo>
                    <a:pt x="122" y="25"/>
                  </a:lnTo>
                  <a:lnTo>
                    <a:pt x="121" y="27"/>
                  </a:lnTo>
                  <a:lnTo>
                    <a:pt x="121" y="28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4" y="31"/>
                  </a:lnTo>
                  <a:lnTo>
                    <a:pt x="127" y="34"/>
                  </a:lnTo>
                  <a:lnTo>
                    <a:pt x="128" y="34"/>
                  </a:lnTo>
                  <a:lnTo>
                    <a:pt x="132" y="33"/>
                  </a:lnTo>
                  <a:lnTo>
                    <a:pt x="134" y="33"/>
                  </a:lnTo>
                  <a:lnTo>
                    <a:pt x="135" y="34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1" y="34"/>
                  </a:lnTo>
                  <a:lnTo>
                    <a:pt x="142" y="33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4" y="33"/>
                  </a:lnTo>
                  <a:lnTo>
                    <a:pt x="147" y="34"/>
                  </a:lnTo>
                  <a:lnTo>
                    <a:pt x="150" y="35"/>
                  </a:lnTo>
                  <a:lnTo>
                    <a:pt x="151" y="37"/>
                  </a:lnTo>
                  <a:lnTo>
                    <a:pt x="151" y="38"/>
                  </a:lnTo>
                  <a:lnTo>
                    <a:pt x="152" y="41"/>
                  </a:lnTo>
                  <a:lnTo>
                    <a:pt x="154" y="45"/>
                  </a:lnTo>
                  <a:lnTo>
                    <a:pt x="155" y="48"/>
                  </a:lnTo>
                  <a:lnTo>
                    <a:pt x="157" y="50"/>
                  </a:lnTo>
                  <a:lnTo>
                    <a:pt x="158" y="53"/>
                  </a:lnTo>
                  <a:lnTo>
                    <a:pt x="160" y="58"/>
                  </a:lnTo>
                  <a:lnTo>
                    <a:pt x="160" y="60"/>
                  </a:lnTo>
                  <a:lnTo>
                    <a:pt x="161" y="61"/>
                  </a:lnTo>
                  <a:lnTo>
                    <a:pt x="162" y="63"/>
                  </a:lnTo>
                  <a:lnTo>
                    <a:pt x="167" y="65"/>
                  </a:lnTo>
                  <a:lnTo>
                    <a:pt x="170" y="67"/>
                  </a:lnTo>
                  <a:lnTo>
                    <a:pt x="172" y="70"/>
                  </a:lnTo>
                  <a:lnTo>
                    <a:pt x="177" y="73"/>
                  </a:lnTo>
                  <a:lnTo>
                    <a:pt x="180" y="77"/>
                  </a:lnTo>
                  <a:lnTo>
                    <a:pt x="181" y="77"/>
                  </a:lnTo>
                  <a:lnTo>
                    <a:pt x="184" y="78"/>
                  </a:lnTo>
                  <a:lnTo>
                    <a:pt x="187" y="81"/>
                  </a:lnTo>
                  <a:lnTo>
                    <a:pt x="190" y="81"/>
                  </a:lnTo>
                  <a:lnTo>
                    <a:pt x="192" y="84"/>
                  </a:lnTo>
                  <a:lnTo>
                    <a:pt x="194" y="85"/>
                  </a:lnTo>
                  <a:lnTo>
                    <a:pt x="195" y="85"/>
                  </a:lnTo>
                  <a:lnTo>
                    <a:pt x="197" y="87"/>
                  </a:lnTo>
                  <a:lnTo>
                    <a:pt x="201" y="90"/>
                  </a:lnTo>
                  <a:lnTo>
                    <a:pt x="207" y="94"/>
                  </a:lnTo>
                  <a:lnTo>
                    <a:pt x="210" y="95"/>
                  </a:lnTo>
                  <a:lnTo>
                    <a:pt x="211" y="95"/>
                  </a:lnTo>
                  <a:lnTo>
                    <a:pt x="212" y="95"/>
                  </a:lnTo>
                  <a:lnTo>
                    <a:pt x="212" y="95"/>
                  </a:lnTo>
                  <a:lnTo>
                    <a:pt x="214" y="95"/>
                  </a:lnTo>
                  <a:lnTo>
                    <a:pt x="215" y="95"/>
                  </a:lnTo>
                  <a:lnTo>
                    <a:pt x="218" y="97"/>
                  </a:lnTo>
                  <a:lnTo>
                    <a:pt x="219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2" y="100"/>
                  </a:lnTo>
                  <a:lnTo>
                    <a:pt x="225" y="100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3"/>
                  </a:lnTo>
                  <a:lnTo>
                    <a:pt x="225" y="105"/>
                  </a:lnTo>
                  <a:lnTo>
                    <a:pt x="224" y="108"/>
                  </a:lnTo>
                  <a:lnTo>
                    <a:pt x="224" y="111"/>
                  </a:lnTo>
                  <a:lnTo>
                    <a:pt x="225" y="114"/>
                  </a:lnTo>
                  <a:close/>
                  <a:moveTo>
                    <a:pt x="10" y="84"/>
                  </a:moveTo>
                  <a:lnTo>
                    <a:pt x="10" y="85"/>
                  </a:lnTo>
                  <a:lnTo>
                    <a:pt x="8" y="83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8" y="80"/>
                  </a:lnTo>
                  <a:lnTo>
                    <a:pt x="10" y="8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6" name="Google Shape;326;p3"/>
            <p:cNvSpPr/>
            <p:nvPr/>
          </p:nvSpPr>
          <p:spPr>
            <a:xfrm>
              <a:off x="4035587" y="3969897"/>
              <a:ext cx="45585" cy="86007"/>
            </a:xfrm>
            <a:custGeom>
              <a:rect b="b" l="l" r="r" t="t"/>
              <a:pathLst>
                <a:path extrusionOk="0" h="137" w="65">
                  <a:moveTo>
                    <a:pt x="65" y="81"/>
                  </a:moveTo>
                  <a:lnTo>
                    <a:pt x="65" y="81"/>
                  </a:lnTo>
                  <a:lnTo>
                    <a:pt x="65" y="86"/>
                  </a:lnTo>
                  <a:lnTo>
                    <a:pt x="63" y="87"/>
                  </a:lnTo>
                  <a:lnTo>
                    <a:pt x="63" y="89"/>
                  </a:lnTo>
                  <a:lnTo>
                    <a:pt x="63" y="91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65" y="96"/>
                  </a:lnTo>
                  <a:lnTo>
                    <a:pt x="62" y="97"/>
                  </a:lnTo>
                  <a:lnTo>
                    <a:pt x="59" y="98"/>
                  </a:lnTo>
                  <a:lnTo>
                    <a:pt x="56" y="100"/>
                  </a:lnTo>
                  <a:lnTo>
                    <a:pt x="53" y="101"/>
                  </a:lnTo>
                  <a:lnTo>
                    <a:pt x="53" y="103"/>
                  </a:lnTo>
                  <a:lnTo>
                    <a:pt x="52" y="104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9" y="107"/>
                  </a:lnTo>
                  <a:lnTo>
                    <a:pt x="48" y="108"/>
                  </a:lnTo>
                  <a:lnTo>
                    <a:pt x="45" y="108"/>
                  </a:lnTo>
                  <a:lnTo>
                    <a:pt x="45" y="110"/>
                  </a:lnTo>
                  <a:lnTo>
                    <a:pt x="43" y="111"/>
                  </a:lnTo>
                  <a:lnTo>
                    <a:pt x="43" y="111"/>
                  </a:lnTo>
                  <a:lnTo>
                    <a:pt x="42" y="114"/>
                  </a:lnTo>
                  <a:lnTo>
                    <a:pt x="43" y="117"/>
                  </a:lnTo>
                  <a:lnTo>
                    <a:pt x="45" y="121"/>
                  </a:lnTo>
                  <a:lnTo>
                    <a:pt x="45" y="123"/>
                  </a:lnTo>
                  <a:lnTo>
                    <a:pt x="45" y="124"/>
                  </a:lnTo>
                  <a:lnTo>
                    <a:pt x="43" y="126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39" y="133"/>
                  </a:lnTo>
                  <a:lnTo>
                    <a:pt x="39" y="134"/>
                  </a:lnTo>
                  <a:lnTo>
                    <a:pt x="38" y="134"/>
                  </a:lnTo>
                  <a:lnTo>
                    <a:pt x="35" y="136"/>
                  </a:lnTo>
                  <a:lnTo>
                    <a:pt x="33" y="137"/>
                  </a:lnTo>
                  <a:lnTo>
                    <a:pt x="32" y="131"/>
                  </a:lnTo>
                  <a:lnTo>
                    <a:pt x="30" y="128"/>
                  </a:lnTo>
                  <a:lnTo>
                    <a:pt x="30" y="126"/>
                  </a:lnTo>
                  <a:lnTo>
                    <a:pt x="29" y="120"/>
                  </a:lnTo>
                  <a:lnTo>
                    <a:pt x="28" y="116"/>
                  </a:lnTo>
                  <a:lnTo>
                    <a:pt x="28" y="110"/>
                  </a:lnTo>
                  <a:lnTo>
                    <a:pt x="26" y="106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2" y="100"/>
                  </a:lnTo>
                  <a:lnTo>
                    <a:pt x="19" y="97"/>
                  </a:lnTo>
                  <a:lnTo>
                    <a:pt x="16" y="96"/>
                  </a:lnTo>
                  <a:lnTo>
                    <a:pt x="13" y="93"/>
                  </a:lnTo>
                  <a:lnTo>
                    <a:pt x="13" y="90"/>
                  </a:lnTo>
                  <a:lnTo>
                    <a:pt x="12" y="86"/>
                  </a:lnTo>
                  <a:lnTo>
                    <a:pt x="10" y="83"/>
                  </a:lnTo>
                  <a:lnTo>
                    <a:pt x="9" y="83"/>
                  </a:lnTo>
                  <a:lnTo>
                    <a:pt x="6" y="81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3" y="77"/>
                  </a:lnTo>
                  <a:lnTo>
                    <a:pt x="2" y="74"/>
                  </a:lnTo>
                  <a:lnTo>
                    <a:pt x="0" y="71"/>
                  </a:lnTo>
                  <a:lnTo>
                    <a:pt x="0" y="69"/>
                  </a:lnTo>
                  <a:lnTo>
                    <a:pt x="0" y="66"/>
                  </a:lnTo>
                  <a:lnTo>
                    <a:pt x="0" y="64"/>
                  </a:lnTo>
                  <a:lnTo>
                    <a:pt x="2" y="63"/>
                  </a:lnTo>
                  <a:lnTo>
                    <a:pt x="5" y="60"/>
                  </a:lnTo>
                  <a:lnTo>
                    <a:pt x="6" y="57"/>
                  </a:lnTo>
                  <a:lnTo>
                    <a:pt x="8" y="56"/>
                  </a:lnTo>
                  <a:lnTo>
                    <a:pt x="9" y="56"/>
                  </a:lnTo>
                  <a:lnTo>
                    <a:pt x="10" y="54"/>
                  </a:lnTo>
                  <a:lnTo>
                    <a:pt x="12" y="53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3" y="47"/>
                  </a:lnTo>
                  <a:lnTo>
                    <a:pt x="13" y="44"/>
                  </a:lnTo>
                  <a:lnTo>
                    <a:pt x="15" y="41"/>
                  </a:lnTo>
                  <a:lnTo>
                    <a:pt x="15" y="40"/>
                  </a:lnTo>
                  <a:lnTo>
                    <a:pt x="13" y="39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3" y="26"/>
                  </a:lnTo>
                  <a:lnTo>
                    <a:pt x="13" y="23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2" y="7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1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2" y="1"/>
                  </a:lnTo>
                  <a:lnTo>
                    <a:pt x="43" y="3"/>
                  </a:lnTo>
                  <a:lnTo>
                    <a:pt x="43" y="6"/>
                  </a:lnTo>
                  <a:lnTo>
                    <a:pt x="46" y="9"/>
                  </a:lnTo>
                  <a:lnTo>
                    <a:pt x="45" y="11"/>
                  </a:lnTo>
                  <a:lnTo>
                    <a:pt x="48" y="11"/>
                  </a:lnTo>
                  <a:lnTo>
                    <a:pt x="49" y="11"/>
                  </a:lnTo>
                  <a:lnTo>
                    <a:pt x="49" y="9"/>
                  </a:lnTo>
                  <a:lnTo>
                    <a:pt x="53" y="9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9" y="9"/>
                  </a:lnTo>
                  <a:lnTo>
                    <a:pt x="58" y="10"/>
                  </a:lnTo>
                  <a:lnTo>
                    <a:pt x="56" y="11"/>
                  </a:lnTo>
                  <a:lnTo>
                    <a:pt x="53" y="17"/>
                  </a:lnTo>
                  <a:lnTo>
                    <a:pt x="50" y="19"/>
                  </a:lnTo>
                  <a:lnTo>
                    <a:pt x="49" y="20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9" y="26"/>
                  </a:lnTo>
                  <a:lnTo>
                    <a:pt x="50" y="29"/>
                  </a:lnTo>
                  <a:lnTo>
                    <a:pt x="52" y="30"/>
                  </a:lnTo>
                  <a:lnTo>
                    <a:pt x="53" y="31"/>
                  </a:lnTo>
                  <a:lnTo>
                    <a:pt x="56" y="34"/>
                  </a:lnTo>
                  <a:lnTo>
                    <a:pt x="56" y="36"/>
                  </a:lnTo>
                  <a:lnTo>
                    <a:pt x="58" y="37"/>
                  </a:lnTo>
                  <a:lnTo>
                    <a:pt x="58" y="40"/>
                  </a:lnTo>
                  <a:lnTo>
                    <a:pt x="59" y="41"/>
                  </a:lnTo>
                  <a:lnTo>
                    <a:pt x="56" y="46"/>
                  </a:lnTo>
                  <a:lnTo>
                    <a:pt x="55" y="49"/>
                  </a:lnTo>
                  <a:lnTo>
                    <a:pt x="52" y="53"/>
                  </a:lnTo>
                  <a:lnTo>
                    <a:pt x="49" y="54"/>
                  </a:lnTo>
                  <a:lnTo>
                    <a:pt x="43" y="59"/>
                  </a:lnTo>
                  <a:lnTo>
                    <a:pt x="42" y="60"/>
                  </a:lnTo>
                  <a:lnTo>
                    <a:pt x="42" y="61"/>
                  </a:lnTo>
                  <a:lnTo>
                    <a:pt x="40" y="63"/>
                  </a:lnTo>
                  <a:lnTo>
                    <a:pt x="42" y="64"/>
                  </a:lnTo>
                  <a:lnTo>
                    <a:pt x="43" y="69"/>
                  </a:lnTo>
                  <a:lnTo>
                    <a:pt x="45" y="70"/>
                  </a:lnTo>
                  <a:lnTo>
                    <a:pt x="48" y="71"/>
                  </a:lnTo>
                  <a:lnTo>
                    <a:pt x="52" y="71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3" y="74"/>
                  </a:lnTo>
                  <a:lnTo>
                    <a:pt x="55" y="74"/>
                  </a:lnTo>
                  <a:lnTo>
                    <a:pt x="56" y="73"/>
                  </a:lnTo>
                  <a:lnTo>
                    <a:pt x="58" y="74"/>
                  </a:lnTo>
                  <a:lnTo>
                    <a:pt x="59" y="77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2" y="80"/>
                  </a:lnTo>
                  <a:lnTo>
                    <a:pt x="63" y="80"/>
                  </a:lnTo>
                  <a:lnTo>
                    <a:pt x="65" y="81"/>
                  </a:lnTo>
                  <a:close/>
                  <a:moveTo>
                    <a:pt x="60" y="51"/>
                  </a:moveTo>
                  <a:lnTo>
                    <a:pt x="59" y="53"/>
                  </a:lnTo>
                  <a:lnTo>
                    <a:pt x="59" y="51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1"/>
                  </a:lnTo>
                  <a:close/>
                  <a:moveTo>
                    <a:pt x="56" y="71"/>
                  </a:moveTo>
                  <a:lnTo>
                    <a:pt x="56" y="71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3" y="71"/>
                  </a:lnTo>
                  <a:lnTo>
                    <a:pt x="53" y="71"/>
                  </a:lnTo>
                  <a:lnTo>
                    <a:pt x="52" y="70"/>
                  </a:lnTo>
                  <a:lnTo>
                    <a:pt x="52" y="69"/>
                  </a:lnTo>
                  <a:lnTo>
                    <a:pt x="52" y="67"/>
                  </a:lnTo>
                  <a:lnTo>
                    <a:pt x="55" y="67"/>
                  </a:lnTo>
                  <a:lnTo>
                    <a:pt x="56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6" y="70"/>
                  </a:lnTo>
                  <a:lnTo>
                    <a:pt x="56" y="7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7" name="Google Shape;327;p3"/>
            <p:cNvSpPr/>
            <p:nvPr/>
          </p:nvSpPr>
          <p:spPr>
            <a:xfrm>
              <a:off x="4239664" y="3907746"/>
              <a:ext cx="215299" cy="80984"/>
            </a:xfrm>
            <a:custGeom>
              <a:rect b="b" l="l" r="r" t="t"/>
              <a:pathLst>
                <a:path extrusionOk="0" h="129" w="307">
                  <a:moveTo>
                    <a:pt x="38" y="3"/>
                  </a:moveTo>
                  <a:lnTo>
                    <a:pt x="38" y="5"/>
                  </a:lnTo>
                  <a:lnTo>
                    <a:pt x="39" y="8"/>
                  </a:lnTo>
                  <a:lnTo>
                    <a:pt x="40" y="12"/>
                  </a:lnTo>
                  <a:lnTo>
                    <a:pt x="43" y="13"/>
                  </a:lnTo>
                  <a:lnTo>
                    <a:pt x="53" y="18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3" y="22"/>
                  </a:lnTo>
                  <a:lnTo>
                    <a:pt x="53" y="23"/>
                  </a:lnTo>
                  <a:lnTo>
                    <a:pt x="50" y="23"/>
                  </a:lnTo>
                  <a:lnTo>
                    <a:pt x="42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3" y="23"/>
                  </a:lnTo>
                  <a:lnTo>
                    <a:pt x="30" y="23"/>
                  </a:lnTo>
                  <a:lnTo>
                    <a:pt x="29" y="26"/>
                  </a:lnTo>
                  <a:lnTo>
                    <a:pt x="26" y="30"/>
                  </a:lnTo>
                  <a:lnTo>
                    <a:pt x="22" y="32"/>
                  </a:lnTo>
                  <a:lnTo>
                    <a:pt x="18" y="33"/>
                  </a:lnTo>
                  <a:lnTo>
                    <a:pt x="13" y="39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10" y="38"/>
                  </a:lnTo>
                  <a:lnTo>
                    <a:pt x="12" y="36"/>
                  </a:lnTo>
                  <a:lnTo>
                    <a:pt x="13" y="35"/>
                  </a:lnTo>
                  <a:lnTo>
                    <a:pt x="18" y="33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2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9" y="28"/>
                  </a:lnTo>
                  <a:lnTo>
                    <a:pt x="9" y="26"/>
                  </a:lnTo>
                  <a:lnTo>
                    <a:pt x="10" y="25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5"/>
                  </a:lnTo>
                  <a:lnTo>
                    <a:pt x="16" y="12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8" y="3"/>
                  </a:lnTo>
                  <a:close/>
                  <a:moveTo>
                    <a:pt x="254" y="12"/>
                  </a:moveTo>
                  <a:lnTo>
                    <a:pt x="256" y="13"/>
                  </a:lnTo>
                  <a:lnTo>
                    <a:pt x="257" y="13"/>
                  </a:lnTo>
                  <a:lnTo>
                    <a:pt x="259" y="13"/>
                  </a:lnTo>
                  <a:lnTo>
                    <a:pt x="259" y="15"/>
                  </a:lnTo>
                  <a:lnTo>
                    <a:pt x="260" y="13"/>
                  </a:lnTo>
                  <a:lnTo>
                    <a:pt x="263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7" y="13"/>
                  </a:lnTo>
                  <a:lnTo>
                    <a:pt x="270" y="15"/>
                  </a:lnTo>
                  <a:lnTo>
                    <a:pt x="270" y="13"/>
                  </a:lnTo>
                  <a:lnTo>
                    <a:pt x="271" y="12"/>
                  </a:lnTo>
                  <a:lnTo>
                    <a:pt x="271" y="12"/>
                  </a:lnTo>
                  <a:lnTo>
                    <a:pt x="271" y="10"/>
                  </a:lnTo>
                  <a:lnTo>
                    <a:pt x="273" y="10"/>
                  </a:lnTo>
                  <a:lnTo>
                    <a:pt x="274" y="10"/>
                  </a:lnTo>
                  <a:lnTo>
                    <a:pt x="274" y="12"/>
                  </a:lnTo>
                  <a:lnTo>
                    <a:pt x="276" y="13"/>
                  </a:lnTo>
                  <a:lnTo>
                    <a:pt x="276" y="13"/>
                  </a:lnTo>
                  <a:lnTo>
                    <a:pt x="279" y="16"/>
                  </a:lnTo>
                  <a:lnTo>
                    <a:pt x="280" y="16"/>
                  </a:lnTo>
                  <a:lnTo>
                    <a:pt x="280" y="18"/>
                  </a:lnTo>
                  <a:lnTo>
                    <a:pt x="280" y="18"/>
                  </a:lnTo>
                  <a:lnTo>
                    <a:pt x="280" y="19"/>
                  </a:lnTo>
                  <a:lnTo>
                    <a:pt x="281" y="19"/>
                  </a:lnTo>
                  <a:lnTo>
                    <a:pt x="283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4" y="20"/>
                  </a:lnTo>
                  <a:lnTo>
                    <a:pt x="284" y="20"/>
                  </a:lnTo>
                  <a:lnTo>
                    <a:pt x="284" y="20"/>
                  </a:lnTo>
                  <a:lnTo>
                    <a:pt x="286" y="22"/>
                  </a:lnTo>
                  <a:lnTo>
                    <a:pt x="286" y="23"/>
                  </a:lnTo>
                  <a:lnTo>
                    <a:pt x="287" y="25"/>
                  </a:lnTo>
                  <a:lnTo>
                    <a:pt x="289" y="25"/>
                  </a:lnTo>
                  <a:lnTo>
                    <a:pt x="289" y="28"/>
                  </a:lnTo>
                  <a:lnTo>
                    <a:pt x="290" y="29"/>
                  </a:lnTo>
                  <a:lnTo>
                    <a:pt x="290" y="30"/>
                  </a:lnTo>
                  <a:lnTo>
                    <a:pt x="289" y="32"/>
                  </a:lnTo>
                  <a:lnTo>
                    <a:pt x="287" y="35"/>
                  </a:lnTo>
                  <a:lnTo>
                    <a:pt x="287" y="35"/>
                  </a:lnTo>
                  <a:lnTo>
                    <a:pt x="287" y="36"/>
                  </a:lnTo>
                  <a:lnTo>
                    <a:pt x="287" y="38"/>
                  </a:lnTo>
                  <a:lnTo>
                    <a:pt x="289" y="39"/>
                  </a:lnTo>
                  <a:lnTo>
                    <a:pt x="289" y="40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90" y="43"/>
                  </a:lnTo>
                  <a:lnTo>
                    <a:pt x="293" y="43"/>
                  </a:lnTo>
                  <a:lnTo>
                    <a:pt x="294" y="45"/>
                  </a:lnTo>
                  <a:lnTo>
                    <a:pt x="297" y="43"/>
                  </a:lnTo>
                  <a:lnTo>
                    <a:pt x="299" y="43"/>
                  </a:lnTo>
                  <a:lnTo>
                    <a:pt x="300" y="45"/>
                  </a:lnTo>
                  <a:lnTo>
                    <a:pt x="303" y="46"/>
                  </a:lnTo>
                  <a:lnTo>
                    <a:pt x="306" y="49"/>
                  </a:lnTo>
                  <a:lnTo>
                    <a:pt x="306" y="50"/>
                  </a:lnTo>
                  <a:lnTo>
                    <a:pt x="307" y="50"/>
                  </a:lnTo>
                  <a:lnTo>
                    <a:pt x="307" y="52"/>
                  </a:lnTo>
                  <a:lnTo>
                    <a:pt x="307" y="52"/>
                  </a:lnTo>
                  <a:lnTo>
                    <a:pt x="306" y="50"/>
                  </a:lnTo>
                  <a:lnTo>
                    <a:pt x="303" y="49"/>
                  </a:lnTo>
                  <a:lnTo>
                    <a:pt x="303" y="50"/>
                  </a:lnTo>
                  <a:lnTo>
                    <a:pt x="301" y="52"/>
                  </a:lnTo>
                  <a:lnTo>
                    <a:pt x="300" y="56"/>
                  </a:lnTo>
                  <a:lnTo>
                    <a:pt x="300" y="58"/>
                  </a:lnTo>
                  <a:lnTo>
                    <a:pt x="297" y="58"/>
                  </a:lnTo>
                  <a:lnTo>
                    <a:pt x="296" y="56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9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96" y="62"/>
                  </a:lnTo>
                  <a:lnTo>
                    <a:pt x="297" y="62"/>
                  </a:lnTo>
                  <a:lnTo>
                    <a:pt x="297" y="63"/>
                  </a:lnTo>
                  <a:lnTo>
                    <a:pt x="297" y="63"/>
                  </a:lnTo>
                  <a:lnTo>
                    <a:pt x="297" y="65"/>
                  </a:lnTo>
                  <a:lnTo>
                    <a:pt x="296" y="65"/>
                  </a:lnTo>
                  <a:lnTo>
                    <a:pt x="297" y="66"/>
                  </a:lnTo>
                  <a:lnTo>
                    <a:pt x="297" y="68"/>
                  </a:lnTo>
                  <a:lnTo>
                    <a:pt x="299" y="69"/>
                  </a:lnTo>
                  <a:lnTo>
                    <a:pt x="299" y="72"/>
                  </a:lnTo>
                  <a:lnTo>
                    <a:pt x="299" y="72"/>
                  </a:lnTo>
                  <a:lnTo>
                    <a:pt x="299" y="75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00" y="78"/>
                  </a:lnTo>
                  <a:lnTo>
                    <a:pt x="301" y="78"/>
                  </a:lnTo>
                  <a:lnTo>
                    <a:pt x="301" y="79"/>
                  </a:lnTo>
                  <a:lnTo>
                    <a:pt x="301" y="79"/>
                  </a:lnTo>
                  <a:lnTo>
                    <a:pt x="300" y="80"/>
                  </a:lnTo>
                  <a:lnTo>
                    <a:pt x="300" y="82"/>
                  </a:lnTo>
                  <a:lnTo>
                    <a:pt x="300" y="82"/>
                  </a:lnTo>
                  <a:lnTo>
                    <a:pt x="299" y="83"/>
                  </a:lnTo>
                  <a:lnTo>
                    <a:pt x="299" y="85"/>
                  </a:lnTo>
                  <a:lnTo>
                    <a:pt x="297" y="86"/>
                  </a:lnTo>
                  <a:lnTo>
                    <a:pt x="297" y="88"/>
                  </a:lnTo>
                  <a:lnTo>
                    <a:pt x="297" y="88"/>
                  </a:lnTo>
                  <a:lnTo>
                    <a:pt x="300" y="88"/>
                  </a:lnTo>
                  <a:lnTo>
                    <a:pt x="300" y="89"/>
                  </a:lnTo>
                  <a:lnTo>
                    <a:pt x="303" y="90"/>
                  </a:lnTo>
                  <a:lnTo>
                    <a:pt x="303" y="92"/>
                  </a:lnTo>
                  <a:lnTo>
                    <a:pt x="303" y="92"/>
                  </a:lnTo>
                  <a:lnTo>
                    <a:pt x="303" y="93"/>
                  </a:lnTo>
                  <a:lnTo>
                    <a:pt x="303" y="93"/>
                  </a:lnTo>
                  <a:lnTo>
                    <a:pt x="303" y="95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4" y="98"/>
                  </a:lnTo>
                  <a:lnTo>
                    <a:pt x="306" y="99"/>
                  </a:lnTo>
                  <a:lnTo>
                    <a:pt x="307" y="100"/>
                  </a:lnTo>
                  <a:lnTo>
                    <a:pt x="307" y="100"/>
                  </a:lnTo>
                  <a:lnTo>
                    <a:pt x="306" y="102"/>
                  </a:lnTo>
                  <a:lnTo>
                    <a:pt x="306" y="102"/>
                  </a:lnTo>
                  <a:lnTo>
                    <a:pt x="306" y="103"/>
                  </a:lnTo>
                  <a:lnTo>
                    <a:pt x="306" y="102"/>
                  </a:lnTo>
                  <a:lnTo>
                    <a:pt x="304" y="102"/>
                  </a:lnTo>
                  <a:lnTo>
                    <a:pt x="304" y="102"/>
                  </a:lnTo>
                  <a:lnTo>
                    <a:pt x="303" y="102"/>
                  </a:lnTo>
                  <a:lnTo>
                    <a:pt x="301" y="103"/>
                  </a:lnTo>
                  <a:lnTo>
                    <a:pt x="300" y="105"/>
                  </a:lnTo>
                  <a:lnTo>
                    <a:pt x="299" y="106"/>
                  </a:lnTo>
                  <a:lnTo>
                    <a:pt x="299" y="106"/>
                  </a:lnTo>
                  <a:lnTo>
                    <a:pt x="299" y="106"/>
                  </a:lnTo>
                  <a:lnTo>
                    <a:pt x="297" y="105"/>
                  </a:lnTo>
                  <a:lnTo>
                    <a:pt x="297" y="105"/>
                  </a:lnTo>
                  <a:lnTo>
                    <a:pt x="297" y="102"/>
                  </a:lnTo>
                  <a:lnTo>
                    <a:pt x="297" y="100"/>
                  </a:lnTo>
                  <a:lnTo>
                    <a:pt x="297" y="100"/>
                  </a:lnTo>
                  <a:lnTo>
                    <a:pt x="296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3" y="100"/>
                  </a:lnTo>
                  <a:lnTo>
                    <a:pt x="291" y="102"/>
                  </a:lnTo>
                  <a:lnTo>
                    <a:pt x="289" y="100"/>
                  </a:lnTo>
                  <a:lnTo>
                    <a:pt x="287" y="100"/>
                  </a:lnTo>
                  <a:lnTo>
                    <a:pt x="286" y="100"/>
                  </a:lnTo>
                  <a:lnTo>
                    <a:pt x="283" y="99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80" y="99"/>
                  </a:lnTo>
                  <a:lnTo>
                    <a:pt x="277" y="99"/>
                  </a:lnTo>
                  <a:lnTo>
                    <a:pt x="276" y="99"/>
                  </a:lnTo>
                  <a:lnTo>
                    <a:pt x="274" y="98"/>
                  </a:lnTo>
                  <a:lnTo>
                    <a:pt x="274" y="99"/>
                  </a:lnTo>
                  <a:lnTo>
                    <a:pt x="271" y="100"/>
                  </a:lnTo>
                  <a:lnTo>
                    <a:pt x="269" y="103"/>
                  </a:lnTo>
                  <a:lnTo>
                    <a:pt x="267" y="103"/>
                  </a:lnTo>
                  <a:lnTo>
                    <a:pt x="267" y="100"/>
                  </a:lnTo>
                  <a:lnTo>
                    <a:pt x="266" y="100"/>
                  </a:lnTo>
                  <a:lnTo>
                    <a:pt x="266" y="100"/>
                  </a:lnTo>
                  <a:lnTo>
                    <a:pt x="266" y="99"/>
                  </a:lnTo>
                  <a:lnTo>
                    <a:pt x="264" y="100"/>
                  </a:lnTo>
                  <a:lnTo>
                    <a:pt x="263" y="102"/>
                  </a:lnTo>
                  <a:lnTo>
                    <a:pt x="260" y="102"/>
                  </a:lnTo>
                  <a:lnTo>
                    <a:pt x="257" y="103"/>
                  </a:lnTo>
                  <a:lnTo>
                    <a:pt x="254" y="103"/>
                  </a:lnTo>
                  <a:lnTo>
                    <a:pt x="252" y="105"/>
                  </a:lnTo>
                  <a:lnTo>
                    <a:pt x="250" y="105"/>
                  </a:lnTo>
                  <a:lnTo>
                    <a:pt x="247" y="103"/>
                  </a:lnTo>
                  <a:lnTo>
                    <a:pt x="246" y="103"/>
                  </a:lnTo>
                  <a:lnTo>
                    <a:pt x="243" y="103"/>
                  </a:lnTo>
                  <a:lnTo>
                    <a:pt x="242" y="103"/>
                  </a:lnTo>
                  <a:lnTo>
                    <a:pt x="237" y="106"/>
                  </a:lnTo>
                  <a:lnTo>
                    <a:pt x="230" y="109"/>
                  </a:lnTo>
                  <a:lnTo>
                    <a:pt x="224" y="110"/>
                  </a:lnTo>
                  <a:lnTo>
                    <a:pt x="222" y="112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13" y="112"/>
                  </a:lnTo>
                  <a:lnTo>
                    <a:pt x="210" y="112"/>
                  </a:lnTo>
                  <a:lnTo>
                    <a:pt x="209" y="112"/>
                  </a:lnTo>
                  <a:lnTo>
                    <a:pt x="207" y="110"/>
                  </a:lnTo>
                  <a:lnTo>
                    <a:pt x="204" y="109"/>
                  </a:lnTo>
                  <a:lnTo>
                    <a:pt x="204" y="108"/>
                  </a:lnTo>
                  <a:lnTo>
                    <a:pt x="203" y="108"/>
                  </a:lnTo>
                  <a:lnTo>
                    <a:pt x="202" y="108"/>
                  </a:lnTo>
                  <a:lnTo>
                    <a:pt x="196" y="110"/>
                  </a:lnTo>
                  <a:lnTo>
                    <a:pt x="194" y="110"/>
                  </a:lnTo>
                  <a:lnTo>
                    <a:pt x="193" y="110"/>
                  </a:lnTo>
                  <a:lnTo>
                    <a:pt x="190" y="112"/>
                  </a:lnTo>
                  <a:lnTo>
                    <a:pt x="189" y="113"/>
                  </a:lnTo>
                  <a:lnTo>
                    <a:pt x="187" y="113"/>
                  </a:lnTo>
                  <a:lnTo>
                    <a:pt x="184" y="112"/>
                  </a:lnTo>
                  <a:lnTo>
                    <a:pt x="183" y="113"/>
                  </a:lnTo>
                  <a:lnTo>
                    <a:pt x="182" y="112"/>
                  </a:lnTo>
                  <a:lnTo>
                    <a:pt x="180" y="110"/>
                  </a:lnTo>
                  <a:lnTo>
                    <a:pt x="179" y="110"/>
                  </a:lnTo>
                  <a:lnTo>
                    <a:pt x="176" y="109"/>
                  </a:lnTo>
                  <a:lnTo>
                    <a:pt x="176" y="110"/>
                  </a:lnTo>
                  <a:lnTo>
                    <a:pt x="176" y="112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6" y="120"/>
                  </a:lnTo>
                  <a:lnTo>
                    <a:pt x="176" y="120"/>
                  </a:lnTo>
                  <a:lnTo>
                    <a:pt x="174" y="120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2" y="122"/>
                  </a:lnTo>
                  <a:lnTo>
                    <a:pt x="172" y="126"/>
                  </a:lnTo>
                  <a:lnTo>
                    <a:pt x="170" y="126"/>
                  </a:lnTo>
                  <a:lnTo>
                    <a:pt x="169" y="126"/>
                  </a:lnTo>
                  <a:lnTo>
                    <a:pt x="169" y="129"/>
                  </a:lnTo>
                  <a:lnTo>
                    <a:pt x="167" y="129"/>
                  </a:lnTo>
                  <a:lnTo>
                    <a:pt x="166" y="128"/>
                  </a:lnTo>
                  <a:lnTo>
                    <a:pt x="164" y="128"/>
                  </a:lnTo>
                  <a:lnTo>
                    <a:pt x="164" y="126"/>
                  </a:lnTo>
                  <a:lnTo>
                    <a:pt x="164" y="122"/>
                  </a:lnTo>
                  <a:lnTo>
                    <a:pt x="163" y="119"/>
                  </a:lnTo>
                  <a:lnTo>
                    <a:pt x="164" y="118"/>
                  </a:lnTo>
                  <a:lnTo>
                    <a:pt x="166" y="115"/>
                  </a:lnTo>
                  <a:lnTo>
                    <a:pt x="169" y="112"/>
                  </a:lnTo>
                  <a:lnTo>
                    <a:pt x="169" y="110"/>
                  </a:lnTo>
                  <a:lnTo>
                    <a:pt x="169" y="109"/>
                  </a:lnTo>
                  <a:lnTo>
                    <a:pt x="167" y="109"/>
                  </a:lnTo>
                  <a:lnTo>
                    <a:pt x="166" y="108"/>
                  </a:lnTo>
                  <a:lnTo>
                    <a:pt x="164" y="109"/>
                  </a:lnTo>
                  <a:lnTo>
                    <a:pt x="163" y="110"/>
                  </a:lnTo>
                  <a:lnTo>
                    <a:pt x="162" y="110"/>
                  </a:lnTo>
                  <a:lnTo>
                    <a:pt x="160" y="112"/>
                  </a:lnTo>
                  <a:lnTo>
                    <a:pt x="160" y="113"/>
                  </a:lnTo>
                  <a:lnTo>
                    <a:pt x="159" y="113"/>
                  </a:lnTo>
                  <a:lnTo>
                    <a:pt x="156" y="115"/>
                  </a:lnTo>
                  <a:lnTo>
                    <a:pt x="153" y="113"/>
                  </a:lnTo>
                  <a:lnTo>
                    <a:pt x="149" y="112"/>
                  </a:lnTo>
                  <a:lnTo>
                    <a:pt x="147" y="109"/>
                  </a:lnTo>
                  <a:lnTo>
                    <a:pt x="145" y="109"/>
                  </a:lnTo>
                  <a:lnTo>
                    <a:pt x="143" y="110"/>
                  </a:lnTo>
                  <a:lnTo>
                    <a:pt x="139" y="113"/>
                  </a:lnTo>
                  <a:lnTo>
                    <a:pt x="135" y="119"/>
                  </a:lnTo>
                  <a:lnTo>
                    <a:pt x="133" y="119"/>
                  </a:lnTo>
                  <a:lnTo>
                    <a:pt x="129" y="122"/>
                  </a:lnTo>
                  <a:lnTo>
                    <a:pt x="126" y="123"/>
                  </a:lnTo>
                  <a:lnTo>
                    <a:pt x="125" y="122"/>
                  </a:lnTo>
                  <a:lnTo>
                    <a:pt x="119" y="123"/>
                  </a:lnTo>
                  <a:lnTo>
                    <a:pt x="116" y="123"/>
                  </a:lnTo>
                  <a:lnTo>
                    <a:pt x="115" y="125"/>
                  </a:lnTo>
                  <a:lnTo>
                    <a:pt x="110" y="123"/>
                  </a:lnTo>
                  <a:lnTo>
                    <a:pt x="107" y="122"/>
                  </a:lnTo>
                  <a:lnTo>
                    <a:pt x="106" y="120"/>
                  </a:lnTo>
                  <a:lnTo>
                    <a:pt x="103" y="116"/>
                  </a:lnTo>
                  <a:lnTo>
                    <a:pt x="102" y="115"/>
                  </a:lnTo>
                  <a:lnTo>
                    <a:pt x="99" y="113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85" y="109"/>
                  </a:lnTo>
                  <a:lnTo>
                    <a:pt x="80" y="109"/>
                  </a:lnTo>
                  <a:lnTo>
                    <a:pt x="79" y="109"/>
                  </a:lnTo>
                  <a:lnTo>
                    <a:pt x="79" y="115"/>
                  </a:lnTo>
                  <a:lnTo>
                    <a:pt x="77" y="116"/>
                  </a:lnTo>
                  <a:lnTo>
                    <a:pt x="77" y="119"/>
                  </a:lnTo>
                  <a:lnTo>
                    <a:pt x="77" y="120"/>
                  </a:lnTo>
                  <a:lnTo>
                    <a:pt x="76" y="120"/>
                  </a:lnTo>
                  <a:lnTo>
                    <a:pt x="75" y="120"/>
                  </a:lnTo>
                  <a:lnTo>
                    <a:pt x="73" y="119"/>
                  </a:lnTo>
                  <a:lnTo>
                    <a:pt x="72" y="120"/>
                  </a:lnTo>
                  <a:lnTo>
                    <a:pt x="66" y="122"/>
                  </a:lnTo>
                  <a:lnTo>
                    <a:pt x="65" y="122"/>
                  </a:lnTo>
                  <a:lnTo>
                    <a:pt x="59" y="120"/>
                  </a:lnTo>
                  <a:lnTo>
                    <a:pt x="58" y="119"/>
                  </a:lnTo>
                  <a:lnTo>
                    <a:pt x="56" y="118"/>
                  </a:lnTo>
                  <a:lnTo>
                    <a:pt x="56" y="115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2"/>
                  </a:lnTo>
                  <a:lnTo>
                    <a:pt x="53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49" y="112"/>
                  </a:lnTo>
                  <a:lnTo>
                    <a:pt x="46" y="109"/>
                  </a:lnTo>
                  <a:lnTo>
                    <a:pt x="43" y="109"/>
                  </a:lnTo>
                  <a:lnTo>
                    <a:pt x="40" y="112"/>
                  </a:lnTo>
                  <a:lnTo>
                    <a:pt x="39" y="113"/>
                  </a:lnTo>
                  <a:lnTo>
                    <a:pt x="38" y="113"/>
                  </a:lnTo>
                  <a:lnTo>
                    <a:pt x="38" y="112"/>
                  </a:lnTo>
                  <a:lnTo>
                    <a:pt x="39" y="110"/>
                  </a:lnTo>
                  <a:lnTo>
                    <a:pt x="35" y="110"/>
                  </a:lnTo>
                  <a:lnTo>
                    <a:pt x="32" y="112"/>
                  </a:lnTo>
                  <a:lnTo>
                    <a:pt x="30" y="112"/>
                  </a:lnTo>
                  <a:lnTo>
                    <a:pt x="29" y="112"/>
                  </a:lnTo>
                  <a:lnTo>
                    <a:pt x="29" y="110"/>
                  </a:lnTo>
                  <a:lnTo>
                    <a:pt x="30" y="110"/>
                  </a:lnTo>
                  <a:lnTo>
                    <a:pt x="32" y="110"/>
                  </a:lnTo>
                  <a:lnTo>
                    <a:pt x="36" y="109"/>
                  </a:lnTo>
                  <a:lnTo>
                    <a:pt x="38" y="109"/>
                  </a:lnTo>
                  <a:lnTo>
                    <a:pt x="39" y="108"/>
                  </a:lnTo>
                  <a:lnTo>
                    <a:pt x="42" y="106"/>
                  </a:lnTo>
                  <a:lnTo>
                    <a:pt x="42" y="105"/>
                  </a:lnTo>
                  <a:lnTo>
                    <a:pt x="40" y="105"/>
                  </a:lnTo>
                  <a:lnTo>
                    <a:pt x="32" y="106"/>
                  </a:lnTo>
                  <a:lnTo>
                    <a:pt x="28" y="105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5"/>
                  </a:lnTo>
                  <a:lnTo>
                    <a:pt x="26" y="103"/>
                  </a:lnTo>
                  <a:lnTo>
                    <a:pt x="28" y="103"/>
                  </a:lnTo>
                  <a:lnTo>
                    <a:pt x="30" y="102"/>
                  </a:lnTo>
                  <a:lnTo>
                    <a:pt x="30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6" y="99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5" y="93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5" y="90"/>
                  </a:lnTo>
                  <a:lnTo>
                    <a:pt x="26" y="88"/>
                  </a:lnTo>
                  <a:lnTo>
                    <a:pt x="26" y="86"/>
                  </a:lnTo>
                  <a:lnTo>
                    <a:pt x="25" y="86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19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2" y="82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13" y="72"/>
                  </a:lnTo>
                  <a:lnTo>
                    <a:pt x="13" y="73"/>
                  </a:lnTo>
                  <a:lnTo>
                    <a:pt x="15" y="75"/>
                  </a:lnTo>
                  <a:lnTo>
                    <a:pt x="16" y="76"/>
                  </a:lnTo>
                  <a:lnTo>
                    <a:pt x="15" y="78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9" y="78"/>
                  </a:lnTo>
                  <a:lnTo>
                    <a:pt x="23" y="78"/>
                  </a:lnTo>
                  <a:lnTo>
                    <a:pt x="25" y="76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9" y="75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8" y="70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20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5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8" y="60"/>
                  </a:lnTo>
                  <a:lnTo>
                    <a:pt x="16" y="59"/>
                  </a:lnTo>
                  <a:lnTo>
                    <a:pt x="18" y="58"/>
                  </a:lnTo>
                  <a:lnTo>
                    <a:pt x="19" y="56"/>
                  </a:lnTo>
                  <a:lnTo>
                    <a:pt x="20" y="55"/>
                  </a:lnTo>
                  <a:lnTo>
                    <a:pt x="20" y="53"/>
                  </a:lnTo>
                  <a:lnTo>
                    <a:pt x="19" y="53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9" y="45"/>
                  </a:lnTo>
                  <a:lnTo>
                    <a:pt x="10" y="43"/>
                  </a:lnTo>
                  <a:lnTo>
                    <a:pt x="13" y="40"/>
                  </a:lnTo>
                  <a:lnTo>
                    <a:pt x="18" y="36"/>
                  </a:lnTo>
                  <a:lnTo>
                    <a:pt x="22" y="36"/>
                  </a:lnTo>
                  <a:lnTo>
                    <a:pt x="23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9" y="38"/>
                  </a:lnTo>
                  <a:lnTo>
                    <a:pt x="33" y="38"/>
                  </a:lnTo>
                  <a:lnTo>
                    <a:pt x="35" y="38"/>
                  </a:lnTo>
                  <a:lnTo>
                    <a:pt x="35" y="36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9" y="36"/>
                  </a:lnTo>
                  <a:lnTo>
                    <a:pt x="53" y="36"/>
                  </a:lnTo>
                  <a:lnTo>
                    <a:pt x="55" y="36"/>
                  </a:lnTo>
                  <a:lnTo>
                    <a:pt x="53" y="35"/>
                  </a:lnTo>
                  <a:lnTo>
                    <a:pt x="52" y="35"/>
                  </a:lnTo>
                  <a:lnTo>
                    <a:pt x="52" y="33"/>
                  </a:lnTo>
                  <a:lnTo>
                    <a:pt x="50" y="33"/>
                  </a:lnTo>
                  <a:lnTo>
                    <a:pt x="53" y="32"/>
                  </a:lnTo>
                  <a:lnTo>
                    <a:pt x="55" y="30"/>
                  </a:lnTo>
                  <a:lnTo>
                    <a:pt x="62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6" y="29"/>
                  </a:lnTo>
                  <a:lnTo>
                    <a:pt x="59" y="28"/>
                  </a:lnTo>
                  <a:lnTo>
                    <a:pt x="58" y="26"/>
                  </a:lnTo>
                  <a:lnTo>
                    <a:pt x="56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5" y="22"/>
                  </a:lnTo>
                  <a:lnTo>
                    <a:pt x="55" y="19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69" y="20"/>
                  </a:lnTo>
                  <a:lnTo>
                    <a:pt x="75" y="19"/>
                  </a:lnTo>
                  <a:lnTo>
                    <a:pt x="83" y="22"/>
                  </a:lnTo>
                  <a:lnTo>
                    <a:pt x="90" y="22"/>
                  </a:lnTo>
                  <a:lnTo>
                    <a:pt x="92" y="20"/>
                  </a:lnTo>
                  <a:lnTo>
                    <a:pt x="93" y="16"/>
                  </a:lnTo>
                  <a:lnTo>
                    <a:pt x="103" y="10"/>
                  </a:lnTo>
                  <a:lnTo>
                    <a:pt x="107" y="8"/>
                  </a:lnTo>
                  <a:lnTo>
                    <a:pt x="110" y="6"/>
                  </a:lnTo>
                  <a:lnTo>
                    <a:pt x="117" y="5"/>
                  </a:lnTo>
                  <a:lnTo>
                    <a:pt x="122" y="2"/>
                  </a:lnTo>
                  <a:lnTo>
                    <a:pt x="125" y="2"/>
                  </a:lnTo>
                  <a:lnTo>
                    <a:pt x="137" y="3"/>
                  </a:lnTo>
                  <a:lnTo>
                    <a:pt x="146" y="3"/>
                  </a:lnTo>
                  <a:lnTo>
                    <a:pt x="150" y="0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3"/>
                  </a:lnTo>
                  <a:lnTo>
                    <a:pt x="152" y="5"/>
                  </a:lnTo>
                  <a:lnTo>
                    <a:pt x="153" y="6"/>
                  </a:lnTo>
                  <a:lnTo>
                    <a:pt x="155" y="8"/>
                  </a:lnTo>
                  <a:lnTo>
                    <a:pt x="159" y="10"/>
                  </a:lnTo>
                  <a:lnTo>
                    <a:pt x="164" y="8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9" y="15"/>
                  </a:lnTo>
                  <a:lnTo>
                    <a:pt x="170" y="16"/>
                  </a:lnTo>
                  <a:lnTo>
                    <a:pt x="173" y="18"/>
                  </a:lnTo>
                  <a:lnTo>
                    <a:pt x="174" y="18"/>
                  </a:lnTo>
                  <a:lnTo>
                    <a:pt x="176" y="16"/>
                  </a:lnTo>
                  <a:lnTo>
                    <a:pt x="176" y="16"/>
                  </a:lnTo>
                  <a:lnTo>
                    <a:pt x="179" y="16"/>
                  </a:lnTo>
                  <a:lnTo>
                    <a:pt x="182" y="18"/>
                  </a:lnTo>
                  <a:lnTo>
                    <a:pt x="183" y="19"/>
                  </a:lnTo>
                  <a:lnTo>
                    <a:pt x="189" y="20"/>
                  </a:lnTo>
                  <a:lnTo>
                    <a:pt x="194" y="22"/>
                  </a:lnTo>
                  <a:lnTo>
                    <a:pt x="196" y="23"/>
                  </a:lnTo>
                  <a:lnTo>
                    <a:pt x="204" y="25"/>
                  </a:lnTo>
                  <a:lnTo>
                    <a:pt x="207" y="25"/>
                  </a:lnTo>
                  <a:lnTo>
                    <a:pt x="212" y="23"/>
                  </a:lnTo>
                  <a:lnTo>
                    <a:pt x="220" y="22"/>
                  </a:lnTo>
                  <a:lnTo>
                    <a:pt x="227" y="23"/>
                  </a:lnTo>
                  <a:lnTo>
                    <a:pt x="229" y="25"/>
                  </a:lnTo>
                  <a:lnTo>
                    <a:pt x="230" y="23"/>
                  </a:lnTo>
                  <a:lnTo>
                    <a:pt x="232" y="25"/>
                  </a:lnTo>
                  <a:lnTo>
                    <a:pt x="234" y="25"/>
                  </a:lnTo>
                  <a:lnTo>
                    <a:pt x="242" y="22"/>
                  </a:lnTo>
                  <a:lnTo>
                    <a:pt x="243" y="19"/>
                  </a:lnTo>
                  <a:lnTo>
                    <a:pt x="246" y="19"/>
                  </a:lnTo>
                  <a:lnTo>
                    <a:pt x="247" y="18"/>
                  </a:lnTo>
                  <a:lnTo>
                    <a:pt x="253" y="15"/>
                  </a:lnTo>
                  <a:lnTo>
                    <a:pt x="254" y="12"/>
                  </a:lnTo>
                  <a:close/>
                  <a:moveTo>
                    <a:pt x="5" y="42"/>
                  </a:moveTo>
                  <a:lnTo>
                    <a:pt x="2" y="42"/>
                  </a:lnTo>
                  <a:lnTo>
                    <a:pt x="0" y="42"/>
                  </a:lnTo>
                  <a:lnTo>
                    <a:pt x="2" y="40"/>
                  </a:lnTo>
                  <a:lnTo>
                    <a:pt x="3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5" y="4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8" name="Google Shape;328;p3"/>
            <p:cNvSpPr/>
            <p:nvPr/>
          </p:nvSpPr>
          <p:spPr>
            <a:xfrm>
              <a:off x="3256444" y="4259306"/>
              <a:ext cx="15429" cy="12556"/>
            </a:xfrm>
            <a:custGeom>
              <a:rect b="b" l="l" r="r" t="t"/>
              <a:pathLst>
                <a:path extrusionOk="0" h="20" w="22">
                  <a:moveTo>
                    <a:pt x="19" y="2"/>
                  </a:moveTo>
                  <a:lnTo>
                    <a:pt x="17" y="2"/>
                  </a:lnTo>
                  <a:lnTo>
                    <a:pt x="17" y="2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9" y="2"/>
                  </a:lnTo>
                  <a:close/>
                  <a:moveTo>
                    <a:pt x="15" y="19"/>
                  </a:moveTo>
                  <a:lnTo>
                    <a:pt x="12" y="20"/>
                  </a:lnTo>
                  <a:lnTo>
                    <a:pt x="5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7" y="9"/>
                  </a:lnTo>
                  <a:lnTo>
                    <a:pt x="9" y="9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6" y="7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9"/>
                  </a:lnTo>
                  <a:lnTo>
                    <a:pt x="15" y="1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9" name="Google Shape;329;p3"/>
            <p:cNvSpPr/>
            <p:nvPr/>
          </p:nvSpPr>
          <p:spPr>
            <a:xfrm>
              <a:off x="5280390" y="4111776"/>
              <a:ext cx="40675" cy="36412"/>
            </a:xfrm>
            <a:custGeom>
              <a:rect b="b" l="l" r="r" t="t"/>
              <a:pathLst>
                <a:path extrusionOk="0" h="58" w="58">
                  <a:moveTo>
                    <a:pt x="43" y="47"/>
                  </a:moveTo>
                  <a:lnTo>
                    <a:pt x="43" y="48"/>
                  </a:lnTo>
                  <a:lnTo>
                    <a:pt x="41" y="50"/>
                  </a:lnTo>
                  <a:lnTo>
                    <a:pt x="41" y="52"/>
                  </a:lnTo>
                  <a:lnTo>
                    <a:pt x="41" y="54"/>
                  </a:lnTo>
                  <a:lnTo>
                    <a:pt x="41" y="57"/>
                  </a:lnTo>
                  <a:lnTo>
                    <a:pt x="40" y="58"/>
                  </a:lnTo>
                  <a:lnTo>
                    <a:pt x="38" y="58"/>
                  </a:lnTo>
                  <a:lnTo>
                    <a:pt x="38" y="57"/>
                  </a:lnTo>
                  <a:lnTo>
                    <a:pt x="38" y="54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4" y="50"/>
                  </a:lnTo>
                  <a:lnTo>
                    <a:pt x="33" y="48"/>
                  </a:lnTo>
                  <a:lnTo>
                    <a:pt x="31" y="47"/>
                  </a:lnTo>
                  <a:lnTo>
                    <a:pt x="33" y="47"/>
                  </a:lnTo>
                  <a:lnTo>
                    <a:pt x="31" y="45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28" y="40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5"/>
                  </a:lnTo>
                  <a:lnTo>
                    <a:pt x="28" y="34"/>
                  </a:lnTo>
                  <a:lnTo>
                    <a:pt x="30" y="32"/>
                  </a:lnTo>
                  <a:lnTo>
                    <a:pt x="28" y="31"/>
                  </a:lnTo>
                  <a:lnTo>
                    <a:pt x="28" y="28"/>
                  </a:lnTo>
                  <a:lnTo>
                    <a:pt x="30" y="27"/>
                  </a:lnTo>
                  <a:lnTo>
                    <a:pt x="37" y="14"/>
                  </a:lnTo>
                  <a:lnTo>
                    <a:pt x="38" y="11"/>
                  </a:lnTo>
                  <a:lnTo>
                    <a:pt x="40" y="10"/>
                  </a:lnTo>
                  <a:lnTo>
                    <a:pt x="41" y="8"/>
                  </a:lnTo>
                  <a:lnTo>
                    <a:pt x="43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7" y="2"/>
                  </a:lnTo>
                  <a:lnTo>
                    <a:pt x="57" y="4"/>
                  </a:lnTo>
                  <a:lnTo>
                    <a:pt x="58" y="5"/>
                  </a:lnTo>
                  <a:lnTo>
                    <a:pt x="57" y="7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4" y="17"/>
                  </a:lnTo>
                  <a:lnTo>
                    <a:pt x="53" y="20"/>
                  </a:lnTo>
                  <a:lnTo>
                    <a:pt x="53" y="21"/>
                  </a:lnTo>
                  <a:lnTo>
                    <a:pt x="53" y="24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0" y="37"/>
                  </a:lnTo>
                  <a:lnTo>
                    <a:pt x="48" y="38"/>
                  </a:lnTo>
                  <a:lnTo>
                    <a:pt x="47" y="40"/>
                  </a:lnTo>
                  <a:lnTo>
                    <a:pt x="46" y="44"/>
                  </a:lnTo>
                  <a:lnTo>
                    <a:pt x="43" y="47"/>
                  </a:lnTo>
                  <a:close/>
                  <a:moveTo>
                    <a:pt x="1" y="12"/>
                  </a:moveTo>
                  <a:lnTo>
                    <a:pt x="3" y="14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0" name="Google Shape;330;p3"/>
            <p:cNvSpPr/>
            <p:nvPr/>
          </p:nvSpPr>
          <p:spPr>
            <a:xfrm>
              <a:off x="4281041" y="4382979"/>
              <a:ext cx="124831" cy="107351"/>
            </a:xfrm>
            <a:custGeom>
              <a:rect b="b" l="l" r="r" t="t"/>
              <a:pathLst>
                <a:path extrusionOk="0" h="171" w="178">
                  <a:moveTo>
                    <a:pt x="167" y="111"/>
                  </a:moveTo>
                  <a:lnTo>
                    <a:pt x="165" y="111"/>
                  </a:lnTo>
                  <a:lnTo>
                    <a:pt x="165" y="111"/>
                  </a:lnTo>
                  <a:lnTo>
                    <a:pt x="164" y="110"/>
                  </a:lnTo>
                  <a:lnTo>
                    <a:pt x="165" y="110"/>
                  </a:lnTo>
                  <a:lnTo>
                    <a:pt x="167" y="109"/>
                  </a:lnTo>
                  <a:lnTo>
                    <a:pt x="168" y="107"/>
                  </a:lnTo>
                  <a:lnTo>
                    <a:pt x="170" y="106"/>
                  </a:lnTo>
                  <a:lnTo>
                    <a:pt x="170" y="106"/>
                  </a:lnTo>
                  <a:lnTo>
                    <a:pt x="170" y="107"/>
                  </a:lnTo>
                  <a:lnTo>
                    <a:pt x="168" y="110"/>
                  </a:lnTo>
                  <a:lnTo>
                    <a:pt x="167" y="110"/>
                  </a:lnTo>
                  <a:lnTo>
                    <a:pt x="167" y="111"/>
                  </a:lnTo>
                  <a:close/>
                  <a:moveTo>
                    <a:pt x="163" y="83"/>
                  </a:moveTo>
                  <a:lnTo>
                    <a:pt x="164" y="86"/>
                  </a:lnTo>
                  <a:lnTo>
                    <a:pt x="164" y="87"/>
                  </a:lnTo>
                  <a:lnTo>
                    <a:pt x="163" y="87"/>
                  </a:lnTo>
                  <a:lnTo>
                    <a:pt x="163" y="87"/>
                  </a:lnTo>
                  <a:lnTo>
                    <a:pt x="163" y="86"/>
                  </a:lnTo>
                  <a:lnTo>
                    <a:pt x="161" y="86"/>
                  </a:lnTo>
                  <a:lnTo>
                    <a:pt x="161" y="86"/>
                  </a:lnTo>
                  <a:lnTo>
                    <a:pt x="160" y="84"/>
                  </a:lnTo>
                  <a:lnTo>
                    <a:pt x="158" y="84"/>
                  </a:lnTo>
                  <a:lnTo>
                    <a:pt x="158" y="83"/>
                  </a:lnTo>
                  <a:lnTo>
                    <a:pt x="158" y="81"/>
                  </a:lnTo>
                  <a:lnTo>
                    <a:pt x="158" y="79"/>
                  </a:lnTo>
                  <a:lnTo>
                    <a:pt x="160" y="77"/>
                  </a:lnTo>
                  <a:lnTo>
                    <a:pt x="160" y="76"/>
                  </a:lnTo>
                  <a:lnTo>
                    <a:pt x="161" y="77"/>
                  </a:lnTo>
                  <a:lnTo>
                    <a:pt x="161" y="79"/>
                  </a:lnTo>
                  <a:lnTo>
                    <a:pt x="161" y="81"/>
                  </a:lnTo>
                  <a:lnTo>
                    <a:pt x="163" y="83"/>
                  </a:lnTo>
                  <a:lnTo>
                    <a:pt x="163" y="83"/>
                  </a:lnTo>
                  <a:close/>
                  <a:moveTo>
                    <a:pt x="168" y="62"/>
                  </a:moveTo>
                  <a:lnTo>
                    <a:pt x="168" y="63"/>
                  </a:lnTo>
                  <a:lnTo>
                    <a:pt x="168" y="64"/>
                  </a:lnTo>
                  <a:lnTo>
                    <a:pt x="168" y="66"/>
                  </a:lnTo>
                  <a:lnTo>
                    <a:pt x="168" y="67"/>
                  </a:lnTo>
                  <a:lnTo>
                    <a:pt x="168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5" y="70"/>
                  </a:lnTo>
                  <a:lnTo>
                    <a:pt x="165" y="70"/>
                  </a:lnTo>
                  <a:lnTo>
                    <a:pt x="165" y="66"/>
                  </a:lnTo>
                  <a:lnTo>
                    <a:pt x="165" y="63"/>
                  </a:lnTo>
                  <a:lnTo>
                    <a:pt x="167" y="63"/>
                  </a:lnTo>
                  <a:lnTo>
                    <a:pt x="168" y="62"/>
                  </a:lnTo>
                  <a:close/>
                  <a:moveTo>
                    <a:pt x="24" y="0"/>
                  </a:moveTo>
                  <a:lnTo>
                    <a:pt x="24" y="0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1" y="0"/>
                  </a:lnTo>
                  <a:lnTo>
                    <a:pt x="34" y="0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3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60" y="0"/>
                  </a:lnTo>
                  <a:lnTo>
                    <a:pt x="63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7" y="2"/>
                  </a:lnTo>
                  <a:lnTo>
                    <a:pt x="80" y="3"/>
                  </a:lnTo>
                  <a:lnTo>
                    <a:pt x="84" y="4"/>
                  </a:lnTo>
                  <a:lnTo>
                    <a:pt x="87" y="7"/>
                  </a:lnTo>
                  <a:lnTo>
                    <a:pt x="91" y="9"/>
                  </a:lnTo>
                  <a:lnTo>
                    <a:pt x="94" y="10"/>
                  </a:lnTo>
                  <a:lnTo>
                    <a:pt x="97" y="13"/>
                  </a:lnTo>
                  <a:lnTo>
                    <a:pt x="101" y="14"/>
                  </a:lnTo>
                  <a:lnTo>
                    <a:pt x="104" y="16"/>
                  </a:lnTo>
                  <a:lnTo>
                    <a:pt x="108" y="19"/>
                  </a:lnTo>
                  <a:lnTo>
                    <a:pt x="111" y="20"/>
                  </a:lnTo>
                  <a:lnTo>
                    <a:pt x="114" y="22"/>
                  </a:lnTo>
                  <a:lnTo>
                    <a:pt x="118" y="24"/>
                  </a:lnTo>
                  <a:lnTo>
                    <a:pt x="121" y="26"/>
                  </a:lnTo>
                  <a:lnTo>
                    <a:pt x="124" y="27"/>
                  </a:lnTo>
                  <a:lnTo>
                    <a:pt x="128" y="30"/>
                  </a:lnTo>
                  <a:lnTo>
                    <a:pt x="131" y="32"/>
                  </a:lnTo>
                  <a:lnTo>
                    <a:pt x="133" y="33"/>
                  </a:lnTo>
                  <a:lnTo>
                    <a:pt x="134" y="33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7"/>
                  </a:lnTo>
                  <a:lnTo>
                    <a:pt x="133" y="39"/>
                  </a:lnTo>
                  <a:lnTo>
                    <a:pt x="133" y="39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5" y="42"/>
                  </a:lnTo>
                  <a:lnTo>
                    <a:pt x="135" y="43"/>
                  </a:lnTo>
                  <a:lnTo>
                    <a:pt x="137" y="43"/>
                  </a:lnTo>
                  <a:lnTo>
                    <a:pt x="140" y="46"/>
                  </a:lnTo>
                  <a:lnTo>
                    <a:pt x="143" y="47"/>
                  </a:lnTo>
                  <a:lnTo>
                    <a:pt x="144" y="49"/>
                  </a:lnTo>
                  <a:lnTo>
                    <a:pt x="147" y="50"/>
                  </a:lnTo>
                  <a:lnTo>
                    <a:pt x="150" y="53"/>
                  </a:lnTo>
                  <a:lnTo>
                    <a:pt x="153" y="54"/>
                  </a:lnTo>
                  <a:lnTo>
                    <a:pt x="154" y="56"/>
                  </a:lnTo>
                  <a:lnTo>
                    <a:pt x="157" y="57"/>
                  </a:lnTo>
                  <a:lnTo>
                    <a:pt x="158" y="59"/>
                  </a:lnTo>
                  <a:lnTo>
                    <a:pt x="158" y="59"/>
                  </a:lnTo>
                  <a:lnTo>
                    <a:pt x="158" y="60"/>
                  </a:lnTo>
                  <a:lnTo>
                    <a:pt x="157" y="63"/>
                  </a:lnTo>
                  <a:lnTo>
                    <a:pt x="157" y="64"/>
                  </a:lnTo>
                  <a:lnTo>
                    <a:pt x="157" y="66"/>
                  </a:lnTo>
                  <a:lnTo>
                    <a:pt x="155" y="67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3" y="77"/>
                  </a:lnTo>
                  <a:lnTo>
                    <a:pt x="151" y="81"/>
                  </a:lnTo>
                  <a:lnTo>
                    <a:pt x="153" y="83"/>
                  </a:lnTo>
                  <a:lnTo>
                    <a:pt x="153" y="84"/>
                  </a:lnTo>
                  <a:lnTo>
                    <a:pt x="154" y="87"/>
                  </a:lnTo>
                  <a:lnTo>
                    <a:pt x="155" y="87"/>
                  </a:lnTo>
                  <a:lnTo>
                    <a:pt x="157" y="89"/>
                  </a:lnTo>
                  <a:lnTo>
                    <a:pt x="158" y="90"/>
                  </a:lnTo>
                  <a:lnTo>
                    <a:pt x="160" y="93"/>
                  </a:lnTo>
                  <a:lnTo>
                    <a:pt x="163" y="94"/>
                  </a:lnTo>
                  <a:lnTo>
                    <a:pt x="164" y="96"/>
                  </a:lnTo>
                  <a:lnTo>
                    <a:pt x="163" y="97"/>
                  </a:lnTo>
                  <a:lnTo>
                    <a:pt x="163" y="99"/>
                  </a:lnTo>
                  <a:lnTo>
                    <a:pt x="161" y="101"/>
                  </a:lnTo>
                  <a:lnTo>
                    <a:pt x="160" y="104"/>
                  </a:lnTo>
                  <a:lnTo>
                    <a:pt x="160" y="109"/>
                  </a:lnTo>
                  <a:lnTo>
                    <a:pt x="160" y="107"/>
                  </a:lnTo>
                  <a:lnTo>
                    <a:pt x="161" y="109"/>
                  </a:lnTo>
                  <a:lnTo>
                    <a:pt x="163" y="111"/>
                  </a:lnTo>
                  <a:lnTo>
                    <a:pt x="160" y="116"/>
                  </a:lnTo>
                  <a:lnTo>
                    <a:pt x="160" y="117"/>
                  </a:lnTo>
                  <a:lnTo>
                    <a:pt x="160" y="119"/>
                  </a:lnTo>
                  <a:lnTo>
                    <a:pt x="161" y="123"/>
                  </a:lnTo>
                  <a:lnTo>
                    <a:pt x="163" y="126"/>
                  </a:lnTo>
                  <a:lnTo>
                    <a:pt x="163" y="126"/>
                  </a:lnTo>
                  <a:lnTo>
                    <a:pt x="163" y="127"/>
                  </a:lnTo>
                  <a:lnTo>
                    <a:pt x="165" y="131"/>
                  </a:lnTo>
                  <a:lnTo>
                    <a:pt x="165" y="134"/>
                  </a:lnTo>
                  <a:lnTo>
                    <a:pt x="165" y="137"/>
                  </a:lnTo>
                  <a:lnTo>
                    <a:pt x="167" y="140"/>
                  </a:lnTo>
                  <a:lnTo>
                    <a:pt x="167" y="141"/>
                  </a:lnTo>
                  <a:lnTo>
                    <a:pt x="167" y="143"/>
                  </a:lnTo>
                  <a:lnTo>
                    <a:pt x="167" y="144"/>
                  </a:lnTo>
                  <a:lnTo>
                    <a:pt x="168" y="144"/>
                  </a:lnTo>
                  <a:lnTo>
                    <a:pt x="170" y="146"/>
                  </a:lnTo>
                  <a:lnTo>
                    <a:pt x="171" y="147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4" y="147"/>
                  </a:lnTo>
                  <a:lnTo>
                    <a:pt x="177" y="150"/>
                  </a:lnTo>
                  <a:lnTo>
                    <a:pt x="178" y="150"/>
                  </a:lnTo>
                  <a:lnTo>
                    <a:pt x="178" y="151"/>
                  </a:lnTo>
                  <a:lnTo>
                    <a:pt x="178" y="151"/>
                  </a:lnTo>
                  <a:lnTo>
                    <a:pt x="177" y="153"/>
                  </a:lnTo>
                  <a:lnTo>
                    <a:pt x="174" y="156"/>
                  </a:lnTo>
                  <a:lnTo>
                    <a:pt x="171" y="157"/>
                  </a:lnTo>
                  <a:lnTo>
                    <a:pt x="168" y="159"/>
                  </a:lnTo>
                  <a:lnTo>
                    <a:pt x="165" y="160"/>
                  </a:lnTo>
                  <a:lnTo>
                    <a:pt x="164" y="160"/>
                  </a:lnTo>
                  <a:lnTo>
                    <a:pt x="163" y="161"/>
                  </a:lnTo>
                  <a:lnTo>
                    <a:pt x="160" y="163"/>
                  </a:lnTo>
                  <a:lnTo>
                    <a:pt x="158" y="163"/>
                  </a:lnTo>
                  <a:lnTo>
                    <a:pt x="155" y="163"/>
                  </a:lnTo>
                  <a:lnTo>
                    <a:pt x="151" y="164"/>
                  </a:lnTo>
                  <a:lnTo>
                    <a:pt x="148" y="166"/>
                  </a:lnTo>
                  <a:lnTo>
                    <a:pt x="147" y="167"/>
                  </a:lnTo>
                  <a:lnTo>
                    <a:pt x="144" y="166"/>
                  </a:lnTo>
                  <a:lnTo>
                    <a:pt x="141" y="164"/>
                  </a:lnTo>
                  <a:lnTo>
                    <a:pt x="140" y="164"/>
                  </a:lnTo>
                  <a:lnTo>
                    <a:pt x="138" y="164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9"/>
                  </a:lnTo>
                  <a:lnTo>
                    <a:pt x="134" y="170"/>
                  </a:lnTo>
                  <a:lnTo>
                    <a:pt x="131" y="171"/>
                  </a:lnTo>
                  <a:lnTo>
                    <a:pt x="128" y="171"/>
                  </a:lnTo>
                  <a:lnTo>
                    <a:pt x="127" y="171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3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18" y="171"/>
                  </a:lnTo>
                  <a:lnTo>
                    <a:pt x="115" y="171"/>
                  </a:lnTo>
                  <a:lnTo>
                    <a:pt x="111" y="171"/>
                  </a:lnTo>
                  <a:lnTo>
                    <a:pt x="110" y="171"/>
                  </a:lnTo>
                  <a:lnTo>
                    <a:pt x="110" y="170"/>
                  </a:lnTo>
                  <a:lnTo>
                    <a:pt x="108" y="169"/>
                  </a:lnTo>
                  <a:lnTo>
                    <a:pt x="105" y="167"/>
                  </a:lnTo>
                  <a:lnTo>
                    <a:pt x="104" y="167"/>
                  </a:lnTo>
                  <a:lnTo>
                    <a:pt x="103" y="169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97" y="170"/>
                  </a:lnTo>
                  <a:lnTo>
                    <a:pt x="94" y="170"/>
                  </a:lnTo>
                  <a:lnTo>
                    <a:pt x="90" y="170"/>
                  </a:lnTo>
                  <a:lnTo>
                    <a:pt x="90" y="169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88" y="166"/>
                  </a:lnTo>
                  <a:lnTo>
                    <a:pt x="87" y="166"/>
                  </a:lnTo>
                  <a:lnTo>
                    <a:pt x="87" y="166"/>
                  </a:lnTo>
                  <a:lnTo>
                    <a:pt x="87" y="166"/>
                  </a:lnTo>
                  <a:lnTo>
                    <a:pt x="87" y="164"/>
                  </a:lnTo>
                  <a:lnTo>
                    <a:pt x="86" y="163"/>
                  </a:lnTo>
                  <a:lnTo>
                    <a:pt x="86" y="163"/>
                  </a:lnTo>
                  <a:lnTo>
                    <a:pt x="84" y="161"/>
                  </a:lnTo>
                  <a:lnTo>
                    <a:pt x="84" y="161"/>
                  </a:lnTo>
                  <a:lnTo>
                    <a:pt x="84" y="160"/>
                  </a:lnTo>
                  <a:lnTo>
                    <a:pt x="86" y="159"/>
                  </a:lnTo>
                  <a:lnTo>
                    <a:pt x="86" y="157"/>
                  </a:lnTo>
                  <a:lnTo>
                    <a:pt x="86" y="156"/>
                  </a:lnTo>
                  <a:lnTo>
                    <a:pt x="86" y="154"/>
                  </a:lnTo>
                  <a:lnTo>
                    <a:pt x="84" y="153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0"/>
                  </a:lnTo>
                  <a:lnTo>
                    <a:pt x="84" y="149"/>
                  </a:lnTo>
                  <a:lnTo>
                    <a:pt x="84" y="149"/>
                  </a:lnTo>
                  <a:lnTo>
                    <a:pt x="83" y="146"/>
                  </a:lnTo>
                  <a:lnTo>
                    <a:pt x="83" y="144"/>
                  </a:lnTo>
                  <a:lnTo>
                    <a:pt x="83" y="143"/>
                  </a:lnTo>
                  <a:lnTo>
                    <a:pt x="80" y="140"/>
                  </a:lnTo>
                  <a:lnTo>
                    <a:pt x="80" y="140"/>
                  </a:lnTo>
                  <a:lnTo>
                    <a:pt x="77" y="137"/>
                  </a:lnTo>
                  <a:lnTo>
                    <a:pt x="74" y="136"/>
                  </a:lnTo>
                  <a:lnTo>
                    <a:pt x="74" y="136"/>
                  </a:lnTo>
                  <a:lnTo>
                    <a:pt x="74" y="137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3" y="139"/>
                  </a:lnTo>
                  <a:lnTo>
                    <a:pt x="73" y="139"/>
                  </a:lnTo>
                  <a:lnTo>
                    <a:pt x="71" y="137"/>
                  </a:lnTo>
                  <a:lnTo>
                    <a:pt x="70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6" y="137"/>
                  </a:lnTo>
                  <a:lnTo>
                    <a:pt x="64" y="136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7" y="134"/>
                  </a:lnTo>
                  <a:lnTo>
                    <a:pt x="57" y="134"/>
                  </a:lnTo>
                  <a:lnTo>
                    <a:pt x="56" y="133"/>
                  </a:lnTo>
                  <a:lnTo>
                    <a:pt x="53" y="133"/>
                  </a:lnTo>
                  <a:lnTo>
                    <a:pt x="51" y="131"/>
                  </a:lnTo>
                  <a:lnTo>
                    <a:pt x="50" y="130"/>
                  </a:lnTo>
                  <a:lnTo>
                    <a:pt x="48" y="130"/>
                  </a:lnTo>
                  <a:lnTo>
                    <a:pt x="47" y="130"/>
                  </a:lnTo>
                  <a:lnTo>
                    <a:pt x="46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41" y="129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8" y="127"/>
                  </a:lnTo>
                  <a:lnTo>
                    <a:pt x="37" y="126"/>
                  </a:lnTo>
                  <a:lnTo>
                    <a:pt x="37" y="126"/>
                  </a:lnTo>
                  <a:lnTo>
                    <a:pt x="36" y="124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3" y="121"/>
                  </a:lnTo>
                  <a:lnTo>
                    <a:pt x="28" y="121"/>
                  </a:lnTo>
                  <a:lnTo>
                    <a:pt x="27" y="121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4" y="119"/>
                  </a:lnTo>
                  <a:lnTo>
                    <a:pt x="23" y="116"/>
                  </a:lnTo>
                  <a:lnTo>
                    <a:pt x="23" y="114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0" y="109"/>
                  </a:lnTo>
                  <a:lnTo>
                    <a:pt x="18" y="106"/>
                  </a:lnTo>
                  <a:lnTo>
                    <a:pt x="17" y="103"/>
                  </a:lnTo>
                  <a:lnTo>
                    <a:pt x="17" y="101"/>
                  </a:lnTo>
                  <a:lnTo>
                    <a:pt x="16" y="99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0" y="93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4" y="86"/>
                  </a:lnTo>
                  <a:lnTo>
                    <a:pt x="3" y="84"/>
                  </a:lnTo>
                  <a:lnTo>
                    <a:pt x="3" y="83"/>
                  </a:lnTo>
                  <a:lnTo>
                    <a:pt x="3" y="80"/>
                  </a:lnTo>
                  <a:lnTo>
                    <a:pt x="3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3" y="69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1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10" y="53"/>
                  </a:lnTo>
                  <a:lnTo>
                    <a:pt x="13" y="49"/>
                  </a:lnTo>
                  <a:lnTo>
                    <a:pt x="14" y="47"/>
                  </a:lnTo>
                  <a:lnTo>
                    <a:pt x="16" y="46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20" y="40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3" y="36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4" y="12"/>
                  </a:lnTo>
                  <a:lnTo>
                    <a:pt x="24" y="9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1" y="6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1" name="Google Shape;331;p3"/>
            <p:cNvSpPr/>
            <p:nvPr/>
          </p:nvSpPr>
          <p:spPr>
            <a:xfrm>
              <a:off x="4199690" y="3755822"/>
              <a:ext cx="202675" cy="119907"/>
            </a:xfrm>
            <a:custGeom>
              <a:rect b="b" l="l" r="r" t="t"/>
              <a:pathLst>
                <a:path extrusionOk="0" h="191" w="289">
                  <a:moveTo>
                    <a:pt x="259" y="130"/>
                  </a:moveTo>
                  <a:lnTo>
                    <a:pt x="257" y="130"/>
                  </a:lnTo>
                  <a:lnTo>
                    <a:pt x="251" y="130"/>
                  </a:lnTo>
                  <a:lnTo>
                    <a:pt x="247" y="130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0" y="135"/>
                  </a:lnTo>
                  <a:lnTo>
                    <a:pt x="237" y="135"/>
                  </a:lnTo>
                  <a:lnTo>
                    <a:pt x="236" y="138"/>
                  </a:lnTo>
                  <a:lnTo>
                    <a:pt x="234" y="137"/>
                  </a:lnTo>
                  <a:lnTo>
                    <a:pt x="231" y="137"/>
                  </a:lnTo>
                  <a:lnTo>
                    <a:pt x="230" y="138"/>
                  </a:lnTo>
                  <a:lnTo>
                    <a:pt x="227" y="140"/>
                  </a:lnTo>
                  <a:lnTo>
                    <a:pt x="226" y="140"/>
                  </a:lnTo>
                  <a:lnTo>
                    <a:pt x="223" y="140"/>
                  </a:lnTo>
                  <a:lnTo>
                    <a:pt x="220" y="141"/>
                  </a:lnTo>
                  <a:lnTo>
                    <a:pt x="213" y="147"/>
                  </a:lnTo>
                  <a:lnTo>
                    <a:pt x="212" y="151"/>
                  </a:lnTo>
                  <a:lnTo>
                    <a:pt x="210" y="151"/>
                  </a:lnTo>
                  <a:lnTo>
                    <a:pt x="209" y="153"/>
                  </a:lnTo>
                  <a:lnTo>
                    <a:pt x="207" y="153"/>
                  </a:lnTo>
                  <a:lnTo>
                    <a:pt x="207" y="153"/>
                  </a:lnTo>
                  <a:lnTo>
                    <a:pt x="210" y="150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12" y="147"/>
                  </a:lnTo>
                  <a:lnTo>
                    <a:pt x="210" y="145"/>
                  </a:lnTo>
                  <a:lnTo>
                    <a:pt x="207" y="150"/>
                  </a:lnTo>
                  <a:lnTo>
                    <a:pt x="206" y="150"/>
                  </a:lnTo>
                  <a:lnTo>
                    <a:pt x="204" y="151"/>
                  </a:lnTo>
                  <a:lnTo>
                    <a:pt x="204" y="154"/>
                  </a:lnTo>
                  <a:lnTo>
                    <a:pt x="204" y="155"/>
                  </a:lnTo>
                  <a:lnTo>
                    <a:pt x="206" y="158"/>
                  </a:lnTo>
                  <a:lnTo>
                    <a:pt x="207" y="163"/>
                  </a:lnTo>
                  <a:lnTo>
                    <a:pt x="212" y="168"/>
                  </a:lnTo>
                  <a:lnTo>
                    <a:pt x="213" y="170"/>
                  </a:lnTo>
                  <a:lnTo>
                    <a:pt x="214" y="171"/>
                  </a:lnTo>
                  <a:lnTo>
                    <a:pt x="216" y="171"/>
                  </a:lnTo>
                  <a:lnTo>
                    <a:pt x="219" y="170"/>
                  </a:lnTo>
                  <a:lnTo>
                    <a:pt x="220" y="168"/>
                  </a:lnTo>
                  <a:lnTo>
                    <a:pt x="223" y="170"/>
                  </a:lnTo>
                  <a:lnTo>
                    <a:pt x="224" y="168"/>
                  </a:lnTo>
                  <a:lnTo>
                    <a:pt x="226" y="168"/>
                  </a:lnTo>
                  <a:lnTo>
                    <a:pt x="227" y="168"/>
                  </a:lnTo>
                  <a:lnTo>
                    <a:pt x="230" y="168"/>
                  </a:lnTo>
                  <a:lnTo>
                    <a:pt x="231" y="170"/>
                  </a:lnTo>
                  <a:lnTo>
                    <a:pt x="231" y="171"/>
                  </a:lnTo>
                  <a:lnTo>
                    <a:pt x="230" y="173"/>
                  </a:lnTo>
                  <a:lnTo>
                    <a:pt x="230" y="174"/>
                  </a:lnTo>
                  <a:lnTo>
                    <a:pt x="229" y="177"/>
                  </a:lnTo>
                  <a:lnTo>
                    <a:pt x="227" y="177"/>
                  </a:lnTo>
                  <a:lnTo>
                    <a:pt x="224" y="177"/>
                  </a:lnTo>
                  <a:lnTo>
                    <a:pt x="220" y="178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7" y="175"/>
                  </a:lnTo>
                  <a:lnTo>
                    <a:pt x="216" y="175"/>
                  </a:lnTo>
                  <a:lnTo>
                    <a:pt x="214" y="175"/>
                  </a:lnTo>
                  <a:lnTo>
                    <a:pt x="213" y="178"/>
                  </a:lnTo>
                  <a:lnTo>
                    <a:pt x="209" y="180"/>
                  </a:lnTo>
                  <a:lnTo>
                    <a:pt x="209" y="183"/>
                  </a:lnTo>
                  <a:lnTo>
                    <a:pt x="204" y="183"/>
                  </a:lnTo>
                  <a:lnTo>
                    <a:pt x="203" y="183"/>
                  </a:lnTo>
                  <a:lnTo>
                    <a:pt x="199" y="184"/>
                  </a:lnTo>
                  <a:lnTo>
                    <a:pt x="196" y="188"/>
                  </a:lnTo>
                  <a:lnTo>
                    <a:pt x="192" y="191"/>
                  </a:lnTo>
                  <a:lnTo>
                    <a:pt x="189" y="191"/>
                  </a:lnTo>
                  <a:lnTo>
                    <a:pt x="187" y="191"/>
                  </a:lnTo>
                  <a:lnTo>
                    <a:pt x="186" y="191"/>
                  </a:lnTo>
                  <a:lnTo>
                    <a:pt x="182" y="188"/>
                  </a:lnTo>
                  <a:lnTo>
                    <a:pt x="182" y="187"/>
                  </a:lnTo>
                  <a:lnTo>
                    <a:pt x="183" y="187"/>
                  </a:lnTo>
                  <a:lnTo>
                    <a:pt x="183" y="185"/>
                  </a:lnTo>
                  <a:lnTo>
                    <a:pt x="184" y="180"/>
                  </a:lnTo>
                  <a:lnTo>
                    <a:pt x="184" y="178"/>
                  </a:lnTo>
                  <a:lnTo>
                    <a:pt x="183" y="175"/>
                  </a:lnTo>
                  <a:lnTo>
                    <a:pt x="182" y="174"/>
                  </a:lnTo>
                  <a:lnTo>
                    <a:pt x="179" y="174"/>
                  </a:lnTo>
                  <a:lnTo>
                    <a:pt x="177" y="174"/>
                  </a:lnTo>
                  <a:lnTo>
                    <a:pt x="173" y="170"/>
                  </a:lnTo>
                  <a:lnTo>
                    <a:pt x="172" y="170"/>
                  </a:lnTo>
                  <a:lnTo>
                    <a:pt x="169" y="171"/>
                  </a:lnTo>
                  <a:lnTo>
                    <a:pt x="167" y="170"/>
                  </a:lnTo>
                  <a:lnTo>
                    <a:pt x="167" y="168"/>
                  </a:lnTo>
                  <a:lnTo>
                    <a:pt x="172" y="164"/>
                  </a:lnTo>
                  <a:lnTo>
                    <a:pt x="177" y="161"/>
                  </a:lnTo>
                  <a:lnTo>
                    <a:pt x="179" y="161"/>
                  </a:lnTo>
                  <a:lnTo>
                    <a:pt x="182" y="158"/>
                  </a:lnTo>
                  <a:lnTo>
                    <a:pt x="186" y="157"/>
                  </a:lnTo>
                  <a:lnTo>
                    <a:pt x="184" y="154"/>
                  </a:lnTo>
                  <a:lnTo>
                    <a:pt x="184" y="153"/>
                  </a:lnTo>
                  <a:lnTo>
                    <a:pt x="183" y="154"/>
                  </a:lnTo>
                  <a:lnTo>
                    <a:pt x="182" y="154"/>
                  </a:lnTo>
                  <a:lnTo>
                    <a:pt x="179" y="153"/>
                  </a:lnTo>
                  <a:lnTo>
                    <a:pt x="179" y="151"/>
                  </a:lnTo>
                  <a:lnTo>
                    <a:pt x="174" y="153"/>
                  </a:lnTo>
                  <a:lnTo>
                    <a:pt x="172" y="153"/>
                  </a:lnTo>
                  <a:lnTo>
                    <a:pt x="166" y="154"/>
                  </a:lnTo>
                  <a:lnTo>
                    <a:pt x="164" y="153"/>
                  </a:lnTo>
                  <a:lnTo>
                    <a:pt x="159" y="150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6" y="147"/>
                  </a:lnTo>
                  <a:lnTo>
                    <a:pt x="157" y="147"/>
                  </a:lnTo>
                  <a:lnTo>
                    <a:pt x="159" y="147"/>
                  </a:lnTo>
                  <a:lnTo>
                    <a:pt x="159" y="147"/>
                  </a:lnTo>
                  <a:lnTo>
                    <a:pt x="159" y="145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3" y="144"/>
                  </a:lnTo>
                  <a:lnTo>
                    <a:pt x="152" y="143"/>
                  </a:lnTo>
                  <a:lnTo>
                    <a:pt x="154" y="143"/>
                  </a:lnTo>
                  <a:lnTo>
                    <a:pt x="157" y="143"/>
                  </a:lnTo>
                  <a:lnTo>
                    <a:pt x="162" y="144"/>
                  </a:lnTo>
                  <a:lnTo>
                    <a:pt x="164" y="144"/>
                  </a:lnTo>
                  <a:lnTo>
                    <a:pt x="166" y="143"/>
                  </a:lnTo>
                  <a:lnTo>
                    <a:pt x="167" y="141"/>
                  </a:lnTo>
                  <a:lnTo>
                    <a:pt x="169" y="141"/>
                  </a:lnTo>
                  <a:lnTo>
                    <a:pt x="164" y="143"/>
                  </a:lnTo>
                  <a:lnTo>
                    <a:pt x="160" y="141"/>
                  </a:lnTo>
                  <a:lnTo>
                    <a:pt x="160" y="140"/>
                  </a:lnTo>
                  <a:lnTo>
                    <a:pt x="159" y="138"/>
                  </a:lnTo>
                  <a:lnTo>
                    <a:pt x="157" y="137"/>
                  </a:lnTo>
                  <a:lnTo>
                    <a:pt x="159" y="135"/>
                  </a:lnTo>
                  <a:lnTo>
                    <a:pt x="157" y="133"/>
                  </a:lnTo>
                  <a:lnTo>
                    <a:pt x="157" y="130"/>
                  </a:lnTo>
                  <a:lnTo>
                    <a:pt x="156" y="128"/>
                  </a:lnTo>
                  <a:lnTo>
                    <a:pt x="154" y="127"/>
                  </a:lnTo>
                  <a:lnTo>
                    <a:pt x="156" y="130"/>
                  </a:lnTo>
                  <a:lnTo>
                    <a:pt x="157" y="133"/>
                  </a:lnTo>
                  <a:lnTo>
                    <a:pt x="157" y="134"/>
                  </a:lnTo>
                  <a:lnTo>
                    <a:pt x="157" y="138"/>
                  </a:lnTo>
                  <a:lnTo>
                    <a:pt x="157" y="140"/>
                  </a:lnTo>
                  <a:lnTo>
                    <a:pt x="156" y="141"/>
                  </a:lnTo>
                  <a:lnTo>
                    <a:pt x="153" y="140"/>
                  </a:lnTo>
                  <a:lnTo>
                    <a:pt x="152" y="140"/>
                  </a:lnTo>
                  <a:lnTo>
                    <a:pt x="152" y="137"/>
                  </a:lnTo>
                  <a:lnTo>
                    <a:pt x="150" y="138"/>
                  </a:lnTo>
                  <a:lnTo>
                    <a:pt x="149" y="141"/>
                  </a:lnTo>
                  <a:lnTo>
                    <a:pt x="147" y="141"/>
                  </a:lnTo>
                  <a:lnTo>
                    <a:pt x="144" y="141"/>
                  </a:lnTo>
                  <a:lnTo>
                    <a:pt x="140" y="143"/>
                  </a:lnTo>
                  <a:lnTo>
                    <a:pt x="139" y="144"/>
                  </a:lnTo>
                  <a:lnTo>
                    <a:pt x="139" y="147"/>
                  </a:lnTo>
                  <a:lnTo>
                    <a:pt x="137" y="148"/>
                  </a:lnTo>
                  <a:lnTo>
                    <a:pt x="137" y="150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27" y="160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2" y="161"/>
                  </a:lnTo>
                  <a:lnTo>
                    <a:pt x="120" y="161"/>
                  </a:lnTo>
                  <a:lnTo>
                    <a:pt x="120" y="163"/>
                  </a:lnTo>
                  <a:lnTo>
                    <a:pt x="120" y="164"/>
                  </a:lnTo>
                  <a:lnTo>
                    <a:pt x="122" y="165"/>
                  </a:lnTo>
                  <a:lnTo>
                    <a:pt x="122" y="170"/>
                  </a:lnTo>
                  <a:lnTo>
                    <a:pt x="122" y="173"/>
                  </a:lnTo>
                  <a:lnTo>
                    <a:pt x="122" y="171"/>
                  </a:lnTo>
                  <a:lnTo>
                    <a:pt x="120" y="170"/>
                  </a:lnTo>
                  <a:lnTo>
                    <a:pt x="117" y="168"/>
                  </a:lnTo>
                  <a:lnTo>
                    <a:pt x="115" y="168"/>
                  </a:lnTo>
                  <a:lnTo>
                    <a:pt x="112" y="171"/>
                  </a:lnTo>
                  <a:lnTo>
                    <a:pt x="109" y="171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73"/>
                  </a:lnTo>
                  <a:lnTo>
                    <a:pt x="107" y="173"/>
                  </a:lnTo>
                  <a:lnTo>
                    <a:pt x="107" y="173"/>
                  </a:lnTo>
                  <a:lnTo>
                    <a:pt x="107" y="173"/>
                  </a:lnTo>
                  <a:lnTo>
                    <a:pt x="102" y="171"/>
                  </a:lnTo>
                  <a:lnTo>
                    <a:pt x="100" y="170"/>
                  </a:lnTo>
                  <a:lnTo>
                    <a:pt x="97" y="168"/>
                  </a:lnTo>
                  <a:lnTo>
                    <a:pt x="99" y="167"/>
                  </a:lnTo>
                  <a:lnTo>
                    <a:pt x="100" y="167"/>
                  </a:lnTo>
                  <a:lnTo>
                    <a:pt x="102" y="167"/>
                  </a:lnTo>
                  <a:lnTo>
                    <a:pt x="103" y="167"/>
                  </a:lnTo>
                  <a:lnTo>
                    <a:pt x="103" y="165"/>
                  </a:lnTo>
                  <a:lnTo>
                    <a:pt x="103" y="165"/>
                  </a:lnTo>
                  <a:lnTo>
                    <a:pt x="103" y="164"/>
                  </a:lnTo>
                  <a:lnTo>
                    <a:pt x="103" y="163"/>
                  </a:lnTo>
                  <a:lnTo>
                    <a:pt x="103" y="161"/>
                  </a:lnTo>
                  <a:lnTo>
                    <a:pt x="106" y="160"/>
                  </a:lnTo>
                  <a:lnTo>
                    <a:pt x="106" y="158"/>
                  </a:lnTo>
                  <a:lnTo>
                    <a:pt x="106" y="157"/>
                  </a:lnTo>
                  <a:lnTo>
                    <a:pt x="109" y="155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10" y="151"/>
                  </a:lnTo>
                  <a:lnTo>
                    <a:pt x="110" y="148"/>
                  </a:lnTo>
                  <a:lnTo>
                    <a:pt x="110" y="147"/>
                  </a:lnTo>
                  <a:lnTo>
                    <a:pt x="110" y="145"/>
                  </a:lnTo>
                  <a:lnTo>
                    <a:pt x="110" y="144"/>
                  </a:lnTo>
                  <a:lnTo>
                    <a:pt x="112" y="144"/>
                  </a:lnTo>
                  <a:lnTo>
                    <a:pt x="113" y="143"/>
                  </a:lnTo>
                  <a:lnTo>
                    <a:pt x="113" y="143"/>
                  </a:lnTo>
                  <a:lnTo>
                    <a:pt x="115" y="144"/>
                  </a:lnTo>
                  <a:lnTo>
                    <a:pt x="115" y="147"/>
                  </a:lnTo>
                  <a:lnTo>
                    <a:pt x="115" y="147"/>
                  </a:lnTo>
                  <a:lnTo>
                    <a:pt x="115" y="147"/>
                  </a:lnTo>
                  <a:lnTo>
                    <a:pt x="116" y="144"/>
                  </a:lnTo>
                  <a:lnTo>
                    <a:pt x="116" y="145"/>
                  </a:lnTo>
                  <a:lnTo>
                    <a:pt x="117" y="145"/>
                  </a:lnTo>
                  <a:lnTo>
                    <a:pt x="117" y="144"/>
                  </a:lnTo>
                  <a:lnTo>
                    <a:pt x="117" y="145"/>
                  </a:lnTo>
                  <a:lnTo>
                    <a:pt x="119" y="145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22" y="145"/>
                  </a:lnTo>
                  <a:lnTo>
                    <a:pt x="122" y="145"/>
                  </a:lnTo>
                  <a:lnTo>
                    <a:pt x="123" y="145"/>
                  </a:lnTo>
                  <a:lnTo>
                    <a:pt x="125" y="147"/>
                  </a:lnTo>
                  <a:lnTo>
                    <a:pt x="125" y="147"/>
                  </a:lnTo>
                  <a:lnTo>
                    <a:pt x="127" y="147"/>
                  </a:lnTo>
                  <a:lnTo>
                    <a:pt x="129" y="145"/>
                  </a:lnTo>
                  <a:lnTo>
                    <a:pt x="129" y="145"/>
                  </a:lnTo>
                  <a:lnTo>
                    <a:pt x="126" y="143"/>
                  </a:lnTo>
                  <a:lnTo>
                    <a:pt x="126" y="141"/>
                  </a:lnTo>
                  <a:lnTo>
                    <a:pt x="126" y="138"/>
                  </a:lnTo>
                  <a:lnTo>
                    <a:pt x="126" y="137"/>
                  </a:lnTo>
                  <a:lnTo>
                    <a:pt x="125" y="135"/>
                  </a:lnTo>
                  <a:lnTo>
                    <a:pt x="122" y="135"/>
                  </a:lnTo>
                  <a:lnTo>
                    <a:pt x="120" y="134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1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28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9" y="125"/>
                  </a:lnTo>
                  <a:lnTo>
                    <a:pt x="117" y="125"/>
                  </a:lnTo>
                  <a:lnTo>
                    <a:pt x="117" y="124"/>
                  </a:lnTo>
                  <a:lnTo>
                    <a:pt x="116" y="123"/>
                  </a:lnTo>
                  <a:lnTo>
                    <a:pt x="115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3" y="120"/>
                  </a:lnTo>
                  <a:lnTo>
                    <a:pt x="113" y="118"/>
                  </a:lnTo>
                  <a:lnTo>
                    <a:pt x="113" y="117"/>
                  </a:lnTo>
                  <a:lnTo>
                    <a:pt x="115" y="115"/>
                  </a:lnTo>
                  <a:lnTo>
                    <a:pt x="115" y="114"/>
                  </a:lnTo>
                  <a:lnTo>
                    <a:pt x="115" y="111"/>
                  </a:lnTo>
                  <a:lnTo>
                    <a:pt x="113" y="110"/>
                  </a:lnTo>
                  <a:lnTo>
                    <a:pt x="112" y="108"/>
                  </a:lnTo>
                  <a:lnTo>
                    <a:pt x="112" y="110"/>
                  </a:lnTo>
                  <a:lnTo>
                    <a:pt x="110" y="110"/>
                  </a:lnTo>
                  <a:lnTo>
                    <a:pt x="109" y="110"/>
                  </a:lnTo>
                  <a:lnTo>
                    <a:pt x="109" y="108"/>
                  </a:lnTo>
                  <a:lnTo>
                    <a:pt x="107" y="105"/>
                  </a:lnTo>
                  <a:lnTo>
                    <a:pt x="105" y="105"/>
                  </a:lnTo>
                  <a:lnTo>
                    <a:pt x="103" y="105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2" y="105"/>
                  </a:lnTo>
                  <a:lnTo>
                    <a:pt x="100" y="104"/>
                  </a:lnTo>
                  <a:lnTo>
                    <a:pt x="100" y="105"/>
                  </a:lnTo>
                  <a:lnTo>
                    <a:pt x="100" y="104"/>
                  </a:lnTo>
                  <a:lnTo>
                    <a:pt x="100" y="103"/>
                  </a:lnTo>
                  <a:lnTo>
                    <a:pt x="99" y="103"/>
                  </a:lnTo>
                  <a:lnTo>
                    <a:pt x="97" y="103"/>
                  </a:lnTo>
                  <a:lnTo>
                    <a:pt x="96" y="103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2" y="98"/>
                  </a:lnTo>
                  <a:lnTo>
                    <a:pt x="90" y="97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86" y="98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2" y="100"/>
                  </a:lnTo>
                  <a:lnTo>
                    <a:pt x="79" y="100"/>
                  </a:lnTo>
                  <a:lnTo>
                    <a:pt x="77" y="100"/>
                  </a:lnTo>
                  <a:lnTo>
                    <a:pt x="76" y="100"/>
                  </a:lnTo>
                  <a:lnTo>
                    <a:pt x="73" y="101"/>
                  </a:lnTo>
                  <a:lnTo>
                    <a:pt x="73" y="103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7" y="104"/>
                  </a:lnTo>
                  <a:lnTo>
                    <a:pt x="67" y="105"/>
                  </a:lnTo>
                  <a:lnTo>
                    <a:pt x="66" y="107"/>
                  </a:lnTo>
                  <a:lnTo>
                    <a:pt x="65" y="108"/>
                  </a:lnTo>
                  <a:lnTo>
                    <a:pt x="62" y="110"/>
                  </a:lnTo>
                  <a:lnTo>
                    <a:pt x="57" y="110"/>
                  </a:lnTo>
                  <a:lnTo>
                    <a:pt x="55" y="111"/>
                  </a:lnTo>
                  <a:lnTo>
                    <a:pt x="49" y="113"/>
                  </a:lnTo>
                  <a:lnTo>
                    <a:pt x="47" y="114"/>
                  </a:lnTo>
                  <a:lnTo>
                    <a:pt x="46" y="115"/>
                  </a:lnTo>
                  <a:lnTo>
                    <a:pt x="45" y="115"/>
                  </a:lnTo>
                  <a:lnTo>
                    <a:pt x="45" y="114"/>
                  </a:lnTo>
                  <a:lnTo>
                    <a:pt x="42" y="111"/>
                  </a:lnTo>
                  <a:lnTo>
                    <a:pt x="40" y="110"/>
                  </a:lnTo>
                  <a:lnTo>
                    <a:pt x="39" y="110"/>
                  </a:lnTo>
                  <a:lnTo>
                    <a:pt x="36" y="110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0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5" y="108"/>
                  </a:lnTo>
                  <a:lnTo>
                    <a:pt x="25" y="108"/>
                  </a:lnTo>
                  <a:lnTo>
                    <a:pt x="22" y="108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6" y="107"/>
                  </a:lnTo>
                  <a:lnTo>
                    <a:pt x="16" y="108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7"/>
                  </a:lnTo>
                  <a:lnTo>
                    <a:pt x="12" y="105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6" y="103"/>
                  </a:lnTo>
                  <a:lnTo>
                    <a:pt x="5" y="103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3" y="91"/>
                  </a:lnTo>
                  <a:lnTo>
                    <a:pt x="3" y="90"/>
                  </a:lnTo>
                  <a:lnTo>
                    <a:pt x="5" y="87"/>
                  </a:lnTo>
                  <a:lnTo>
                    <a:pt x="6" y="85"/>
                  </a:lnTo>
                  <a:lnTo>
                    <a:pt x="6" y="84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4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0" y="81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0" y="78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9" y="73"/>
                  </a:lnTo>
                  <a:lnTo>
                    <a:pt x="9" y="71"/>
                  </a:lnTo>
                  <a:lnTo>
                    <a:pt x="10" y="70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3"/>
                  </a:lnTo>
                  <a:lnTo>
                    <a:pt x="19" y="58"/>
                  </a:lnTo>
                  <a:lnTo>
                    <a:pt x="22" y="55"/>
                  </a:lnTo>
                  <a:lnTo>
                    <a:pt x="23" y="54"/>
                  </a:lnTo>
                  <a:lnTo>
                    <a:pt x="25" y="51"/>
                  </a:lnTo>
                  <a:lnTo>
                    <a:pt x="26" y="50"/>
                  </a:lnTo>
                  <a:lnTo>
                    <a:pt x="30" y="50"/>
                  </a:lnTo>
                  <a:lnTo>
                    <a:pt x="30" y="48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4"/>
                  </a:lnTo>
                  <a:lnTo>
                    <a:pt x="32" y="41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29" y="31"/>
                  </a:lnTo>
                  <a:lnTo>
                    <a:pt x="26" y="28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6" y="24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8" y="18"/>
                  </a:lnTo>
                  <a:lnTo>
                    <a:pt x="29" y="1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3" y="17"/>
                  </a:lnTo>
                  <a:lnTo>
                    <a:pt x="35" y="14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7" y="11"/>
                  </a:lnTo>
                  <a:lnTo>
                    <a:pt x="50" y="10"/>
                  </a:lnTo>
                  <a:lnTo>
                    <a:pt x="56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5" y="14"/>
                  </a:lnTo>
                  <a:lnTo>
                    <a:pt x="77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5" y="20"/>
                  </a:lnTo>
                  <a:lnTo>
                    <a:pt x="86" y="18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89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2" y="21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5" y="20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7" y="18"/>
                  </a:lnTo>
                  <a:lnTo>
                    <a:pt x="99" y="20"/>
                  </a:lnTo>
                  <a:lnTo>
                    <a:pt x="102" y="20"/>
                  </a:lnTo>
                  <a:lnTo>
                    <a:pt x="103" y="20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6" y="23"/>
                  </a:lnTo>
                  <a:lnTo>
                    <a:pt x="106" y="24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3" y="20"/>
                  </a:lnTo>
                  <a:lnTo>
                    <a:pt x="115" y="21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9" y="24"/>
                  </a:lnTo>
                  <a:lnTo>
                    <a:pt x="120" y="24"/>
                  </a:lnTo>
                  <a:lnTo>
                    <a:pt x="122" y="23"/>
                  </a:lnTo>
                  <a:lnTo>
                    <a:pt x="126" y="23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30" y="23"/>
                  </a:lnTo>
                  <a:lnTo>
                    <a:pt x="132" y="24"/>
                  </a:lnTo>
                  <a:lnTo>
                    <a:pt x="132" y="25"/>
                  </a:lnTo>
                  <a:lnTo>
                    <a:pt x="134" y="27"/>
                  </a:lnTo>
                  <a:lnTo>
                    <a:pt x="136" y="28"/>
                  </a:lnTo>
                  <a:lnTo>
                    <a:pt x="136" y="27"/>
                  </a:lnTo>
                  <a:lnTo>
                    <a:pt x="137" y="25"/>
                  </a:lnTo>
                  <a:lnTo>
                    <a:pt x="136" y="24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20"/>
                  </a:lnTo>
                  <a:lnTo>
                    <a:pt x="136" y="17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9" y="11"/>
                  </a:lnTo>
                  <a:lnTo>
                    <a:pt x="140" y="10"/>
                  </a:lnTo>
                  <a:lnTo>
                    <a:pt x="143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9" y="6"/>
                  </a:lnTo>
                  <a:lnTo>
                    <a:pt x="152" y="6"/>
                  </a:lnTo>
                  <a:lnTo>
                    <a:pt x="154" y="6"/>
                  </a:lnTo>
                  <a:lnTo>
                    <a:pt x="156" y="6"/>
                  </a:lnTo>
                  <a:lnTo>
                    <a:pt x="157" y="7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60" y="7"/>
                  </a:lnTo>
                  <a:lnTo>
                    <a:pt x="162" y="7"/>
                  </a:lnTo>
                  <a:lnTo>
                    <a:pt x="163" y="6"/>
                  </a:lnTo>
                  <a:lnTo>
                    <a:pt x="164" y="1"/>
                  </a:lnTo>
                  <a:lnTo>
                    <a:pt x="164" y="1"/>
                  </a:lnTo>
                  <a:lnTo>
                    <a:pt x="166" y="1"/>
                  </a:lnTo>
                  <a:lnTo>
                    <a:pt x="167" y="1"/>
                  </a:lnTo>
                  <a:lnTo>
                    <a:pt x="169" y="1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77" y="0"/>
                  </a:lnTo>
                  <a:lnTo>
                    <a:pt x="179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7" y="0"/>
                  </a:lnTo>
                  <a:lnTo>
                    <a:pt x="187" y="1"/>
                  </a:lnTo>
                  <a:lnTo>
                    <a:pt x="190" y="3"/>
                  </a:lnTo>
                  <a:lnTo>
                    <a:pt x="192" y="4"/>
                  </a:lnTo>
                  <a:lnTo>
                    <a:pt x="193" y="10"/>
                  </a:lnTo>
                  <a:lnTo>
                    <a:pt x="197" y="14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194" y="17"/>
                  </a:lnTo>
                  <a:lnTo>
                    <a:pt x="193" y="17"/>
                  </a:lnTo>
                  <a:lnTo>
                    <a:pt x="193" y="18"/>
                  </a:lnTo>
                  <a:lnTo>
                    <a:pt x="193" y="18"/>
                  </a:lnTo>
                  <a:lnTo>
                    <a:pt x="194" y="20"/>
                  </a:lnTo>
                  <a:lnTo>
                    <a:pt x="194" y="23"/>
                  </a:lnTo>
                  <a:lnTo>
                    <a:pt x="194" y="24"/>
                  </a:lnTo>
                  <a:lnTo>
                    <a:pt x="194" y="25"/>
                  </a:lnTo>
                  <a:lnTo>
                    <a:pt x="196" y="25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9" y="28"/>
                  </a:lnTo>
                  <a:lnTo>
                    <a:pt x="200" y="30"/>
                  </a:lnTo>
                  <a:lnTo>
                    <a:pt x="202" y="30"/>
                  </a:lnTo>
                  <a:lnTo>
                    <a:pt x="203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07" y="30"/>
                  </a:lnTo>
                  <a:lnTo>
                    <a:pt x="209" y="30"/>
                  </a:lnTo>
                  <a:lnTo>
                    <a:pt x="209" y="31"/>
                  </a:lnTo>
                  <a:lnTo>
                    <a:pt x="209" y="33"/>
                  </a:lnTo>
                  <a:lnTo>
                    <a:pt x="210" y="33"/>
                  </a:lnTo>
                  <a:lnTo>
                    <a:pt x="212" y="33"/>
                  </a:lnTo>
                  <a:lnTo>
                    <a:pt x="212" y="33"/>
                  </a:lnTo>
                  <a:lnTo>
                    <a:pt x="212" y="34"/>
                  </a:lnTo>
                  <a:lnTo>
                    <a:pt x="212" y="34"/>
                  </a:lnTo>
                  <a:lnTo>
                    <a:pt x="212" y="35"/>
                  </a:lnTo>
                  <a:lnTo>
                    <a:pt x="213" y="37"/>
                  </a:lnTo>
                  <a:lnTo>
                    <a:pt x="213" y="40"/>
                  </a:lnTo>
                  <a:lnTo>
                    <a:pt x="213" y="40"/>
                  </a:lnTo>
                  <a:lnTo>
                    <a:pt x="214" y="41"/>
                  </a:lnTo>
                  <a:lnTo>
                    <a:pt x="214" y="43"/>
                  </a:lnTo>
                  <a:lnTo>
                    <a:pt x="213" y="44"/>
                  </a:lnTo>
                  <a:lnTo>
                    <a:pt x="213" y="44"/>
                  </a:lnTo>
                  <a:lnTo>
                    <a:pt x="213" y="45"/>
                  </a:lnTo>
                  <a:lnTo>
                    <a:pt x="214" y="48"/>
                  </a:lnTo>
                  <a:lnTo>
                    <a:pt x="216" y="48"/>
                  </a:lnTo>
                  <a:lnTo>
                    <a:pt x="216" y="50"/>
                  </a:lnTo>
                  <a:lnTo>
                    <a:pt x="217" y="51"/>
                  </a:lnTo>
                  <a:lnTo>
                    <a:pt x="220" y="50"/>
                  </a:lnTo>
                  <a:lnTo>
                    <a:pt x="221" y="48"/>
                  </a:lnTo>
                  <a:lnTo>
                    <a:pt x="223" y="50"/>
                  </a:lnTo>
                  <a:lnTo>
                    <a:pt x="224" y="50"/>
                  </a:lnTo>
                  <a:lnTo>
                    <a:pt x="226" y="50"/>
                  </a:lnTo>
                  <a:lnTo>
                    <a:pt x="227" y="51"/>
                  </a:lnTo>
                  <a:lnTo>
                    <a:pt x="227" y="53"/>
                  </a:lnTo>
                  <a:lnTo>
                    <a:pt x="229" y="53"/>
                  </a:lnTo>
                  <a:lnTo>
                    <a:pt x="231" y="53"/>
                  </a:lnTo>
                  <a:lnTo>
                    <a:pt x="231" y="54"/>
                  </a:lnTo>
                  <a:lnTo>
                    <a:pt x="233" y="54"/>
                  </a:lnTo>
                  <a:lnTo>
                    <a:pt x="234" y="54"/>
                  </a:lnTo>
                  <a:lnTo>
                    <a:pt x="234" y="53"/>
                  </a:lnTo>
                  <a:lnTo>
                    <a:pt x="239" y="51"/>
                  </a:lnTo>
                  <a:lnTo>
                    <a:pt x="241" y="51"/>
                  </a:lnTo>
                  <a:lnTo>
                    <a:pt x="241" y="51"/>
                  </a:lnTo>
                  <a:lnTo>
                    <a:pt x="243" y="50"/>
                  </a:lnTo>
                  <a:lnTo>
                    <a:pt x="244" y="50"/>
                  </a:lnTo>
                  <a:lnTo>
                    <a:pt x="246" y="50"/>
                  </a:lnTo>
                  <a:lnTo>
                    <a:pt x="247" y="51"/>
                  </a:lnTo>
                  <a:lnTo>
                    <a:pt x="249" y="53"/>
                  </a:lnTo>
                  <a:lnTo>
                    <a:pt x="249" y="54"/>
                  </a:lnTo>
                  <a:lnTo>
                    <a:pt x="250" y="57"/>
                  </a:lnTo>
                  <a:lnTo>
                    <a:pt x="254" y="60"/>
                  </a:lnTo>
                  <a:lnTo>
                    <a:pt x="256" y="61"/>
                  </a:lnTo>
                  <a:lnTo>
                    <a:pt x="257" y="61"/>
                  </a:lnTo>
                  <a:lnTo>
                    <a:pt x="257" y="61"/>
                  </a:lnTo>
                  <a:lnTo>
                    <a:pt x="257" y="61"/>
                  </a:lnTo>
                  <a:lnTo>
                    <a:pt x="257" y="58"/>
                  </a:lnTo>
                  <a:lnTo>
                    <a:pt x="259" y="58"/>
                  </a:lnTo>
                  <a:lnTo>
                    <a:pt x="259" y="58"/>
                  </a:lnTo>
                  <a:lnTo>
                    <a:pt x="261" y="60"/>
                  </a:lnTo>
                  <a:lnTo>
                    <a:pt x="264" y="61"/>
                  </a:lnTo>
                  <a:lnTo>
                    <a:pt x="266" y="61"/>
                  </a:lnTo>
                  <a:lnTo>
                    <a:pt x="267" y="63"/>
                  </a:lnTo>
                  <a:lnTo>
                    <a:pt x="270" y="64"/>
                  </a:lnTo>
                  <a:lnTo>
                    <a:pt x="271" y="64"/>
                  </a:lnTo>
                  <a:lnTo>
                    <a:pt x="273" y="64"/>
                  </a:lnTo>
                  <a:lnTo>
                    <a:pt x="274" y="63"/>
                  </a:lnTo>
                  <a:lnTo>
                    <a:pt x="274" y="64"/>
                  </a:lnTo>
                  <a:lnTo>
                    <a:pt x="274" y="65"/>
                  </a:lnTo>
                  <a:lnTo>
                    <a:pt x="276" y="65"/>
                  </a:lnTo>
                  <a:lnTo>
                    <a:pt x="277" y="67"/>
                  </a:lnTo>
                  <a:lnTo>
                    <a:pt x="279" y="67"/>
                  </a:lnTo>
                  <a:lnTo>
                    <a:pt x="281" y="68"/>
                  </a:lnTo>
                  <a:lnTo>
                    <a:pt x="283" y="70"/>
                  </a:lnTo>
                  <a:lnTo>
                    <a:pt x="284" y="70"/>
                  </a:lnTo>
                  <a:lnTo>
                    <a:pt x="286" y="70"/>
                  </a:lnTo>
                  <a:lnTo>
                    <a:pt x="287" y="70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9" y="73"/>
                  </a:lnTo>
                  <a:lnTo>
                    <a:pt x="289" y="74"/>
                  </a:lnTo>
                  <a:lnTo>
                    <a:pt x="289" y="75"/>
                  </a:lnTo>
                  <a:lnTo>
                    <a:pt x="289" y="77"/>
                  </a:lnTo>
                  <a:lnTo>
                    <a:pt x="289" y="78"/>
                  </a:lnTo>
                  <a:lnTo>
                    <a:pt x="289" y="80"/>
                  </a:lnTo>
                  <a:lnTo>
                    <a:pt x="287" y="81"/>
                  </a:lnTo>
                  <a:lnTo>
                    <a:pt x="286" y="83"/>
                  </a:lnTo>
                  <a:lnTo>
                    <a:pt x="283" y="83"/>
                  </a:lnTo>
                  <a:lnTo>
                    <a:pt x="281" y="84"/>
                  </a:lnTo>
                  <a:lnTo>
                    <a:pt x="283" y="85"/>
                  </a:lnTo>
                  <a:lnTo>
                    <a:pt x="283" y="87"/>
                  </a:lnTo>
                  <a:lnTo>
                    <a:pt x="284" y="87"/>
                  </a:lnTo>
                  <a:lnTo>
                    <a:pt x="287" y="88"/>
                  </a:lnTo>
                  <a:lnTo>
                    <a:pt x="287" y="88"/>
                  </a:lnTo>
                  <a:lnTo>
                    <a:pt x="287" y="88"/>
                  </a:lnTo>
                  <a:lnTo>
                    <a:pt x="286" y="90"/>
                  </a:lnTo>
                  <a:lnTo>
                    <a:pt x="284" y="88"/>
                  </a:lnTo>
                  <a:lnTo>
                    <a:pt x="283" y="90"/>
                  </a:lnTo>
                  <a:lnTo>
                    <a:pt x="283" y="91"/>
                  </a:lnTo>
                  <a:lnTo>
                    <a:pt x="281" y="93"/>
                  </a:lnTo>
                  <a:lnTo>
                    <a:pt x="281" y="94"/>
                  </a:lnTo>
                  <a:lnTo>
                    <a:pt x="283" y="94"/>
                  </a:lnTo>
                  <a:lnTo>
                    <a:pt x="284" y="95"/>
                  </a:lnTo>
                  <a:lnTo>
                    <a:pt x="284" y="97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84" y="100"/>
                  </a:lnTo>
                  <a:lnTo>
                    <a:pt x="284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3"/>
                  </a:lnTo>
                  <a:lnTo>
                    <a:pt x="286" y="104"/>
                  </a:lnTo>
                  <a:lnTo>
                    <a:pt x="284" y="107"/>
                  </a:lnTo>
                  <a:lnTo>
                    <a:pt x="283" y="110"/>
                  </a:lnTo>
                  <a:lnTo>
                    <a:pt x="283" y="111"/>
                  </a:lnTo>
                  <a:lnTo>
                    <a:pt x="283" y="113"/>
                  </a:lnTo>
                  <a:lnTo>
                    <a:pt x="281" y="113"/>
                  </a:lnTo>
                  <a:lnTo>
                    <a:pt x="277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69" y="111"/>
                  </a:lnTo>
                  <a:lnTo>
                    <a:pt x="269" y="113"/>
                  </a:lnTo>
                  <a:lnTo>
                    <a:pt x="266" y="115"/>
                  </a:lnTo>
                  <a:lnTo>
                    <a:pt x="266" y="117"/>
                  </a:lnTo>
                  <a:lnTo>
                    <a:pt x="263" y="117"/>
                  </a:lnTo>
                  <a:lnTo>
                    <a:pt x="261" y="118"/>
                  </a:lnTo>
                  <a:lnTo>
                    <a:pt x="260" y="118"/>
                  </a:lnTo>
                  <a:lnTo>
                    <a:pt x="259" y="121"/>
                  </a:lnTo>
                  <a:lnTo>
                    <a:pt x="259" y="123"/>
                  </a:lnTo>
                  <a:lnTo>
                    <a:pt x="259" y="123"/>
                  </a:lnTo>
                  <a:lnTo>
                    <a:pt x="259" y="124"/>
                  </a:lnTo>
                  <a:lnTo>
                    <a:pt x="259" y="124"/>
                  </a:lnTo>
                  <a:lnTo>
                    <a:pt x="259" y="125"/>
                  </a:lnTo>
                  <a:lnTo>
                    <a:pt x="259" y="125"/>
                  </a:lnTo>
                  <a:lnTo>
                    <a:pt x="260" y="125"/>
                  </a:lnTo>
                  <a:lnTo>
                    <a:pt x="260" y="125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9" y="130"/>
                  </a:lnTo>
                  <a:close/>
                  <a:moveTo>
                    <a:pt x="159" y="151"/>
                  </a:moveTo>
                  <a:lnTo>
                    <a:pt x="162" y="151"/>
                  </a:lnTo>
                  <a:lnTo>
                    <a:pt x="159" y="151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2" y="148"/>
                  </a:lnTo>
                  <a:lnTo>
                    <a:pt x="152" y="147"/>
                  </a:lnTo>
                  <a:lnTo>
                    <a:pt x="152" y="148"/>
                  </a:lnTo>
                  <a:lnTo>
                    <a:pt x="153" y="148"/>
                  </a:lnTo>
                  <a:lnTo>
                    <a:pt x="159" y="151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2" name="Google Shape;332;p3"/>
            <p:cNvSpPr/>
            <p:nvPr/>
          </p:nvSpPr>
          <p:spPr>
            <a:xfrm>
              <a:off x="4283846" y="4330873"/>
              <a:ext cx="60312" cy="56501"/>
            </a:xfrm>
            <a:custGeom>
              <a:rect b="b" l="l" r="r" t="t"/>
              <a:pathLst>
                <a:path extrusionOk="0" h="90" w="86">
                  <a:moveTo>
                    <a:pt x="69" y="83"/>
                  </a:moveTo>
                  <a:lnTo>
                    <a:pt x="67" y="83"/>
                  </a:lnTo>
                  <a:lnTo>
                    <a:pt x="64" y="83"/>
                  </a:lnTo>
                  <a:lnTo>
                    <a:pt x="62" y="83"/>
                  </a:lnTo>
                  <a:lnTo>
                    <a:pt x="59" y="83"/>
                  </a:lnTo>
                  <a:lnTo>
                    <a:pt x="56" y="83"/>
                  </a:lnTo>
                  <a:lnTo>
                    <a:pt x="53" y="83"/>
                  </a:lnTo>
                  <a:lnTo>
                    <a:pt x="50" y="83"/>
                  </a:lnTo>
                  <a:lnTo>
                    <a:pt x="47" y="83"/>
                  </a:lnTo>
                  <a:lnTo>
                    <a:pt x="44" y="83"/>
                  </a:lnTo>
                  <a:lnTo>
                    <a:pt x="42" y="83"/>
                  </a:lnTo>
                  <a:lnTo>
                    <a:pt x="39" y="83"/>
                  </a:lnTo>
                  <a:lnTo>
                    <a:pt x="36" y="83"/>
                  </a:lnTo>
                  <a:lnTo>
                    <a:pt x="33" y="83"/>
                  </a:lnTo>
                  <a:lnTo>
                    <a:pt x="30" y="83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22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19" y="83"/>
                  </a:lnTo>
                  <a:lnTo>
                    <a:pt x="17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2" y="85"/>
                  </a:lnTo>
                  <a:lnTo>
                    <a:pt x="12" y="86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9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79"/>
                  </a:lnTo>
                  <a:lnTo>
                    <a:pt x="0" y="77"/>
                  </a:lnTo>
                  <a:lnTo>
                    <a:pt x="2" y="76"/>
                  </a:lnTo>
                  <a:lnTo>
                    <a:pt x="0" y="75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6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5" y="63"/>
                  </a:lnTo>
                  <a:lnTo>
                    <a:pt x="5" y="60"/>
                  </a:lnTo>
                  <a:lnTo>
                    <a:pt x="6" y="59"/>
                  </a:lnTo>
                  <a:lnTo>
                    <a:pt x="6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3"/>
                  </a:lnTo>
                  <a:lnTo>
                    <a:pt x="10" y="52"/>
                  </a:lnTo>
                  <a:lnTo>
                    <a:pt x="10" y="49"/>
                  </a:lnTo>
                  <a:lnTo>
                    <a:pt x="12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22" y="40"/>
                  </a:lnTo>
                  <a:lnTo>
                    <a:pt x="26" y="36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0" y="29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2" y="9"/>
                  </a:lnTo>
                  <a:lnTo>
                    <a:pt x="23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3" y="7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4" y="7"/>
                  </a:lnTo>
                  <a:lnTo>
                    <a:pt x="47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2" y="6"/>
                  </a:lnTo>
                  <a:lnTo>
                    <a:pt x="54" y="5"/>
                  </a:lnTo>
                  <a:lnTo>
                    <a:pt x="57" y="7"/>
                  </a:lnTo>
                  <a:lnTo>
                    <a:pt x="60" y="7"/>
                  </a:lnTo>
                  <a:lnTo>
                    <a:pt x="63" y="7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7" y="3"/>
                  </a:lnTo>
                  <a:lnTo>
                    <a:pt x="70" y="0"/>
                  </a:lnTo>
                  <a:lnTo>
                    <a:pt x="73" y="5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7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20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3"/>
                  </a:lnTo>
                  <a:lnTo>
                    <a:pt x="84" y="25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84" y="29"/>
                  </a:lnTo>
                  <a:lnTo>
                    <a:pt x="86" y="32"/>
                  </a:lnTo>
                  <a:lnTo>
                    <a:pt x="86" y="35"/>
                  </a:lnTo>
                  <a:lnTo>
                    <a:pt x="86" y="37"/>
                  </a:lnTo>
                  <a:lnTo>
                    <a:pt x="86" y="39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43"/>
                  </a:lnTo>
                  <a:lnTo>
                    <a:pt x="84" y="45"/>
                  </a:lnTo>
                  <a:lnTo>
                    <a:pt x="83" y="45"/>
                  </a:lnTo>
                  <a:lnTo>
                    <a:pt x="84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2" y="47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79" y="50"/>
                  </a:lnTo>
                  <a:lnTo>
                    <a:pt x="77" y="53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3" y="57"/>
                  </a:lnTo>
                  <a:lnTo>
                    <a:pt x="73" y="59"/>
                  </a:lnTo>
                  <a:lnTo>
                    <a:pt x="72" y="60"/>
                  </a:lnTo>
                  <a:lnTo>
                    <a:pt x="72" y="62"/>
                  </a:lnTo>
                  <a:lnTo>
                    <a:pt x="70" y="65"/>
                  </a:lnTo>
                  <a:lnTo>
                    <a:pt x="70" y="67"/>
                  </a:lnTo>
                  <a:lnTo>
                    <a:pt x="70" y="73"/>
                  </a:lnTo>
                  <a:lnTo>
                    <a:pt x="69" y="80"/>
                  </a:lnTo>
                  <a:lnTo>
                    <a:pt x="69" y="8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3" name="Google Shape;333;p3"/>
            <p:cNvSpPr/>
            <p:nvPr/>
          </p:nvSpPr>
          <p:spPr>
            <a:xfrm>
              <a:off x="2053017" y="3333324"/>
              <a:ext cx="1146622" cy="846254"/>
            </a:xfrm>
            <a:custGeom>
              <a:rect b="b" l="l" r="r" t="t"/>
              <a:pathLst>
                <a:path extrusionOk="0" h="1348" w="1635">
                  <a:moveTo>
                    <a:pt x="450" y="85"/>
                  </a:moveTo>
                  <a:lnTo>
                    <a:pt x="450" y="97"/>
                  </a:lnTo>
                  <a:lnTo>
                    <a:pt x="450" y="110"/>
                  </a:lnTo>
                  <a:lnTo>
                    <a:pt x="450" y="125"/>
                  </a:lnTo>
                  <a:lnTo>
                    <a:pt x="450" y="137"/>
                  </a:lnTo>
                  <a:lnTo>
                    <a:pt x="450" y="149"/>
                  </a:lnTo>
                  <a:lnTo>
                    <a:pt x="450" y="162"/>
                  </a:lnTo>
                  <a:lnTo>
                    <a:pt x="450" y="175"/>
                  </a:lnTo>
                  <a:lnTo>
                    <a:pt x="450" y="186"/>
                  </a:lnTo>
                  <a:lnTo>
                    <a:pt x="450" y="199"/>
                  </a:lnTo>
                  <a:lnTo>
                    <a:pt x="450" y="210"/>
                  </a:lnTo>
                  <a:lnTo>
                    <a:pt x="450" y="222"/>
                  </a:lnTo>
                  <a:lnTo>
                    <a:pt x="450" y="235"/>
                  </a:lnTo>
                  <a:lnTo>
                    <a:pt x="450" y="246"/>
                  </a:lnTo>
                  <a:lnTo>
                    <a:pt x="450" y="257"/>
                  </a:lnTo>
                  <a:lnTo>
                    <a:pt x="450" y="269"/>
                  </a:lnTo>
                  <a:lnTo>
                    <a:pt x="450" y="279"/>
                  </a:lnTo>
                  <a:lnTo>
                    <a:pt x="450" y="290"/>
                  </a:lnTo>
                  <a:lnTo>
                    <a:pt x="450" y="302"/>
                  </a:lnTo>
                  <a:lnTo>
                    <a:pt x="450" y="312"/>
                  </a:lnTo>
                  <a:lnTo>
                    <a:pt x="450" y="323"/>
                  </a:lnTo>
                  <a:lnTo>
                    <a:pt x="450" y="333"/>
                  </a:lnTo>
                  <a:lnTo>
                    <a:pt x="450" y="343"/>
                  </a:lnTo>
                  <a:lnTo>
                    <a:pt x="450" y="354"/>
                  </a:lnTo>
                  <a:lnTo>
                    <a:pt x="450" y="364"/>
                  </a:lnTo>
                  <a:lnTo>
                    <a:pt x="450" y="374"/>
                  </a:lnTo>
                  <a:lnTo>
                    <a:pt x="450" y="384"/>
                  </a:lnTo>
                  <a:lnTo>
                    <a:pt x="450" y="394"/>
                  </a:lnTo>
                  <a:lnTo>
                    <a:pt x="450" y="404"/>
                  </a:lnTo>
                  <a:lnTo>
                    <a:pt x="450" y="413"/>
                  </a:lnTo>
                  <a:lnTo>
                    <a:pt x="450" y="423"/>
                  </a:lnTo>
                  <a:lnTo>
                    <a:pt x="450" y="433"/>
                  </a:lnTo>
                  <a:lnTo>
                    <a:pt x="450" y="443"/>
                  </a:lnTo>
                  <a:lnTo>
                    <a:pt x="454" y="444"/>
                  </a:lnTo>
                  <a:lnTo>
                    <a:pt x="457" y="444"/>
                  </a:lnTo>
                  <a:lnTo>
                    <a:pt x="458" y="443"/>
                  </a:lnTo>
                  <a:lnTo>
                    <a:pt x="462" y="444"/>
                  </a:lnTo>
                  <a:lnTo>
                    <a:pt x="465" y="446"/>
                  </a:lnTo>
                  <a:lnTo>
                    <a:pt x="468" y="444"/>
                  </a:lnTo>
                  <a:lnTo>
                    <a:pt x="471" y="442"/>
                  </a:lnTo>
                  <a:lnTo>
                    <a:pt x="474" y="442"/>
                  </a:lnTo>
                  <a:lnTo>
                    <a:pt x="478" y="442"/>
                  </a:lnTo>
                  <a:lnTo>
                    <a:pt x="481" y="442"/>
                  </a:lnTo>
                  <a:lnTo>
                    <a:pt x="481" y="443"/>
                  </a:lnTo>
                  <a:lnTo>
                    <a:pt x="480" y="446"/>
                  </a:lnTo>
                  <a:lnTo>
                    <a:pt x="478" y="449"/>
                  </a:lnTo>
                  <a:lnTo>
                    <a:pt x="481" y="453"/>
                  </a:lnTo>
                  <a:lnTo>
                    <a:pt x="484" y="454"/>
                  </a:lnTo>
                  <a:lnTo>
                    <a:pt x="487" y="456"/>
                  </a:lnTo>
                  <a:lnTo>
                    <a:pt x="488" y="459"/>
                  </a:lnTo>
                  <a:lnTo>
                    <a:pt x="491" y="462"/>
                  </a:lnTo>
                  <a:lnTo>
                    <a:pt x="492" y="464"/>
                  </a:lnTo>
                  <a:lnTo>
                    <a:pt x="495" y="467"/>
                  </a:lnTo>
                  <a:lnTo>
                    <a:pt x="498" y="470"/>
                  </a:lnTo>
                  <a:lnTo>
                    <a:pt x="500" y="472"/>
                  </a:lnTo>
                  <a:lnTo>
                    <a:pt x="502" y="474"/>
                  </a:lnTo>
                  <a:lnTo>
                    <a:pt x="504" y="476"/>
                  </a:lnTo>
                  <a:lnTo>
                    <a:pt x="505" y="480"/>
                  </a:lnTo>
                  <a:lnTo>
                    <a:pt x="505" y="484"/>
                  </a:lnTo>
                  <a:lnTo>
                    <a:pt x="505" y="486"/>
                  </a:lnTo>
                  <a:lnTo>
                    <a:pt x="507" y="487"/>
                  </a:lnTo>
                  <a:lnTo>
                    <a:pt x="510" y="484"/>
                  </a:lnTo>
                  <a:lnTo>
                    <a:pt x="511" y="483"/>
                  </a:lnTo>
                  <a:lnTo>
                    <a:pt x="515" y="480"/>
                  </a:lnTo>
                  <a:lnTo>
                    <a:pt x="517" y="479"/>
                  </a:lnTo>
                  <a:lnTo>
                    <a:pt x="521" y="479"/>
                  </a:lnTo>
                  <a:lnTo>
                    <a:pt x="522" y="474"/>
                  </a:lnTo>
                  <a:lnTo>
                    <a:pt x="522" y="469"/>
                  </a:lnTo>
                  <a:lnTo>
                    <a:pt x="524" y="469"/>
                  </a:lnTo>
                  <a:lnTo>
                    <a:pt x="525" y="469"/>
                  </a:lnTo>
                  <a:lnTo>
                    <a:pt x="525" y="467"/>
                  </a:lnTo>
                  <a:lnTo>
                    <a:pt x="524" y="464"/>
                  </a:lnTo>
                  <a:lnTo>
                    <a:pt x="528" y="463"/>
                  </a:lnTo>
                  <a:lnTo>
                    <a:pt x="531" y="463"/>
                  </a:lnTo>
                  <a:lnTo>
                    <a:pt x="534" y="460"/>
                  </a:lnTo>
                  <a:lnTo>
                    <a:pt x="538" y="459"/>
                  </a:lnTo>
                  <a:lnTo>
                    <a:pt x="539" y="460"/>
                  </a:lnTo>
                  <a:lnTo>
                    <a:pt x="541" y="462"/>
                  </a:lnTo>
                  <a:lnTo>
                    <a:pt x="545" y="466"/>
                  </a:lnTo>
                  <a:lnTo>
                    <a:pt x="545" y="466"/>
                  </a:lnTo>
                  <a:lnTo>
                    <a:pt x="545" y="469"/>
                  </a:lnTo>
                  <a:lnTo>
                    <a:pt x="544" y="470"/>
                  </a:lnTo>
                  <a:lnTo>
                    <a:pt x="547" y="474"/>
                  </a:lnTo>
                  <a:lnTo>
                    <a:pt x="547" y="476"/>
                  </a:lnTo>
                  <a:lnTo>
                    <a:pt x="549" y="476"/>
                  </a:lnTo>
                  <a:lnTo>
                    <a:pt x="551" y="477"/>
                  </a:lnTo>
                  <a:lnTo>
                    <a:pt x="552" y="479"/>
                  </a:lnTo>
                  <a:lnTo>
                    <a:pt x="555" y="481"/>
                  </a:lnTo>
                  <a:lnTo>
                    <a:pt x="555" y="481"/>
                  </a:lnTo>
                  <a:lnTo>
                    <a:pt x="555" y="483"/>
                  </a:lnTo>
                  <a:lnTo>
                    <a:pt x="555" y="484"/>
                  </a:lnTo>
                  <a:lnTo>
                    <a:pt x="557" y="486"/>
                  </a:lnTo>
                  <a:lnTo>
                    <a:pt x="557" y="487"/>
                  </a:lnTo>
                  <a:lnTo>
                    <a:pt x="558" y="489"/>
                  </a:lnTo>
                  <a:lnTo>
                    <a:pt x="561" y="490"/>
                  </a:lnTo>
                  <a:lnTo>
                    <a:pt x="562" y="491"/>
                  </a:lnTo>
                  <a:lnTo>
                    <a:pt x="565" y="493"/>
                  </a:lnTo>
                  <a:lnTo>
                    <a:pt x="567" y="496"/>
                  </a:lnTo>
                  <a:lnTo>
                    <a:pt x="569" y="499"/>
                  </a:lnTo>
                  <a:lnTo>
                    <a:pt x="571" y="501"/>
                  </a:lnTo>
                  <a:lnTo>
                    <a:pt x="571" y="504"/>
                  </a:lnTo>
                  <a:lnTo>
                    <a:pt x="574" y="507"/>
                  </a:lnTo>
                  <a:lnTo>
                    <a:pt x="575" y="511"/>
                  </a:lnTo>
                  <a:lnTo>
                    <a:pt x="578" y="516"/>
                  </a:lnTo>
                  <a:lnTo>
                    <a:pt x="579" y="517"/>
                  </a:lnTo>
                  <a:lnTo>
                    <a:pt x="581" y="521"/>
                  </a:lnTo>
                  <a:lnTo>
                    <a:pt x="582" y="524"/>
                  </a:lnTo>
                  <a:lnTo>
                    <a:pt x="585" y="529"/>
                  </a:lnTo>
                  <a:lnTo>
                    <a:pt x="587" y="531"/>
                  </a:lnTo>
                  <a:lnTo>
                    <a:pt x="589" y="536"/>
                  </a:lnTo>
                  <a:lnTo>
                    <a:pt x="589" y="539"/>
                  </a:lnTo>
                  <a:lnTo>
                    <a:pt x="589" y="540"/>
                  </a:lnTo>
                  <a:lnTo>
                    <a:pt x="588" y="541"/>
                  </a:lnTo>
                  <a:lnTo>
                    <a:pt x="591" y="543"/>
                  </a:lnTo>
                  <a:lnTo>
                    <a:pt x="594" y="543"/>
                  </a:lnTo>
                  <a:lnTo>
                    <a:pt x="592" y="546"/>
                  </a:lnTo>
                  <a:lnTo>
                    <a:pt x="592" y="549"/>
                  </a:lnTo>
                  <a:lnTo>
                    <a:pt x="594" y="549"/>
                  </a:lnTo>
                  <a:lnTo>
                    <a:pt x="595" y="550"/>
                  </a:lnTo>
                  <a:lnTo>
                    <a:pt x="595" y="551"/>
                  </a:lnTo>
                  <a:lnTo>
                    <a:pt x="597" y="553"/>
                  </a:lnTo>
                  <a:lnTo>
                    <a:pt x="597" y="556"/>
                  </a:lnTo>
                  <a:lnTo>
                    <a:pt x="599" y="556"/>
                  </a:lnTo>
                  <a:lnTo>
                    <a:pt x="601" y="556"/>
                  </a:lnTo>
                  <a:lnTo>
                    <a:pt x="602" y="557"/>
                  </a:lnTo>
                  <a:lnTo>
                    <a:pt x="604" y="559"/>
                  </a:lnTo>
                  <a:lnTo>
                    <a:pt x="607" y="560"/>
                  </a:lnTo>
                  <a:lnTo>
                    <a:pt x="608" y="561"/>
                  </a:lnTo>
                  <a:lnTo>
                    <a:pt x="611" y="561"/>
                  </a:lnTo>
                  <a:lnTo>
                    <a:pt x="614" y="563"/>
                  </a:lnTo>
                  <a:lnTo>
                    <a:pt x="615" y="566"/>
                  </a:lnTo>
                  <a:lnTo>
                    <a:pt x="618" y="566"/>
                  </a:lnTo>
                  <a:lnTo>
                    <a:pt x="619" y="570"/>
                  </a:lnTo>
                  <a:lnTo>
                    <a:pt x="622" y="570"/>
                  </a:lnTo>
                  <a:lnTo>
                    <a:pt x="624" y="570"/>
                  </a:lnTo>
                  <a:lnTo>
                    <a:pt x="625" y="571"/>
                  </a:lnTo>
                  <a:lnTo>
                    <a:pt x="625" y="573"/>
                  </a:lnTo>
                  <a:lnTo>
                    <a:pt x="625" y="574"/>
                  </a:lnTo>
                  <a:lnTo>
                    <a:pt x="625" y="576"/>
                  </a:lnTo>
                  <a:lnTo>
                    <a:pt x="625" y="577"/>
                  </a:lnTo>
                  <a:lnTo>
                    <a:pt x="624" y="579"/>
                  </a:lnTo>
                  <a:lnTo>
                    <a:pt x="624" y="581"/>
                  </a:lnTo>
                  <a:lnTo>
                    <a:pt x="624" y="583"/>
                  </a:lnTo>
                  <a:lnTo>
                    <a:pt x="624" y="584"/>
                  </a:lnTo>
                  <a:lnTo>
                    <a:pt x="624" y="587"/>
                  </a:lnTo>
                  <a:lnTo>
                    <a:pt x="625" y="590"/>
                  </a:lnTo>
                  <a:lnTo>
                    <a:pt x="625" y="591"/>
                  </a:lnTo>
                  <a:lnTo>
                    <a:pt x="625" y="593"/>
                  </a:lnTo>
                  <a:lnTo>
                    <a:pt x="622" y="597"/>
                  </a:lnTo>
                  <a:lnTo>
                    <a:pt x="622" y="600"/>
                  </a:lnTo>
                  <a:lnTo>
                    <a:pt x="622" y="600"/>
                  </a:lnTo>
                  <a:lnTo>
                    <a:pt x="621" y="603"/>
                  </a:lnTo>
                  <a:lnTo>
                    <a:pt x="618" y="606"/>
                  </a:lnTo>
                  <a:lnTo>
                    <a:pt x="616" y="607"/>
                  </a:lnTo>
                  <a:lnTo>
                    <a:pt x="616" y="607"/>
                  </a:lnTo>
                  <a:lnTo>
                    <a:pt x="612" y="607"/>
                  </a:lnTo>
                  <a:lnTo>
                    <a:pt x="611" y="603"/>
                  </a:lnTo>
                  <a:lnTo>
                    <a:pt x="609" y="600"/>
                  </a:lnTo>
                  <a:lnTo>
                    <a:pt x="609" y="597"/>
                  </a:lnTo>
                  <a:lnTo>
                    <a:pt x="609" y="596"/>
                  </a:lnTo>
                  <a:lnTo>
                    <a:pt x="609" y="594"/>
                  </a:lnTo>
                  <a:lnTo>
                    <a:pt x="614" y="593"/>
                  </a:lnTo>
                  <a:lnTo>
                    <a:pt x="614" y="593"/>
                  </a:lnTo>
                  <a:lnTo>
                    <a:pt x="612" y="591"/>
                  </a:lnTo>
                  <a:lnTo>
                    <a:pt x="612" y="591"/>
                  </a:lnTo>
                  <a:lnTo>
                    <a:pt x="612" y="589"/>
                  </a:lnTo>
                  <a:lnTo>
                    <a:pt x="612" y="586"/>
                  </a:lnTo>
                  <a:lnTo>
                    <a:pt x="612" y="584"/>
                  </a:lnTo>
                  <a:lnTo>
                    <a:pt x="611" y="580"/>
                  </a:lnTo>
                  <a:lnTo>
                    <a:pt x="609" y="579"/>
                  </a:lnTo>
                  <a:lnTo>
                    <a:pt x="608" y="574"/>
                  </a:lnTo>
                  <a:lnTo>
                    <a:pt x="608" y="573"/>
                  </a:lnTo>
                  <a:lnTo>
                    <a:pt x="608" y="571"/>
                  </a:lnTo>
                  <a:lnTo>
                    <a:pt x="609" y="570"/>
                  </a:lnTo>
                  <a:lnTo>
                    <a:pt x="605" y="573"/>
                  </a:lnTo>
                  <a:lnTo>
                    <a:pt x="599" y="574"/>
                  </a:lnTo>
                  <a:lnTo>
                    <a:pt x="597" y="577"/>
                  </a:lnTo>
                  <a:lnTo>
                    <a:pt x="597" y="577"/>
                  </a:lnTo>
                  <a:lnTo>
                    <a:pt x="597" y="577"/>
                  </a:lnTo>
                  <a:lnTo>
                    <a:pt x="597" y="579"/>
                  </a:lnTo>
                  <a:lnTo>
                    <a:pt x="597" y="580"/>
                  </a:lnTo>
                  <a:lnTo>
                    <a:pt x="597" y="580"/>
                  </a:lnTo>
                  <a:lnTo>
                    <a:pt x="595" y="583"/>
                  </a:lnTo>
                  <a:lnTo>
                    <a:pt x="595" y="586"/>
                  </a:lnTo>
                  <a:lnTo>
                    <a:pt x="594" y="586"/>
                  </a:lnTo>
                  <a:lnTo>
                    <a:pt x="592" y="586"/>
                  </a:lnTo>
                  <a:lnTo>
                    <a:pt x="591" y="584"/>
                  </a:lnTo>
                  <a:lnTo>
                    <a:pt x="589" y="581"/>
                  </a:lnTo>
                  <a:lnTo>
                    <a:pt x="591" y="580"/>
                  </a:lnTo>
                  <a:lnTo>
                    <a:pt x="591" y="579"/>
                  </a:lnTo>
                  <a:lnTo>
                    <a:pt x="592" y="577"/>
                  </a:lnTo>
                  <a:lnTo>
                    <a:pt x="594" y="574"/>
                  </a:lnTo>
                  <a:lnTo>
                    <a:pt x="597" y="569"/>
                  </a:lnTo>
                  <a:lnTo>
                    <a:pt x="598" y="569"/>
                  </a:lnTo>
                  <a:lnTo>
                    <a:pt x="601" y="567"/>
                  </a:lnTo>
                  <a:lnTo>
                    <a:pt x="597" y="566"/>
                  </a:lnTo>
                  <a:lnTo>
                    <a:pt x="595" y="566"/>
                  </a:lnTo>
                  <a:lnTo>
                    <a:pt x="595" y="566"/>
                  </a:lnTo>
                  <a:lnTo>
                    <a:pt x="594" y="564"/>
                  </a:lnTo>
                  <a:lnTo>
                    <a:pt x="594" y="561"/>
                  </a:lnTo>
                  <a:lnTo>
                    <a:pt x="591" y="561"/>
                  </a:lnTo>
                  <a:lnTo>
                    <a:pt x="591" y="561"/>
                  </a:lnTo>
                  <a:lnTo>
                    <a:pt x="589" y="559"/>
                  </a:lnTo>
                  <a:lnTo>
                    <a:pt x="589" y="559"/>
                  </a:lnTo>
                  <a:lnTo>
                    <a:pt x="588" y="557"/>
                  </a:lnTo>
                  <a:lnTo>
                    <a:pt x="588" y="556"/>
                  </a:lnTo>
                  <a:lnTo>
                    <a:pt x="588" y="554"/>
                  </a:lnTo>
                  <a:lnTo>
                    <a:pt x="587" y="554"/>
                  </a:lnTo>
                  <a:lnTo>
                    <a:pt x="587" y="554"/>
                  </a:lnTo>
                  <a:lnTo>
                    <a:pt x="587" y="551"/>
                  </a:lnTo>
                  <a:lnTo>
                    <a:pt x="584" y="550"/>
                  </a:lnTo>
                  <a:lnTo>
                    <a:pt x="582" y="549"/>
                  </a:lnTo>
                  <a:lnTo>
                    <a:pt x="581" y="547"/>
                  </a:lnTo>
                  <a:lnTo>
                    <a:pt x="581" y="546"/>
                  </a:lnTo>
                  <a:lnTo>
                    <a:pt x="581" y="546"/>
                  </a:lnTo>
                  <a:lnTo>
                    <a:pt x="581" y="543"/>
                  </a:lnTo>
                  <a:lnTo>
                    <a:pt x="581" y="543"/>
                  </a:lnTo>
                  <a:lnTo>
                    <a:pt x="579" y="543"/>
                  </a:lnTo>
                  <a:lnTo>
                    <a:pt x="571" y="539"/>
                  </a:lnTo>
                  <a:lnTo>
                    <a:pt x="571" y="534"/>
                  </a:lnTo>
                  <a:lnTo>
                    <a:pt x="569" y="527"/>
                  </a:lnTo>
                  <a:lnTo>
                    <a:pt x="567" y="524"/>
                  </a:lnTo>
                  <a:lnTo>
                    <a:pt x="568" y="524"/>
                  </a:lnTo>
                  <a:lnTo>
                    <a:pt x="568" y="523"/>
                  </a:lnTo>
                  <a:lnTo>
                    <a:pt x="569" y="523"/>
                  </a:lnTo>
                  <a:lnTo>
                    <a:pt x="572" y="526"/>
                  </a:lnTo>
                  <a:lnTo>
                    <a:pt x="575" y="527"/>
                  </a:lnTo>
                  <a:lnTo>
                    <a:pt x="575" y="527"/>
                  </a:lnTo>
                  <a:lnTo>
                    <a:pt x="571" y="523"/>
                  </a:lnTo>
                  <a:lnTo>
                    <a:pt x="569" y="521"/>
                  </a:lnTo>
                  <a:lnTo>
                    <a:pt x="569" y="519"/>
                  </a:lnTo>
                  <a:lnTo>
                    <a:pt x="569" y="519"/>
                  </a:lnTo>
                  <a:lnTo>
                    <a:pt x="569" y="517"/>
                  </a:lnTo>
                  <a:lnTo>
                    <a:pt x="574" y="519"/>
                  </a:lnTo>
                  <a:lnTo>
                    <a:pt x="575" y="517"/>
                  </a:lnTo>
                  <a:lnTo>
                    <a:pt x="569" y="516"/>
                  </a:lnTo>
                  <a:lnTo>
                    <a:pt x="568" y="516"/>
                  </a:lnTo>
                  <a:lnTo>
                    <a:pt x="568" y="519"/>
                  </a:lnTo>
                  <a:lnTo>
                    <a:pt x="567" y="519"/>
                  </a:lnTo>
                  <a:lnTo>
                    <a:pt x="567" y="519"/>
                  </a:lnTo>
                  <a:lnTo>
                    <a:pt x="565" y="519"/>
                  </a:lnTo>
                  <a:lnTo>
                    <a:pt x="565" y="516"/>
                  </a:lnTo>
                  <a:lnTo>
                    <a:pt x="564" y="514"/>
                  </a:lnTo>
                  <a:lnTo>
                    <a:pt x="561" y="511"/>
                  </a:lnTo>
                  <a:lnTo>
                    <a:pt x="561" y="510"/>
                  </a:lnTo>
                  <a:lnTo>
                    <a:pt x="561" y="507"/>
                  </a:lnTo>
                  <a:lnTo>
                    <a:pt x="561" y="506"/>
                  </a:lnTo>
                  <a:lnTo>
                    <a:pt x="562" y="500"/>
                  </a:lnTo>
                  <a:lnTo>
                    <a:pt x="564" y="499"/>
                  </a:lnTo>
                  <a:lnTo>
                    <a:pt x="564" y="499"/>
                  </a:lnTo>
                  <a:lnTo>
                    <a:pt x="564" y="499"/>
                  </a:lnTo>
                  <a:lnTo>
                    <a:pt x="562" y="499"/>
                  </a:lnTo>
                  <a:lnTo>
                    <a:pt x="561" y="501"/>
                  </a:lnTo>
                  <a:lnTo>
                    <a:pt x="559" y="506"/>
                  </a:lnTo>
                  <a:lnTo>
                    <a:pt x="558" y="507"/>
                  </a:lnTo>
                  <a:lnTo>
                    <a:pt x="558" y="507"/>
                  </a:lnTo>
                  <a:lnTo>
                    <a:pt x="557" y="506"/>
                  </a:lnTo>
                  <a:lnTo>
                    <a:pt x="554" y="503"/>
                  </a:lnTo>
                  <a:lnTo>
                    <a:pt x="551" y="503"/>
                  </a:lnTo>
                  <a:lnTo>
                    <a:pt x="549" y="500"/>
                  </a:lnTo>
                  <a:lnTo>
                    <a:pt x="547" y="494"/>
                  </a:lnTo>
                  <a:lnTo>
                    <a:pt x="547" y="491"/>
                  </a:lnTo>
                  <a:lnTo>
                    <a:pt x="545" y="491"/>
                  </a:lnTo>
                  <a:lnTo>
                    <a:pt x="544" y="490"/>
                  </a:lnTo>
                  <a:lnTo>
                    <a:pt x="544" y="489"/>
                  </a:lnTo>
                  <a:lnTo>
                    <a:pt x="542" y="481"/>
                  </a:lnTo>
                  <a:lnTo>
                    <a:pt x="541" y="476"/>
                  </a:lnTo>
                  <a:lnTo>
                    <a:pt x="539" y="473"/>
                  </a:lnTo>
                  <a:lnTo>
                    <a:pt x="539" y="470"/>
                  </a:lnTo>
                  <a:lnTo>
                    <a:pt x="539" y="470"/>
                  </a:lnTo>
                  <a:lnTo>
                    <a:pt x="539" y="473"/>
                  </a:lnTo>
                  <a:lnTo>
                    <a:pt x="539" y="473"/>
                  </a:lnTo>
                  <a:lnTo>
                    <a:pt x="538" y="474"/>
                  </a:lnTo>
                  <a:lnTo>
                    <a:pt x="539" y="476"/>
                  </a:lnTo>
                  <a:lnTo>
                    <a:pt x="539" y="477"/>
                  </a:lnTo>
                  <a:lnTo>
                    <a:pt x="538" y="477"/>
                  </a:lnTo>
                  <a:lnTo>
                    <a:pt x="538" y="477"/>
                  </a:lnTo>
                  <a:lnTo>
                    <a:pt x="539" y="481"/>
                  </a:lnTo>
                  <a:lnTo>
                    <a:pt x="541" y="486"/>
                  </a:lnTo>
                  <a:lnTo>
                    <a:pt x="541" y="490"/>
                  </a:lnTo>
                  <a:lnTo>
                    <a:pt x="542" y="494"/>
                  </a:lnTo>
                  <a:lnTo>
                    <a:pt x="542" y="496"/>
                  </a:lnTo>
                  <a:lnTo>
                    <a:pt x="544" y="499"/>
                  </a:lnTo>
                  <a:lnTo>
                    <a:pt x="545" y="504"/>
                  </a:lnTo>
                  <a:lnTo>
                    <a:pt x="545" y="504"/>
                  </a:lnTo>
                  <a:lnTo>
                    <a:pt x="545" y="506"/>
                  </a:lnTo>
                  <a:lnTo>
                    <a:pt x="544" y="507"/>
                  </a:lnTo>
                  <a:lnTo>
                    <a:pt x="544" y="507"/>
                  </a:lnTo>
                  <a:lnTo>
                    <a:pt x="541" y="506"/>
                  </a:lnTo>
                  <a:lnTo>
                    <a:pt x="539" y="506"/>
                  </a:lnTo>
                  <a:lnTo>
                    <a:pt x="538" y="503"/>
                  </a:lnTo>
                  <a:lnTo>
                    <a:pt x="537" y="501"/>
                  </a:lnTo>
                  <a:lnTo>
                    <a:pt x="531" y="503"/>
                  </a:lnTo>
                  <a:lnTo>
                    <a:pt x="531" y="501"/>
                  </a:lnTo>
                  <a:lnTo>
                    <a:pt x="531" y="500"/>
                  </a:lnTo>
                  <a:lnTo>
                    <a:pt x="532" y="497"/>
                  </a:lnTo>
                  <a:lnTo>
                    <a:pt x="531" y="496"/>
                  </a:lnTo>
                  <a:lnTo>
                    <a:pt x="529" y="490"/>
                  </a:lnTo>
                  <a:lnTo>
                    <a:pt x="529" y="489"/>
                  </a:lnTo>
                  <a:lnTo>
                    <a:pt x="532" y="487"/>
                  </a:lnTo>
                  <a:lnTo>
                    <a:pt x="531" y="487"/>
                  </a:lnTo>
                  <a:lnTo>
                    <a:pt x="529" y="487"/>
                  </a:lnTo>
                  <a:lnTo>
                    <a:pt x="528" y="487"/>
                  </a:lnTo>
                  <a:lnTo>
                    <a:pt x="528" y="483"/>
                  </a:lnTo>
                  <a:lnTo>
                    <a:pt x="528" y="483"/>
                  </a:lnTo>
                  <a:lnTo>
                    <a:pt x="527" y="481"/>
                  </a:lnTo>
                  <a:lnTo>
                    <a:pt x="527" y="486"/>
                  </a:lnTo>
                  <a:lnTo>
                    <a:pt x="528" y="487"/>
                  </a:lnTo>
                  <a:lnTo>
                    <a:pt x="528" y="487"/>
                  </a:lnTo>
                  <a:lnTo>
                    <a:pt x="528" y="489"/>
                  </a:lnTo>
                  <a:lnTo>
                    <a:pt x="527" y="490"/>
                  </a:lnTo>
                  <a:lnTo>
                    <a:pt x="527" y="490"/>
                  </a:lnTo>
                  <a:lnTo>
                    <a:pt x="527" y="491"/>
                  </a:lnTo>
                  <a:lnTo>
                    <a:pt x="525" y="490"/>
                  </a:lnTo>
                  <a:lnTo>
                    <a:pt x="524" y="489"/>
                  </a:lnTo>
                  <a:lnTo>
                    <a:pt x="522" y="489"/>
                  </a:lnTo>
                  <a:lnTo>
                    <a:pt x="522" y="487"/>
                  </a:lnTo>
                  <a:lnTo>
                    <a:pt x="521" y="486"/>
                  </a:lnTo>
                  <a:lnTo>
                    <a:pt x="521" y="486"/>
                  </a:lnTo>
                  <a:lnTo>
                    <a:pt x="517" y="484"/>
                  </a:lnTo>
                  <a:lnTo>
                    <a:pt x="514" y="483"/>
                  </a:lnTo>
                  <a:lnTo>
                    <a:pt x="514" y="483"/>
                  </a:lnTo>
                  <a:lnTo>
                    <a:pt x="514" y="484"/>
                  </a:lnTo>
                  <a:lnTo>
                    <a:pt x="514" y="486"/>
                  </a:lnTo>
                  <a:lnTo>
                    <a:pt x="514" y="486"/>
                  </a:lnTo>
                  <a:lnTo>
                    <a:pt x="512" y="487"/>
                  </a:lnTo>
                  <a:lnTo>
                    <a:pt x="512" y="487"/>
                  </a:lnTo>
                  <a:lnTo>
                    <a:pt x="514" y="487"/>
                  </a:lnTo>
                  <a:lnTo>
                    <a:pt x="515" y="487"/>
                  </a:lnTo>
                  <a:lnTo>
                    <a:pt x="518" y="489"/>
                  </a:lnTo>
                  <a:lnTo>
                    <a:pt x="520" y="490"/>
                  </a:lnTo>
                  <a:lnTo>
                    <a:pt x="521" y="490"/>
                  </a:lnTo>
                  <a:lnTo>
                    <a:pt x="521" y="491"/>
                  </a:lnTo>
                  <a:lnTo>
                    <a:pt x="521" y="491"/>
                  </a:lnTo>
                  <a:lnTo>
                    <a:pt x="522" y="493"/>
                  </a:lnTo>
                  <a:lnTo>
                    <a:pt x="524" y="493"/>
                  </a:lnTo>
                  <a:lnTo>
                    <a:pt x="522" y="496"/>
                  </a:lnTo>
                  <a:lnTo>
                    <a:pt x="524" y="496"/>
                  </a:lnTo>
                  <a:lnTo>
                    <a:pt x="527" y="496"/>
                  </a:lnTo>
                  <a:lnTo>
                    <a:pt x="528" y="499"/>
                  </a:lnTo>
                  <a:lnTo>
                    <a:pt x="528" y="500"/>
                  </a:lnTo>
                  <a:lnTo>
                    <a:pt x="528" y="503"/>
                  </a:lnTo>
                  <a:lnTo>
                    <a:pt x="528" y="503"/>
                  </a:lnTo>
                  <a:lnTo>
                    <a:pt x="528" y="503"/>
                  </a:lnTo>
                  <a:lnTo>
                    <a:pt x="522" y="504"/>
                  </a:lnTo>
                  <a:lnTo>
                    <a:pt x="521" y="507"/>
                  </a:lnTo>
                  <a:lnTo>
                    <a:pt x="520" y="507"/>
                  </a:lnTo>
                  <a:lnTo>
                    <a:pt x="518" y="506"/>
                  </a:lnTo>
                  <a:lnTo>
                    <a:pt x="515" y="504"/>
                  </a:lnTo>
                  <a:lnTo>
                    <a:pt x="512" y="501"/>
                  </a:lnTo>
                  <a:lnTo>
                    <a:pt x="505" y="496"/>
                  </a:lnTo>
                  <a:lnTo>
                    <a:pt x="505" y="496"/>
                  </a:lnTo>
                  <a:lnTo>
                    <a:pt x="504" y="496"/>
                  </a:lnTo>
                  <a:lnTo>
                    <a:pt x="504" y="494"/>
                  </a:lnTo>
                  <a:lnTo>
                    <a:pt x="502" y="494"/>
                  </a:lnTo>
                  <a:lnTo>
                    <a:pt x="501" y="493"/>
                  </a:lnTo>
                  <a:lnTo>
                    <a:pt x="500" y="490"/>
                  </a:lnTo>
                  <a:lnTo>
                    <a:pt x="498" y="489"/>
                  </a:lnTo>
                  <a:lnTo>
                    <a:pt x="498" y="487"/>
                  </a:lnTo>
                  <a:lnTo>
                    <a:pt x="497" y="486"/>
                  </a:lnTo>
                  <a:lnTo>
                    <a:pt x="494" y="481"/>
                  </a:lnTo>
                  <a:lnTo>
                    <a:pt x="492" y="481"/>
                  </a:lnTo>
                  <a:lnTo>
                    <a:pt x="491" y="480"/>
                  </a:lnTo>
                  <a:lnTo>
                    <a:pt x="490" y="480"/>
                  </a:lnTo>
                  <a:lnTo>
                    <a:pt x="488" y="480"/>
                  </a:lnTo>
                  <a:lnTo>
                    <a:pt x="490" y="479"/>
                  </a:lnTo>
                  <a:lnTo>
                    <a:pt x="490" y="479"/>
                  </a:lnTo>
                  <a:lnTo>
                    <a:pt x="487" y="477"/>
                  </a:lnTo>
                  <a:lnTo>
                    <a:pt x="484" y="476"/>
                  </a:lnTo>
                  <a:lnTo>
                    <a:pt x="477" y="472"/>
                  </a:lnTo>
                  <a:lnTo>
                    <a:pt x="472" y="469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68" y="466"/>
                  </a:lnTo>
                  <a:lnTo>
                    <a:pt x="470" y="466"/>
                  </a:lnTo>
                  <a:lnTo>
                    <a:pt x="471" y="466"/>
                  </a:lnTo>
                  <a:lnTo>
                    <a:pt x="472" y="464"/>
                  </a:lnTo>
                  <a:lnTo>
                    <a:pt x="474" y="462"/>
                  </a:lnTo>
                  <a:lnTo>
                    <a:pt x="474" y="460"/>
                  </a:lnTo>
                  <a:lnTo>
                    <a:pt x="472" y="459"/>
                  </a:lnTo>
                  <a:lnTo>
                    <a:pt x="472" y="457"/>
                  </a:lnTo>
                  <a:lnTo>
                    <a:pt x="472" y="456"/>
                  </a:lnTo>
                  <a:lnTo>
                    <a:pt x="472" y="454"/>
                  </a:lnTo>
                  <a:lnTo>
                    <a:pt x="472" y="454"/>
                  </a:lnTo>
                  <a:lnTo>
                    <a:pt x="474" y="453"/>
                  </a:lnTo>
                  <a:lnTo>
                    <a:pt x="474" y="453"/>
                  </a:lnTo>
                  <a:lnTo>
                    <a:pt x="474" y="453"/>
                  </a:lnTo>
                  <a:lnTo>
                    <a:pt x="477" y="456"/>
                  </a:lnTo>
                  <a:lnTo>
                    <a:pt x="477" y="457"/>
                  </a:lnTo>
                  <a:lnTo>
                    <a:pt x="477" y="460"/>
                  </a:lnTo>
                  <a:lnTo>
                    <a:pt x="477" y="464"/>
                  </a:lnTo>
                  <a:lnTo>
                    <a:pt x="477" y="464"/>
                  </a:lnTo>
                  <a:lnTo>
                    <a:pt x="477" y="463"/>
                  </a:lnTo>
                  <a:lnTo>
                    <a:pt x="477" y="460"/>
                  </a:lnTo>
                  <a:lnTo>
                    <a:pt x="478" y="459"/>
                  </a:lnTo>
                  <a:lnTo>
                    <a:pt x="478" y="457"/>
                  </a:lnTo>
                  <a:lnTo>
                    <a:pt x="478" y="457"/>
                  </a:lnTo>
                  <a:lnTo>
                    <a:pt x="481" y="457"/>
                  </a:lnTo>
                  <a:lnTo>
                    <a:pt x="482" y="457"/>
                  </a:lnTo>
                  <a:lnTo>
                    <a:pt x="478" y="456"/>
                  </a:lnTo>
                  <a:lnTo>
                    <a:pt x="475" y="452"/>
                  </a:lnTo>
                  <a:lnTo>
                    <a:pt x="475" y="452"/>
                  </a:lnTo>
                  <a:lnTo>
                    <a:pt x="474" y="452"/>
                  </a:lnTo>
                  <a:lnTo>
                    <a:pt x="472" y="453"/>
                  </a:lnTo>
                  <a:lnTo>
                    <a:pt x="468" y="457"/>
                  </a:lnTo>
                  <a:lnTo>
                    <a:pt x="467" y="459"/>
                  </a:lnTo>
                  <a:lnTo>
                    <a:pt x="462" y="460"/>
                  </a:lnTo>
                  <a:lnTo>
                    <a:pt x="458" y="462"/>
                  </a:lnTo>
                  <a:lnTo>
                    <a:pt x="455" y="462"/>
                  </a:lnTo>
                  <a:lnTo>
                    <a:pt x="452" y="460"/>
                  </a:lnTo>
                  <a:lnTo>
                    <a:pt x="444" y="456"/>
                  </a:lnTo>
                  <a:lnTo>
                    <a:pt x="442" y="456"/>
                  </a:lnTo>
                  <a:lnTo>
                    <a:pt x="445" y="453"/>
                  </a:lnTo>
                  <a:lnTo>
                    <a:pt x="445" y="452"/>
                  </a:lnTo>
                  <a:lnTo>
                    <a:pt x="444" y="449"/>
                  </a:lnTo>
                  <a:lnTo>
                    <a:pt x="444" y="449"/>
                  </a:lnTo>
                  <a:lnTo>
                    <a:pt x="442" y="449"/>
                  </a:lnTo>
                  <a:lnTo>
                    <a:pt x="442" y="449"/>
                  </a:lnTo>
                  <a:lnTo>
                    <a:pt x="442" y="449"/>
                  </a:lnTo>
                  <a:lnTo>
                    <a:pt x="442" y="450"/>
                  </a:lnTo>
                  <a:lnTo>
                    <a:pt x="442" y="452"/>
                  </a:lnTo>
                  <a:lnTo>
                    <a:pt x="441" y="452"/>
                  </a:lnTo>
                  <a:lnTo>
                    <a:pt x="438" y="453"/>
                  </a:lnTo>
                  <a:lnTo>
                    <a:pt x="432" y="452"/>
                  </a:lnTo>
                  <a:lnTo>
                    <a:pt x="425" y="449"/>
                  </a:lnTo>
                  <a:lnTo>
                    <a:pt x="418" y="449"/>
                  </a:lnTo>
                  <a:lnTo>
                    <a:pt x="410" y="450"/>
                  </a:lnTo>
                  <a:lnTo>
                    <a:pt x="404" y="452"/>
                  </a:lnTo>
                  <a:lnTo>
                    <a:pt x="401" y="452"/>
                  </a:lnTo>
                  <a:lnTo>
                    <a:pt x="400" y="452"/>
                  </a:lnTo>
                  <a:lnTo>
                    <a:pt x="398" y="450"/>
                  </a:lnTo>
                  <a:lnTo>
                    <a:pt x="400" y="450"/>
                  </a:lnTo>
                  <a:lnTo>
                    <a:pt x="400" y="449"/>
                  </a:lnTo>
                  <a:lnTo>
                    <a:pt x="398" y="447"/>
                  </a:lnTo>
                  <a:lnTo>
                    <a:pt x="397" y="446"/>
                  </a:lnTo>
                  <a:lnTo>
                    <a:pt x="393" y="446"/>
                  </a:lnTo>
                  <a:lnTo>
                    <a:pt x="391" y="444"/>
                  </a:lnTo>
                  <a:lnTo>
                    <a:pt x="391" y="444"/>
                  </a:lnTo>
                  <a:lnTo>
                    <a:pt x="390" y="443"/>
                  </a:lnTo>
                  <a:lnTo>
                    <a:pt x="388" y="443"/>
                  </a:lnTo>
                  <a:lnTo>
                    <a:pt x="387" y="442"/>
                  </a:lnTo>
                  <a:lnTo>
                    <a:pt x="388" y="437"/>
                  </a:lnTo>
                  <a:lnTo>
                    <a:pt x="388" y="434"/>
                  </a:lnTo>
                  <a:lnTo>
                    <a:pt x="388" y="433"/>
                  </a:lnTo>
                  <a:lnTo>
                    <a:pt x="390" y="430"/>
                  </a:lnTo>
                  <a:lnTo>
                    <a:pt x="390" y="430"/>
                  </a:lnTo>
                  <a:lnTo>
                    <a:pt x="388" y="433"/>
                  </a:lnTo>
                  <a:lnTo>
                    <a:pt x="385" y="434"/>
                  </a:lnTo>
                  <a:lnTo>
                    <a:pt x="384" y="437"/>
                  </a:lnTo>
                  <a:lnTo>
                    <a:pt x="383" y="439"/>
                  </a:lnTo>
                  <a:lnTo>
                    <a:pt x="381" y="440"/>
                  </a:lnTo>
                  <a:lnTo>
                    <a:pt x="380" y="440"/>
                  </a:lnTo>
                  <a:lnTo>
                    <a:pt x="377" y="437"/>
                  </a:lnTo>
                  <a:lnTo>
                    <a:pt x="374" y="437"/>
                  </a:lnTo>
                  <a:lnTo>
                    <a:pt x="373" y="437"/>
                  </a:lnTo>
                  <a:lnTo>
                    <a:pt x="371" y="437"/>
                  </a:lnTo>
                  <a:lnTo>
                    <a:pt x="373" y="436"/>
                  </a:lnTo>
                  <a:lnTo>
                    <a:pt x="374" y="434"/>
                  </a:lnTo>
                  <a:lnTo>
                    <a:pt x="374" y="432"/>
                  </a:lnTo>
                  <a:lnTo>
                    <a:pt x="374" y="432"/>
                  </a:lnTo>
                  <a:lnTo>
                    <a:pt x="367" y="430"/>
                  </a:lnTo>
                  <a:lnTo>
                    <a:pt x="367" y="430"/>
                  </a:lnTo>
                  <a:lnTo>
                    <a:pt x="367" y="429"/>
                  </a:lnTo>
                  <a:lnTo>
                    <a:pt x="367" y="429"/>
                  </a:lnTo>
                  <a:lnTo>
                    <a:pt x="365" y="427"/>
                  </a:lnTo>
                  <a:lnTo>
                    <a:pt x="364" y="429"/>
                  </a:lnTo>
                  <a:lnTo>
                    <a:pt x="361" y="429"/>
                  </a:lnTo>
                  <a:lnTo>
                    <a:pt x="360" y="429"/>
                  </a:lnTo>
                  <a:lnTo>
                    <a:pt x="361" y="427"/>
                  </a:lnTo>
                  <a:lnTo>
                    <a:pt x="361" y="427"/>
                  </a:lnTo>
                  <a:lnTo>
                    <a:pt x="363" y="426"/>
                  </a:lnTo>
                  <a:lnTo>
                    <a:pt x="361" y="424"/>
                  </a:lnTo>
                  <a:lnTo>
                    <a:pt x="360" y="424"/>
                  </a:lnTo>
                  <a:lnTo>
                    <a:pt x="360" y="423"/>
                  </a:lnTo>
                  <a:lnTo>
                    <a:pt x="360" y="420"/>
                  </a:lnTo>
                  <a:lnTo>
                    <a:pt x="360" y="417"/>
                  </a:lnTo>
                  <a:lnTo>
                    <a:pt x="365" y="416"/>
                  </a:lnTo>
                  <a:lnTo>
                    <a:pt x="363" y="414"/>
                  </a:lnTo>
                  <a:lnTo>
                    <a:pt x="360" y="416"/>
                  </a:lnTo>
                  <a:lnTo>
                    <a:pt x="358" y="417"/>
                  </a:lnTo>
                  <a:lnTo>
                    <a:pt x="355" y="419"/>
                  </a:lnTo>
                  <a:lnTo>
                    <a:pt x="354" y="420"/>
                  </a:lnTo>
                  <a:lnTo>
                    <a:pt x="353" y="420"/>
                  </a:lnTo>
                  <a:lnTo>
                    <a:pt x="351" y="420"/>
                  </a:lnTo>
                  <a:lnTo>
                    <a:pt x="350" y="420"/>
                  </a:lnTo>
                  <a:lnTo>
                    <a:pt x="350" y="420"/>
                  </a:lnTo>
                  <a:lnTo>
                    <a:pt x="348" y="422"/>
                  </a:lnTo>
                  <a:lnTo>
                    <a:pt x="348" y="422"/>
                  </a:lnTo>
                  <a:lnTo>
                    <a:pt x="348" y="423"/>
                  </a:lnTo>
                  <a:lnTo>
                    <a:pt x="347" y="422"/>
                  </a:lnTo>
                  <a:lnTo>
                    <a:pt x="347" y="422"/>
                  </a:lnTo>
                  <a:lnTo>
                    <a:pt x="345" y="420"/>
                  </a:lnTo>
                  <a:lnTo>
                    <a:pt x="344" y="420"/>
                  </a:lnTo>
                  <a:lnTo>
                    <a:pt x="344" y="420"/>
                  </a:lnTo>
                  <a:lnTo>
                    <a:pt x="344" y="422"/>
                  </a:lnTo>
                  <a:lnTo>
                    <a:pt x="343" y="423"/>
                  </a:lnTo>
                  <a:lnTo>
                    <a:pt x="341" y="423"/>
                  </a:lnTo>
                  <a:lnTo>
                    <a:pt x="340" y="423"/>
                  </a:lnTo>
                  <a:lnTo>
                    <a:pt x="337" y="422"/>
                  </a:lnTo>
                  <a:lnTo>
                    <a:pt x="337" y="420"/>
                  </a:lnTo>
                  <a:lnTo>
                    <a:pt x="338" y="419"/>
                  </a:lnTo>
                  <a:lnTo>
                    <a:pt x="341" y="413"/>
                  </a:lnTo>
                  <a:lnTo>
                    <a:pt x="341" y="413"/>
                  </a:lnTo>
                  <a:lnTo>
                    <a:pt x="340" y="413"/>
                  </a:lnTo>
                  <a:lnTo>
                    <a:pt x="338" y="416"/>
                  </a:lnTo>
                  <a:lnTo>
                    <a:pt x="337" y="417"/>
                  </a:lnTo>
                  <a:lnTo>
                    <a:pt x="335" y="417"/>
                  </a:lnTo>
                  <a:lnTo>
                    <a:pt x="334" y="417"/>
                  </a:lnTo>
                  <a:lnTo>
                    <a:pt x="333" y="417"/>
                  </a:lnTo>
                  <a:lnTo>
                    <a:pt x="333" y="417"/>
                  </a:lnTo>
                  <a:lnTo>
                    <a:pt x="331" y="419"/>
                  </a:lnTo>
                  <a:lnTo>
                    <a:pt x="331" y="419"/>
                  </a:lnTo>
                  <a:lnTo>
                    <a:pt x="331" y="419"/>
                  </a:lnTo>
                  <a:lnTo>
                    <a:pt x="333" y="419"/>
                  </a:lnTo>
                  <a:lnTo>
                    <a:pt x="334" y="419"/>
                  </a:lnTo>
                  <a:lnTo>
                    <a:pt x="334" y="419"/>
                  </a:lnTo>
                  <a:lnTo>
                    <a:pt x="333" y="422"/>
                  </a:lnTo>
                  <a:lnTo>
                    <a:pt x="331" y="424"/>
                  </a:lnTo>
                  <a:lnTo>
                    <a:pt x="331" y="424"/>
                  </a:lnTo>
                  <a:lnTo>
                    <a:pt x="330" y="424"/>
                  </a:lnTo>
                  <a:lnTo>
                    <a:pt x="328" y="426"/>
                  </a:lnTo>
                  <a:lnTo>
                    <a:pt x="328" y="426"/>
                  </a:lnTo>
                  <a:lnTo>
                    <a:pt x="331" y="429"/>
                  </a:lnTo>
                  <a:lnTo>
                    <a:pt x="333" y="429"/>
                  </a:lnTo>
                  <a:lnTo>
                    <a:pt x="333" y="430"/>
                  </a:lnTo>
                  <a:lnTo>
                    <a:pt x="333" y="430"/>
                  </a:lnTo>
                  <a:lnTo>
                    <a:pt x="333" y="433"/>
                  </a:lnTo>
                  <a:lnTo>
                    <a:pt x="333" y="433"/>
                  </a:lnTo>
                  <a:lnTo>
                    <a:pt x="333" y="433"/>
                  </a:lnTo>
                  <a:lnTo>
                    <a:pt x="330" y="433"/>
                  </a:lnTo>
                  <a:lnTo>
                    <a:pt x="330" y="434"/>
                  </a:lnTo>
                  <a:lnTo>
                    <a:pt x="328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8" y="436"/>
                  </a:lnTo>
                  <a:lnTo>
                    <a:pt x="330" y="434"/>
                  </a:lnTo>
                  <a:lnTo>
                    <a:pt x="333" y="434"/>
                  </a:lnTo>
                  <a:lnTo>
                    <a:pt x="334" y="434"/>
                  </a:lnTo>
                  <a:lnTo>
                    <a:pt x="335" y="433"/>
                  </a:lnTo>
                  <a:lnTo>
                    <a:pt x="337" y="434"/>
                  </a:lnTo>
                  <a:lnTo>
                    <a:pt x="338" y="436"/>
                  </a:lnTo>
                  <a:lnTo>
                    <a:pt x="338" y="436"/>
                  </a:lnTo>
                  <a:lnTo>
                    <a:pt x="337" y="437"/>
                  </a:lnTo>
                  <a:lnTo>
                    <a:pt x="337" y="439"/>
                  </a:lnTo>
                  <a:lnTo>
                    <a:pt x="335" y="439"/>
                  </a:lnTo>
                  <a:lnTo>
                    <a:pt x="334" y="440"/>
                  </a:lnTo>
                  <a:lnTo>
                    <a:pt x="334" y="440"/>
                  </a:lnTo>
                  <a:lnTo>
                    <a:pt x="334" y="442"/>
                  </a:lnTo>
                  <a:lnTo>
                    <a:pt x="334" y="443"/>
                  </a:lnTo>
                  <a:lnTo>
                    <a:pt x="334" y="447"/>
                  </a:lnTo>
                  <a:lnTo>
                    <a:pt x="334" y="447"/>
                  </a:lnTo>
                  <a:lnTo>
                    <a:pt x="334" y="447"/>
                  </a:lnTo>
                  <a:lnTo>
                    <a:pt x="333" y="447"/>
                  </a:lnTo>
                  <a:lnTo>
                    <a:pt x="333" y="449"/>
                  </a:lnTo>
                  <a:lnTo>
                    <a:pt x="331" y="453"/>
                  </a:lnTo>
                  <a:lnTo>
                    <a:pt x="330" y="453"/>
                  </a:lnTo>
                  <a:lnTo>
                    <a:pt x="330" y="453"/>
                  </a:lnTo>
                  <a:lnTo>
                    <a:pt x="328" y="453"/>
                  </a:lnTo>
                  <a:lnTo>
                    <a:pt x="328" y="453"/>
                  </a:lnTo>
                  <a:lnTo>
                    <a:pt x="327" y="453"/>
                  </a:lnTo>
                  <a:lnTo>
                    <a:pt x="326" y="454"/>
                  </a:lnTo>
                  <a:lnTo>
                    <a:pt x="324" y="453"/>
                  </a:lnTo>
                  <a:lnTo>
                    <a:pt x="321" y="453"/>
                  </a:lnTo>
                  <a:lnTo>
                    <a:pt x="320" y="452"/>
                  </a:lnTo>
                  <a:lnTo>
                    <a:pt x="320" y="452"/>
                  </a:lnTo>
                  <a:lnTo>
                    <a:pt x="317" y="452"/>
                  </a:lnTo>
                  <a:lnTo>
                    <a:pt x="317" y="452"/>
                  </a:lnTo>
                  <a:lnTo>
                    <a:pt x="316" y="449"/>
                  </a:lnTo>
                  <a:lnTo>
                    <a:pt x="314" y="449"/>
                  </a:lnTo>
                  <a:lnTo>
                    <a:pt x="314" y="452"/>
                  </a:lnTo>
                  <a:lnTo>
                    <a:pt x="314" y="453"/>
                  </a:lnTo>
                  <a:lnTo>
                    <a:pt x="313" y="456"/>
                  </a:lnTo>
                  <a:lnTo>
                    <a:pt x="311" y="459"/>
                  </a:lnTo>
                  <a:lnTo>
                    <a:pt x="311" y="460"/>
                  </a:lnTo>
                  <a:lnTo>
                    <a:pt x="311" y="459"/>
                  </a:lnTo>
                  <a:lnTo>
                    <a:pt x="310" y="456"/>
                  </a:lnTo>
                  <a:lnTo>
                    <a:pt x="310" y="454"/>
                  </a:lnTo>
                  <a:lnTo>
                    <a:pt x="308" y="457"/>
                  </a:lnTo>
                  <a:lnTo>
                    <a:pt x="308" y="457"/>
                  </a:lnTo>
                  <a:lnTo>
                    <a:pt x="308" y="460"/>
                  </a:lnTo>
                  <a:lnTo>
                    <a:pt x="308" y="460"/>
                  </a:lnTo>
                  <a:lnTo>
                    <a:pt x="306" y="459"/>
                  </a:lnTo>
                  <a:lnTo>
                    <a:pt x="306" y="459"/>
                  </a:lnTo>
                  <a:lnTo>
                    <a:pt x="306" y="459"/>
                  </a:lnTo>
                  <a:lnTo>
                    <a:pt x="306" y="462"/>
                  </a:lnTo>
                  <a:lnTo>
                    <a:pt x="306" y="462"/>
                  </a:lnTo>
                  <a:lnTo>
                    <a:pt x="303" y="466"/>
                  </a:lnTo>
                  <a:lnTo>
                    <a:pt x="301" y="466"/>
                  </a:lnTo>
                  <a:lnTo>
                    <a:pt x="301" y="466"/>
                  </a:lnTo>
                  <a:lnTo>
                    <a:pt x="300" y="466"/>
                  </a:lnTo>
                  <a:lnTo>
                    <a:pt x="297" y="467"/>
                  </a:lnTo>
                  <a:lnTo>
                    <a:pt x="297" y="467"/>
                  </a:lnTo>
                  <a:lnTo>
                    <a:pt x="296" y="466"/>
                  </a:lnTo>
                  <a:lnTo>
                    <a:pt x="296" y="466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4" y="470"/>
                  </a:lnTo>
                  <a:lnTo>
                    <a:pt x="291" y="473"/>
                  </a:lnTo>
                  <a:lnTo>
                    <a:pt x="291" y="474"/>
                  </a:lnTo>
                  <a:lnTo>
                    <a:pt x="290" y="476"/>
                  </a:lnTo>
                  <a:lnTo>
                    <a:pt x="290" y="476"/>
                  </a:lnTo>
                  <a:lnTo>
                    <a:pt x="288" y="474"/>
                  </a:lnTo>
                  <a:lnTo>
                    <a:pt x="287" y="474"/>
                  </a:lnTo>
                  <a:lnTo>
                    <a:pt x="286" y="474"/>
                  </a:lnTo>
                  <a:lnTo>
                    <a:pt x="287" y="476"/>
                  </a:lnTo>
                  <a:lnTo>
                    <a:pt x="287" y="476"/>
                  </a:lnTo>
                  <a:lnTo>
                    <a:pt x="286" y="476"/>
                  </a:lnTo>
                  <a:lnTo>
                    <a:pt x="284" y="476"/>
                  </a:lnTo>
                  <a:lnTo>
                    <a:pt x="284" y="476"/>
                  </a:lnTo>
                  <a:lnTo>
                    <a:pt x="281" y="476"/>
                  </a:lnTo>
                  <a:lnTo>
                    <a:pt x="280" y="477"/>
                  </a:lnTo>
                  <a:lnTo>
                    <a:pt x="277" y="477"/>
                  </a:lnTo>
                  <a:lnTo>
                    <a:pt x="276" y="476"/>
                  </a:lnTo>
                  <a:lnTo>
                    <a:pt x="274" y="476"/>
                  </a:lnTo>
                  <a:lnTo>
                    <a:pt x="274" y="474"/>
                  </a:lnTo>
                  <a:lnTo>
                    <a:pt x="274" y="473"/>
                  </a:lnTo>
                  <a:lnTo>
                    <a:pt x="276" y="472"/>
                  </a:lnTo>
                  <a:lnTo>
                    <a:pt x="276" y="472"/>
                  </a:lnTo>
                  <a:lnTo>
                    <a:pt x="278" y="469"/>
                  </a:lnTo>
                  <a:lnTo>
                    <a:pt x="281" y="469"/>
                  </a:lnTo>
                  <a:lnTo>
                    <a:pt x="283" y="467"/>
                  </a:lnTo>
                  <a:lnTo>
                    <a:pt x="286" y="466"/>
                  </a:lnTo>
                  <a:lnTo>
                    <a:pt x="287" y="463"/>
                  </a:lnTo>
                  <a:lnTo>
                    <a:pt x="288" y="459"/>
                  </a:lnTo>
                  <a:lnTo>
                    <a:pt x="288" y="459"/>
                  </a:lnTo>
                  <a:lnTo>
                    <a:pt x="288" y="459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1" y="463"/>
                  </a:lnTo>
                  <a:lnTo>
                    <a:pt x="277" y="462"/>
                  </a:lnTo>
                  <a:lnTo>
                    <a:pt x="277" y="462"/>
                  </a:lnTo>
                  <a:lnTo>
                    <a:pt x="276" y="459"/>
                  </a:lnTo>
                  <a:lnTo>
                    <a:pt x="277" y="454"/>
                  </a:lnTo>
                  <a:lnTo>
                    <a:pt x="277" y="453"/>
                  </a:lnTo>
                  <a:lnTo>
                    <a:pt x="280" y="449"/>
                  </a:lnTo>
                  <a:lnTo>
                    <a:pt x="283" y="446"/>
                  </a:lnTo>
                  <a:lnTo>
                    <a:pt x="283" y="443"/>
                  </a:lnTo>
                  <a:lnTo>
                    <a:pt x="284" y="437"/>
                  </a:lnTo>
                  <a:lnTo>
                    <a:pt x="284" y="434"/>
                  </a:lnTo>
                  <a:lnTo>
                    <a:pt x="284" y="430"/>
                  </a:lnTo>
                  <a:lnTo>
                    <a:pt x="284" y="429"/>
                  </a:lnTo>
                  <a:lnTo>
                    <a:pt x="284" y="429"/>
                  </a:lnTo>
                  <a:lnTo>
                    <a:pt x="290" y="424"/>
                  </a:lnTo>
                  <a:lnTo>
                    <a:pt x="293" y="423"/>
                  </a:lnTo>
                  <a:lnTo>
                    <a:pt x="298" y="419"/>
                  </a:lnTo>
                  <a:lnTo>
                    <a:pt x="300" y="419"/>
                  </a:lnTo>
                  <a:lnTo>
                    <a:pt x="301" y="420"/>
                  </a:lnTo>
                  <a:lnTo>
                    <a:pt x="303" y="422"/>
                  </a:lnTo>
                  <a:lnTo>
                    <a:pt x="304" y="422"/>
                  </a:lnTo>
                  <a:lnTo>
                    <a:pt x="306" y="422"/>
                  </a:lnTo>
                  <a:lnTo>
                    <a:pt x="308" y="420"/>
                  </a:lnTo>
                  <a:lnTo>
                    <a:pt x="311" y="422"/>
                  </a:lnTo>
                  <a:lnTo>
                    <a:pt x="318" y="423"/>
                  </a:lnTo>
                  <a:lnTo>
                    <a:pt x="320" y="423"/>
                  </a:lnTo>
                  <a:lnTo>
                    <a:pt x="320" y="423"/>
                  </a:lnTo>
                  <a:lnTo>
                    <a:pt x="320" y="422"/>
                  </a:lnTo>
                  <a:lnTo>
                    <a:pt x="314" y="420"/>
                  </a:lnTo>
                  <a:lnTo>
                    <a:pt x="311" y="420"/>
                  </a:lnTo>
                  <a:lnTo>
                    <a:pt x="306" y="416"/>
                  </a:lnTo>
                  <a:lnTo>
                    <a:pt x="304" y="414"/>
                  </a:lnTo>
                  <a:lnTo>
                    <a:pt x="306" y="413"/>
                  </a:lnTo>
                  <a:lnTo>
                    <a:pt x="307" y="413"/>
                  </a:lnTo>
                  <a:lnTo>
                    <a:pt x="307" y="412"/>
                  </a:lnTo>
                  <a:lnTo>
                    <a:pt x="307" y="410"/>
                  </a:lnTo>
                  <a:lnTo>
                    <a:pt x="308" y="409"/>
                  </a:lnTo>
                  <a:lnTo>
                    <a:pt x="310" y="407"/>
                  </a:lnTo>
                  <a:lnTo>
                    <a:pt x="311" y="406"/>
                  </a:lnTo>
                  <a:lnTo>
                    <a:pt x="316" y="403"/>
                  </a:lnTo>
                  <a:lnTo>
                    <a:pt x="314" y="403"/>
                  </a:lnTo>
                  <a:lnTo>
                    <a:pt x="311" y="403"/>
                  </a:lnTo>
                  <a:lnTo>
                    <a:pt x="310" y="404"/>
                  </a:lnTo>
                  <a:lnTo>
                    <a:pt x="308" y="406"/>
                  </a:lnTo>
                  <a:lnTo>
                    <a:pt x="307" y="407"/>
                  </a:lnTo>
                  <a:lnTo>
                    <a:pt x="307" y="410"/>
                  </a:lnTo>
                  <a:lnTo>
                    <a:pt x="306" y="410"/>
                  </a:lnTo>
                  <a:lnTo>
                    <a:pt x="304" y="410"/>
                  </a:lnTo>
                  <a:lnTo>
                    <a:pt x="298" y="412"/>
                  </a:lnTo>
                  <a:lnTo>
                    <a:pt x="297" y="410"/>
                  </a:lnTo>
                  <a:lnTo>
                    <a:pt x="297" y="409"/>
                  </a:lnTo>
                  <a:lnTo>
                    <a:pt x="296" y="410"/>
                  </a:lnTo>
                  <a:lnTo>
                    <a:pt x="290" y="413"/>
                  </a:lnTo>
                  <a:lnTo>
                    <a:pt x="288" y="414"/>
                  </a:lnTo>
                  <a:lnTo>
                    <a:pt x="287" y="417"/>
                  </a:lnTo>
                  <a:lnTo>
                    <a:pt x="286" y="419"/>
                  </a:lnTo>
                  <a:lnTo>
                    <a:pt x="283" y="419"/>
                  </a:lnTo>
                  <a:lnTo>
                    <a:pt x="280" y="420"/>
                  </a:lnTo>
                  <a:lnTo>
                    <a:pt x="277" y="423"/>
                  </a:lnTo>
                  <a:lnTo>
                    <a:pt x="277" y="424"/>
                  </a:lnTo>
                  <a:lnTo>
                    <a:pt x="277" y="424"/>
                  </a:lnTo>
                  <a:lnTo>
                    <a:pt x="277" y="427"/>
                  </a:lnTo>
                  <a:lnTo>
                    <a:pt x="277" y="429"/>
                  </a:lnTo>
                  <a:lnTo>
                    <a:pt x="276" y="429"/>
                  </a:lnTo>
                  <a:lnTo>
                    <a:pt x="274" y="430"/>
                  </a:lnTo>
                  <a:lnTo>
                    <a:pt x="268" y="434"/>
                  </a:lnTo>
                  <a:lnTo>
                    <a:pt x="268" y="437"/>
                  </a:lnTo>
                  <a:lnTo>
                    <a:pt x="268" y="437"/>
                  </a:lnTo>
                  <a:lnTo>
                    <a:pt x="270" y="439"/>
                  </a:lnTo>
                  <a:lnTo>
                    <a:pt x="268" y="440"/>
                  </a:lnTo>
                  <a:lnTo>
                    <a:pt x="267" y="442"/>
                  </a:lnTo>
                  <a:lnTo>
                    <a:pt x="264" y="443"/>
                  </a:lnTo>
                  <a:lnTo>
                    <a:pt x="263" y="444"/>
                  </a:lnTo>
                  <a:lnTo>
                    <a:pt x="261" y="444"/>
                  </a:lnTo>
                  <a:lnTo>
                    <a:pt x="260" y="444"/>
                  </a:lnTo>
                  <a:lnTo>
                    <a:pt x="258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8" y="444"/>
                  </a:lnTo>
                  <a:lnTo>
                    <a:pt x="261" y="446"/>
                  </a:lnTo>
                  <a:lnTo>
                    <a:pt x="263" y="449"/>
                  </a:lnTo>
                  <a:lnTo>
                    <a:pt x="263" y="449"/>
                  </a:lnTo>
                  <a:lnTo>
                    <a:pt x="263" y="450"/>
                  </a:lnTo>
                  <a:lnTo>
                    <a:pt x="263" y="452"/>
                  </a:lnTo>
                  <a:lnTo>
                    <a:pt x="261" y="454"/>
                  </a:lnTo>
                  <a:lnTo>
                    <a:pt x="260" y="456"/>
                  </a:lnTo>
                  <a:lnTo>
                    <a:pt x="256" y="456"/>
                  </a:lnTo>
                  <a:lnTo>
                    <a:pt x="254" y="457"/>
                  </a:lnTo>
                  <a:lnTo>
                    <a:pt x="254" y="457"/>
                  </a:lnTo>
                  <a:lnTo>
                    <a:pt x="257" y="459"/>
                  </a:lnTo>
                  <a:lnTo>
                    <a:pt x="257" y="459"/>
                  </a:lnTo>
                  <a:lnTo>
                    <a:pt x="257" y="460"/>
                  </a:lnTo>
                  <a:lnTo>
                    <a:pt x="256" y="462"/>
                  </a:lnTo>
                  <a:lnTo>
                    <a:pt x="254" y="463"/>
                  </a:lnTo>
                  <a:lnTo>
                    <a:pt x="251" y="463"/>
                  </a:lnTo>
                  <a:lnTo>
                    <a:pt x="251" y="463"/>
                  </a:lnTo>
                  <a:lnTo>
                    <a:pt x="251" y="462"/>
                  </a:lnTo>
                  <a:lnTo>
                    <a:pt x="251" y="460"/>
                  </a:lnTo>
                  <a:lnTo>
                    <a:pt x="251" y="460"/>
                  </a:lnTo>
                  <a:lnTo>
                    <a:pt x="250" y="462"/>
                  </a:lnTo>
                  <a:lnTo>
                    <a:pt x="247" y="463"/>
                  </a:lnTo>
                  <a:lnTo>
                    <a:pt x="247" y="463"/>
                  </a:lnTo>
                  <a:lnTo>
                    <a:pt x="247" y="464"/>
                  </a:lnTo>
                  <a:lnTo>
                    <a:pt x="247" y="464"/>
                  </a:lnTo>
                  <a:lnTo>
                    <a:pt x="246" y="466"/>
                  </a:lnTo>
                  <a:lnTo>
                    <a:pt x="246" y="467"/>
                  </a:lnTo>
                  <a:lnTo>
                    <a:pt x="244" y="469"/>
                  </a:lnTo>
                  <a:lnTo>
                    <a:pt x="240" y="472"/>
                  </a:lnTo>
                  <a:lnTo>
                    <a:pt x="240" y="473"/>
                  </a:lnTo>
                  <a:lnTo>
                    <a:pt x="238" y="476"/>
                  </a:lnTo>
                  <a:lnTo>
                    <a:pt x="238" y="479"/>
                  </a:lnTo>
                  <a:lnTo>
                    <a:pt x="240" y="480"/>
                  </a:lnTo>
                  <a:lnTo>
                    <a:pt x="243" y="481"/>
                  </a:lnTo>
                  <a:lnTo>
                    <a:pt x="244" y="481"/>
                  </a:lnTo>
                  <a:lnTo>
                    <a:pt x="247" y="483"/>
                  </a:lnTo>
                  <a:lnTo>
                    <a:pt x="251" y="484"/>
                  </a:lnTo>
                  <a:lnTo>
                    <a:pt x="251" y="486"/>
                  </a:lnTo>
                  <a:lnTo>
                    <a:pt x="253" y="487"/>
                  </a:lnTo>
                  <a:lnTo>
                    <a:pt x="251" y="489"/>
                  </a:lnTo>
                  <a:lnTo>
                    <a:pt x="251" y="489"/>
                  </a:lnTo>
                  <a:lnTo>
                    <a:pt x="250" y="491"/>
                  </a:lnTo>
                  <a:lnTo>
                    <a:pt x="247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4" y="496"/>
                  </a:lnTo>
                  <a:lnTo>
                    <a:pt x="241" y="499"/>
                  </a:lnTo>
                  <a:lnTo>
                    <a:pt x="240" y="500"/>
                  </a:lnTo>
                  <a:lnTo>
                    <a:pt x="240" y="501"/>
                  </a:lnTo>
                  <a:lnTo>
                    <a:pt x="240" y="503"/>
                  </a:lnTo>
                  <a:lnTo>
                    <a:pt x="237" y="504"/>
                  </a:lnTo>
                  <a:lnTo>
                    <a:pt x="237" y="506"/>
                  </a:lnTo>
                  <a:lnTo>
                    <a:pt x="238" y="506"/>
                  </a:lnTo>
                  <a:lnTo>
                    <a:pt x="237" y="507"/>
                  </a:lnTo>
                  <a:lnTo>
                    <a:pt x="237" y="509"/>
                  </a:lnTo>
                  <a:lnTo>
                    <a:pt x="237" y="510"/>
                  </a:lnTo>
                  <a:lnTo>
                    <a:pt x="234" y="510"/>
                  </a:lnTo>
                  <a:lnTo>
                    <a:pt x="233" y="510"/>
                  </a:lnTo>
                  <a:lnTo>
                    <a:pt x="231" y="511"/>
                  </a:lnTo>
                  <a:lnTo>
                    <a:pt x="231" y="513"/>
                  </a:lnTo>
                  <a:lnTo>
                    <a:pt x="226" y="514"/>
                  </a:lnTo>
                  <a:lnTo>
                    <a:pt x="224" y="517"/>
                  </a:lnTo>
                  <a:lnTo>
                    <a:pt x="223" y="517"/>
                  </a:lnTo>
                  <a:lnTo>
                    <a:pt x="220" y="520"/>
                  </a:lnTo>
                  <a:lnTo>
                    <a:pt x="219" y="521"/>
                  </a:lnTo>
                  <a:lnTo>
                    <a:pt x="217" y="521"/>
                  </a:lnTo>
                  <a:lnTo>
                    <a:pt x="216" y="521"/>
                  </a:lnTo>
                  <a:lnTo>
                    <a:pt x="216" y="523"/>
                  </a:lnTo>
                  <a:lnTo>
                    <a:pt x="216" y="524"/>
                  </a:lnTo>
                  <a:lnTo>
                    <a:pt x="214" y="526"/>
                  </a:lnTo>
                  <a:lnTo>
                    <a:pt x="213" y="527"/>
                  </a:lnTo>
                  <a:lnTo>
                    <a:pt x="213" y="527"/>
                  </a:lnTo>
                  <a:lnTo>
                    <a:pt x="210" y="527"/>
                  </a:lnTo>
                  <a:lnTo>
                    <a:pt x="209" y="529"/>
                  </a:lnTo>
                  <a:lnTo>
                    <a:pt x="209" y="530"/>
                  </a:lnTo>
                  <a:lnTo>
                    <a:pt x="209" y="531"/>
                  </a:lnTo>
                  <a:lnTo>
                    <a:pt x="207" y="530"/>
                  </a:lnTo>
                  <a:lnTo>
                    <a:pt x="206" y="530"/>
                  </a:lnTo>
                  <a:lnTo>
                    <a:pt x="203" y="533"/>
                  </a:lnTo>
                  <a:lnTo>
                    <a:pt x="201" y="534"/>
                  </a:lnTo>
                  <a:lnTo>
                    <a:pt x="201" y="534"/>
                  </a:lnTo>
                  <a:lnTo>
                    <a:pt x="203" y="536"/>
                  </a:lnTo>
                  <a:lnTo>
                    <a:pt x="203" y="537"/>
                  </a:lnTo>
                  <a:lnTo>
                    <a:pt x="203" y="537"/>
                  </a:lnTo>
                  <a:lnTo>
                    <a:pt x="201" y="541"/>
                  </a:lnTo>
                  <a:lnTo>
                    <a:pt x="201" y="541"/>
                  </a:lnTo>
                  <a:lnTo>
                    <a:pt x="200" y="541"/>
                  </a:lnTo>
                  <a:lnTo>
                    <a:pt x="199" y="544"/>
                  </a:lnTo>
                  <a:lnTo>
                    <a:pt x="199" y="543"/>
                  </a:lnTo>
                  <a:lnTo>
                    <a:pt x="197" y="544"/>
                  </a:lnTo>
                  <a:lnTo>
                    <a:pt x="196" y="544"/>
                  </a:lnTo>
                  <a:lnTo>
                    <a:pt x="196" y="546"/>
                  </a:lnTo>
                  <a:lnTo>
                    <a:pt x="194" y="546"/>
                  </a:lnTo>
                  <a:lnTo>
                    <a:pt x="193" y="547"/>
                  </a:lnTo>
                  <a:lnTo>
                    <a:pt x="193" y="549"/>
                  </a:lnTo>
                  <a:lnTo>
                    <a:pt x="191" y="549"/>
                  </a:lnTo>
                  <a:lnTo>
                    <a:pt x="190" y="550"/>
                  </a:lnTo>
                  <a:lnTo>
                    <a:pt x="189" y="550"/>
                  </a:lnTo>
                  <a:lnTo>
                    <a:pt x="189" y="550"/>
                  </a:lnTo>
                  <a:lnTo>
                    <a:pt x="187" y="550"/>
                  </a:lnTo>
                  <a:lnTo>
                    <a:pt x="186" y="550"/>
                  </a:lnTo>
                  <a:lnTo>
                    <a:pt x="186" y="551"/>
                  </a:lnTo>
                  <a:lnTo>
                    <a:pt x="184" y="553"/>
                  </a:lnTo>
                  <a:lnTo>
                    <a:pt x="184" y="554"/>
                  </a:lnTo>
                  <a:lnTo>
                    <a:pt x="183" y="554"/>
                  </a:lnTo>
                  <a:lnTo>
                    <a:pt x="183" y="554"/>
                  </a:lnTo>
                  <a:lnTo>
                    <a:pt x="181" y="554"/>
                  </a:lnTo>
                  <a:lnTo>
                    <a:pt x="180" y="554"/>
                  </a:lnTo>
                  <a:lnTo>
                    <a:pt x="177" y="556"/>
                  </a:lnTo>
                  <a:lnTo>
                    <a:pt x="176" y="557"/>
                  </a:lnTo>
                  <a:lnTo>
                    <a:pt x="177" y="557"/>
                  </a:lnTo>
                  <a:lnTo>
                    <a:pt x="179" y="557"/>
                  </a:lnTo>
                  <a:lnTo>
                    <a:pt x="179" y="559"/>
                  </a:lnTo>
                  <a:lnTo>
                    <a:pt x="177" y="559"/>
                  </a:lnTo>
                  <a:lnTo>
                    <a:pt x="176" y="559"/>
                  </a:lnTo>
                  <a:lnTo>
                    <a:pt x="176" y="559"/>
                  </a:lnTo>
                  <a:lnTo>
                    <a:pt x="174" y="559"/>
                  </a:lnTo>
                  <a:lnTo>
                    <a:pt x="171" y="560"/>
                  </a:lnTo>
                  <a:lnTo>
                    <a:pt x="170" y="560"/>
                  </a:lnTo>
                  <a:lnTo>
                    <a:pt x="169" y="563"/>
                  </a:lnTo>
                  <a:lnTo>
                    <a:pt x="169" y="564"/>
                  </a:lnTo>
                  <a:lnTo>
                    <a:pt x="169" y="564"/>
                  </a:lnTo>
                  <a:lnTo>
                    <a:pt x="170" y="564"/>
                  </a:lnTo>
                  <a:lnTo>
                    <a:pt x="171" y="564"/>
                  </a:lnTo>
                  <a:lnTo>
                    <a:pt x="171" y="564"/>
                  </a:lnTo>
                  <a:lnTo>
                    <a:pt x="173" y="566"/>
                  </a:lnTo>
                  <a:lnTo>
                    <a:pt x="173" y="567"/>
                  </a:lnTo>
                  <a:lnTo>
                    <a:pt x="173" y="567"/>
                  </a:lnTo>
                  <a:lnTo>
                    <a:pt x="170" y="570"/>
                  </a:lnTo>
                  <a:lnTo>
                    <a:pt x="170" y="571"/>
                  </a:lnTo>
                  <a:lnTo>
                    <a:pt x="169" y="571"/>
                  </a:lnTo>
                  <a:lnTo>
                    <a:pt x="169" y="571"/>
                  </a:lnTo>
                  <a:lnTo>
                    <a:pt x="169" y="569"/>
                  </a:lnTo>
                  <a:lnTo>
                    <a:pt x="169" y="567"/>
                  </a:lnTo>
                  <a:lnTo>
                    <a:pt x="167" y="567"/>
                  </a:lnTo>
                  <a:lnTo>
                    <a:pt x="167" y="569"/>
                  </a:lnTo>
                  <a:lnTo>
                    <a:pt x="166" y="571"/>
                  </a:lnTo>
                  <a:lnTo>
                    <a:pt x="164" y="573"/>
                  </a:lnTo>
                  <a:lnTo>
                    <a:pt x="154" y="577"/>
                  </a:lnTo>
                  <a:lnTo>
                    <a:pt x="153" y="579"/>
                  </a:lnTo>
                  <a:lnTo>
                    <a:pt x="153" y="580"/>
                  </a:lnTo>
                  <a:lnTo>
                    <a:pt x="153" y="581"/>
                  </a:lnTo>
                  <a:lnTo>
                    <a:pt x="151" y="583"/>
                  </a:lnTo>
                  <a:lnTo>
                    <a:pt x="150" y="583"/>
                  </a:lnTo>
                  <a:lnTo>
                    <a:pt x="150" y="583"/>
                  </a:lnTo>
                  <a:lnTo>
                    <a:pt x="150" y="579"/>
                  </a:lnTo>
                  <a:lnTo>
                    <a:pt x="150" y="579"/>
                  </a:lnTo>
                  <a:lnTo>
                    <a:pt x="150" y="577"/>
                  </a:lnTo>
                  <a:lnTo>
                    <a:pt x="149" y="577"/>
                  </a:lnTo>
                  <a:lnTo>
                    <a:pt x="149" y="577"/>
                  </a:lnTo>
                  <a:lnTo>
                    <a:pt x="147" y="579"/>
                  </a:lnTo>
                  <a:lnTo>
                    <a:pt x="147" y="579"/>
                  </a:lnTo>
                  <a:lnTo>
                    <a:pt x="146" y="579"/>
                  </a:lnTo>
                  <a:lnTo>
                    <a:pt x="144" y="580"/>
                  </a:lnTo>
                  <a:lnTo>
                    <a:pt x="141" y="583"/>
                  </a:lnTo>
                  <a:lnTo>
                    <a:pt x="139" y="583"/>
                  </a:lnTo>
                  <a:lnTo>
                    <a:pt x="139" y="584"/>
                  </a:lnTo>
                  <a:lnTo>
                    <a:pt x="137" y="586"/>
                  </a:lnTo>
                  <a:lnTo>
                    <a:pt x="137" y="586"/>
                  </a:lnTo>
                  <a:lnTo>
                    <a:pt x="136" y="586"/>
                  </a:lnTo>
                  <a:lnTo>
                    <a:pt x="136" y="586"/>
                  </a:lnTo>
                  <a:lnTo>
                    <a:pt x="134" y="586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2" y="587"/>
                  </a:lnTo>
                  <a:lnTo>
                    <a:pt x="130" y="587"/>
                  </a:lnTo>
                  <a:lnTo>
                    <a:pt x="129" y="589"/>
                  </a:lnTo>
                  <a:lnTo>
                    <a:pt x="127" y="590"/>
                  </a:lnTo>
                  <a:lnTo>
                    <a:pt x="126" y="590"/>
                  </a:lnTo>
                  <a:lnTo>
                    <a:pt x="123" y="591"/>
                  </a:lnTo>
                  <a:lnTo>
                    <a:pt x="122" y="590"/>
                  </a:lnTo>
                  <a:lnTo>
                    <a:pt x="122" y="590"/>
                  </a:lnTo>
                  <a:lnTo>
                    <a:pt x="122" y="589"/>
                  </a:lnTo>
                  <a:lnTo>
                    <a:pt x="122" y="587"/>
                  </a:lnTo>
                  <a:lnTo>
                    <a:pt x="123" y="586"/>
                  </a:lnTo>
                  <a:lnTo>
                    <a:pt x="123" y="586"/>
                  </a:lnTo>
                  <a:lnTo>
                    <a:pt x="124" y="586"/>
                  </a:lnTo>
                  <a:lnTo>
                    <a:pt x="126" y="586"/>
                  </a:lnTo>
                  <a:lnTo>
                    <a:pt x="126" y="586"/>
                  </a:lnTo>
                  <a:lnTo>
                    <a:pt x="126" y="584"/>
                  </a:lnTo>
                  <a:lnTo>
                    <a:pt x="123" y="584"/>
                  </a:lnTo>
                  <a:lnTo>
                    <a:pt x="122" y="583"/>
                  </a:lnTo>
                  <a:lnTo>
                    <a:pt x="122" y="584"/>
                  </a:lnTo>
                  <a:lnTo>
                    <a:pt x="120" y="584"/>
                  </a:lnTo>
                  <a:lnTo>
                    <a:pt x="119" y="586"/>
                  </a:lnTo>
                  <a:lnTo>
                    <a:pt x="119" y="586"/>
                  </a:lnTo>
                  <a:lnTo>
                    <a:pt x="117" y="590"/>
                  </a:lnTo>
                  <a:lnTo>
                    <a:pt x="117" y="590"/>
                  </a:lnTo>
                  <a:lnTo>
                    <a:pt x="113" y="596"/>
                  </a:lnTo>
                  <a:lnTo>
                    <a:pt x="112" y="597"/>
                  </a:lnTo>
                  <a:lnTo>
                    <a:pt x="110" y="597"/>
                  </a:lnTo>
                  <a:lnTo>
                    <a:pt x="110" y="597"/>
                  </a:lnTo>
                  <a:lnTo>
                    <a:pt x="109" y="599"/>
                  </a:lnTo>
                  <a:lnTo>
                    <a:pt x="107" y="600"/>
                  </a:lnTo>
                  <a:lnTo>
                    <a:pt x="107" y="600"/>
                  </a:lnTo>
                  <a:lnTo>
                    <a:pt x="106" y="600"/>
                  </a:lnTo>
                  <a:lnTo>
                    <a:pt x="106" y="599"/>
                  </a:lnTo>
                  <a:lnTo>
                    <a:pt x="106" y="599"/>
                  </a:lnTo>
                  <a:lnTo>
                    <a:pt x="107" y="599"/>
                  </a:lnTo>
                  <a:lnTo>
                    <a:pt x="106" y="597"/>
                  </a:lnTo>
                  <a:lnTo>
                    <a:pt x="106" y="596"/>
                  </a:lnTo>
                  <a:lnTo>
                    <a:pt x="104" y="594"/>
                  </a:lnTo>
                  <a:lnTo>
                    <a:pt x="103" y="594"/>
                  </a:lnTo>
                  <a:lnTo>
                    <a:pt x="103" y="596"/>
                  </a:lnTo>
                  <a:lnTo>
                    <a:pt x="103" y="599"/>
                  </a:lnTo>
                  <a:lnTo>
                    <a:pt x="103" y="600"/>
                  </a:lnTo>
                  <a:lnTo>
                    <a:pt x="103" y="601"/>
                  </a:lnTo>
                  <a:lnTo>
                    <a:pt x="100" y="603"/>
                  </a:lnTo>
                  <a:lnTo>
                    <a:pt x="99" y="603"/>
                  </a:lnTo>
                  <a:lnTo>
                    <a:pt x="97" y="600"/>
                  </a:lnTo>
                  <a:lnTo>
                    <a:pt x="96" y="600"/>
                  </a:lnTo>
                  <a:lnTo>
                    <a:pt x="96" y="600"/>
                  </a:lnTo>
                  <a:lnTo>
                    <a:pt x="96" y="601"/>
                  </a:lnTo>
                  <a:lnTo>
                    <a:pt x="94" y="603"/>
                  </a:lnTo>
                  <a:lnTo>
                    <a:pt x="93" y="604"/>
                  </a:lnTo>
                  <a:lnTo>
                    <a:pt x="93" y="606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3" y="603"/>
                  </a:lnTo>
                  <a:lnTo>
                    <a:pt x="93" y="601"/>
                  </a:lnTo>
                  <a:lnTo>
                    <a:pt x="93" y="600"/>
                  </a:lnTo>
                  <a:lnTo>
                    <a:pt x="93" y="599"/>
                  </a:lnTo>
                  <a:lnTo>
                    <a:pt x="93" y="597"/>
                  </a:lnTo>
                  <a:lnTo>
                    <a:pt x="96" y="596"/>
                  </a:lnTo>
                  <a:lnTo>
                    <a:pt x="96" y="596"/>
                  </a:lnTo>
                  <a:lnTo>
                    <a:pt x="97" y="596"/>
                  </a:lnTo>
                  <a:lnTo>
                    <a:pt x="97" y="596"/>
                  </a:lnTo>
                  <a:lnTo>
                    <a:pt x="99" y="596"/>
                  </a:lnTo>
                  <a:lnTo>
                    <a:pt x="99" y="596"/>
                  </a:lnTo>
                  <a:lnTo>
                    <a:pt x="100" y="594"/>
                  </a:lnTo>
                  <a:lnTo>
                    <a:pt x="100" y="593"/>
                  </a:lnTo>
                  <a:lnTo>
                    <a:pt x="103" y="591"/>
                  </a:lnTo>
                  <a:lnTo>
                    <a:pt x="104" y="589"/>
                  </a:lnTo>
                  <a:lnTo>
                    <a:pt x="107" y="584"/>
                  </a:lnTo>
                  <a:lnTo>
                    <a:pt x="110" y="581"/>
                  </a:lnTo>
                  <a:lnTo>
                    <a:pt x="114" y="579"/>
                  </a:lnTo>
                  <a:lnTo>
                    <a:pt x="119" y="576"/>
                  </a:lnTo>
                  <a:lnTo>
                    <a:pt x="126" y="573"/>
                  </a:lnTo>
                  <a:lnTo>
                    <a:pt x="126" y="573"/>
                  </a:lnTo>
                  <a:lnTo>
                    <a:pt x="126" y="573"/>
                  </a:lnTo>
                  <a:lnTo>
                    <a:pt x="126" y="574"/>
                  </a:lnTo>
                  <a:lnTo>
                    <a:pt x="127" y="574"/>
                  </a:lnTo>
                  <a:lnTo>
                    <a:pt x="130" y="574"/>
                  </a:lnTo>
                  <a:lnTo>
                    <a:pt x="132" y="573"/>
                  </a:lnTo>
                  <a:lnTo>
                    <a:pt x="132" y="574"/>
                  </a:lnTo>
                  <a:lnTo>
                    <a:pt x="130" y="574"/>
                  </a:lnTo>
                  <a:lnTo>
                    <a:pt x="129" y="576"/>
                  </a:lnTo>
                  <a:lnTo>
                    <a:pt x="129" y="576"/>
                  </a:lnTo>
                  <a:lnTo>
                    <a:pt x="132" y="580"/>
                  </a:lnTo>
                  <a:lnTo>
                    <a:pt x="133" y="580"/>
                  </a:lnTo>
                  <a:lnTo>
                    <a:pt x="133" y="580"/>
                  </a:lnTo>
                  <a:lnTo>
                    <a:pt x="133" y="580"/>
                  </a:lnTo>
                  <a:lnTo>
                    <a:pt x="133" y="577"/>
                  </a:lnTo>
                  <a:lnTo>
                    <a:pt x="134" y="577"/>
                  </a:lnTo>
                  <a:lnTo>
                    <a:pt x="136" y="577"/>
                  </a:lnTo>
                  <a:lnTo>
                    <a:pt x="137" y="577"/>
                  </a:lnTo>
                  <a:lnTo>
                    <a:pt x="137" y="577"/>
                  </a:lnTo>
                  <a:lnTo>
                    <a:pt x="139" y="579"/>
                  </a:lnTo>
                  <a:lnTo>
                    <a:pt x="140" y="579"/>
                  </a:lnTo>
                  <a:lnTo>
                    <a:pt x="140" y="579"/>
                  </a:lnTo>
                  <a:lnTo>
                    <a:pt x="141" y="577"/>
                  </a:lnTo>
                  <a:lnTo>
                    <a:pt x="140" y="577"/>
                  </a:lnTo>
                  <a:lnTo>
                    <a:pt x="137" y="574"/>
                  </a:lnTo>
                  <a:lnTo>
                    <a:pt x="137" y="574"/>
                  </a:lnTo>
                  <a:lnTo>
                    <a:pt x="137" y="573"/>
                  </a:lnTo>
                  <a:lnTo>
                    <a:pt x="137" y="571"/>
                  </a:lnTo>
                  <a:lnTo>
                    <a:pt x="137" y="569"/>
                  </a:lnTo>
                  <a:lnTo>
                    <a:pt x="139" y="566"/>
                  </a:lnTo>
                  <a:lnTo>
                    <a:pt x="140" y="564"/>
                  </a:lnTo>
                  <a:lnTo>
                    <a:pt x="143" y="561"/>
                  </a:lnTo>
                  <a:lnTo>
                    <a:pt x="144" y="560"/>
                  </a:lnTo>
                  <a:lnTo>
                    <a:pt x="149" y="557"/>
                  </a:lnTo>
                  <a:lnTo>
                    <a:pt x="157" y="553"/>
                  </a:lnTo>
                  <a:lnTo>
                    <a:pt x="159" y="550"/>
                  </a:lnTo>
                  <a:lnTo>
                    <a:pt x="161" y="549"/>
                  </a:lnTo>
                  <a:lnTo>
                    <a:pt x="163" y="547"/>
                  </a:lnTo>
                  <a:lnTo>
                    <a:pt x="163" y="549"/>
                  </a:lnTo>
                  <a:lnTo>
                    <a:pt x="163" y="550"/>
                  </a:lnTo>
                  <a:lnTo>
                    <a:pt x="164" y="550"/>
                  </a:lnTo>
                  <a:lnTo>
                    <a:pt x="166" y="550"/>
                  </a:lnTo>
                  <a:lnTo>
                    <a:pt x="167" y="550"/>
                  </a:lnTo>
                  <a:lnTo>
                    <a:pt x="167" y="549"/>
                  </a:lnTo>
                  <a:lnTo>
                    <a:pt x="166" y="547"/>
                  </a:lnTo>
                  <a:lnTo>
                    <a:pt x="166" y="546"/>
                  </a:lnTo>
                  <a:lnTo>
                    <a:pt x="166" y="544"/>
                  </a:lnTo>
                  <a:lnTo>
                    <a:pt x="167" y="543"/>
                  </a:lnTo>
                  <a:lnTo>
                    <a:pt x="169" y="540"/>
                  </a:lnTo>
                  <a:lnTo>
                    <a:pt x="170" y="539"/>
                  </a:lnTo>
                  <a:lnTo>
                    <a:pt x="171" y="536"/>
                  </a:lnTo>
                  <a:lnTo>
                    <a:pt x="174" y="534"/>
                  </a:lnTo>
                  <a:lnTo>
                    <a:pt x="176" y="533"/>
                  </a:lnTo>
                  <a:lnTo>
                    <a:pt x="177" y="531"/>
                  </a:lnTo>
                  <a:lnTo>
                    <a:pt x="179" y="529"/>
                  </a:lnTo>
                  <a:lnTo>
                    <a:pt x="180" y="529"/>
                  </a:lnTo>
                  <a:lnTo>
                    <a:pt x="181" y="527"/>
                  </a:lnTo>
                  <a:lnTo>
                    <a:pt x="181" y="529"/>
                  </a:lnTo>
                  <a:lnTo>
                    <a:pt x="183" y="529"/>
                  </a:lnTo>
                  <a:lnTo>
                    <a:pt x="183" y="529"/>
                  </a:lnTo>
                  <a:lnTo>
                    <a:pt x="184" y="530"/>
                  </a:lnTo>
                  <a:lnTo>
                    <a:pt x="186" y="529"/>
                  </a:lnTo>
                  <a:lnTo>
                    <a:pt x="186" y="529"/>
                  </a:lnTo>
                  <a:lnTo>
                    <a:pt x="184" y="529"/>
                  </a:lnTo>
                  <a:lnTo>
                    <a:pt x="184" y="529"/>
                  </a:lnTo>
                  <a:lnTo>
                    <a:pt x="183" y="526"/>
                  </a:lnTo>
                  <a:lnTo>
                    <a:pt x="183" y="526"/>
                  </a:lnTo>
                  <a:lnTo>
                    <a:pt x="181" y="524"/>
                  </a:lnTo>
                  <a:lnTo>
                    <a:pt x="183" y="521"/>
                  </a:lnTo>
                  <a:lnTo>
                    <a:pt x="183" y="517"/>
                  </a:lnTo>
                  <a:lnTo>
                    <a:pt x="183" y="513"/>
                  </a:lnTo>
                  <a:lnTo>
                    <a:pt x="184" y="510"/>
                  </a:lnTo>
                  <a:lnTo>
                    <a:pt x="186" y="509"/>
                  </a:lnTo>
                  <a:lnTo>
                    <a:pt x="190" y="509"/>
                  </a:lnTo>
                  <a:lnTo>
                    <a:pt x="189" y="507"/>
                  </a:lnTo>
                  <a:lnTo>
                    <a:pt x="187" y="507"/>
                  </a:lnTo>
                  <a:lnTo>
                    <a:pt x="186" y="507"/>
                  </a:lnTo>
                  <a:lnTo>
                    <a:pt x="184" y="503"/>
                  </a:lnTo>
                  <a:lnTo>
                    <a:pt x="184" y="501"/>
                  </a:lnTo>
                  <a:lnTo>
                    <a:pt x="186" y="499"/>
                  </a:lnTo>
                  <a:lnTo>
                    <a:pt x="190" y="494"/>
                  </a:lnTo>
                  <a:lnTo>
                    <a:pt x="194" y="491"/>
                  </a:lnTo>
                  <a:lnTo>
                    <a:pt x="193" y="491"/>
                  </a:lnTo>
                  <a:lnTo>
                    <a:pt x="193" y="490"/>
                  </a:lnTo>
                  <a:lnTo>
                    <a:pt x="194" y="484"/>
                  </a:lnTo>
                  <a:lnTo>
                    <a:pt x="196" y="480"/>
                  </a:lnTo>
                  <a:lnTo>
                    <a:pt x="194" y="484"/>
                  </a:lnTo>
                  <a:lnTo>
                    <a:pt x="191" y="487"/>
                  </a:lnTo>
                  <a:lnTo>
                    <a:pt x="183" y="491"/>
                  </a:lnTo>
                  <a:lnTo>
                    <a:pt x="177" y="494"/>
                  </a:lnTo>
                  <a:lnTo>
                    <a:pt x="174" y="496"/>
                  </a:lnTo>
                  <a:lnTo>
                    <a:pt x="173" y="494"/>
                  </a:lnTo>
                  <a:lnTo>
                    <a:pt x="171" y="491"/>
                  </a:lnTo>
                  <a:lnTo>
                    <a:pt x="170" y="490"/>
                  </a:lnTo>
                  <a:lnTo>
                    <a:pt x="169" y="489"/>
                  </a:lnTo>
                  <a:lnTo>
                    <a:pt x="170" y="486"/>
                  </a:lnTo>
                  <a:lnTo>
                    <a:pt x="170" y="483"/>
                  </a:lnTo>
                  <a:lnTo>
                    <a:pt x="173" y="483"/>
                  </a:lnTo>
                  <a:lnTo>
                    <a:pt x="174" y="484"/>
                  </a:lnTo>
                  <a:lnTo>
                    <a:pt x="176" y="484"/>
                  </a:lnTo>
                  <a:lnTo>
                    <a:pt x="174" y="483"/>
                  </a:lnTo>
                  <a:lnTo>
                    <a:pt x="170" y="480"/>
                  </a:lnTo>
                  <a:lnTo>
                    <a:pt x="169" y="481"/>
                  </a:lnTo>
                  <a:lnTo>
                    <a:pt x="169" y="484"/>
                  </a:lnTo>
                  <a:lnTo>
                    <a:pt x="166" y="486"/>
                  </a:lnTo>
                  <a:lnTo>
                    <a:pt x="166" y="486"/>
                  </a:lnTo>
                  <a:lnTo>
                    <a:pt x="164" y="484"/>
                  </a:lnTo>
                  <a:lnTo>
                    <a:pt x="164" y="487"/>
                  </a:lnTo>
                  <a:lnTo>
                    <a:pt x="164" y="490"/>
                  </a:lnTo>
                  <a:lnTo>
                    <a:pt x="163" y="493"/>
                  </a:lnTo>
                  <a:lnTo>
                    <a:pt x="164" y="499"/>
                  </a:lnTo>
                  <a:lnTo>
                    <a:pt x="164" y="500"/>
                  </a:lnTo>
                  <a:lnTo>
                    <a:pt x="161" y="501"/>
                  </a:lnTo>
                  <a:lnTo>
                    <a:pt x="160" y="500"/>
                  </a:lnTo>
                  <a:lnTo>
                    <a:pt x="156" y="491"/>
                  </a:lnTo>
                  <a:lnTo>
                    <a:pt x="154" y="490"/>
                  </a:lnTo>
                  <a:lnTo>
                    <a:pt x="150" y="486"/>
                  </a:lnTo>
                  <a:lnTo>
                    <a:pt x="150" y="487"/>
                  </a:lnTo>
                  <a:lnTo>
                    <a:pt x="149" y="489"/>
                  </a:lnTo>
                  <a:lnTo>
                    <a:pt x="147" y="489"/>
                  </a:lnTo>
                  <a:lnTo>
                    <a:pt x="143" y="486"/>
                  </a:lnTo>
                  <a:lnTo>
                    <a:pt x="141" y="484"/>
                  </a:lnTo>
                  <a:lnTo>
                    <a:pt x="140" y="481"/>
                  </a:lnTo>
                  <a:lnTo>
                    <a:pt x="137" y="483"/>
                  </a:lnTo>
                  <a:lnTo>
                    <a:pt x="134" y="484"/>
                  </a:lnTo>
                  <a:lnTo>
                    <a:pt x="132" y="487"/>
                  </a:lnTo>
                  <a:lnTo>
                    <a:pt x="130" y="487"/>
                  </a:lnTo>
                  <a:lnTo>
                    <a:pt x="126" y="490"/>
                  </a:lnTo>
                  <a:lnTo>
                    <a:pt x="126" y="490"/>
                  </a:lnTo>
                  <a:lnTo>
                    <a:pt x="124" y="491"/>
                  </a:lnTo>
                  <a:lnTo>
                    <a:pt x="124" y="491"/>
                  </a:lnTo>
                  <a:lnTo>
                    <a:pt x="123" y="494"/>
                  </a:lnTo>
                  <a:lnTo>
                    <a:pt x="117" y="496"/>
                  </a:lnTo>
                  <a:lnTo>
                    <a:pt x="112" y="494"/>
                  </a:lnTo>
                  <a:lnTo>
                    <a:pt x="113" y="493"/>
                  </a:lnTo>
                  <a:lnTo>
                    <a:pt x="116" y="493"/>
                  </a:lnTo>
                  <a:lnTo>
                    <a:pt x="117" y="490"/>
                  </a:lnTo>
                  <a:lnTo>
                    <a:pt x="117" y="487"/>
                  </a:lnTo>
                  <a:lnTo>
                    <a:pt x="117" y="486"/>
                  </a:lnTo>
                  <a:lnTo>
                    <a:pt x="117" y="483"/>
                  </a:lnTo>
                  <a:lnTo>
                    <a:pt x="119" y="480"/>
                  </a:lnTo>
                  <a:lnTo>
                    <a:pt x="116" y="480"/>
                  </a:lnTo>
                  <a:lnTo>
                    <a:pt x="114" y="481"/>
                  </a:lnTo>
                  <a:lnTo>
                    <a:pt x="113" y="479"/>
                  </a:lnTo>
                  <a:lnTo>
                    <a:pt x="113" y="474"/>
                  </a:lnTo>
                  <a:lnTo>
                    <a:pt x="114" y="472"/>
                  </a:lnTo>
                  <a:lnTo>
                    <a:pt x="116" y="470"/>
                  </a:lnTo>
                  <a:lnTo>
                    <a:pt x="116" y="467"/>
                  </a:lnTo>
                  <a:lnTo>
                    <a:pt x="116" y="466"/>
                  </a:lnTo>
                  <a:lnTo>
                    <a:pt x="114" y="462"/>
                  </a:lnTo>
                  <a:lnTo>
                    <a:pt x="112" y="453"/>
                  </a:lnTo>
                  <a:lnTo>
                    <a:pt x="109" y="446"/>
                  </a:lnTo>
                  <a:lnTo>
                    <a:pt x="106" y="443"/>
                  </a:lnTo>
                  <a:lnTo>
                    <a:pt x="109" y="437"/>
                  </a:lnTo>
                  <a:lnTo>
                    <a:pt x="112" y="432"/>
                  </a:lnTo>
                  <a:lnTo>
                    <a:pt x="114" y="430"/>
                  </a:lnTo>
                  <a:lnTo>
                    <a:pt x="114" y="430"/>
                  </a:lnTo>
                  <a:lnTo>
                    <a:pt x="112" y="430"/>
                  </a:lnTo>
                  <a:lnTo>
                    <a:pt x="112" y="430"/>
                  </a:lnTo>
                  <a:lnTo>
                    <a:pt x="110" y="432"/>
                  </a:lnTo>
                  <a:lnTo>
                    <a:pt x="109" y="433"/>
                  </a:lnTo>
                  <a:lnTo>
                    <a:pt x="106" y="439"/>
                  </a:lnTo>
                  <a:lnTo>
                    <a:pt x="103" y="443"/>
                  </a:lnTo>
                  <a:lnTo>
                    <a:pt x="102" y="443"/>
                  </a:lnTo>
                  <a:lnTo>
                    <a:pt x="104" y="444"/>
                  </a:lnTo>
                  <a:lnTo>
                    <a:pt x="104" y="446"/>
                  </a:lnTo>
                  <a:lnTo>
                    <a:pt x="106" y="449"/>
                  </a:lnTo>
                  <a:lnTo>
                    <a:pt x="104" y="450"/>
                  </a:lnTo>
                  <a:lnTo>
                    <a:pt x="104" y="453"/>
                  </a:lnTo>
                  <a:lnTo>
                    <a:pt x="102" y="452"/>
                  </a:lnTo>
                  <a:lnTo>
                    <a:pt x="99" y="454"/>
                  </a:lnTo>
                  <a:lnTo>
                    <a:pt x="93" y="457"/>
                  </a:lnTo>
                  <a:lnTo>
                    <a:pt x="86" y="459"/>
                  </a:lnTo>
                  <a:lnTo>
                    <a:pt x="83" y="459"/>
                  </a:lnTo>
                  <a:lnTo>
                    <a:pt x="79" y="456"/>
                  </a:lnTo>
                  <a:lnTo>
                    <a:pt x="79" y="453"/>
                  </a:lnTo>
                  <a:lnTo>
                    <a:pt x="79" y="452"/>
                  </a:lnTo>
                  <a:lnTo>
                    <a:pt x="73" y="447"/>
                  </a:lnTo>
                  <a:lnTo>
                    <a:pt x="70" y="443"/>
                  </a:lnTo>
                  <a:lnTo>
                    <a:pt x="69" y="442"/>
                  </a:lnTo>
                  <a:lnTo>
                    <a:pt x="66" y="442"/>
                  </a:lnTo>
                  <a:lnTo>
                    <a:pt x="64" y="439"/>
                  </a:lnTo>
                  <a:lnTo>
                    <a:pt x="64" y="437"/>
                  </a:lnTo>
                  <a:lnTo>
                    <a:pt x="64" y="436"/>
                  </a:lnTo>
                  <a:lnTo>
                    <a:pt x="63" y="434"/>
                  </a:lnTo>
                  <a:lnTo>
                    <a:pt x="62" y="436"/>
                  </a:lnTo>
                  <a:lnTo>
                    <a:pt x="60" y="434"/>
                  </a:lnTo>
                  <a:lnTo>
                    <a:pt x="64" y="429"/>
                  </a:lnTo>
                  <a:lnTo>
                    <a:pt x="67" y="424"/>
                  </a:lnTo>
                  <a:lnTo>
                    <a:pt x="69" y="423"/>
                  </a:lnTo>
                  <a:lnTo>
                    <a:pt x="70" y="424"/>
                  </a:lnTo>
                  <a:lnTo>
                    <a:pt x="73" y="426"/>
                  </a:lnTo>
                  <a:lnTo>
                    <a:pt x="76" y="426"/>
                  </a:lnTo>
                  <a:lnTo>
                    <a:pt x="76" y="427"/>
                  </a:lnTo>
                  <a:lnTo>
                    <a:pt x="77" y="429"/>
                  </a:lnTo>
                  <a:lnTo>
                    <a:pt x="76" y="432"/>
                  </a:lnTo>
                  <a:lnTo>
                    <a:pt x="76" y="433"/>
                  </a:lnTo>
                  <a:lnTo>
                    <a:pt x="76" y="433"/>
                  </a:lnTo>
                  <a:lnTo>
                    <a:pt x="79" y="430"/>
                  </a:lnTo>
                  <a:lnTo>
                    <a:pt x="82" y="427"/>
                  </a:lnTo>
                  <a:lnTo>
                    <a:pt x="82" y="427"/>
                  </a:lnTo>
                  <a:lnTo>
                    <a:pt x="83" y="427"/>
                  </a:lnTo>
                  <a:lnTo>
                    <a:pt x="84" y="430"/>
                  </a:lnTo>
                  <a:lnTo>
                    <a:pt x="86" y="433"/>
                  </a:lnTo>
                  <a:lnTo>
                    <a:pt x="89" y="430"/>
                  </a:lnTo>
                  <a:lnTo>
                    <a:pt x="90" y="427"/>
                  </a:lnTo>
                  <a:lnTo>
                    <a:pt x="89" y="426"/>
                  </a:lnTo>
                  <a:lnTo>
                    <a:pt x="87" y="426"/>
                  </a:lnTo>
                  <a:lnTo>
                    <a:pt x="83" y="424"/>
                  </a:lnTo>
                  <a:lnTo>
                    <a:pt x="84" y="423"/>
                  </a:lnTo>
                  <a:lnTo>
                    <a:pt x="87" y="423"/>
                  </a:lnTo>
                  <a:lnTo>
                    <a:pt x="87" y="423"/>
                  </a:lnTo>
                  <a:lnTo>
                    <a:pt x="87" y="422"/>
                  </a:lnTo>
                  <a:lnTo>
                    <a:pt x="86" y="420"/>
                  </a:lnTo>
                  <a:lnTo>
                    <a:pt x="82" y="424"/>
                  </a:lnTo>
                  <a:lnTo>
                    <a:pt x="74" y="424"/>
                  </a:lnTo>
                  <a:lnTo>
                    <a:pt x="69" y="422"/>
                  </a:lnTo>
                  <a:lnTo>
                    <a:pt x="64" y="422"/>
                  </a:lnTo>
                  <a:lnTo>
                    <a:pt x="63" y="422"/>
                  </a:lnTo>
                  <a:lnTo>
                    <a:pt x="63" y="420"/>
                  </a:lnTo>
                  <a:lnTo>
                    <a:pt x="66" y="419"/>
                  </a:lnTo>
                  <a:lnTo>
                    <a:pt x="67" y="417"/>
                  </a:lnTo>
                  <a:lnTo>
                    <a:pt x="67" y="416"/>
                  </a:lnTo>
                  <a:lnTo>
                    <a:pt x="66" y="416"/>
                  </a:lnTo>
                  <a:lnTo>
                    <a:pt x="64" y="416"/>
                  </a:lnTo>
                  <a:lnTo>
                    <a:pt x="63" y="416"/>
                  </a:lnTo>
                  <a:lnTo>
                    <a:pt x="63" y="413"/>
                  </a:lnTo>
                  <a:lnTo>
                    <a:pt x="63" y="413"/>
                  </a:lnTo>
                  <a:lnTo>
                    <a:pt x="62" y="414"/>
                  </a:lnTo>
                  <a:lnTo>
                    <a:pt x="60" y="414"/>
                  </a:lnTo>
                  <a:lnTo>
                    <a:pt x="60" y="413"/>
                  </a:lnTo>
                  <a:lnTo>
                    <a:pt x="60" y="412"/>
                  </a:lnTo>
                  <a:lnTo>
                    <a:pt x="62" y="410"/>
                  </a:lnTo>
                  <a:lnTo>
                    <a:pt x="60" y="410"/>
                  </a:lnTo>
                  <a:lnTo>
                    <a:pt x="60" y="410"/>
                  </a:lnTo>
                  <a:lnTo>
                    <a:pt x="59" y="413"/>
                  </a:lnTo>
                  <a:lnTo>
                    <a:pt x="59" y="414"/>
                  </a:lnTo>
                  <a:lnTo>
                    <a:pt x="59" y="416"/>
                  </a:lnTo>
                  <a:lnTo>
                    <a:pt x="57" y="416"/>
                  </a:lnTo>
                  <a:lnTo>
                    <a:pt x="56" y="416"/>
                  </a:lnTo>
                  <a:lnTo>
                    <a:pt x="54" y="414"/>
                  </a:lnTo>
                  <a:lnTo>
                    <a:pt x="54" y="410"/>
                  </a:lnTo>
                  <a:lnTo>
                    <a:pt x="52" y="409"/>
                  </a:lnTo>
                  <a:lnTo>
                    <a:pt x="50" y="406"/>
                  </a:lnTo>
                  <a:lnTo>
                    <a:pt x="53" y="403"/>
                  </a:lnTo>
                  <a:lnTo>
                    <a:pt x="52" y="402"/>
                  </a:lnTo>
                  <a:lnTo>
                    <a:pt x="50" y="402"/>
                  </a:lnTo>
                  <a:lnTo>
                    <a:pt x="47" y="403"/>
                  </a:lnTo>
                  <a:lnTo>
                    <a:pt x="47" y="402"/>
                  </a:lnTo>
                  <a:lnTo>
                    <a:pt x="46" y="400"/>
                  </a:lnTo>
                  <a:lnTo>
                    <a:pt x="46" y="397"/>
                  </a:lnTo>
                  <a:lnTo>
                    <a:pt x="47" y="397"/>
                  </a:lnTo>
                  <a:lnTo>
                    <a:pt x="47" y="399"/>
                  </a:lnTo>
                  <a:lnTo>
                    <a:pt x="52" y="397"/>
                  </a:lnTo>
                  <a:lnTo>
                    <a:pt x="52" y="396"/>
                  </a:lnTo>
                  <a:lnTo>
                    <a:pt x="49" y="394"/>
                  </a:lnTo>
                  <a:lnTo>
                    <a:pt x="47" y="393"/>
                  </a:lnTo>
                  <a:lnTo>
                    <a:pt x="49" y="392"/>
                  </a:lnTo>
                  <a:lnTo>
                    <a:pt x="52" y="392"/>
                  </a:lnTo>
                  <a:lnTo>
                    <a:pt x="56" y="390"/>
                  </a:lnTo>
                  <a:lnTo>
                    <a:pt x="54" y="389"/>
                  </a:lnTo>
                  <a:lnTo>
                    <a:pt x="53" y="387"/>
                  </a:lnTo>
                  <a:lnTo>
                    <a:pt x="53" y="386"/>
                  </a:lnTo>
                  <a:lnTo>
                    <a:pt x="54" y="383"/>
                  </a:lnTo>
                  <a:lnTo>
                    <a:pt x="59" y="376"/>
                  </a:lnTo>
                  <a:lnTo>
                    <a:pt x="62" y="370"/>
                  </a:lnTo>
                  <a:lnTo>
                    <a:pt x="63" y="369"/>
                  </a:lnTo>
                  <a:lnTo>
                    <a:pt x="66" y="367"/>
                  </a:lnTo>
                  <a:lnTo>
                    <a:pt x="67" y="369"/>
                  </a:lnTo>
                  <a:lnTo>
                    <a:pt x="69" y="370"/>
                  </a:lnTo>
                  <a:lnTo>
                    <a:pt x="69" y="369"/>
                  </a:lnTo>
                  <a:lnTo>
                    <a:pt x="69" y="369"/>
                  </a:lnTo>
                  <a:lnTo>
                    <a:pt x="67" y="366"/>
                  </a:lnTo>
                  <a:lnTo>
                    <a:pt x="70" y="364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0" y="363"/>
                  </a:lnTo>
                  <a:lnTo>
                    <a:pt x="69" y="364"/>
                  </a:lnTo>
                  <a:lnTo>
                    <a:pt x="69" y="363"/>
                  </a:lnTo>
                  <a:lnTo>
                    <a:pt x="67" y="359"/>
                  </a:lnTo>
                  <a:lnTo>
                    <a:pt x="69" y="354"/>
                  </a:lnTo>
                  <a:lnTo>
                    <a:pt x="69" y="353"/>
                  </a:lnTo>
                  <a:lnTo>
                    <a:pt x="70" y="350"/>
                  </a:lnTo>
                  <a:lnTo>
                    <a:pt x="74" y="350"/>
                  </a:lnTo>
                  <a:lnTo>
                    <a:pt x="74" y="350"/>
                  </a:lnTo>
                  <a:lnTo>
                    <a:pt x="76" y="349"/>
                  </a:lnTo>
                  <a:lnTo>
                    <a:pt x="73" y="347"/>
                  </a:lnTo>
                  <a:lnTo>
                    <a:pt x="74" y="344"/>
                  </a:lnTo>
                  <a:lnTo>
                    <a:pt x="74" y="343"/>
                  </a:lnTo>
                  <a:lnTo>
                    <a:pt x="80" y="342"/>
                  </a:lnTo>
                  <a:lnTo>
                    <a:pt x="82" y="343"/>
                  </a:lnTo>
                  <a:lnTo>
                    <a:pt x="86" y="344"/>
                  </a:lnTo>
                  <a:lnTo>
                    <a:pt x="87" y="347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6" y="350"/>
                  </a:lnTo>
                  <a:lnTo>
                    <a:pt x="86" y="350"/>
                  </a:lnTo>
                  <a:lnTo>
                    <a:pt x="86" y="350"/>
                  </a:lnTo>
                  <a:lnTo>
                    <a:pt x="87" y="349"/>
                  </a:lnTo>
                  <a:lnTo>
                    <a:pt x="89" y="347"/>
                  </a:lnTo>
                  <a:lnTo>
                    <a:pt x="90" y="349"/>
                  </a:lnTo>
                  <a:lnTo>
                    <a:pt x="92" y="350"/>
                  </a:lnTo>
                  <a:lnTo>
                    <a:pt x="93" y="350"/>
                  </a:lnTo>
                  <a:lnTo>
                    <a:pt x="96" y="349"/>
                  </a:lnTo>
                  <a:lnTo>
                    <a:pt x="99" y="347"/>
                  </a:lnTo>
                  <a:lnTo>
                    <a:pt x="100" y="344"/>
                  </a:lnTo>
                  <a:lnTo>
                    <a:pt x="103" y="342"/>
                  </a:lnTo>
                  <a:lnTo>
                    <a:pt x="107" y="336"/>
                  </a:lnTo>
                  <a:lnTo>
                    <a:pt x="109" y="333"/>
                  </a:lnTo>
                  <a:lnTo>
                    <a:pt x="110" y="332"/>
                  </a:lnTo>
                  <a:lnTo>
                    <a:pt x="112" y="332"/>
                  </a:lnTo>
                  <a:lnTo>
                    <a:pt x="113" y="334"/>
                  </a:lnTo>
                  <a:lnTo>
                    <a:pt x="113" y="336"/>
                  </a:lnTo>
                  <a:lnTo>
                    <a:pt x="122" y="334"/>
                  </a:lnTo>
                  <a:lnTo>
                    <a:pt x="124" y="333"/>
                  </a:lnTo>
                  <a:lnTo>
                    <a:pt x="127" y="332"/>
                  </a:lnTo>
                  <a:lnTo>
                    <a:pt x="130" y="327"/>
                  </a:lnTo>
                  <a:lnTo>
                    <a:pt x="132" y="326"/>
                  </a:lnTo>
                  <a:lnTo>
                    <a:pt x="133" y="322"/>
                  </a:lnTo>
                  <a:lnTo>
                    <a:pt x="132" y="317"/>
                  </a:lnTo>
                  <a:lnTo>
                    <a:pt x="132" y="314"/>
                  </a:lnTo>
                  <a:lnTo>
                    <a:pt x="130" y="306"/>
                  </a:lnTo>
                  <a:lnTo>
                    <a:pt x="126" y="300"/>
                  </a:lnTo>
                  <a:lnTo>
                    <a:pt x="123" y="299"/>
                  </a:lnTo>
                  <a:lnTo>
                    <a:pt x="122" y="299"/>
                  </a:lnTo>
                  <a:lnTo>
                    <a:pt x="123" y="296"/>
                  </a:lnTo>
                  <a:lnTo>
                    <a:pt x="126" y="296"/>
                  </a:lnTo>
                  <a:lnTo>
                    <a:pt x="129" y="296"/>
                  </a:lnTo>
                  <a:lnTo>
                    <a:pt x="130" y="294"/>
                  </a:lnTo>
                  <a:lnTo>
                    <a:pt x="132" y="293"/>
                  </a:lnTo>
                  <a:lnTo>
                    <a:pt x="132" y="290"/>
                  </a:lnTo>
                  <a:lnTo>
                    <a:pt x="132" y="287"/>
                  </a:lnTo>
                  <a:lnTo>
                    <a:pt x="132" y="286"/>
                  </a:lnTo>
                  <a:lnTo>
                    <a:pt x="130" y="284"/>
                  </a:lnTo>
                  <a:lnTo>
                    <a:pt x="129" y="282"/>
                  </a:lnTo>
                  <a:lnTo>
                    <a:pt x="127" y="282"/>
                  </a:lnTo>
                  <a:lnTo>
                    <a:pt x="126" y="282"/>
                  </a:lnTo>
                  <a:lnTo>
                    <a:pt x="122" y="286"/>
                  </a:lnTo>
                  <a:lnTo>
                    <a:pt x="119" y="286"/>
                  </a:lnTo>
                  <a:lnTo>
                    <a:pt x="117" y="284"/>
                  </a:lnTo>
                  <a:lnTo>
                    <a:pt x="116" y="287"/>
                  </a:lnTo>
                  <a:lnTo>
                    <a:pt x="110" y="290"/>
                  </a:lnTo>
                  <a:lnTo>
                    <a:pt x="107" y="293"/>
                  </a:lnTo>
                  <a:lnTo>
                    <a:pt x="103" y="299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99" y="296"/>
                  </a:lnTo>
                  <a:lnTo>
                    <a:pt x="94" y="292"/>
                  </a:lnTo>
                  <a:lnTo>
                    <a:pt x="93" y="293"/>
                  </a:lnTo>
                  <a:lnTo>
                    <a:pt x="93" y="294"/>
                  </a:lnTo>
                  <a:lnTo>
                    <a:pt x="94" y="296"/>
                  </a:lnTo>
                  <a:lnTo>
                    <a:pt x="96" y="296"/>
                  </a:lnTo>
                  <a:lnTo>
                    <a:pt x="96" y="297"/>
                  </a:lnTo>
                  <a:lnTo>
                    <a:pt x="94" y="300"/>
                  </a:lnTo>
                  <a:lnTo>
                    <a:pt x="93" y="297"/>
                  </a:lnTo>
                  <a:lnTo>
                    <a:pt x="90" y="294"/>
                  </a:lnTo>
                  <a:lnTo>
                    <a:pt x="86" y="293"/>
                  </a:lnTo>
                  <a:lnTo>
                    <a:pt x="76" y="294"/>
                  </a:lnTo>
                  <a:lnTo>
                    <a:pt x="70" y="297"/>
                  </a:lnTo>
                  <a:lnTo>
                    <a:pt x="70" y="296"/>
                  </a:lnTo>
                  <a:lnTo>
                    <a:pt x="69" y="296"/>
                  </a:lnTo>
                  <a:lnTo>
                    <a:pt x="67" y="296"/>
                  </a:lnTo>
                  <a:lnTo>
                    <a:pt x="67" y="297"/>
                  </a:lnTo>
                  <a:lnTo>
                    <a:pt x="67" y="299"/>
                  </a:lnTo>
                  <a:lnTo>
                    <a:pt x="66" y="299"/>
                  </a:lnTo>
                  <a:lnTo>
                    <a:pt x="63" y="299"/>
                  </a:lnTo>
                  <a:lnTo>
                    <a:pt x="59" y="296"/>
                  </a:lnTo>
                  <a:lnTo>
                    <a:pt x="47" y="294"/>
                  </a:lnTo>
                  <a:lnTo>
                    <a:pt x="44" y="292"/>
                  </a:lnTo>
                  <a:lnTo>
                    <a:pt x="42" y="289"/>
                  </a:lnTo>
                  <a:lnTo>
                    <a:pt x="42" y="286"/>
                  </a:lnTo>
                  <a:lnTo>
                    <a:pt x="43" y="284"/>
                  </a:lnTo>
                  <a:lnTo>
                    <a:pt x="43" y="282"/>
                  </a:lnTo>
                  <a:lnTo>
                    <a:pt x="40" y="280"/>
                  </a:lnTo>
                  <a:lnTo>
                    <a:pt x="36" y="274"/>
                  </a:lnTo>
                  <a:lnTo>
                    <a:pt x="35" y="272"/>
                  </a:lnTo>
                  <a:lnTo>
                    <a:pt x="35" y="272"/>
                  </a:lnTo>
                  <a:lnTo>
                    <a:pt x="36" y="273"/>
                  </a:lnTo>
                  <a:lnTo>
                    <a:pt x="37" y="273"/>
                  </a:lnTo>
                  <a:lnTo>
                    <a:pt x="40" y="272"/>
                  </a:lnTo>
                  <a:lnTo>
                    <a:pt x="42" y="269"/>
                  </a:lnTo>
                  <a:lnTo>
                    <a:pt x="44" y="267"/>
                  </a:lnTo>
                  <a:lnTo>
                    <a:pt x="47" y="269"/>
                  </a:lnTo>
                  <a:lnTo>
                    <a:pt x="47" y="267"/>
                  </a:lnTo>
                  <a:lnTo>
                    <a:pt x="46" y="266"/>
                  </a:lnTo>
                  <a:lnTo>
                    <a:pt x="39" y="264"/>
                  </a:lnTo>
                  <a:lnTo>
                    <a:pt x="39" y="266"/>
                  </a:lnTo>
                  <a:lnTo>
                    <a:pt x="27" y="262"/>
                  </a:lnTo>
                  <a:lnTo>
                    <a:pt x="17" y="256"/>
                  </a:lnTo>
                  <a:lnTo>
                    <a:pt x="16" y="256"/>
                  </a:lnTo>
                  <a:lnTo>
                    <a:pt x="16" y="253"/>
                  </a:lnTo>
                  <a:lnTo>
                    <a:pt x="17" y="250"/>
                  </a:lnTo>
                  <a:lnTo>
                    <a:pt x="19" y="249"/>
                  </a:lnTo>
                  <a:lnTo>
                    <a:pt x="19" y="250"/>
                  </a:lnTo>
                  <a:lnTo>
                    <a:pt x="19" y="252"/>
                  </a:lnTo>
                  <a:lnTo>
                    <a:pt x="25" y="249"/>
                  </a:lnTo>
                  <a:lnTo>
                    <a:pt x="27" y="245"/>
                  </a:lnTo>
                  <a:lnTo>
                    <a:pt x="32" y="245"/>
                  </a:lnTo>
                  <a:lnTo>
                    <a:pt x="33" y="243"/>
                  </a:lnTo>
                  <a:lnTo>
                    <a:pt x="35" y="242"/>
                  </a:lnTo>
                  <a:lnTo>
                    <a:pt x="37" y="237"/>
                  </a:lnTo>
                  <a:lnTo>
                    <a:pt x="40" y="236"/>
                  </a:lnTo>
                  <a:lnTo>
                    <a:pt x="43" y="235"/>
                  </a:lnTo>
                  <a:lnTo>
                    <a:pt x="46" y="233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53" y="235"/>
                  </a:lnTo>
                  <a:lnTo>
                    <a:pt x="54" y="235"/>
                  </a:lnTo>
                  <a:lnTo>
                    <a:pt x="56" y="235"/>
                  </a:lnTo>
                  <a:lnTo>
                    <a:pt x="56" y="233"/>
                  </a:lnTo>
                  <a:lnTo>
                    <a:pt x="52" y="230"/>
                  </a:lnTo>
                  <a:lnTo>
                    <a:pt x="52" y="229"/>
                  </a:lnTo>
                  <a:lnTo>
                    <a:pt x="53" y="227"/>
                  </a:lnTo>
                  <a:lnTo>
                    <a:pt x="57" y="223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70" y="217"/>
                  </a:lnTo>
                  <a:lnTo>
                    <a:pt x="74" y="216"/>
                  </a:lnTo>
                  <a:lnTo>
                    <a:pt x="80" y="216"/>
                  </a:lnTo>
                  <a:lnTo>
                    <a:pt x="86" y="215"/>
                  </a:lnTo>
                  <a:lnTo>
                    <a:pt x="87" y="217"/>
                  </a:lnTo>
                  <a:lnTo>
                    <a:pt x="84" y="216"/>
                  </a:lnTo>
                  <a:lnTo>
                    <a:pt x="83" y="217"/>
                  </a:lnTo>
                  <a:lnTo>
                    <a:pt x="84" y="217"/>
                  </a:lnTo>
                  <a:lnTo>
                    <a:pt x="84" y="219"/>
                  </a:lnTo>
                  <a:lnTo>
                    <a:pt x="84" y="220"/>
                  </a:lnTo>
                  <a:lnTo>
                    <a:pt x="83" y="225"/>
                  </a:lnTo>
                  <a:lnTo>
                    <a:pt x="83" y="229"/>
                  </a:lnTo>
                  <a:lnTo>
                    <a:pt x="82" y="229"/>
                  </a:lnTo>
                  <a:lnTo>
                    <a:pt x="80" y="232"/>
                  </a:lnTo>
                  <a:lnTo>
                    <a:pt x="86" y="236"/>
                  </a:lnTo>
                  <a:lnTo>
                    <a:pt x="94" y="237"/>
                  </a:lnTo>
                  <a:lnTo>
                    <a:pt x="99" y="236"/>
                  </a:lnTo>
                  <a:lnTo>
                    <a:pt x="102" y="237"/>
                  </a:lnTo>
                  <a:lnTo>
                    <a:pt x="104" y="237"/>
                  </a:lnTo>
                  <a:lnTo>
                    <a:pt x="110" y="237"/>
                  </a:lnTo>
                  <a:lnTo>
                    <a:pt x="114" y="237"/>
                  </a:lnTo>
                  <a:lnTo>
                    <a:pt x="116" y="237"/>
                  </a:lnTo>
                  <a:lnTo>
                    <a:pt x="120" y="230"/>
                  </a:lnTo>
                  <a:lnTo>
                    <a:pt x="122" y="229"/>
                  </a:lnTo>
                  <a:lnTo>
                    <a:pt x="124" y="230"/>
                  </a:lnTo>
                  <a:lnTo>
                    <a:pt x="126" y="232"/>
                  </a:lnTo>
                  <a:lnTo>
                    <a:pt x="127" y="230"/>
                  </a:lnTo>
                  <a:lnTo>
                    <a:pt x="129" y="232"/>
                  </a:lnTo>
                  <a:lnTo>
                    <a:pt x="129" y="227"/>
                  </a:lnTo>
                  <a:lnTo>
                    <a:pt x="127" y="226"/>
                  </a:lnTo>
                  <a:lnTo>
                    <a:pt x="120" y="223"/>
                  </a:lnTo>
                  <a:lnTo>
                    <a:pt x="116" y="225"/>
                  </a:lnTo>
                  <a:lnTo>
                    <a:pt x="114" y="223"/>
                  </a:lnTo>
                  <a:lnTo>
                    <a:pt x="114" y="220"/>
                  </a:lnTo>
                  <a:lnTo>
                    <a:pt x="110" y="212"/>
                  </a:lnTo>
                  <a:lnTo>
                    <a:pt x="109" y="210"/>
                  </a:lnTo>
                  <a:lnTo>
                    <a:pt x="106" y="210"/>
                  </a:lnTo>
                  <a:lnTo>
                    <a:pt x="104" y="207"/>
                  </a:lnTo>
                  <a:lnTo>
                    <a:pt x="103" y="203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9" y="203"/>
                  </a:lnTo>
                  <a:lnTo>
                    <a:pt x="112" y="207"/>
                  </a:lnTo>
                  <a:lnTo>
                    <a:pt x="113" y="209"/>
                  </a:lnTo>
                  <a:lnTo>
                    <a:pt x="113" y="213"/>
                  </a:lnTo>
                  <a:lnTo>
                    <a:pt x="114" y="217"/>
                  </a:lnTo>
                  <a:lnTo>
                    <a:pt x="120" y="222"/>
                  </a:lnTo>
                  <a:lnTo>
                    <a:pt x="124" y="220"/>
                  </a:lnTo>
                  <a:lnTo>
                    <a:pt x="127" y="220"/>
                  </a:lnTo>
                  <a:lnTo>
                    <a:pt x="129" y="220"/>
                  </a:lnTo>
                  <a:lnTo>
                    <a:pt x="133" y="225"/>
                  </a:lnTo>
                  <a:lnTo>
                    <a:pt x="134" y="225"/>
                  </a:lnTo>
                  <a:lnTo>
                    <a:pt x="141" y="223"/>
                  </a:lnTo>
                  <a:lnTo>
                    <a:pt x="141" y="219"/>
                  </a:lnTo>
                  <a:lnTo>
                    <a:pt x="141" y="217"/>
                  </a:lnTo>
                  <a:lnTo>
                    <a:pt x="140" y="215"/>
                  </a:lnTo>
                  <a:lnTo>
                    <a:pt x="134" y="216"/>
                  </a:lnTo>
                  <a:lnTo>
                    <a:pt x="132" y="213"/>
                  </a:lnTo>
                  <a:lnTo>
                    <a:pt x="129" y="213"/>
                  </a:lnTo>
                  <a:lnTo>
                    <a:pt x="123" y="217"/>
                  </a:lnTo>
                  <a:lnTo>
                    <a:pt x="120" y="216"/>
                  </a:lnTo>
                  <a:lnTo>
                    <a:pt x="119" y="215"/>
                  </a:lnTo>
                  <a:lnTo>
                    <a:pt x="116" y="212"/>
                  </a:lnTo>
                  <a:lnTo>
                    <a:pt x="116" y="207"/>
                  </a:lnTo>
                  <a:lnTo>
                    <a:pt x="117" y="203"/>
                  </a:lnTo>
                  <a:lnTo>
                    <a:pt x="119" y="200"/>
                  </a:lnTo>
                  <a:lnTo>
                    <a:pt x="117" y="199"/>
                  </a:lnTo>
                  <a:lnTo>
                    <a:pt x="114" y="197"/>
                  </a:lnTo>
                  <a:lnTo>
                    <a:pt x="107" y="199"/>
                  </a:lnTo>
                  <a:lnTo>
                    <a:pt x="107" y="197"/>
                  </a:lnTo>
                  <a:lnTo>
                    <a:pt x="107" y="195"/>
                  </a:lnTo>
                  <a:lnTo>
                    <a:pt x="104" y="199"/>
                  </a:lnTo>
                  <a:lnTo>
                    <a:pt x="102" y="197"/>
                  </a:lnTo>
                  <a:lnTo>
                    <a:pt x="97" y="199"/>
                  </a:lnTo>
                  <a:lnTo>
                    <a:pt x="89" y="196"/>
                  </a:lnTo>
                  <a:lnTo>
                    <a:pt x="86" y="192"/>
                  </a:lnTo>
                  <a:lnTo>
                    <a:pt x="84" y="189"/>
                  </a:lnTo>
                  <a:lnTo>
                    <a:pt x="82" y="180"/>
                  </a:lnTo>
                  <a:lnTo>
                    <a:pt x="79" y="175"/>
                  </a:lnTo>
                  <a:lnTo>
                    <a:pt x="59" y="156"/>
                  </a:lnTo>
                  <a:lnTo>
                    <a:pt x="50" y="150"/>
                  </a:lnTo>
                  <a:lnTo>
                    <a:pt x="46" y="146"/>
                  </a:lnTo>
                  <a:lnTo>
                    <a:pt x="43" y="145"/>
                  </a:lnTo>
                  <a:lnTo>
                    <a:pt x="40" y="143"/>
                  </a:lnTo>
                  <a:lnTo>
                    <a:pt x="36" y="142"/>
                  </a:lnTo>
                  <a:lnTo>
                    <a:pt x="39" y="140"/>
                  </a:lnTo>
                  <a:lnTo>
                    <a:pt x="40" y="139"/>
                  </a:lnTo>
                  <a:lnTo>
                    <a:pt x="39" y="142"/>
                  </a:lnTo>
                  <a:lnTo>
                    <a:pt x="40" y="142"/>
                  </a:lnTo>
                  <a:lnTo>
                    <a:pt x="42" y="140"/>
                  </a:lnTo>
                  <a:lnTo>
                    <a:pt x="43" y="139"/>
                  </a:lnTo>
                  <a:lnTo>
                    <a:pt x="44" y="133"/>
                  </a:lnTo>
                  <a:lnTo>
                    <a:pt x="46" y="123"/>
                  </a:lnTo>
                  <a:lnTo>
                    <a:pt x="46" y="119"/>
                  </a:lnTo>
                  <a:lnTo>
                    <a:pt x="57" y="120"/>
                  </a:lnTo>
                  <a:lnTo>
                    <a:pt x="64" y="119"/>
                  </a:lnTo>
                  <a:lnTo>
                    <a:pt x="67" y="119"/>
                  </a:lnTo>
                  <a:lnTo>
                    <a:pt x="76" y="117"/>
                  </a:lnTo>
                  <a:lnTo>
                    <a:pt x="79" y="116"/>
                  </a:lnTo>
                  <a:lnTo>
                    <a:pt x="83" y="112"/>
                  </a:lnTo>
                  <a:lnTo>
                    <a:pt x="89" y="106"/>
                  </a:lnTo>
                  <a:lnTo>
                    <a:pt x="93" y="99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4" y="96"/>
                  </a:lnTo>
                  <a:lnTo>
                    <a:pt x="96" y="93"/>
                  </a:lnTo>
                  <a:lnTo>
                    <a:pt x="96" y="86"/>
                  </a:lnTo>
                  <a:lnTo>
                    <a:pt x="99" y="79"/>
                  </a:lnTo>
                  <a:lnTo>
                    <a:pt x="107" y="63"/>
                  </a:lnTo>
                  <a:lnTo>
                    <a:pt x="112" y="57"/>
                  </a:lnTo>
                  <a:lnTo>
                    <a:pt x="113" y="55"/>
                  </a:lnTo>
                  <a:lnTo>
                    <a:pt x="116" y="53"/>
                  </a:lnTo>
                  <a:lnTo>
                    <a:pt x="116" y="55"/>
                  </a:lnTo>
                  <a:lnTo>
                    <a:pt x="117" y="55"/>
                  </a:lnTo>
                  <a:lnTo>
                    <a:pt x="117" y="56"/>
                  </a:lnTo>
                  <a:lnTo>
                    <a:pt x="116" y="56"/>
                  </a:lnTo>
                  <a:lnTo>
                    <a:pt x="114" y="59"/>
                  </a:lnTo>
                  <a:lnTo>
                    <a:pt x="113" y="60"/>
                  </a:lnTo>
                  <a:lnTo>
                    <a:pt x="112" y="60"/>
                  </a:lnTo>
                  <a:lnTo>
                    <a:pt x="113" y="60"/>
                  </a:lnTo>
                  <a:lnTo>
                    <a:pt x="117" y="59"/>
                  </a:lnTo>
                  <a:lnTo>
                    <a:pt x="119" y="57"/>
                  </a:lnTo>
                  <a:lnTo>
                    <a:pt x="129" y="53"/>
                  </a:lnTo>
                  <a:lnTo>
                    <a:pt x="134" y="49"/>
                  </a:lnTo>
                  <a:lnTo>
                    <a:pt x="136" y="48"/>
                  </a:lnTo>
                  <a:lnTo>
                    <a:pt x="143" y="40"/>
                  </a:lnTo>
                  <a:lnTo>
                    <a:pt x="144" y="40"/>
                  </a:lnTo>
                  <a:lnTo>
                    <a:pt x="146" y="42"/>
                  </a:lnTo>
                  <a:lnTo>
                    <a:pt x="143" y="46"/>
                  </a:lnTo>
                  <a:lnTo>
                    <a:pt x="146" y="48"/>
                  </a:lnTo>
                  <a:lnTo>
                    <a:pt x="144" y="52"/>
                  </a:lnTo>
                  <a:lnTo>
                    <a:pt x="147" y="53"/>
                  </a:lnTo>
                  <a:lnTo>
                    <a:pt x="147" y="55"/>
                  </a:lnTo>
                  <a:lnTo>
                    <a:pt x="147" y="53"/>
                  </a:lnTo>
                  <a:lnTo>
                    <a:pt x="147" y="50"/>
                  </a:lnTo>
                  <a:lnTo>
                    <a:pt x="147" y="46"/>
                  </a:lnTo>
                  <a:lnTo>
                    <a:pt x="149" y="45"/>
                  </a:lnTo>
                  <a:lnTo>
                    <a:pt x="150" y="46"/>
                  </a:lnTo>
                  <a:lnTo>
                    <a:pt x="156" y="43"/>
                  </a:lnTo>
                  <a:lnTo>
                    <a:pt x="150" y="43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50" y="30"/>
                  </a:lnTo>
                  <a:lnTo>
                    <a:pt x="156" y="26"/>
                  </a:lnTo>
                  <a:lnTo>
                    <a:pt x="157" y="26"/>
                  </a:lnTo>
                  <a:lnTo>
                    <a:pt x="159" y="28"/>
                  </a:lnTo>
                  <a:lnTo>
                    <a:pt x="159" y="29"/>
                  </a:lnTo>
                  <a:lnTo>
                    <a:pt x="157" y="29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7" y="33"/>
                  </a:lnTo>
                  <a:lnTo>
                    <a:pt x="160" y="32"/>
                  </a:lnTo>
                  <a:lnTo>
                    <a:pt x="161" y="30"/>
                  </a:lnTo>
                  <a:lnTo>
                    <a:pt x="167" y="30"/>
                  </a:lnTo>
                  <a:lnTo>
                    <a:pt x="169" y="29"/>
                  </a:lnTo>
                  <a:lnTo>
                    <a:pt x="170" y="28"/>
                  </a:lnTo>
                  <a:lnTo>
                    <a:pt x="177" y="28"/>
                  </a:lnTo>
                  <a:lnTo>
                    <a:pt x="179" y="28"/>
                  </a:lnTo>
                  <a:lnTo>
                    <a:pt x="184" y="23"/>
                  </a:lnTo>
                  <a:lnTo>
                    <a:pt x="189" y="19"/>
                  </a:lnTo>
                  <a:lnTo>
                    <a:pt x="190" y="16"/>
                  </a:lnTo>
                  <a:lnTo>
                    <a:pt x="194" y="9"/>
                  </a:lnTo>
                  <a:lnTo>
                    <a:pt x="197" y="5"/>
                  </a:lnTo>
                  <a:lnTo>
                    <a:pt x="201" y="0"/>
                  </a:lnTo>
                  <a:lnTo>
                    <a:pt x="203" y="0"/>
                  </a:lnTo>
                  <a:lnTo>
                    <a:pt x="201" y="2"/>
                  </a:lnTo>
                  <a:lnTo>
                    <a:pt x="200" y="3"/>
                  </a:lnTo>
                  <a:lnTo>
                    <a:pt x="201" y="6"/>
                  </a:lnTo>
                  <a:lnTo>
                    <a:pt x="213" y="10"/>
                  </a:lnTo>
                  <a:lnTo>
                    <a:pt x="216" y="12"/>
                  </a:lnTo>
                  <a:lnTo>
                    <a:pt x="216" y="15"/>
                  </a:lnTo>
                  <a:lnTo>
                    <a:pt x="216" y="18"/>
                  </a:lnTo>
                  <a:lnTo>
                    <a:pt x="213" y="20"/>
                  </a:lnTo>
                  <a:lnTo>
                    <a:pt x="207" y="23"/>
                  </a:lnTo>
                  <a:lnTo>
                    <a:pt x="209" y="25"/>
                  </a:lnTo>
                  <a:lnTo>
                    <a:pt x="210" y="28"/>
                  </a:lnTo>
                  <a:lnTo>
                    <a:pt x="211" y="29"/>
                  </a:lnTo>
                  <a:lnTo>
                    <a:pt x="214" y="28"/>
                  </a:lnTo>
                  <a:lnTo>
                    <a:pt x="216" y="26"/>
                  </a:lnTo>
                  <a:lnTo>
                    <a:pt x="220" y="19"/>
                  </a:lnTo>
                  <a:lnTo>
                    <a:pt x="221" y="16"/>
                  </a:lnTo>
                  <a:lnTo>
                    <a:pt x="223" y="15"/>
                  </a:lnTo>
                  <a:lnTo>
                    <a:pt x="226" y="16"/>
                  </a:lnTo>
                  <a:lnTo>
                    <a:pt x="229" y="18"/>
                  </a:lnTo>
                  <a:lnTo>
                    <a:pt x="230" y="20"/>
                  </a:lnTo>
                  <a:lnTo>
                    <a:pt x="230" y="23"/>
                  </a:lnTo>
                  <a:lnTo>
                    <a:pt x="229" y="26"/>
                  </a:lnTo>
                  <a:lnTo>
                    <a:pt x="231" y="28"/>
                  </a:lnTo>
                  <a:lnTo>
                    <a:pt x="236" y="28"/>
                  </a:lnTo>
                  <a:lnTo>
                    <a:pt x="238" y="30"/>
                  </a:lnTo>
                  <a:lnTo>
                    <a:pt x="243" y="26"/>
                  </a:lnTo>
                  <a:lnTo>
                    <a:pt x="246" y="26"/>
                  </a:lnTo>
                  <a:lnTo>
                    <a:pt x="250" y="26"/>
                  </a:lnTo>
                  <a:lnTo>
                    <a:pt x="254" y="23"/>
                  </a:lnTo>
                  <a:lnTo>
                    <a:pt x="261" y="26"/>
                  </a:lnTo>
                  <a:lnTo>
                    <a:pt x="263" y="26"/>
                  </a:lnTo>
                  <a:lnTo>
                    <a:pt x="266" y="26"/>
                  </a:lnTo>
                  <a:lnTo>
                    <a:pt x="268" y="28"/>
                  </a:lnTo>
                  <a:lnTo>
                    <a:pt x="270" y="29"/>
                  </a:lnTo>
                  <a:lnTo>
                    <a:pt x="267" y="33"/>
                  </a:lnTo>
                  <a:lnTo>
                    <a:pt x="266" y="38"/>
                  </a:lnTo>
                  <a:lnTo>
                    <a:pt x="267" y="39"/>
                  </a:lnTo>
                  <a:lnTo>
                    <a:pt x="268" y="39"/>
                  </a:lnTo>
                  <a:lnTo>
                    <a:pt x="270" y="42"/>
                  </a:lnTo>
                  <a:lnTo>
                    <a:pt x="271" y="42"/>
                  </a:lnTo>
                  <a:lnTo>
                    <a:pt x="277" y="42"/>
                  </a:lnTo>
                  <a:lnTo>
                    <a:pt x="277" y="43"/>
                  </a:lnTo>
                  <a:lnTo>
                    <a:pt x="277" y="45"/>
                  </a:lnTo>
                  <a:lnTo>
                    <a:pt x="274" y="48"/>
                  </a:lnTo>
                  <a:lnTo>
                    <a:pt x="286" y="49"/>
                  </a:lnTo>
                  <a:lnTo>
                    <a:pt x="287" y="48"/>
                  </a:lnTo>
                  <a:lnTo>
                    <a:pt x="290" y="46"/>
                  </a:lnTo>
                  <a:lnTo>
                    <a:pt x="294" y="45"/>
                  </a:lnTo>
                  <a:lnTo>
                    <a:pt x="297" y="45"/>
                  </a:lnTo>
                  <a:lnTo>
                    <a:pt x="298" y="48"/>
                  </a:lnTo>
                  <a:lnTo>
                    <a:pt x="301" y="48"/>
                  </a:lnTo>
                  <a:lnTo>
                    <a:pt x="303" y="48"/>
                  </a:lnTo>
                  <a:lnTo>
                    <a:pt x="307" y="45"/>
                  </a:lnTo>
                  <a:lnTo>
                    <a:pt x="313" y="43"/>
                  </a:lnTo>
                  <a:lnTo>
                    <a:pt x="316" y="45"/>
                  </a:lnTo>
                  <a:lnTo>
                    <a:pt x="317" y="45"/>
                  </a:lnTo>
                  <a:lnTo>
                    <a:pt x="324" y="48"/>
                  </a:lnTo>
                  <a:lnTo>
                    <a:pt x="327" y="49"/>
                  </a:lnTo>
                  <a:lnTo>
                    <a:pt x="330" y="53"/>
                  </a:lnTo>
                  <a:lnTo>
                    <a:pt x="331" y="53"/>
                  </a:lnTo>
                  <a:lnTo>
                    <a:pt x="334" y="52"/>
                  </a:lnTo>
                  <a:lnTo>
                    <a:pt x="335" y="52"/>
                  </a:lnTo>
                  <a:lnTo>
                    <a:pt x="337" y="53"/>
                  </a:lnTo>
                  <a:lnTo>
                    <a:pt x="340" y="53"/>
                  </a:lnTo>
                  <a:lnTo>
                    <a:pt x="341" y="57"/>
                  </a:lnTo>
                  <a:lnTo>
                    <a:pt x="343" y="57"/>
                  </a:lnTo>
                  <a:lnTo>
                    <a:pt x="353" y="60"/>
                  </a:lnTo>
                  <a:lnTo>
                    <a:pt x="357" y="59"/>
                  </a:lnTo>
                  <a:lnTo>
                    <a:pt x="365" y="59"/>
                  </a:lnTo>
                  <a:lnTo>
                    <a:pt x="368" y="60"/>
                  </a:lnTo>
                  <a:lnTo>
                    <a:pt x="373" y="60"/>
                  </a:lnTo>
                  <a:lnTo>
                    <a:pt x="378" y="66"/>
                  </a:lnTo>
                  <a:lnTo>
                    <a:pt x="381" y="66"/>
                  </a:lnTo>
                  <a:lnTo>
                    <a:pt x="383" y="67"/>
                  </a:lnTo>
                  <a:lnTo>
                    <a:pt x="391" y="69"/>
                  </a:lnTo>
                  <a:lnTo>
                    <a:pt x="395" y="66"/>
                  </a:lnTo>
                  <a:lnTo>
                    <a:pt x="401" y="66"/>
                  </a:lnTo>
                  <a:lnTo>
                    <a:pt x="405" y="63"/>
                  </a:lnTo>
                  <a:lnTo>
                    <a:pt x="408" y="63"/>
                  </a:lnTo>
                  <a:lnTo>
                    <a:pt x="413" y="65"/>
                  </a:lnTo>
                  <a:lnTo>
                    <a:pt x="413" y="63"/>
                  </a:lnTo>
                  <a:lnTo>
                    <a:pt x="414" y="63"/>
                  </a:lnTo>
                  <a:lnTo>
                    <a:pt x="423" y="66"/>
                  </a:lnTo>
                  <a:lnTo>
                    <a:pt x="427" y="70"/>
                  </a:lnTo>
                  <a:lnTo>
                    <a:pt x="428" y="75"/>
                  </a:lnTo>
                  <a:lnTo>
                    <a:pt x="438" y="79"/>
                  </a:lnTo>
                  <a:lnTo>
                    <a:pt x="441" y="82"/>
                  </a:lnTo>
                  <a:lnTo>
                    <a:pt x="442" y="85"/>
                  </a:lnTo>
                  <a:lnTo>
                    <a:pt x="444" y="85"/>
                  </a:lnTo>
                  <a:lnTo>
                    <a:pt x="445" y="83"/>
                  </a:lnTo>
                  <a:lnTo>
                    <a:pt x="448" y="85"/>
                  </a:lnTo>
                  <a:lnTo>
                    <a:pt x="450" y="85"/>
                  </a:lnTo>
                  <a:close/>
                  <a:moveTo>
                    <a:pt x="47" y="230"/>
                  </a:moveTo>
                  <a:lnTo>
                    <a:pt x="47" y="230"/>
                  </a:lnTo>
                  <a:lnTo>
                    <a:pt x="47" y="230"/>
                  </a:lnTo>
                  <a:lnTo>
                    <a:pt x="49" y="229"/>
                  </a:lnTo>
                  <a:lnTo>
                    <a:pt x="52" y="226"/>
                  </a:lnTo>
                  <a:lnTo>
                    <a:pt x="52" y="227"/>
                  </a:lnTo>
                  <a:lnTo>
                    <a:pt x="50" y="229"/>
                  </a:lnTo>
                  <a:lnTo>
                    <a:pt x="47" y="230"/>
                  </a:lnTo>
                  <a:close/>
                  <a:moveTo>
                    <a:pt x="338" y="426"/>
                  </a:moveTo>
                  <a:lnTo>
                    <a:pt x="337" y="426"/>
                  </a:lnTo>
                  <a:lnTo>
                    <a:pt x="335" y="424"/>
                  </a:lnTo>
                  <a:lnTo>
                    <a:pt x="335" y="424"/>
                  </a:lnTo>
                  <a:lnTo>
                    <a:pt x="335" y="423"/>
                  </a:lnTo>
                  <a:lnTo>
                    <a:pt x="335" y="423"/>
                  </a:lnTo>
                  <a:lnTo>
                    <a:pt x="337" y="422"/>
                  </a:lnTo>
                  <a:lnTo>
                    <a:pt x="338" y="423"/>
                  </a:lnTo>
                  <a:lnTo>
                    <a:pt x="338" y="423"/>
                  </a:lnTo>
                  <a:lnTo>
                    <a:pt x="338" y="426"/>
                  </a:lnTo>
                  <a:close/>
                  <a:moveTo>
                    <a:pt x="273" y="440"/>
                  </a:moveTo>
                  <a:lnTo>
                    <a:pt x="273" y="440"/>
                  </a:lnTo>
                  <a:lnTo>
                    <a:pt x="273" y="439"/>
                  </a:lnTo>
                  <a:lnTo>
                    <a:pt x="274" y="436"/>
                  </a:lnTo>
                  <a:lnTo>
                    <a:pt x="276" y="436"/>
                  </a:lnTo>
                  <a:lnTo>
                    <a:pt x="276" y="437"/>
                  </a:lnTo>
                  <a:lnTo>
                    <a:pt x="274" y="440"/>
                  </a:lnTo>
                  <a:lnTo>
                    <a:pt x="273" y="440"/>
                  </a:lnTo>
                  <a:close/>
                  <a:moveTo>
                    <a:pt x="343" y="437"/>
                  </a:moveTo>
                  <a:lnTo>
                    <a:pt x="343" y="439"/>
                  </a:lnTo>
                  <a:lnTo>
                    <a:pt x="343" y="439"/>
                  </a:lnTo>
                  <a:lnTo>
                    <a:pt x="343" y="440"/>
                  </a:lnTo>
                  <a:lnTo>
                    <a:pt x="343" y="443"/>
                  </a:lnTo>
                  <a:lnTo>
                    <a:pt x="341" y="444"/>
                  </a:lnTo>
                  <a:lnTo>
                    <a:pt x="341" y="446"/>
                  </a:lnTo>
                  <a:lnTo>
                    <a:pt x="341" y="446"/>
                  </a:lnTo>
                  <a:lnTo>
                    <a:pt x="340" y="446"/>
                  </a:lnTo>
                  <a:lnTo>
                    <a:pt x="340" y="446"/>
                  </a:lnTo>
                  <a:lnTo>
                    <a:pt x="341" y="444"/>
                  </a:lnTo>
                  <a:lnTo>
                    <a:pt x="340" y="444"/>
                  </a:lnTo>
                  <a:lnTo>
                    <a:pt x="340" y="443"/>
                  </a:lnTo>
                  <a:lnTo>
                    <a:pt x="340" y="442"/>
                  </a:lnTo>
                  <a:lnTo>
                    <a:pt x="340" y="440"/>
                  </a:lnTo>
                  <a:lnTo>
                    <a:pt x="340" y="440"/>
                  </a:lnTo>
                  <a:lnTo>
                    <a:pt x="341" y="437"/>
                  </a:lnTo>
                  <a:lnTo>
                    <a:pt x="341" y="437"/>
                  </a:lnTo>
                  <a:lnTo>
                    <a:pt x="341" y="437"/>
                  </a:lnTo>
                  <a:lnTo>
                    <a:pt x="341" y="437"/>
                  </a:lnTo>
                  <a:lnTo>
                    <a:pt x="341" y="437"/>
                  </a:lnTo>
                  <a:lnTo>
                    <a:pt x="343" y="436"/>
                  </a:lnTo>
                  <a:lnTo>
                    <a:pt x="343" y="436"/>
                  </a:lnTo>
                  <a:lnTo>
                    <a:pt x="343" y="437"/>
                  </a:lnTo>
                  <a:close/>
                  <a:moveTo>
                    <a:pt x="363" y="437"/>
                  </a:moveTo>
                  <a:lnTo>
                    <a:pt x="364" y="439"/>
                  </a:lnTo>
                  <a:lnTo>
                    <a:pt x="367" y="439"/>
                  </a:lnTo>
                  <a:lnTo>
                    <a:pt x="367" y="439"/>
                  </a:lnTo>
                  <a:lnTo>
                    <a:pt x="368" y="439"/>
                  </a:lnTo>
                  <a:lnTo>
                    <a:pt x="367" y="439"/>
                  </a:lnTo>
                  <a:lnTo>
                    <a:pt x="367" y="440"/>
                  </a:lnTo>
                  <a:lnTo>
                    <a:pt x="363" y="442"/>
                  </a:lnTo>
                  <a:lnTo>
                    <a:pt x="360" y="443"/>
                  </a:lnTo>
                  <a:lnTo>
                    <a:pt x="360" y="443"/>
                  </a:lnTo>
                  <a:lnTo>
                    <a:pt x="360" y="442"/>
                  </a:lnTo>
                  <a:lnTo>
                    <a:pt x="358" y="440"/>
                  </a:lnTo>
                  <a:lnTo>
                    <a:pt x="358" y="439"/>
                  </a:lnTo>
                  <a:lnTo>
                    <a:pt x="358" y="439"/>
                  </a:lnTo>
                  <a:lnTo>
                    <a:pt x="358" y="439"/>
                  </a:lnTo>
                  <a:lnTo>
                    <a:pt x="360" y="437"/>
                  </a:lnTo>
                  <a:lnTo>
                    <a:pt x="361" y="436"/>
                  </a:lnTo>
                  <a:lnTo>
                    <a:pt x="363" y="437"/>
                  </a:lnTo>
                  <a:close/>
                  <a:moveTo>
                    <a:pt x="384" y="442"/>
                  </a:moveTo>
                  <a:lnTo>
                    <a:pt x="383" y="442"/>
                  </a:lnTo>
                  <a:lnTo>
                    <a:pt x="381" y="442"/>
                  </a:lnTo>
                  <a:lnTo>
                    <a:pt x="381" y="442"/>
                  </a:lnTo>
                  <a:lnTo>
                    <a:pt x="384" y="439"/>
                  </a:lnTo>
                  <a:lnTo>
                    <a:pt x="384" y="440"/>
                  </a:lnTo>
                  <a:lnTo>
                    <a:pt x="384" y="442"/>
                  </a:lnTo>
                  <a:close/>
                  <a:moveTo>
                    <a:pt x="47" y="440"/>
                  </a:moveTo>
                  <a:lnTo>
                    <a:pt x="49" y="442"/>
                  </a:lnTo>
                  <a:lnTo>
                    <a:pt x="49" y="442"/>
                  </a:lnTo>
                  <a:lnTo>
                    <a:pt x="52" y="442"/>
                  </a:lnTo>
                  <a:lnTo>
                    <a:pt x="53" y="442"/>
                  </a:lnTo>
                  <a:lnTo>
                    <a:pt x="53" y="442"/>
                  </a:lnTo>
                  <a:lnTo>
                    <a:pt x="54" y="443"/>
                  </a:lnTo>
                  <a:lnTo>
                    <a:pt x="54" y="444"/>
                  </a:lnTo>
                  <a:lnTo>
                    <a:pt x="53" y="446"/>
                  </a:lnTo>
                  <a:lnTo>
                    <a:pt x="54" y="449"/>
                  </a:lnTo>
                  <a:lnTo>
                    <a:pt x="54" y="450"/>
                  </a:lnTo>
                  <a:lnTo>
                    <a:pt x="54" y="452"/>
                  </a:lnTo>
                  <a:lnTo>
                    <a:pt x="56" y="453"/>
                  </a:lnTo>
                  <a:lnTo>
                    <a:pt x="56" y="454"/>
                  </a:lnTo>
                  <a:lnTo>
                    <a:pt x="53" y="456"/>
                  </a:lnTo>
                  <a:lnTo>
                    <a:pt x="50" y="456"/>
                  </a:lnTo>
                  <a:lnTo>
                    <a:pt x="47" y="457"/>
                  </a:lnTo>
                  <a:lnTo>
                    <a:pt x="47" y="457"/>
                  </a:lnTo>
                  <a:lnTo>
                    <a:pt x="47" y="459"/>
                  </a:lnTo>
                  <a:lnTo>
                    <a:pt x="47" y="460"/>
                  </a:lnTo>
                  <a:lnTo>
                    <a:pt x="46" y="459"/>
                  </a:lnTo>
                  <a:lnTo>
                    <a:pt x="44" y="457"/>
                  </a:lnTo>
                  <a:lnTo>
                    <a:pt x="43" y="457"/>
                  </a:lnTo>
                  <a:lnTo>
                    <a:pt x="39" y="456"/>
                  </a:lnTo>
                  <a:lnTo>
                    <a:pt x="33" y="453"/>
                  </a:lnTo>
                  <a:lnTo>
                    <a:pt x="32" y="452"/>
                  </a:lnTo>
                  <a:lnTo>
                    <a:pt x="29" y="449"/>
                  </a:lnTo>
                  <a:lnTo>
                    <a:pt x="26" y="446"/>
                  </a:lnTo>
                  <a:lnTo>
                    <a:pt x="27" y="444"/>
                  </a:lnTo>
                  <a:lnTo>
                    <a:pt x="29" y="444"/>
                  </a:lnTo>
                  <a:lnTo>
                    <a:pt x="36" y="444"/>
                  </a:lnTo>
                  <a:lnTo>
                    <a:pt x="36" y="443"/>
                  </a:lnTo>
                  <a:lnTo>
                    <a:pt x="37" y="442"/>
                  </a:lnTo>
                  <a:lnTo>
                    <a:pt x="40" y="442"/>
                  </a:lnTo>
                  <a:lnTo>
                    <a:pt x="42" y="440"/>
                  </a:lnTo>
                  <a:lnTo>
                    <a:pt x="43" y="440"/>
                  </a:lnTo>
                  <a:lnTo>
                    <a:pt x="43" y="440"/>
                  </a:lnTo>
                  <a:lnTo>
                    <a:pt x="46" y="440"/>
                  </a:lnTo>
                  <a:lnTo>
                    <a:pt x="46" y="439"/>
                  </a:lnTo>
                  <a:lnTo>
                    <a:pt x="47" y="440"/>
                  </a:lnTo>
                  <a:close/>
                  <a:moveTo>
                    <a:pt x="341" y="459"/>
                  </a:moveTo>
                  <a:lnTo>
                    <a:pt x="340" y="459"/>
                  </a:lnTo>
                  <a:lnTo>
                    <a:pt x="340" y="457"/>
                  </a:lnTo>
                  <a:lnTo>
                    <a:pt x="340" y="456"/>
                  </a:lnTo>
                  <a:lnTo>
                    <a:pt x="341" y="454"/>
                  </a:lnTo>
                  <a:lnTo>
                    <a:pt x="341" y="453"/>
                  </a:lnTo>
                  <a:lnTo>
                    <a:pt x="344" y="452"/>
                  </a:lnTo>
                  <a:lnTo>
                    <a:pt x="345" y="449"/>
                  </a:lnTo>
                  <a:lnTo>
                    <a:pt x="348" y="446"/>
                  </a:lnTo>
                  <a:lnTo>
                    <a:pt x="350" y="442"/>
                  </a:lnTo>
                  <a:lnTo>
                    <a:pt x="351" y="440"/>
                  </a:lnTo>
                  <a:lnTo>
                    <a:pt x="351" y="440"/>
                  </a:lnTo>
                  <a:lnTo>
                    <a:pt x="353" y="442"/>
                  </a:lnTo>
                  <a:lnTo>
                    <a:pt x="354" y="443"/>
                  </a:lnTo>
                  <a:lnTo>
                    <a:pt x="354" y="444"/>
                  </a:lnTo>
                  <a:lnTo>
                    <a:pt x="348" y="450"/>
                  </a:lnTo>
                  <a:lnTo>
                    <a:pt x="348" y="450"/>
                  </a:lnTo>
                  <a:lnTo>
                    <a:pt x="347" y="453"/>
                  </a:lnTo>
                  <a:lnTo>
                    <a:pt x="347" y="453"/>
                  </a:lnTo>
                  <a:lnTo>
                    <a:pt x="347" y="453"/>
                  </a:lnTo>
                  <a:lnTo>
                    <a:pt x="345" y="454"/>
                  </a:lnTo>
                  <a:lnTo>
                    <a:pt x="345" y="456"/>
                  </a:lnTo>
                  <a:lnTo>
                    <a:pt x="345" y="456"/>
                  </a:lnTo>
                  <a:lnTo>
                    <a:pt x="344" y="456"/>
                  </a:lnTo>
                  <a:lnTo>
                    <a:pt x="343" y="457"/>
                  </a:lnTo>
                  <a:lnTo>
                    <a:pt x="343" y="457"/>
                  </a:lnTo>
                  <a:lnTo>
                    <a:pt x="341" y="459"/>
                  </a:lnTo>
                  <a:close/>
                  <a:moveTo>
                    <a:pt x="337" y="450"/>
                  </a:moveTo>
                  <a:lnTo>
                    <a:pt x="337" y="452"/>
                  </a:lnTo>
                  <a:lnTo>
                    <a:pt x="333" y="450"/>
                  </a:lnTo>
                  <a:lnTo>
                    <a:pt x="334" y="449"/>
                  </a:lnTo>
                  <a:lnTo>
                    <a:pt x="335" y="447"/>
                  </a:lnTo>
                  <a:lnTo>
                    <a:pt x="338" y="449"/>
                  </a:lnTo>
                  <a:lnTo>
                    <a:pt x="337" y="450"/>
                  </a:lnTo>
                  <a:close/>
                  <a:moveTo>
                    <a:pt x="393" y="457"/>
                  </a:moveTo>
                  <a:lnTo>
                    <a:pt x="391" y="459"/>
                  </a:lnTo>
                  <a:lnTo>
                    <a:pt x="393" y="456"/>
                  </a:lnTo>
                  <a:lnTo>
                    <a:pt x="394" y="453"/>
                  </a:lnTo>
                  <a:lnTo>
                    <a:pt x="395" y="452"/>
                  </a:lnTo>
                  <a:lnTo>
                    <a:pt x="398" y="452"/>
                  </a:lnTo>
                  <a:lnTo>
                    <a:pt x="397" y="453"/>
                  </a:lnTo>
                  <a:lnTo>
                    <a:pt x="395" y="454"/>
                  </a:lnTo>
                  <a:lnTo>
                    <a:pt x="393" y="457"/>
                  </a:lnTo>
                  <a:close/>
                  <a:moveTo>
                    <a:pt x="130" y="497"/>
                  </a:moveTo>
                  <a:lnTo>
                    <a:pt x="130" y="497"/>
                  </a:lnTo>
                  <a:lnTo>
                    <a:pt x="129" y="497"/>
                  </a:lnTo>
                  <a:lnTo>
                    <a:pt x="127" y="494"/>
                  </a:lnTo>
                  <a:lnTo>
                    <a:pt x="127" y="494"/>
                  </a:lnTo>
                  <a:lnTo>
                    <a:pt x="130" y="491"/>
                  </a:lnTo>
                  <a:lnTo>
                    <a:pt x="133" y="490"/>
                  </a:lnTo>
                  <a:lnTo>
                    <a:pt x="134" y="490"/>
                  </a:lnTo>
                  <a:lnTo>
                    <a:pt x="130" y="497"/>
                  </a:lnTo>
                  <a:close/>
                  <a:moveTo>
                    <a:pt x="266" y="500"/>
                  </a:moveTo>
                  <a:lnTo>
                    <a:pt x="266" y="500"/>
                  </a:lnTo>
                  <a:lnTo>
                    <a:pt x="264" y="499"/>
                  </a:lnTo>
                  <a:lnTo>
                    <a:pt x="263" y="497"/>
                  </a:lnTo>
                  <a:lnTo>
                    <a:pt x="264" y="497"/>
                  </a:lnTo>
                  <a:lnTo>
                    <a:pt x="266" y="496"/>
                  </a:lnTo>
                  <a:lnTo>
                    <a:pt x="267" y="496"/>
                  </a:lnTo>
                  <a:lnTo>
                    <a:pt x="267" y="496"/>
                  </a:lnTo>
                  <a:lnTo>
                    <a:pt x="267" y="496"/>
                  </a:lnTo>
                  <a:lnTo>
                    <a:pt x="267" y="497"/>
                  </a:lnTo>
                  <a:lnTo>
                    <a:pt x="267" y="497"/>
                  </a:lnTo>
                  <a:lnTo>
                    <a:pt x="266" y="500"/>
                  </a:lnTo>
                  <a:close/>
                  <a:moveTo>
                    <a:pt x="267" y="503"/>
                  </a:moveTo>
                  <a:lnTo>
                    <a:pt x="267" y="503"/>
                  </a:lnTo>
                  <a:lnTo>
                    <a:pt x="268" y="501"/>
                  </a:lnTo>
                  <a:lnTo>
                    <a:pt x="268" y="501"/>
                  </a:lnTo>
                  <a:lnTo>
                    <a:pt x="270" y="503"/>
                  </a:lnTo>
                  <a:lnTo>
                    <a:pt x="271" y="503"/>
                  </a:lnTo>
                  <a:lnTo>
                    <a:pt x="273" y="504"/>
                  </a:lnTo>
                  <a:lnTo>
                    <a:pt x="273" y="504"/>
                  </a:lnTo>
                  <a:lnTo>
                    <a:pt x="273" y="504"/>
                  </a:lnTo>
                  <a:lnTo>
                    <a:pt x="274" y="504"/>
                  </a:lnTo>
                  <a:lnTo>
                    <a:pt x="274" y="507"/>
                  </a:lnTo>
                  <a:lnTo>
                    <a:pt x="273" y="509"/>
                  </a:lnTo>
                  <a:lnTo>
                    <a:pt x="271" y="509"/>
                  </a:lnTo>
                  <a:lnTo>
                    <a:pt x="271" y="509"/>
                  </a:lnTo>
                  <a:lnTo>
                    <a:pt x="270" y="509"/>
                  </a:lnTo>
                  <a:lnTo>
                    <a:pt x="270" y="507"/>
                  </a:lnTo>
                  <a:lnTo>
                    <a:pt x="270" y="507"/>
                  </a:lnTo>
                  <a:lnTo>
                    <a:pt x="268" y="507"/>
                  </a:lnTo>
                  <a:lnTo>
                    <a:pt x="268" y="507"/>
                  </a:lnTo>
                  <a:lnTo>
                    <a:pt x="268" y="509"/>
                  </a:lnTo>
                  <a:lnTo>
                    <a:pt x="268" y="510"/>
                  </a:lnTo>
                  <a:lnTo>
                    <a:pt x="268" y="510"/>
                  </a:lnTo>
                  <a:lnTo>
                    <a:pt x="267" y="510"/>
                  </a:lnTo>
                  <a:lnTo>
                    <a:pt x="266" y="510"/>
                  </a:lnTo>
                  <a:lnTo>
                    <a:pt x="264" y="511"/>
                  </a:lnTo>
                  <a:lnTo>
                    <a:pt x="264" y="510"/>
                  </a:lnTo>
                  <a:lnTo>
                    <a:pt x="264" y="509"/>
                  </a:lnTo>
                  <a:lnTo>
                    <a:pt x="264" y="509"/>
                  </a:lnTo>
                  <a:lnTo>
                    <a:pt x="263" y="511"/>
                  </a:lnTo>
                  <a:lnTo>
                    <a:pt x="263" y="513"/>
                  </a:lnTo>
                  <a:lnTo>
                    <a:pt x="261" y="513"/>
                  </a:lnTo>
                  <a:lnTo>
                    <a:pt x="261" y="514"/>
                  </a:lnTo>
                  <a:lnTo>
                    <a:pt x="260" y="514"/>
                  </a:lnTo>
                  <a:lnTo>
                    <a:pt x="258" y="514"/>
                  </a:lnTo>
                  <a:lnTo>
                    <a:pt x="257" y="514"/>
                  </a:lnTo>
                  <a:lnTo>
                    <a:pt x="253" y="513"/>
                  </a:lnTo>
                  <a:lnTo>
                    <a:pt x="251" y="511"/>
                  </a:lnTo>
                  <a:lnTo>
                    <a:pt x="256" y="507"/>
                  </a:lnTo>
                  <a:lnTo>
                    <a:pt x="257" y="506"/>
                  </a:lnTo>
                  <a:lnTo>
                    <a:pt x="258" y="506"/>
                  </a:lnTo>
                  <a:lnTo>
                    <a:pt x="260" y="506"/>
                  </a:lnTo>
                  <a:lnTo>
                    <a:pt x="261" y="506"/>
                  </a:lnTo>
                  <a:lnTo>
                    <a:pt x="261" y="504"/>
                  </a:lnTo>
                  <a:lnTo>
                    <a:pt x="260" y="501"/>
                  </a:lnTo>
                  <a:lnTo>
                    <a:pt x="260" y="501"/>
                  </a:lnTo>
                  <a:lnTo>
                    <a:pt x="263" y="500"/>
                  </a:lnTo>
                  <a:lnTo>
                    <a:pt x="264" y="500"/>
                  </a:lnTo>
                  <a:lnTo>
                    <a:pt x="264" y="501"/>
                  </a:lnTo>
                  <a:lnTo>
                    <a:pt x="266" y="501"/>
                  </a:lnTo>
                  <a:lnTo>
                    <a:pt x="267" y="503"/>
                  </a:lnTo>
                  <a:close/>
                  <a:moveTo>
                    <a:pt x="551" y="509"/>
                  </a:moveTo>
                  <a:lnTo>
                    <a:pt x="555" y="510"/>
                  </a:lnTo>
                  <a:lnTo>
                    <a:pt x="558" y="510"/>
                  </a:lnTo>
                  <a:lnTo>
                    <a:pt x="561" y="514"/>
                  </a:lnTo>
                  <a:lnTo>
                    <a:pt x="562" y="519"/>
                  </a:lnTo>
                  <a:lnTo>
                    <a:pt x="564" y="520"/>
                  </a:lnTo>
                  <a:lnTo>
                    <a:pt x="564" y="523"/>
                  </a:lnTo>
                  <a:lnTo>
                    <a:pt x="565" y="526"/>
                  </a:lnTo>
                  <a:lnTo>
                    <a:pt x="564" y="526"/>
                  </a:lnTo>
                  <a:lnTo>
                    <a:pt x="562" y="524"/>
                  </a:lnTo>
                  <a:lnTo>
                    <a:pt x="562" y="521"/>
                  </a:lnTo>
                  <a:lnTo>
                    <a:pt x="561" y="520"/>
                  </a:lnTo>
                  <a:lnTo>
                    <a:pt x="561" y="519"/>
                  </a:lnTo>
                  <a:lnTo>
                    <a:pt x="559" y="517"/>
                  </a:lnTo>
                  <a:lnTo>
                    <a:pt x="559" y="514"/>
                  </a:lnTo>
                  <a:lnTo>
                    <a:pt x="558" y="514"/>
                  </a:lnTo>
                  <a:lnTo>
                    <a:pt x="558" y="513"/>
                  </a:lnTo>
                  <a:lnTo>
                    <a:pt x="558" y="513"/>
                  </a:lnTo>
                  <a:lnTo>
                    <a:pt x="557" y="513"/>
                  </a:lnTo>
                  <a:lnTo>
                    <a:pt x="557" y="513"/>
                  </a:lnTo>
                  <a:lnTo>
                    <a:pt x="557" y="516"/>
                  </a:lnTo>
                  <a:lnTo>
                    <a:pt x="558" y="517"/>
                  </a:lnTo>
                  <a:lnTo>
                    <a:pt x="561" y="523"/>
                  </a:lnTo>
                  <a:lnTo>
                    <a:pt x="562" y="526"/>
                  </a:lnTo>
                  <a:lnTo>
                    <a:pt x="562" y="527"/>
                  </a:lnTo>
                  <a:lnTo>
                    <a:pt x="562" y="530"/>
                  </a:lnTo>
                  <a:lnTo>
                    <a:pt x="562" y="530"/>
                  </a:lnTo>
                  <a:lnTo>
                    <a:pt x="564" y="533"/>
                  </a:lnTo>
                  <a:lnTo>
                    <a:pt x="564" y="533"/>
                  </a:lnTo>
                  <a:lnTo>
                    <a:pt x="562" y="534"/>
                  </a:lnTo>
                  <a:lnTo>
                    <a:pt x="559" y="536"/>
                  </a:lnTo>
                  <a:lnTo>
                    <a:pt x="558" y="540"/>
                  </a:lnTo>
                  <a:lnTo>
                    <a:pt x="555" y="543"/>
                  </a:lnTo>
                  <a:lnTo>
                    <a:pt x="554" y="543"/>
                  </a:lnTo>
                  <a:lnTo>
                    <a:pt x="552" y="543"/>
                  </a:lnTo>
                  <a:lnTo>
                    <a:pt x="552" y="541"/>
                  </a:lnTo>
                  <a:lnTo>
                    <a:pt x="552" y="540"/>
                  </a:lnTo>
                  <a:lnTo>
                    <a:pt x="552" y="539"/>
                  </a:lnTo>
                  <a:lnTo>
                    <a:pt x="552" y="537"/>
                  </a:lnTo>
                  <a:lnTo>
                    <a:pt x="554" y="531"/>
                  </a:lnTo>
                  <a:lnTo>
                    <a:pt x="554" y="530"/>
                  </a:lnTo>
                  <a:lnTo>
                    <a:pt x="552" y="527"/>
                  </a:lnTo>
                  <a:lnTo>
                    <a:pt x="551" y="524"/>
                  </a:lnTo>
                  <a:lnTo>
                    <a:pt x="551" y="521"/>
                  </a:lnTo>
                  <a:lnTo>
                    <a:pt x="549" y="514"/>
                  </a:lnTo>
                  <a:lnTo>
                    <a:pt x="549" y="511"/>
                  </a:lnTo>
                  <a:lnTo>
                    <a:pt x="548" y="510"/>
                  </a:lnTo>
                  <a:lnTo>
                    <a:pt x="548" y="509"/>
                  </a:lnTo>
                  <a:lnTo>
                    <a:pt x="547" y="506"/>
                  </a:lnTo>
                  <a:lnTo>
                    <a:pt x="547" y="504"/>
                  </a:lnTo>
                  <a:lnTo>
                    <a:pt x="547" y="503"/>
                  </a:lnTo>
                  <a:lnTo>
                    <a:pt x="548" y="504"/>
                  </a:lnTo>
                  <a:lnTo>
                    <a:pt x="549" y="507"/>
                  </a:lnTo>
                  <a:lnTo>
                    <a:pt x="551" y="509"/>
                  </a:lnTo>
                  <a:close/>
                  <a:moveTo>
                    <a:pt x="557" y="507"/>
                  </a:moveTo>
                  <a:lnTo>
                    <a:pt x="557" y="509"/>
                  </a:lnTo>
                  <a:lnTo>
                    <a:pt x="554" y="507"/>
                  </a:lnTo>
                  <a:lnTo>
                    <a:pt x="552" y="507"/>
                  </a:lnTo>
                  <a:lnTo>
                    <a:pt x="551" y="506"/>
                  </a:lnTo>
                  <a:lnTo>
                    <a:pt x="551" y="504"/>
                  </a:lnTo>
                  <a:lnTo>
                    <a:pt x="554" y="504"/>
                  </a:lnTo>
                  <a:lnTo>
                    <a:pt x="555" y="506"/>
                  </a:lnTo>
                  <a:lnTo>
                    <a:pt x="557" y="507"/>
                  </a:lnTo>
                  <a:close/>
                  <a:moveTo>
                    <a:pt x="534" y="507"/>
                  </a:moveTo>
                  <a:lnTo>
                    <a:pt x="537" y="510"/>
                  </a:lnTo>
                  <a:lnTo>
                    <a:pt x="537" y="510"/>
                  </a:lnTo>
                  <a:lnTo>
                    <a:pt x="535" y="513"/>
                  </a:lnTo>
                  <a:lnTo>
                    <a:pt x="535" y="513"/>
                  </a:lnTo>
                  <a:lnTo>
                    <a:pt x="535" y="514"/>
                  </a:lnTo>
                  <a:lnTo>
                    <a:pt x="535" y="514"/>
                  </a:lnTo>
                  <a:lnTo>
                    <a:pt x="537" y="514"/>
                  </a:lnTo>
                  <a:lnTo>
                    <a:pt x="539" y="511"/>
                  </a:lnTo>
                  <a:lnTo>
                    <a:pt x="539" y="510"/>
                  </a:lnTo>
                  <a:lnTo>
                    <a:pt x="539" y="510"/>
                  </a:lnTo>
                  <a:lnTo>
                    <a:pt x="542" y="511"/>
                  </a:lnTo>
                  <a:lnTo>
                    <a:pt x="545" y="513"/>
                  </a:lnTo>
                  <a:lnTo>
                    <a:pt x="547" y="514"/>
                  </a:lnTo>
                  <a:lnTo>
                    <a:pt x="547" y="516"/>
                  </a:lnTo>
                  <a:lnTo>
                    <a:pt x="547" y="520"/>
                  </a:lnTo>
                  <a:lnTo>
                    <a:pt x="544" y="520"/>
                  </a:lnTo>
                  <a:lnTo>
                    <a:pt x="542" y="520"/>
                  </a:lnTo>
                  <a:lnTo>
                    <a:pt x="542" y="520"/>
                  </a:lnTo>
                  <a:lnTo>
                    <a:pt x="539" y="521"/>
                  </a:lnTo>
                  <a:lnTo>
                    <a:pt x="541" y="523"/>
                  </a:lnTo>
                  <a:lnTo>
                    <a:pt x="547" y="523"/>
                  </a:lnTo>
                  <a:lnTo>
                    <a:pt x="547" y="524"/>
                  </a:lnTo>
                  <a:lnTo>
                    <a:pt x="548" y="527"/>
                  </a:lnTo>
                  <a:lnTo>
                    <a:pt x="547" y="530"/>
                  </a:lnTo>
                  <a:lnTo>
                    <a:pt x="544" y="529"/>
                  </a:lnTo>
                  <a:lnTo>
                    <a:pt x="542" y="527"/>
                  </a:lnTo>
                  <a:lnTo>
                    <a:pt x="538" y="524"/>
                  </a:lnTo>
                  <a:lnTo>
                    <a:pt x="537" y="524"/>
                  </a:lnTo>
                  <a:lnTo>
                    <a:pt x="535" y="524"/>
                  </a:lnTo>
                  <a:lnTo>
                    <a:pt x="535" y="526"/>
                  </a:lnTo>
                  <a:lnTo>
                    <a:pt x="535" y="530"/>
                  </a:lnTo>
                  <a:lnTo>
                    <a:pt x="535" y="531"/>
                  </a:lnTo>
                  <a:lnTo>
                    <a:pt x="531" y="530"/>
                  </a:lnTo>
                  <a:lnTo>
                    <a:pt x="529" y="529"/>
                  </a:lnTo>
                  <a:lnTo>
                    <a:pt x="528" y="524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1" y="514"/>
                  </a:lnTo>
                  <a:lnTo>
                    <a:pt x="521" y="513"/>
                  </a:lnTo>
                  <a:lnTo>
                    <a:pt x="521" y="511"/>
                  </a:lnTo>
                  <a:lnTo>
                    <a:pt x="522" y="511"/>
                  </a:lnTo>
                  <a:lnTo>
                    <a:pt x="524" y="510"/>
                  </a:lnTo>
                  <a:lnTo>
                    <a:pt x="524" y="507"/>
                  </a:lnTo>
                  <a:lnTo>
                    <a:pt x="525" y="510"/>
                  </a:lnTo>
                  <a:lnTo>
                    <a:pt x="527" y="511"/>
                  </a:lnTo>
                  <a:lnTo>
                    <a:pt x="527" y="510"/>
                  </a:lnTo>
                  <a:lnTo>
                    <a:pt x="528" y="509"/>
                  </a:lnTo>
                  <a:lnTo>
                    <a:pt x="529" y="509"/>
                  </a:lnTo>
                  <a:lnTo>
                    <a:pt x="531" y="509"/>
                  </a:lnTo>
                  <a:lnTo>
                    <a:pt x="531" y="507"/>
                  </a:lnTo>
                  <a:lnTo>
                    <a:pt x="532" y="506"/>
                  </a:lnTo>
                  <a:lnTo>
                    <a:pt x="534" y="507"/>
                  </a:lnTo>
                  <a:close/>
                  <a:moveTo>
                    <a:pt x="258" y="520"/>
                  </a:moveTo>
                  <a:lnTo>
                    <a:pt x="258" y="521"/>
                  </a:lnTo>
                  <a:lnTo>
                    <a:pt x="260" y="521"/>
                  </a:lnTo>
                  <a:lnTo>
                    <a:pt x="263" y="519"/>
                  </a:lnTo>
                  <a:lnTo>
                    <a:pt x="264" y="519"/>
                  </a:lnTo>
                  <a:lnTo>
                    <a:pt x="266" y="519"/>
                  </a:lnTo>
                  <a:lnTo>
                    <a:pt x="267" y="520"/>
                  </a:lnTo>
                  <a:lnTo>
                    <a:pt x="267" y="520"/>
                  </a:lnTo>
                  <a:lnTo>
                    <a:pt x="267" y="520"/>
                  </a:lnTo>
                  <a:lnTo>
                    <a:pt x="266" y="521"/>
                  </a:lnTo>
                  <a:lnTo>
                    <a:pt x="266" y="523"/>
                  </a:lnTo>
                  <a:lnTo>
                    <a:pt x="267" y="524"/>
                  </a:lnTo>
                  <a:lnTo>
                    <a:pt x="270" y="526"/>
                  </a:lnTo>
                  <a:lnTo>
                    <a:pt x="270" y="526"/>
                  </a:lnTo>
                  <a:lnTo>
                    <a:pt x="270" y="527"/>
                  </a:lnTo>
                  <a:lnTo>
                    <a:pt x="268" y="530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3" y="530"/>
                  </a:lnTo>
                  <a:lnTo>
                    <a:pt x="260" y="529"/>
                  </a:lnTo>
                  <a:lnTo>
                    <a:pt x="258" y="529"/>
                  </a:lnTo>
                  <a:lnTo>
                    <a:pt x="258" y="529"/>
                  </a:lnTo>
                  <a:lnTo>
                    <a:pt x="257" y="530"/>
                  </a:lnTo>
                  <a:lnTo>
                    <a:pt x="258" y="530"/>
                  </a:lnTo>
                  <a:lnTo>
                    <a:pt x="261" y="530"/>
                  </a:lnTo>
                  <a:lnTo>
                    <a:pt x="261" y="531"/>
                  </a:lnTo>
                  <a:lnTo>
                    <a:pt x="263" y="533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57" y="536"/>
                  </a:lnTo>
                  <a:lnTo>
                    <a:pt x="257" y="537"/>
                  </a:lnTo>
                  <a:lnTo>
                    <a:pt x="253" y="537"/>
                  </a:lnTo>
                  <a:lnTo>
                    <a:pt x="250" y="539"/>
                  </a:lnTo>
                  <a:lnTo>
                    <a:pt x="250" y="540"/>
                  </a:lnTo>
                  <a:lnTo>
                    <a:pt x="248" y="541"/>
                  </a:lnTo>
                  <a:lnTo>
                    <a:pt x="248" y="541"/>
                  </a:lnTo>
                  <a:lnTo>
                    <a:pt x="246" y="543"/>
                  </a:lnTo>
                  <a:lnTo>
                    <a:pt x="247" y="543"/>
                  </a:lnTo>
                  <a:lnTo>
                    <a:pt x="247" y="544"/>
                  </a:lnTo>
                  <a:lnTo>
                    <a:pt x="247" y="544"/>
                  </a:lnTo>
                  <a:lnTo>
                    <a:pt x="247" y="546"/>
                  </a:lnTo>
                  <a:lnTo>
                    <a:pt x="246" y="549"/>
                  </a:lnTo>
                  <a:lnTo>
                    <a:pt x="241" y="550"/>
                  </a:lnTo>
                  <a:lnTo>
                    <a:pt x="241" y="550"/>
                  </a:lnTo>
                  <a:lnTo>
                    <a:pt x="240" y="550"/>
                  </a:lnTo>
                  <a:lnTo>
                    <a:pt x="240" y="550"/>
                  </a:lnTo>
                  <a:lnTo>
                    <a:pt x="240" y="549"/>
                  </a:lnTo>
                  <a:lnTo>
                    <a:pt x="244" y="544"/>
                  </a:lnTo>
                  <a:lnTo>
                    <a:pt x="244" y="544"/>
                  </a:lnTo>
                  <a:lnTo>
                    <a:pt x="243" y="544"/>
                  </a:lnTo>
                  <a:lnTo>
                    <a:pt x="241" y="543"/>
                  </a:lnTo>
                  <a:lnTo>
                    <a:pt x="240" y="543"/>
                  </a:lnTo>
                  <a:lnTo>
                    <a:pt x="240" y="543"/>
                  </a:lnTo>
                  <a:lnTo>
                    <a:pt x="240" y="541"/>
                  </a:lnTo>
                  <a:lnTo>
                    <a:pt x="241" y="540"/>
                  </a:lnTo>
                  <a:lnTo>
                    <a:pt x="241" y="540"/>
                  </a:lnTo>
                  <a:lnTo>
                    <a:pt x="240" y="540"/>
                  </a:lnTo>
                  <a:lnTo>
                    <a:pt x="238" y="540"/>
                  </a:lnTo>
                  <a:lnTo>
                    <a:pt x="237" y="540"/>
                  </a:lnTo>
                  <a:lnTo>
                    <a:pt x="236" y="540"/>
                  </a:lnTo>
                  <a:lnTo>
                    <a:pt x="236" y="541"/>
                  </a:lnTo>
                  <a:lnTo>
                    <a:pt x="236" y="541"/>
                  </a:lnTo>
                  <a:lnTo>
                    <a:pt x="237" y="541"/>
                  </a:lnTo>
                  <a:lnTo>
                    <a:pt x="237" y="541"/>
                  </a:lnTo>
                  <a:lnTo>
                    <a:pt x="238" y="541"/>
                  </a:lnTo>
                  <a:lnTo>
                    <a:pt x="238" y="543"/>
                  </a:lnTo>
                  <a:lnTo>
                    <a:pt x="238" y="544"/>
                  </a:lnTo>
                  <a:lnTo>
                    <a:pt x="238" y="544"/>
                  </a:lnTo>
                  <a:lnTo>
                    <a:pt x="237" y="547"/>
                  </a:lnTo>
                  <a:lnTo>
                    <a:pt x="236" y="546"/>
                  </a:lnTo>
                  <a:lnTo>
                    <a:pt x="233" y="543"/>
                  </a:lnTo>
                  <a:lnTo>
                    <a:pt x="233" y="537"/>
                  </a:lnTo>
                  <a:lnTo>
                    <a:pt x="230" y="534"/>
                  </a:lnTo>
                  <a:lnTo>
                    <a:pt x="230" y="533"/>
                  </a:lnTo>
                  <a:lnTo>
                    <a:pt x="230" y="530"/>
                  </a:lnTo>
                  <a:lnTo>
                    <a:pt x="233" y="527"/>
                  </a:lnTo>
                  <a:lnTo>
                    <a:pt x="236" y="526"/>
                  </a:lnTo>
                  <a:lnTo>
                    <a:pt x="237" y="524"/>
                  </a:lnTo>
                  <a:lnTo>
                    <a:pt x="238" y="524"/>
                  </a:lnTo>
                  <a:lnTo>
                    <a:pt x="240" y="524"/>
                  </a:lnTo>
                  <a:lnTo>
                    <a:pt x="241" y="526"/>
                  </a:lnTo>
                  <a:lnTo>
                    <a:pt x="241" y="527"/>
                  </a:lnTo>
                  <a:lnTo>
                    <a:pt x="241" y="527"/>
                  </a:lnTo>
                  <a:lnTo>
                    <a:pt x="241" y="527"/>
                  </a:lnTo>
                  <a:lnTo>
                    <a:pt x="243" y="529"/>
                  </a:lnTo>
                  <a:lnTo>
                    <a:pt x="243" y="531"/>
                  </a:lnTo>
                  <a:lnTo>
                    <a:pt x="244" y="533"/>
                  </a:lnTo>
                  <a:lnTo>
                    <a:pt x="246" y="534"/>
                  </a:lnTo>
                  <a:lnTo>
                    <a:pt x="247" y="534"/>
                  </a:lnTo>
                  <a:lnTo>
                    <a:pt x="246" y="533"/>
                  </a:lnTo>
                  <a:lnTo>
                    <a:pt x="244" y="531"/>
                  </a:lnTo>
                  <a:lnTo>
                    <a:pt x="244" y="526"/>
                  </a:lnTo>
                  <a:lnTo>
                    <a:pt x="244" y="526"/>
                  </a:lnTo>
                  <a:lnTo>
                    <a:pt x="244" y="524"/>
                  </a:lnTo>
                  <a:lnTo>
                    <a:pt x="246" y="524"/>
                  </a:lnTo>
                  <a:lnTo>
                    <a:pt x="246" y="524"/>
                  </a:lnTo>
                  <a:lnTo>
                    <a:pt x="244" y="523"/>
                  </a:lnTo>
                  <a:lnTo>
                    <a:pt x="243" y="521"/>
                  </a:lnTo>
                  <a:lnTo>
                    <a:pt x="243" y="520"/>
                  </a:lnTo>
                  <a:lnTo>
                    <a:pt x="243" y="520"/>
                  </a:lnTo>
                  <a:lnTo>
                    <a:pt x="244" y="519"/>
                  </a:lnTo>
                  <a:lnTo>
                    <a:pt x="244" y="519"/>
                  </a:lnTo>
                  <a:lnTo>
                    <a:pt x="246" y="517"/>
                  </a:lnTo>
                  <a:lnTo>
                    <a:pt x="246" y="519"/>
                  </a:lnTo>
                  <a:lnTo>
                    <a:pt x="247" y="519"/>
                  </a:lnTo>
                  <a:lnTo>
                    <a:pt x="248" y="521"/>
                  </a:lnTo>
                  <a:lnTo>
                    <a:pt x="248" y="523"/>
                  </a:lnTo>
                  <a:lnTo>
                    <a:pt x="250" y="523"/>
                  </a:lnTo>
                  <a:lnTo>
                    <a:pt x="250" y="521"/>
                  </a:lnTo>
                  <a:lnTo>
                    <a:pt x="250" y="521"/>
                  </a:lnTo>
                  <a:lnTo>
                    <a:pt x="251" y="520"/>
                  </a:lnTo>
                  <a:lnTo>
                    <a:pt x="251" y="520"/>
                  </a:lnTo>
                  <a:lnTo>
                    <a:pt x="253" y="520"/>
                  </a:lnTo>
                  <a:lnTo>
                    <a:pt x="254" y="520"/>
                  </a:lnTo>
                  <a:lnTo>
                    <a:pt x="254" y="520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4" y="517"/>
                  </a:lnTo>
                  <a:lnTo>
                    <a:pt x="254" y="516"/>
                  </a:lnTo>
                  <a:lnTo>
                    <a:pt x="254" y="514"/>
                  </a:lnTo>
                  <a:lnTo>
                    <a:pt x="258" y="516"/>
                  </a:lnTo>
                  <a:lnTo>
                    <a:pt x="260" y="517"/>
                  </a:lnTo>
                  <a:lnTo>
                    <a:pt x="258" y="520"/>
                  </a:lnTo>
                  <a:close/>
                  <a:moveTo>
                    <a:pt x="254" y="519"/>
                  </a:moveTo>
                  <a:lnTo>
                    <a:pt x="253" y="520"/>
                  </a:lnTo>
                  <a:lnTo>
                    <a:pt x="253" y="519"/>
                  </a:lnTo>
                  <a:lnTo>
                    <a:pt x="251" y="519"/>
                  </a:lnTo>
                  <a:lnTo>
                    <a:pt x="250" y="517"/>
                  </a:lnTo>
                  <a:lnTo>
                    <a:pt x="248" y="516"/>
                  </a:lnTo>
                  <a:lnTo>
                    <a:pt x="248" y="516"/>
                  </a:lnTo>
                  <a:lnTo>
                    <a:pt x="250" y="514"/>
                  </a:lnTo>
                  <a:lnTo>
                    <a:pt x="251" y="516"/>
                  </a:lnTo>
                  <a:lnTo>
                    <a:pt x="253" y="517"/>
                  </a:lnTo>
                  <a:lnTo>
                    <a:pt x="254" y="519"/>
                  </a:lnTo>
                  <a:close/>
                  <a:moveTo>
                    <a:pt x="547" y="533"/>
                  </a:moveTo>
                  <a:lnTo>
                    <a:pt x="548" y="537"/>
                  </a:lnTo>
                  <a:lnTo>
                    <a:pt x="548" y="540"/>
                  </a:lnTo>
                  <a:lnTo>
                    <a:pt x="549" y="543"/>
                  </a:lnTo>
                  <a:lnTo>
                    <a:pt x="551" y="549"/>
                  </a:lnTo>
                  <a:lnTo>
                    <a:pt x="551" y="551"/>
                  </a:lnTo>
                  <a:lnTo>
                    <a:pt x="552" y="553"/>
                  </a:lnTo>
                  <a:lnTo>
                    <a:pt x="552" y="556"/>
                  </a:lnTo>
                  <a:lnTo>
                    <a:pt x="552" y="556"/>
                  </a:lnTo>
                  <a:lnTo>
                    <a:pt x="551" y="557"/>
                  </a:lnTo>
                  <a:lnTo>
                    <a:pt x="551" y="557"/>
                  </a:lnTo>
                  <a:lnTo>
                    <a:pt x="551" y="560"/>
                  </a:lnTo>
                  <a:lnTo>
                    <a:pt x="551" y="564"/>
                  </a:lnTo>
                  <a:lnTo>
                    <a:pt x="551" y="566"/>
                  </a:lnTo>
                  <a:lnTo>
                    <a:pt x="551" y="567"/>
                  </a:lnTo>
                  <a:lnTo>
                    <a:pt x="549" y="566"/>
                  </a:lnTo>
                  <a:lnTo>
                    <a:pt x="548" y="564"/>
                  </a:lnTo>
                  <a:lnTo>
                    <a:pt x="548" y="564"/>
                  </a:lnTo>
                  <a:lnTo>
                    <a:pt x="547" y="560"/>
                  </a:lnTo>
                  <a:lnTo>
                    <a:pt x="547" y="559"/>
                  </a:lnTo>
                  <a:lnTo>
                    <a:pt x="545" y="557"/>
                  </a:lnTo>
                  <a:lnTo>
                    <a:pt x="547" y="556"/>
                  </a:lnTo>
                  <a:lnTo>
                    <a:pt x="547" y="556"/>
                  </a:lnTo>
                  <a:lnTo>
                    <a:pt x="548" y="553"/>
                  </a:lnTo>
                  <a:lnTo>
                    <a:pt x="548" y="553"/>
                  </a:lnTo>
                  <a:lnTo>
                    <a:pt x="547" y="554"/>
                  </a:lnTo>
                  <a:lnTo>
                    <a:pt x="545" y="554"/>
                  </a:lnTo>
                  <a:lnTo>
                    <a:pt x="544" y="553"/>
                  </a:lnTo>
                  <a:lnTo>
                    <a:pt x="544" y="551"/>
                  </a:lnTo>
                  <a:lnTo>
                    <a:pt x="544" y="550"/>
                  </a:lnTo>
                  <a:lnTo>
                    <a:pt x="542" y="549"/>
                  </a:lnTo>
                  <a:lnTo>
                    <a:pt x="541" y="550"/>
                  </a:lnTo>
                  <a:lnTo>
                    <a:pt x="541" y="549"/>
                  </a:lnTo>
                  <a:lnTo>
                    <a:pt x="539" y="549"/>
                  </a:lnTo>
                  <a:lnTo>
                    <a:pt x="539" y="547"/>
                  </a:lnTo>
                  <a:lnTo>
                    <a:pt x="541" y="546"/>
                  </a:lnTo>
                  <a:lnTo>
                    <a:pt x="542" y="543"/>
                  </a:lnTo>
                  <a:lnTo>
                    <a:pt x="542" y="543"/>
                  </a:lnTo>
                  <a:lnTo>
                    <a:pt x="541" y="543"/>
                  </a:lnTo>
                  <a:lnTo>
                    <a:pt x="539" y="541"/>
                  </a:lnTo>
                  <a:lnTo>
                    <a:pt x="539" y="539"/>
                  </a:lnTo>
                  <a:lnTo>
                    <a:pt x="538" y="537"/>
                  </a:lnTo>
                  <a:lnTo>
                    <a:pt x="538" y="537"/>
                  </a:lnTo>
                  <a:lnTo>
                    <a:pt x="535" y="541"/>
                  </a:lnTo>
                  <a:lnTo>
                    <a:pt x="535" y="543"/>
                  </a:lnTo>
                  <a:lnTo>
                    <a:pt x="532" y="544"/>
                  </a:lnTo>
                  <a:lnTo>
                    <a:pt x="534" y="543"/>
                  </a:lnTo>
                  <a:lnTo>
                    <a:pt x="534" y="541"/>
                  </a:lnTo>
                  <a:lnTo>
                    <a:pt x="532" y="537"/>
                  </a:lnTo>
                  <a:lnTo>
                    <a:pt x="532" y="536"/>
                  </a:lnTo>
                  <a:lnTo>
                    <a:pt x="532" y="534"/>
                  </a:lnTo>
                  <a:lnTo>
                    <a:pt x="535" y="534"/>
                  </a:lnTo>
                  <a:lnTo>
                    <a:pt x="535" y="533"/>
                  </a:lnTo>
                  <a:lnTo>
                    <a:pt x="537" y="533"/>
                  </a:lnTo>
                  <a:lnTo>
                    <a:pt x="537" y="531"/>
                  </a:lnTo>
                  <a:lnTo>
                    <a:pt x="538" y="529"/>
                  </a:lnTo>
                  <a:lnTo>
                    <a:pt x="538" y="529"/>
                  </a:lnTo>
                  <a:lnTo>
                    <a:pt x="539" y="529"/>
                  </a:lnTo>
                  <a:lnTo>
                    <a:pt x="544" y="531"/>
                  </a:lnTo>
                  <a:lnTo>
                    <a:pt x="545" y="531"/>
                  </a:lnTo>
                  <a:lnTo>
                    <a:pt x="547" y="533"/>
                  </a:lnTo>
                  <a:close/>
                  <a:moveTo>
                    <a:pt x="257" y="540"/>
                  </a:moveTo>
                  <a:lnTo>
                    <a:pt x="256" y="541"/>
                  </a:lnTo>
                  <a:lnTo>
                    <a:pt x="254" y="541"/>
                  </a:lnTo>
                  <a:lnTo>
                    <a:pt x="254" y="543"/>
                  </a:lnTo>
                  <a:lnTo>
                    <a:pt x="253" y="544"/>
                  </a:lnTo>
                  <a:lnTo>
                    <a:pt x="251" y="543"/>
                  </a:lnTo>
                  <a:lnTo>
                    <a:pt x="251" y="540"/>
                  </a:lnTo>
                  <a:lnTo>
                    <a:pt x="253" y="539"/>
                  </a:lnTo>
                  <a:lnTo>
                    <a:pt x="258" y="539"/>
                  </a:lnTo>
                  <a:lnTo>
                    <a:pt x="258" y="540"/>
                  </a:lnTo>
                  <a:lnTo>
                    <a:pt x="258" y="540"/>
                  </a:lnTo>
                  <a:lnTo>
                    <a:pt x="258" y="540"/>
                  </a:lnTo>
                  <a:lnTo>
                    <a:pt x="257" y="540"/>
                  </a:lnTo>
                  <a:close/>
                  <a:moveTo>
                    <a:pt x="572" y="544"/>
                  </a:moveTo>
                  <a:lnTo>
                    <a:pt x="572" y="544"/>
                  </a:lnTo>
                  <a:lnTo>
                    <a:pt x="574" y="544"/>
                  </a:lnTo>
                  <a:lnTo>
                    <a:pt x="575" y="544"/>
                  </a:lnTo>
                  <a:lnTo>
                    <a:pt x="577" y="544"/>
                  </a:lnTo>
                  <a:lnTo>
                    <a:pt x="578" y="546"/>
                  </a:lnTo>
                  <a:lnTo>
                    <a:pt x="578" y="547"/>
                  </a:lnTo>
                  <a:lnTo>
                    <a:pt x="578" y="549"/>
                  </a:lnTo>
                  <a:lnTo>
                    <a:pt x="578" y="550"/>
                  </a:lnTo>
                  <a:lnTo>
                    <a:pt x="578" y="553"/>
                  </a:lnTo>
                  <a:lnTo>
                    <a:pt x="578" y="553"/>
                  </a:lnTo>
                  <a:lnTo>
                    <a:pt x="578" y="554"/>
                  </a:lnTo>
                  <a:lnTo>
                    <a:pt x="578" y="554"/>
                  </a:lnTo>
                  <a:lnTo>
                    <a:pt x="577" y="554"/>
                  </a:lnTo>
                  <a:lnTo>
                    <a:pt x="575" y="553"/>
                  </a:lnTo>
                  <a:lnTo>
                    <a:pt x="574" y="550"/>
                  </a:lnTo>
                  <a:lnTo>
                    <a:pt x="572" y="549"/>
                  </a:lnTo>
                  <a:lnTo>
                    <a:pt x="572" y="549"/>
                  </a:lnTo>
                  <a:lnTo>
                    <a:pt x="572" y="550"/>
                  </a:lnTo>
                  <a:lnTo>
                    <a:pt x="574" y="551"/>
                  </a:lnTo>
                  <a:lnTo>
                    <a:pt x="574" y="553"/>
                  </a:lnTo>
                  <a:lnTo>
                    <a:pt x="575" y="554"/>
                  </a:lnTo>
                  <a:lnTo>
                    <a:pt x="575" y="556"/>
                  </a:lnTo>
                  <a:lnTo>
                    <a:pt x="575" y="557"/>
                  </a:lnTo>
                  <a:lnTo>
                    <a:pt x="575" y="557"/>
                  </a:lnTo>
                  <a:lnTo>
                    <a:pt x="575" y="559"/>
                  </a:lnTo>
                  <a:lnTo>
                    <a:pt x="575" y="559"/>
                  </a:lnTo>
                  <a:lnTo>
                    <a:pt x="574" y="560"/>
                  </a:lnTo>
                  <a:lnTo>
                    <a:pt x="571" y="559"/>
                  </a:lnTo>
                  <a:lnTo>
                    <a:pt x="569" y="560"/>
                  </a:lnTo>
                  <a:lnTo>
                    <a:pt x="568" y="560"/>
                  </a:lnTo>
                  <a:lnTo>
                    <a:pt x="568" y="559"/>
                  </a:lnTo>
                  <a:lnTo>
                    <a:pt x="567" y="559"/>
                  </a:lnTo>
                  <a:lnTo>
                    <a:pt x="567" y="556"/>
                  </a:lnTo>
                  <a:lnTo>
                    <a:pt x="567" y="553"/>
                  </a:lnTo>
                  <a:lnTo>
                    <a:pt x="567" y="550"/>
                  </a:lnTo>
                  <a:lnTo>
                    <a:pt x="565" y="547"/>
                  </a:lnTo>
                  <a:lnTo>
                    <a:pt x="565" y="546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3"/>
                  </a:lnTo>
                  <a:lnTo>
                    <a:pt x="564" y="541"/>
                  </a:lnTo>
                  <a:lnTo>
                    <a:pt x="567" y="541"/>
                  </a:lnTo>
                  <a:lnTo>
                    <a:pt x="572" y="544"/>
                  </a:lnTo>
                  <a:close/>
                  <a:moveTo>
                    <a:pt x="562" y="549"/>
                  </a:moveTo>
                  <a:lnTo>
                    <a:pt x="562" y="550"/>
                  </a:lnTo>
                  <a:lnTo>
                    <a:pt x="564" y="550"/>
                  </a:lnTo>
                  <a:lnTo>
                    <a:pt x="565" y="551"/>
                  </a:lnTo>
                  <a:lnTo>
                    <a:pt x="565" y="554"/>
                  </a:lnTo>
                  <a:lnTo>
                    <a:pt x="565" y="556"/>
                  </a:lnTo>
                  <a:lnTo>
                    <a:pt x="565" y="556"/>
                  </a:lnTo>
                  <a:lnTo>
                    <a:pt x="564" y="556"/>
                  </a:lnTo>
                  <a:lnTo>
                    <a:pt x="564" y="559"/>
                  </a:lnTo>
                  <a:lnTo>
                    <a:pt x="564" y="561"/>
                  </a:lnTo>
                  <a:lnTo>
                    <a:pt x="564" y="564"/>
                  </a:lnTo>
                  <a:lnTo>
                    <a:pt x="562" y="567"/>
                  </a:lnTo>
                  <a:lnTo>
                    <a:pt x="562" y="569"/>
                  </a:lnTo>
                  <a:lnTo>
                    <a:pt x="562" y="570"/>
                  </a:lnTo>
                  <a:lnTo>
                    <a:pt x="562" y="570"/>
                  </a:lnTo>
                  <a:lnTo>
                    <a:pt x="561" y="570"/>
                  </a:lnTo>
                  <a:lnTo>
                    <a:pt x="561" y="569"/>
                  </a:lnTo>
                  <a:lnTo>
                    <a:pt x="559" y="570"/>
                  </a:lnTo>
                  <a:lnTo>
                    <a:pt x="558" y="570"/>
                  </a:lnTo>
                  <a:lnTo>
                    <a:pt x="558" y="567"/>
                  </a:lnTo>
                  <a:lnTo>
                    <a:pt x="558" y="561"/>
                  </a:lnTo>
                  <a:lnTo>
                    <a:pt x="561" y="560"/>
                  </a:lnTo>
                  <a:lnTo>
                    <a:pt x="559" y="559"/>
                  </a:lnTo>
                  <a:lnTo>
                    <a:pt x="557" y="556"/>
                  </a:lnTo>
                  <a:lnTo>
                    <a:pt x="557" y="556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49"/>
                  </a:lnTo>
                  <a:lnTo>
                    <a:pt x="557" y="546"/>
                  </a:lnTo>
                  <a:lnTo>
                    <a:pt x="559" y="546"/>
                  </a:lnTo>
                  <a:lnTo>
                    <a:pt x="561" y="547"/>
                  </a:lnTo>
                  <a:lnTo>
                    <a:pt x="562" y="547"/>
                  </a:lnTo>
                  <a:lnTo>
                    <a:pt x="562" y="549"/>
                  </a:lnTo>
                  <a:close/>
                  <a:moveTo>
                    <a:pt x="582" y="557"/>
                  </a:moveTo>
                  <a:lnTo>
                    <a:pt x="581" y="559"/>
                  </a:lnTo>
                  <a:lnTo>
                    <a:pt x="579" y="559"/>
                  </a:lnTo>
                  <a:lnTo>
                    <a:pt x="579" y="557"/>
                  </a:lnTo>
                  <a:lnTo>
                    <a:pt x="578" y="557"/>
                  </a:lnTo>
                  <a:lnTo>
                    <a:pt x="578" y="556"/>
                  </a:lnTo>
                  <a:lnTo>
                    <a:pt x="579" y="554"/>
                  </a:lnTo>
                  <a:lnTo>
                    <a:pt x="579" y="553"/>
                  </a:lnTo>
                  <a:lnTo>
                    <a:pt x="581" y="550"/>
                  </a:lnTo>
                  <a:lnTo>
                    <a:pt x="584" y="553"/>
                  </a:lnTo>
                  <a:lnTo>
                    <a:pt x="584" y="554"/>
                  </a:lnTo>
                  <a:lnTo>
                    <a:pt x="585" y="556"/>
                  </a:lnTo>
                  <a:lnTo>
                    <a:pt x="584" y="557"/>
                  </a:lnTo>
                  <a:lnTo>
                    <a:pt x="582" y="557"/>
                  </a:lnTo>
                  <a:lnTo>
                    <a:pt x="582" y="557"/>
                  </a:lnTo>
                  <a:close/>
                  <a:moveTo>
                    <a:pt x="238" y="559"/>
                  </a:moveTo>
                  <a:lnTo>
                    <a:pt x="237" y="559"/>
                  </a:lnTo>
                  <a:lnTo>
                    <a:pt x="236" y="557"/>
                  </a:lnTo>
                  <a:lnTo>
                    <a:pt x="236" y="557"/>
                  </a:lnTo>
                  <a:lnTo>
                    <a:pt x="238" y="556"/>
                  </a:lnTo>
                  <a:lnTo>
                    <a:pt x="240" y="556"/>
                  </a:lnTo>
                  <a:lnTo>
                    <a:pt x="240" y="556"/>
                  </a:lnTo>
                  <a:lnTo>
                    <a:pt x="240" y="557"/>
                  </a:lnTo>
                  <a:lnTo>
                    <a:pt x="240" y="557"/>
                  </a:lnTo>
                  <a:lnTo>
                    <a:pt x="238" y="557"/>
                  </a:lnTo>
                  <a:lnTo>
                    <a:pt x="238" y="559"/>
                  </a:lnTo>
                  <a:close/>
                  <a:moveTo>
                    <a:pt x="230" y="560"/>
                  </a:moveTo>
                  <a:lnTo>
                    <a:pt x="230" y="561"/>
                  </a:lnTo>
                  <a:lnTo>
                    <a:pt x="229" y="561"/>
                  </a:lnTo>
                  <a:lnTo>
                    <a:pt x="229" y="560"/>
                  </a:lnTo>
                  <a:lnTo>
                    <a:pt x="229" y="560"/>
                  </a:lnTo>
                  <a:lnTo>
                    <a:pt x="230" y="559"/>
                  </a:lnTo>
                  <a:lnTo>
                    <a:pt x="231" y="557"/>
                  </a:lnTo>
                  <a:lnTo>
                    <a:pt x="233" y="556"/>
                  </a:lnTo>
                  <a:lnTo>
                    <a:pt x="234" y="556"/>
                  </a:lnTo>
                  <a:lnTo>
                    <a:pt x="234" y="556"/>
                  </a:lnTo>
                  <a:lnTo>
                    <a:pt x="233" y="559"/>
                  </a:lnTo>
                  <a:lnTo>
                    <a:pt x="230" y="560"/>
                  </a:lnTo>
                  <a:close/>
                  <a:moveTo>
                    <a:pt x="592" y="570"/>
                  </a:moveTo>
                  <a:lnTo>
                    <a:pt x="591" y="574"/>
                  </a:lnTo>
                  <a:lnTo>
                    <a:pt x="591" y="574"/>
                  </a:lnTo>
                  <a:lnTo>
                    <a:pt x="591" y="574"/>
                  </a:lnTo>
                  <a:lnTo>
                    <a:pt x="589" y="574"/>
                  </a:lnTo>
                  <a:lnTo>
                    <a:pt x="588" y="574"/>
                  </a:lnTo>
                  <a:lnTo>
                    <a:pt x="587" y="574"/>
                  </a:lnTo>
                  <a:lnTo>
                    <a:pt x="587" y="573"/>
                  </a:lnTo>
                  <a:lnTo>
                    <a:pt x="587" y="571"/>
                  </a:lnTo>
                  <a:lnTo>
                    <a:pt x="587" y="571"/>
                  </a:lnTo>
                  <a:lnTo>
                    <a:pt x="584" y="571"/>
                  </a:lnTo>
                  <a:lnTo>
                    <a:pt x="584" y="570"/>
                  </a:lnTo>
                  <a:lnTo>
                    <a:pt x="582" y="569"/>
                  </a:lnTo>
                  <a:lnTo>
                    <a:pt x="582" y="567"/>
                  </a:lnTo>
                  <a:lnTo>
                    <a:pt x="582" y="567"/>
                  </a:lnTo>
                  <a:lnTo>
                    <a:pt x="584" y="566"/>
                  </a:lnTo>
                  <a:lnTo>
                    <a:pt x="585" y="564"/>
                  </a:lnTo>
                  <a:lnTo>
                    <a:pt x="585" y="563"/>
                  </a:lnTo>
                  <a:lnTo>
                    <a:pt x="588" y="559"/>
                  </a:lnTo>
                  <a:lnTo>
                    <a:pt x="588" y="559"/>
                  </a:lnTo>
                  <a:lnTo>
                    <a:pt x="591" y="561"/>
                  </a:lnTo>
                  <a:lnTo>
                    <a:pt x="592" y="566"/>
                  </a:lnTo>
                  <a:lnTo>
                    <a:pt x="592" y="570"/>
                  </a:lnTo>
                  <a:close/>
                  <a:moveTo>
                    <a:pt x="581" y="566"/>
                  </a:moveTo>
                  <a:lnTo>
                    <a:pt x="581" y="566"/>
                  </a:lnTo>
                  <a:lnTo>
                    <a:pt x="579" y="566"/>
                  </a:lnTo>
                  <a:lnTo>
                    <a:pt x="577" y="563"/>
                  </a:lnTo>
                  <a:lnTo>
                    <a:pt x="577" y="563"/>
                  </a:lnTo>
                  <a:lnTo>
                    <a:pt x="578" y="561"/>
                  </a:lnTo>
                  <a:lnTo>
                    <a:pt x="578" y="560"/>
                  </a:lnTo>
                  <a:lnTo>
                    <a:pt x="579" y="560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1"/>
                  </a:lnTo>
                  <a:lnTo>
                    <a:pt x="584" y="561"/>
                  </a:lnTo>
                  <a:lnTo>
                    <a:pt x="584" y="563"/>
                  </a:lnTo>
                  <a:lnTo>
                    <a:pt x="584" y="563"/>
                  </a:lnTo>
                  <a:lnTo>
                    <a:pt x="584" y="564"/>
                  </a:lnTo>
                  <a:lnTo>
                    <a:pt x="582" y="564"/>
                  </a:lnTo>
                  <a:lnTo>
                    <a:pt x="581" y="566"/>
                  </a:lnTo>
                  <a:close/>
                  <a:moveTo>
                    <a:pt x="568" y="563"/>
                  </a:moveTo>
                  <a:lnTo>
                    <a:pt x="572" y="564"/>
                  </a:lnTo>
                  <a:lnTo>
                    <a:pt x="574" y="564"/>
                  </a:lnTo>
                  <a:lnTo>
                    <a:pt x="575" y="564"/>
                  </a:lnTo>
                  <a:lnTo>
                    <a:pt x="577" y="566"/>
                  </a:lnTo>
                  <a:lnTo>
                    <a:pt x="577" y="567"/>
                  </a:lnTo>
                  <a:lnTo>
                    <a:pt x="577" y="569"/>
                  </a:lnTo>
                  <a:lnTo>
                    <a:pt x="577" y="569"/>
                  </a:lnTo>
                  <a:lnTo>
                    <a:pt x="577" y="570"/>
                  </a:lnTo>
                  <a:lnTo>
                    <a:pt x="577" y="570"/>
                  </a:lnTo>
                  <a:lnTo>
                    <a:pt x="581" y="573"/>
                  </a:lnTo>
                  <a:lnTo>
                    <a:pt x="584" y="576"/>
                  </a:lnTo>
                  <a:lnTo>
                    <a:pt x="585" y="577"/>
                  </a:lnTo>
                  <a:lnTo>
                    <a:pt x="585" y="579"/>
                  </a:lnTo>
                  <a:lnTo>
                    <a:pt x="587" y="581"/>
                  </a:lnTo>
                  <a:lnTo>
                    <a:pt x="589" y="586"/>
                  </a:lnTo>
                  <a:lnTo>
                    <a:pt x="591" y="587"/>
                  </a:lnTo>
                  <a:lnTo>
                    <a:pt x="591" y="587"/>
                  </a:lnTo>
                  <a:lnTo>
                    <a:pt x="591" y="587"/>
                  </a:lnTo>
                  <a:lnTo>
                    <a:pt x="589" y="587"/>
                  </a:lnTo>
                  <a:lnTo>
                    <a:pt x="585" y="584"/>
                  </a:lnTo>
                  <a:lnTo>
                    <a:pt x="585" y="584"/>
                  </a:lnTo>
                  <a:lnTo>
                    <a:pt x="585" y="586"/>
                  </a:lnTo>
                  <a:lnTo>
                    <a:pt x="584" y="587"/>
                  </a:lnTo>
                  <a:lnTo>
                    <a:pt x="584" y="589"/>
                  </a:lnTo>
                  <a:lnTo>
                    <a:pt x="584" y="589"/>
                  </a:lnTo>
                  <a:lnTo>
                    <a:pt x="587" y="587"/>
                  </a:lnTo>
                  <a:lnTo>
                    <a:pt x="589" y="590"/>
                  </a:lnTo>
                  <a:lnTo>
                    <a:pt x="591" y="590"/>
                  </a:lnTo>
                  <a:lnTo>
                    <a:pt x="591" y="591"/>
                  </a:lnTo>
                  <a:lnTo>
                    <a:pt x="591" y="593"/>
                  </a:lnTo>
                  <a:lnTo>
                    <a:pt x="591" y="594"/>
                  </a:lnTo>
                  <a:lnTo>
                    <a:pt x="591" y="594"/>
                  </a:lnTo>
                  <a:lnTo>
                    <a:pt x="591" y="594"/>
                  </a:lnTo>
                  <a:lnTo>
                    <a:pt x="591" y="596"/>
                  </a:lnTo>
                  <a:lnTo>
                    <a:pt x="594" y="594"/>
                  </a:lnTo>
                  <a:lnTo>
                    <a:pt x="594" y="596"/>
                  </a:lnTo>
                  <a:lnTo>
                    <a:pt x="594" y="600"/>
                  </a:lnTo>
                  <a:lnTo>
                    <a:pt x="594" y="601"/>
                  </a:lnTo>
                  <a:lnTo>
                    <a:pt x="594" y="603"/>
                  </a:lnTo>
                  <a:lnTo>
                    <a:pt x="594" y="604"/>
                  </a:lnTo>
                  <a:lnTo>
                    <a:pt x="594" y="604"/>
                  </a:lnTo>
                  <a:lnTo>
                    <a:pt x="594" y="606"/>
                  </a:lnTo>
                  <a:lnTo>
                    <a:pt x="594" y="607"/>
                  </a:lnTo>
                  <a:lnTo>
                    <a:pt x="594" y="609"/>
                  </a:lnTo>
                  <a:lnTo>
                    <a:pt x="592" y="609"/>
                  </a:lnTo>
                  <a:lnTo>
                    <a:pt x="591" y="609"/>
                  </a:lnTo>
                  <a:lnTo>
                    <a:pt x="591" y="609"/>
                  </a:lnTo>
                  <a:lnTo>
                    <a:pt x="589" y="607"/>
                  </a:lnTo>
                  <a:lnTo>
                    <a:pt x="588" y="604"/>
                  </a:lnTo>
                  <a:lnTo>
                    <a:pt x="588" y="603"/>
                  </a:lnTo>
                  <a:lnTo>
                    <a:pt x="587" y="603"/>
                  </a:lnTo>
                  <a:lnTo>
                    <a:pt x="587" y="603"/>
                  </a:lnTo>
                  <a:lnTo>
                    <a:pt x="585" y="603"/>
                  </a:lnTo>
                  <a:lnTo>
                    <a:pt x="584" y="601"/>
                  </a:lnTo>
                  <a:lnTo>
                    <a:pt x="584" y="600"/>
                  </a:lnTo>
                  <a:lnTo>
                    <a:pt x="584" y="599"/>
                  </a:lnTo>
                  <a:lnTo>
                    <a:pt x="584" y="597"/>
                  </a:lnTo>
                  <a:lnTo>
                    <a:pt x="584" y="597"/>
                  </a:lnTo>
                  <a:lnTo>
                    <a:pt x="582" y="597"/>
                  </a:lnTo>
                  <a:lnTo>
                    <a:pt x="582" y="599"/>
                  </a:lnTo>
                  <a:lnTo>
                    <a:pt x="582" y="600"/>
                  </a:lnTo>
                  <a:lnTo>
                    <a:pt x="581" y="600"/>
                  </a:lnTo>
                  <a:lnTo>
                    <a:pt x="579" y="596"/>
                  </a:lnTo>
                  <a:lnTo>
                    <a:pt x="577" y="593"/>
                  </a:lnTo>
                  <a:lnTo>
                    <a:pt x="575" y="591"/>
                  </a:lnTo>
                  <a:lnTo>
                    <a:pt x="577" y="591"/>
                  </a:lnTo>
                  <a:lnTo>
                    <a:pt x="577" y="590"/>
                  </a:lnTo>
                  <a:lnTo>
                    <a:pt x="578" y="590"/>
                  </a:lnTo>
                  <a:lnTo>
                    <a:pt x="578" y="590"/>
                  </a:lnTo>
                  <a:lnTo>
                    <a:pt x="577" y="587"/>
                  </a:lnTo>
                  <a:lnTo>
                    <a:pt x="577" y="586"/>
                  </a:lnTo>
                  <a:lnTo>
                    <a:pt x="577" y="584"/>
                  </a:lnTo>
                  <a:lnTo>
                    <a:pt x="577" y="584"/>
                  </a:lnTo>
                  <a:lnTo>
                    <a:pt x="574" y="584"/>
                  </a:lnTo>
                  <a:lnTo>
                    <a:pt x="572" y="584"/>
                  </a:lnTo>
                  <a:lnTo>
                    <a:pt x="572" y="583"/>
                  </a:lnTo>
                  <a:lnTo>
                    <a:pt x="572" y="581"/>
                  </a:lnTo>
                  <a:lnTo>
                    <a:pt x="569" y="581"/>
                  </a:lnTo>
                  <a:lnTo>
                    <a:pt x="569" y="581"/>
                  </a:lnTo>
                  <a:lnTo>
                    <a:pt x="568" y="580"/>
                  </a:lnTo>
                  <a:lnTo>
                    <a:pt x="567" y="579"/>
                  </a:lnTo>
                  <a:lnTo>
                    <a:pt x="567" y="579"/>
                  </a:lnTo>
                  <a:lnTo>
                    <a:pt x="568" y="577"/>
                  </a:lnTo>
                  <a:lnTo>
                    <a:pt x="569" y="577"/>
                  </a:lnTo>
                  <a:lnTo>
                    <a:pt x="571" y="579"/>
                  </a:lnTo>
                  <a:lnTo>
                    <a:pt x="571" y="579"/>
                  </a:lnTo>
                  <a:lnTo>
                    <a:pt x="572" y="577"/>
                  </a:lnTo>
                  <a:lnTo>
                    <a:pt x="572" y="576"/>
                  </a:lnTo>
                  <a:lnTo>
                    <a:pt x="574" y="576"/>
                  </a:lnTo>
                  <a:lnTo>
                    <a:pt x="574" y="574"/>
                  </a:lnTo>
                  <a:lnTo>
                    <a:pt x="574" y="573"/>
                  </a:lnTo>
                  <a:lnTo>
                    <a:pt x="572" y="571"/>
                  </a:lnTo>
                  <a:lnTo>
                    <a:pt x="569" y="573"/>
                  </a:lnTo>
                  <a:lnTo>
                    <a:pt x="567" y="574"/>
                  </a:lnTo>
                  <a:lnTo>
                    <a:pt x="565" y="574"/>
                  </a:lnTo>
                  <a:lnTo>
                    <a:pt x="565" y="573"/>
                  </a:lnTo>
                  <a:lnTo>
                    <a:pt x="568" y="570"/>
                  </a:lnTo>
                  <a:lnTo>
                    <a:pt x="569" y="569"/>
                  </a:lnTo>
                  <a:lnTo>
                    <a:pt x="569" y="569"/>
                  </a:lnTo>
                  <a:lnTo>
                    <a:pt x="568" y="567"/>
                  </a:lnTo>
                  <a:lnTo>
                    <a:pt x="568" y="564"/>
                  </a:lnTo>
                  <a:lnTo>
                    <a:pt x="568" y="563"/>
                  </a:lnTo>
                  <a:close/>
                  <a:moveTo>
                    <a:pt x="609" y="587"/>
                  </a:moveTo>
                  <a:lnTo>
                    <a:pt x="609" y="590"/>
                  </a:lnTo>
                  <a:lnTo>
                    <a:pt x="608" y="594"/>
                  </a:lnTo>
                  <a:lnTo>
                    <a:pt x="607" y="596"/>
                  </a:lnTo>
                  <a:lnTo>
                    <a:pt x="605" y="596"/>
                  </a:lnTo>
                  <a:lnTo>
                    <a:pt x="605" y="594"/>
                  </a:lnTo>
                  <a:lnTo>
                    <a:pt x="604" y="594"/>
                  </a:lnTo>
                  <a:lnTo>
                    <a:pt x="602" y="593"/>
                  </a:lnTo>
                  <a:lnTo>
                    <a:pt x="602" y="593"/>
                  </a:lnTo>
                  <a:lnTo>
                    <a:pt x="602" y="591"/>
                  </a:lnTo>
                  <a:lnTo>
                    <a:pt x="602" y="590"/>
                  </a:lnTo>
                  <a:lnTo>
                    <a:pt x="602" y="590"/>
                  </a:lnTo>
                  <a:lnTo>
                    <a:pt x="601" y="591"/>
                  </a:lnTo>
                  <a:lnTo>
                    <a:pt x="599" y="593"/>
                  </a:lnTo>
                  <a:lnTo>
                    <a:pt x="598" y="596"/>
                  </a:lnTo>
                  <a:lnTo>
                    <a:pt x="598" y="597"/>
                  </a:lnTo>
                  <a:lnTo>
                    <a:pt x="597" y="594"/>
                  </a:lnTo>
                  <a:lnTo>
                    <a:pt x="597" y="591"/>
                  </a:lnTo>
                  <a:lnTo>
                    <a:pt x="597" y="590"/>
                  </a:lnTo>
                  <a:lnTo>
                    <a:pt x="598" y="587"/>
                  </a:lnTo>
                  <a:lnTo>
                    <a:pt x="599" y="584"/>
                  </a:lnTo>
                  <a:lnTo>
                    <a:pt x="599" y="577"/>
                  </a:lnTo>
                  <a:lnTo>
                    <a:pt x="605" y="574"/>
                  </a:lnTo>
                  <a:lnTo>
                    <a:pt x="607" y="574"/>
                  </a:lnTo>
                  <a:lnTo>
                    <a:pt x="608" y="577"/>
                  </a:lnTo>
                  <a:lnTo>
                    <a:pt x="609" y="580"/>
                  </a:lnTo>
                  <a:lnTo>
                    <a:pt x="611" y="583"/>
                  </a:lnTo>
                  <a:lnTo>
                    <a:pt x="611" y="586"/>
                  </a:lnTo>
                  <a:lnTo>
                    <a:pt x="609" y="587"/>
                  </a:lnTo>
                  <a:close/>
                  <a:moveTo>
                    <a:pt x="216" y="579"/>
                  </a:moveTo>
                  <a:lnTo>
                    <a:pt x="216" y="579"/>
                  </a:lnTo>
                  <a:lnTo>
                    <a:pt x="214" y="579"/>
                  </a:lnTo>
                  <a:lnTo>
                    <a:pt x="214" y="579"/>
                  </a:lnTo>
                  <a:lnTo>
                    <a:pt x="213" y="577"/>
                  </a:lnTo>
                  <a:lnTo>
                    <a:pt x="216" y="576"/>
                  </a:lnTo>
                  <a:lnTo>
                    <a:pt x="216" y="576"/>
                  </a:lnTo>
                  <a:lnTo>
                    <a:pt x="216" y="576"/>
                  </a:lnTo>
                  <a:lnTo>
                    <a:pt x="216" y="576"/>
                  </a:lnTo>
                  <a:lnTo>
                    <a:pt x="216" y="579"/>
                  </a:lnTo>
                  <a:close/>
                  <a:moveTo>
                    <a:pt x="572" y="586"/>
                  </a:moveTo>
                  <a:lnTo>
                    <a:pt x="574" y="587"/>
                  </a:lnTo>
                  <a:lnTo>
                    <a:pt x="574" y="587"/>
                  </a:lnTo>
                  <a:lnTo>
                    <a:pt x="571" y="589"/>
                  </a:lnTo>
                  <a:lnTo>
                    <a:pt x="571" y="590"/>
                  </a:lnTo>
                  <a:lnTo>
                    <a:pt x="571" y="590"/>
                  </a:lnTo>
                  <a:lnTo>
                    <a:pt x="569" y="591"/>
                  </a:lnTo>
                  <a:lnTo>
                    <a:pt x="569" y="593"/>
                  </a:lnTo>
                  <a:lnTo>
                    <a:pt x="567" y="594"/>
                  </a:lnTo>
                  <a:lnTo>
                    <a:pt x="568" y="590"/>
                  </a:lnTo>
                  <a:lnTo>
                    <a:pt x="565" y="587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71" y="587"/>
                  </a:lnTo>
                  <a:lnTo>
                    <a:pt x="572" y="586"/>
                  </a:lnTo>
                  <a:lnTo>
                    <a:pt x="572" y="586"/>
                  </a:lnTo>
                  <a:close/>
                  <a:moveTo>
                    <a:pt x="134" y="593"/>
                  </a:moveTo>
                  <a:lnTo>
                    <a:pt x="134" y="593"/>
                  </a:lnTo>
                  <a:lnTo>
                    <a:pt x="134" y="591"/>
                  </a:lnTo>
                  <a:lnTo>
                    <a:pt x="136" y="590"/>
                  </a:lnTo>
                  <a:lnTo>
                    <a:pt x="136" y="590"/>
                  </a:lnTo>
                  <a:lnTo>
                    <a:pt x="136" y="591"/>
                  </a:lnTo>
                  <a:lnTo>
                    <a:pt x="136" y="593"/>
                  </a:lnTo>
                  <a:lnTo>
                    <a:pt x="137" y="594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6" y="597"/>
                  </a:lnTo>
                  <a:lnTo>
                    <a:pt x="134" y="596"/>
                  </a:lnTo>
                  <a:lnTo>
                    <a:pt x="133" y="596"/>
                  </a:lnTo>
                  <a:lnTo>
                    <a:pt x="133" y="597"/>
                  </a:lnTo>
                  <a:lnTo>
                    <a:pt x="132" y="596"/>
                  </a:lnTo>
                  <a:lnTo>
                    <a:pt x="132" y="593"/>
                  </a:lnTo>
                  <a:lnTo>
                    <a:pt x="132" y="591"/>
                  </a:lnTo>
                  <a:lnTo>
                    <a:pt x="133" y="590"/>
                  </a:lnTo>
                  <a:lnTo>
                    <a:pt x="134" y="590"/>
                  </a:lnTo>
                  <a:lnTo>
                    <a:pt x="134" y="590"/>
                  </a:lnTo>
                  <a:lnTo>
                    <a:pt x="134" y="590"/>
                  </a:lnTo>
                  <a:lnTo>
                    <a:pt x="134" y="591"/>
                  </a:lnTo>
                  <a:lnTo>
                    <a:pt x="134" y="593"/>
                  </a:lnTo>
                  <a:close/>
                  <a:moveTo>
                    <a:pt x="140" y="591"/>
                  </a:moveTo>
                  <a:lnTo>
                    <a:pt x="140" y="594"/>
                  </a:lnTo>
                  <a:lnTo>
                    <a:pt x="137" y="593"/>
                  </a:lnTo>
                  <a:lnTo>
                    <a:pt x="137" y="591"/>
                  </a:lnTo>
                  <a:lnTo>
                    <a:pt x="137" y="591"/>
                  </a:lnTo>
                  <a:lnTo>
                    <a:pt x="140" y="591"/>
                  </a:lnTo>
                  <a:lnTo>
                    <a:pt x="140" y="591"/>
                  </a:lnTo>
                  <a:close/>
                  <a:moveTo>
                    <a:pt x="579" y="604"/>
                  </a:moveTo>
                  <a:lnTo>
                    <a:pt x="581" y="604"/>
                  </a:lnTo>
                  <a:lnTo>
                    <a:pt x="581" y="604"/>
                  </a:lnTo>
                  <a:lnTo>
                    <a:pt x="581" y="603"/>
                  </a:lnTo>
                  <a:lnTo>
                    <a:pt x="582" y="603"/>
                  </a:lnTo>
                  <a:lnTo>
                    <a:pt x="584" y="604"/>
                  </a:lnTo>
                  <a:lnTo>
                    <a:pt x="584" y="604"/>
                  </a:lnTo>
                  <a:lnTo>
                    <a:pt x="584" y="606"/>
                  </a:lnTo>
                  <a:lnTo>
                    <a:pt x="584" y="609"/>
                  </a:lnTo>
                  <a:lnTo>
                    <a:pt x="582" y="609"/>
                  </a:lnTo>
                  <a:lnTo>
                    <a:pt x="582" y="610"/>
                  </a:lnTo>
                  <a:lnTo>
                    <a:pt x="581" y="609"/>
                  </a:lnTo>
                  <a:lnTo>
                    <a:pt x="579" y="607"/>
                  </a:lnTo>
                  <a:lnTo>
                    <a:pt x="578" y="606"/>
                  </a:lnTo>
                  <a:lnTo>
                    <a:pt x="577" y="603"/>
                  </a:lnTo>
                  <a:lnTo>
                    <a:pt x="577" y="603"/>
                  </a:lnTo>
                  <a:lnTo>
                    <a:pt x="575" y="601"/>
                  </a:lnTo>
                  <a:lnTo>
                    <a:pt x="574" y="599"/>
                  </a:lnTo>
                  <a:lnTo>
                    <a:pt x="574" y="596"/>
                  </a:lnTo>
                  <a:lnTo>
                    <a:pt x="572" y="596"/>
                  </a:lnTo>
                  <a:lnTo>
                    <a:pt x="571" y="596"/>
                  </a:lnTo>
                  <a:lnTo>
                    <a:pt x="571" y="594"/>
                  </a:lnTo>
                  <a:lnTo>
                    <a:pt x="571" y="593"/>
                  </a:lnTo>
                  <a:lnTo>
                    <a:pt x="572" y="591"/>
                  </a:lnTo>
                  <a:lnTo>
                    <a:pt x="577" y="596"/>
                  </a:lnTo>
                  <a:lnTo>
                    <a:pt x="577" y="597"/>
                  </a:lnTo>
                  <a:lnTo>
                    <a:pt x="578" y="599"/>
                  </a:lnTo>
                  <a:lnTo>
                    <a:pt x="578" y="600"/>
                  </a:lnTo>
                  <a:lnTo>
                    <a:pt x="578" y="601"/>
                  </a:lnTo>
                  <a:lnTo>
                    <a:pt x="579" y="604"/>
                  </a:lnTo>
                  <a:close/>
                  <a:moveTo>
                    <a:pt x="147" y="597"/>
                  </a:moveTo>
                  <a:lnTo>
                    <a:pt x="146" y="599"/>
                  </a:lnTo>
                  <a:lnTo>
                    <a:pt x="146" y="599"/>
                  </a:lnTo>
                  <a:lnTo>
                    <a:pt x="146" y="599"/>
                  </a:lnTo>
                  <a:lnTo>
                    <a:pt x="144" y="600"/>
                  </a:lnTo>
                  <a:lnTo>
                    <a:pt x="143" y="603"/>
                  </a:lnTo>
                  <a:lnTo>
                    <a:pt x="141" y="603"/>
                  </a:lnTo>
                  <a:lnTo>
                    <a:pt x="143" y="601"/>
                  </a:lnTo>
                  <a:lnTo>
                    <a:pt x="143" y="600"/>
                  </a:lnTo>
                  <a:lnTo>
                    <a:pt x="143" y="600"/>
                  </a:lnTo>
                  <a:lnTo>
                    <a:pt x="143" y="597"/>
                  </a:lnTo>
                  <a:lnTo>
                    <a:pt x="143" y="597"/>
                  </a:lnTo>
                  <a:lnTo>
                    <a:pt x="143" y="597"/>
                  </a:lnTo>
                  <a:lnTo>
                    <a:pt x="144" y="596"/>
                  </a:lnTo>
                  <a:lnTo>
                    <a:pt x="146" y="596"/>
                  </a:lnTo>
                  <a:lnTo>
                    <a:pt x="147" y="594"/>
                  </a:lnTo>
                  <a:lnTo>
                    <a:pt x="147" y="593"/>
                  </a:lnTo>
                  <a:lnTo>
                    <a:pt x="147" y="594"/>
                  </a:lnTo>
                  <a:lnTo>
                    <a:pt x="147" y="594"/>
                  </a:lnTo>
                  <a:lnTo>
                    <a:pt x="147" y="596"/>
                  </a:lnTo>
                  <a:lnTo>
                    <a:pt x="147" y="597"/>
                  </a:lnTo>
                  <a:lnTo>
                    <a:pt x="147" y="597"/>
                  </a:lnTo>
                  <a:close/>
                  <a:moveTo>
                    <a:pt x="604" y="599"/>
                  </a:moveTo>
                  <a:lnTo>
                    <a:pt x="607" y="603"/>
                  </a:lnTo>
                  <a:lnTo>
                    <a:pt x="607" y="604"/>
                  </a:lnTo>
                  <a:lnTo>
                    <a:pt x="605" y="604"/>
                  </a:lnTo>
                  <a:lnTo>
                    <a:pt x="604" y="604"/>
                  </a:lnTo>
                  <a:lnTo>
                    <a:pt x="602" y="604"/>
                  </a:lnTo>
                  <a:lnTo>
                    <a:pt x="602" y="603"/>
                  </a:lnTo>
                  <a:lnTo>
                    <a:pt x="602" y="601"/>
                  </a:lnTo>
                  <a:lnTo>
                    <a:pt x="602" y="600"/>
                  </a:lnTo>
                  <a:lnTo>
                    <a:pt x="601" y="600"/>
                  </a:lnTo>
                  <a:lnTo>
                    <a:pt x="601" y="600"/>
                  </a:lnTo>
                  <a:lnTo>
                    <a:pt x="601" y="599"/>
                  </a:lnTo>
                  <a:lnTo>
                    <a:pt x="601" y="597"/>
                  </a:lnTo>
                  <a:lnTo>
                    <a:pt x="601" y="596"/>
                  </a:lnTo>
                  <a:lnTo>
                    <a:pt x="601" y="594"/>
                  </a:lnTo>
                  <a:lnTo>
                    <a:pt x="601" y="594"/>
                  </a:lnTo>
                  <a:lnTo>
                    <a:pt x="601" y="594"/>
                  </a:lnTo>
                  <a:lnTo>
                    <a:pt x="604" y="596"/>
                  </a:lnTo>
                  <a:lnTo>
                    <a:pt x="604" y="599"/>
                  </a:lnTo>
                  <a:close/>
                  <a:moveTo>
                    <a:pt x="153" y="597"/>
                  </a:moveTo>
                  <a:lnTo>
                    <a:pt x="153" y="599"/>
                  </a:lnTo>
                  <a:lnTo>
                    <a:pt x="153" y="600"/>
                  </a:lnTo>
                  <a:lnTo>
                    <a:pt x="153" y="599"/>
                  </a:lnTo>
                  <a:lnTo>
                    <a:pt x="151" y="600"/>
                  </a:lnTo>
                  <a:lnTo>
                    <a:pt x="151" y="599"/>
                  </a:lnTo>
                  <a:lnTo>
                    <a:pt x="151" y="599"/>
                  </a:lnTo>
                  <a:lnTo>
                    <a:pt x="151" y="597"/>
                  </a:lnTo>
                  <a:lnTo>
                    <a:pt x="151" y="597"/>
                  </a:lnTo>
                  <a:lnTo>
                    <a:pt x="151" y="597"/>
                  </a:lnTo>
                  <a:lnTo>
                    <a:pt x="151" y="596"/>
                  </a:lnTo>
                  <a:lnTo>
                    <a:pt x="151" y="596"/>
                  </a:lnTo>
                  <a:lnTo>
                    <a:pt x="153" y="594"/>
                  </a:lnTo>
                  <a:lnTo>
                    <a:pt x="153" y="597"/>
                  </a:lnTo>
                  <a:close/>
                  <a:moveTo>
                    <a:pt x="156" y="601"/>
                  </a:moveTo>
                  <a:lnTo>
                    <a:pt x="154" y="601"/>
                  </a:lnTo>
                  <a:lnTo>
                    <a:pt x="154" y="601"/>
                  </a:lnTo>
                  <a:lnTo>
                    <a:pt x="154" y="600"/>
                  </a:lnTo>
                  <a:lnTo>
                    <a:pt x="154" y="600"/>
                  </a:lnTo>
                  <a:lnTo>
                    <a:pt x="154" y="600"/>
                  </a:lnTo>
                  <a:lnTo>
                    <a:pt x="156" y="601"/>
                  </a:lnTo>
                  <a:lnTo>
                    <a:pt x="156" y="601"/>
                  </a:lnTo>
                  <a:close/>
                  <a:moveTo>
                    <a:pt x="90" y="601"/>
                  </a:moveTo>
                  <a:lnTo>
                    <a:pt x="92" y="606"/>
                  </a:lnTo>
                  <a:lnTo>
                    <a:pt x="92" y="607"/>
                  </a:lnTo>
                  <a:lnTo>
                    <a:pt x="93" y="607"/>
                  </a:lnTo>
                  <a:lnTo>
                    <a:pt x="94" y="609"/>
                  </a:lnTo>
                  <a:lnTo>
                    <a:pt x="94" y="609"/>
                  </a:lnTo>
                  <a:lnTo>
                    <a:pt x="96" y="610"/>
                  </a:lnTo>
                  <a:lnTo>
                    <a:pt x="96" y="610"/>
                  </a:lnTo>
                  <a:lnTo>
                    <a:pt x="92" y="609"/>
                  </a:lnTo>
                  <a:lnTo>
                    <a:pt x="89" y="611"/>
                  </a:lnTo>
                  <a:lnTo>
                    <a:pt x="87" y="611"/>
                  </a:lnTo>
                  <a:lnTo>
                    <a:pt x="80" y="611"/>
                  </a:lnTo>
                  <a:lnTo>
                    <a:pt x="79" y="613"/>
                  </a:lnTo>
                  <a:lnTo>
                    <a:pt x="77" y="613"/>
                  </a:lnTo>
                  <a:lnTo>
                    <a:pt x="76" y="616"/>
                  </a:lnTo>
                  <a:lnTo>
                    <a:pt x="74" y="617"/>
                  </a:lnTo>
                  <a:lnTo>
                    <a:pt x="74" y="617"/>
                  </a:lnTo>
                  <a:lnTo>
                    <a:pt x="72" y="617"/>
                  </a:lnTo>
                  <a:lnTo>
                    <a:pt x="69" y="617"/>
                  </a:lnTo>
                  <a:lnTo>
                    <a:pt x="69" y="617"/>
                  </a:lnTo>
                  <a:lnTo>
                    <a:pt x="67" y="616"/>
                  </a:lnTo>
                  <a:lnTo>
                    <a:pt x="67" y="614"/>
                  </a:lnTo>
                  <a:lnTo>
                    <a:pt x="67" y="613"/>
                  </a:lnTo>
                  <a:lnTo>
                    <a:pt x="67" y="611"/>
                  </a:lnTo>
                  <a:lnTo>
                    <a:pt x="69" y="610"/>
                  </a:lnTo>
                  <a:lnTo>
                    <a:pt x="70" y="610"/>
                  </a:lnTo>
                  <a:lnTo>
                    <a:pt x="73" y="604"/>
                  </a:lnTo>
                  <a:lnTo>
                    <a:pt x="73" y="604"/>
                  </a:lnTo>
                  <a:lnTo>
                    <a:pt x="74" y="604"/>
                  </a:lnTo>
                  <a:lnTo>
                    <a:pt x="77" y="604"/>
                  </a:lnTo>
                  <a:lnTo>
                    <a:pt x="79" y="603"/>
                  </a:lnTo>
                  <a:lnTo>
                    <a:pt x="83" y="600"/>
                  </a:lnTo>
                  <a:lnTo>
                    <a:pt x="84" y="600"/>
                  </a:lnTo>
                  <a:lnTo>
                    <a:pt x="87" y="600"/>
                  </a:lnTo>
                  <a:lnTo>
                    <a:pt x="89" y="600"/>
                  </a:lnTo>
                  <a:lnTo>
                    <a:pt x="89" y="601"/>
                  </a:lnTo>
                  <a:lnTo>
                    <a:pt x="90" y="601"/>
                  </a:lnTo>
                  <a:close/>
                  <a:moveTo>
                    <a:pt x="109" y="606"/>
                  </a:moveTo>
                  <a:lnTo>
                    <a:pt x="109" y="606"/>
                  </a:lnTo>
                  <a:lnTo>
                    <a:pt x="107" y="604"/>
                  </a:lnTo>
                  <a:lnTo>
                    <a:pt x="107" y="604"/>
                  </a:lnTo>
                  <a:lnTo>
                    <a:pt x="106" y="603"/>
                  </a:lnTo>
                  <a:lnTo>
                    <a:pt x="109" y="601"/>
                  </a:lnTo>
                  <a:lnTo>
                    <a:pt x="109" y="601"/>
                  </a:lnTo>
                  <a:lnTo>
                    <a:pt x="110" y="603"/>
                  </a:lnTo>
                  <a:lnTo>
                    <a:pt x="110" y="603"/>
                  </a:lnTo>
                  <a:lnTo>
                    <a:pt x="109" y="604"/>
                  </a:lnTo>
                  <a:lnTo>
                    <a:pt x="109" y="606"/>
                  </a:lnTo>
                  <a:close/>
                  <a:moveTo>
                    <a:pt x="104" y="617"/>
                  </a:moveTo>
                  <a:lnTo>
                    <a:pt x="103" y="619"/>
                  </a:lnTo>
                  <a:lnTo>
                    <a:pt x="102" y="617"/>
                  </a:lnTo>
                  <a:lnTo>
                    <a:pt x="100" y="617"/>
                  </a:lnTo>
                  <a:lnTo>
                    <a:pt x="100" y="616"/>
                  </a:lnTo>
                  <a:lnTo>
                    <a:pt x="103" y="616"/>
                  </a:lnTo>
                  <a:lnTo>
                    <a:pt x="103" y="617"/>
                  </a:lnTo>
                  <a:lnTo>
                    <a:pt x="104" y="617"/>
                  </a:lnTo>
                  <a:close/>
                  <a:moveTo>
                    <a:pt x="56" y="624"/>
                  </a:moveTo>
                  <a:lnTo>
                    <a:pt x="56" y="626"/>
                  </a:lnTo>
                  <a:lnTo>
                    <a:pt x="56" y="624"/>
                  </a:lnTo>
                  <a:lnTo>
                    <a:pt x="56" y="624"/>
                  </a:lnTo>
                  <a:lnTo>
                    <a:pt x="54" y="621"/>
                  </a:lnTo>
                  <a:lnTo>
                    <a:pt x="56" y="621"/>
                  </a:lnTo>
                  <a:lnTo>
                    <a:pt x="56" y="621"/>
                  </a:lnTo>
                  <a:lnTo>
                    <a:pt x="57" y="621"/>
                  </a:lnTo>
                  <a:lnTo>
                    <a:pt x="57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7" y="624"/>
                  </a:lnTo>
                  <a:lnTo>
                    <a:pt x="56" y="624"/>
                  </a:lnTo>
                  <a:close/>
                  <a:moveTo>
                    <a:pt x="52" y="627"/>
                  </a:moveTo>
                  <a:lnTo>
                    <a:pt x="52" y="627"/>
                  </a:lnTo>
                  <a:lnTo>
                    <a:pt x="50" y="627"/>
                  </a:lnTo>
                  <a:lnTo>
                    <a:pt x="50" y="627"/>
                  </a:lnTo>
                  <a:lnTo>
                    <a:pt x="49" y="627"/>
                  </a:lnTo>
                  <a:lnTo>
                    <a:pt x="49" y="627"/>
                  </a:lnTo>
                  <a:lnTo>
                    <a:pt x="47" y="626"/>
                  </a:lnTo>
                  <a:lnTo>
                    <a:pt x="47" y="624"/>
                  </a:lnTo>
                  <a:lnTo>
                    <a:pt x="47" y="624"/>
                  </a:lnTo>
                  <a:lnTo>
                    <a:pt x="49" y="623"/>
                  </a:lnTo>
                  <a:lnTo>
                    <a:pt x="50" y="623"/>
                  </a:lnTo>
                  <a:lnTo>
                    <a:pt x="50" y="623"/>
                  </a:lnTo>
                  <a:lnTo>
                    <a:pt x="53" y="624"/>
                  </a:lnTo>
                  <a:lnTo>
                    <a:pt x="54" y="626"/>
                  </a:lnTo>
                  <a:lnTo>
                    <a:pt x="54" y="626"/>
                  </a:lnTo>
                  <a:lnTo>
                    <a:pt x="53" y="627"/>
                  </a:lnTo>
                  <a:lnTo>
                    <a:pt x="52" y="627"/>
                  </a:lnTo>
                  <a:close/>
                  <a:moveTo>
                    <a:pt x="39" y="631"/>
                  </a:moveTo>
                  <a:lnTo>
                    <a:pt x="40" y="633"/>
                  </a:lnTo>
                  <a:lnTo>
                    <a:pt x="42" y="631"/>
                  </a:lnTo>
                  <a:lnTo>
                    <a:pt x="42" y="631"/>
                  </a:lnTo>
                  <a:lnTo>
                    <a:pt x="43" y="630"/>
                  </a:lnTo>
                  <a:lnTo>
                    <a:pt x="43" y="629"/>
                  </a:lnTo>
                  <a:lnTo>
                    <a:pt x="44" y="630"/>
                  </a:lnTo>
                  <a:lnTo>
                    <a:pt x="46" y="630"/>
                  </a:lnTo>
                  <a:lnTo>
                    <a:pt x="44" y="633"/>
                  </a:lnTo>
                  <a:lnTo>
                    <a:pt x="42" y="634"/>
                  </a:lnTo>
                  <a:lnTo>
                    <a:pt x="40" y="636"/>
                  </a:lnTo>
                  <a:lnTo>
                    <a:pt x="40" y="637"/>
                  </a:lnTo>
                  <a:lnTo>
                    <a:pt x="43" y="636"/>
                  </a:lnTo>
                  <a:lnTo>
                    <a:pt x="43" y="636"/>
                  </a:lnTo>
                  <a:lnTo>
                    <a:pt x="44" y="637"/>
                  </a:lnTo>
                  <a:lnTo>
                    <a:pt x="43" y="637"/>
                  </a:lnTo>
                  <a:lnTo>
                    <a:pt x="42" y="639"/>
                  </a:lnTo>
                  <a:lnTo>
                    <a:pt x="40" y="640"/>
                  </a:lnTo>
                  <a:lnTo>
                    <a:pt x="37" y="641"/>
                  </a:lnTo>
                  <a:lnTo>
                    <a:pt x="37" y="643"/>
                  </a:lnTo>
                  <a:lnTo>
                    <a:pt x="36" y="643"/>
                  </a:lnTo>
                  <a:lnTo>
                    <a:pt x="35" y="644"/>
                  </a:lnTo>
                  <a:lnTo>
                    <a:pt x="30" y="644"/>
                  </a:lnTo>
                  <a:lnTo>
                    <a:pt x="29" y="646"/>
                  </a:lnTo>
                  <a:lnTo>
                    <a:pt x="29" y="646"/>
                  </a:lnTo>
                  <a:lnTo>
                    <a:pt x="27" y="647"/>
                  </a:lnTo>
                  <a:lnTo>
                    <a:pt x="27" y="647"/>
                  </a:lnTo>
                  <a:lnTo>
                    <a:pt x="26" y="647"/>
                  </a:lnTo>
                  <a:lnTo>
                    <a:pt x="26" y="647"/>
                  </a:lnTo>
                  <a:lnTo>
                    <a:pt x="25" y="649"/>
                  </a:lnTo>
                  <a:lnTo>
                    <a:pt x="23" y="649"/>
                  </a:lnTo>
                  <a:lnTo>
                    <a:pt x="23" y="649"/>
                  </a:lnTo>
                  <a:lnTo>
                    <a:pt x="23" y="649"/>
                  </a:lnTo>
                  <a:lnTo>
                    <a:pt x="20" y="647"/>
                  </a:lnTo>
                  <a:lnTo>
                    <a:pt x="20" y="647"/>
                  </a:lnTo>
                  <a:lnTo>
                    <a:pt x="22" y="646"/>
                  </a:lnTo>
                  <a:lnTo>
                    <a:pt x="23" y="646"/>
                  </a:lnTo>
                  <a:lnTo>
                    <a:pt x="25" y="646"/>
                  </a:lnTo>
                  <a:lnTo>
                    <a:pt x="26" y="644"/>
                  </a:lnTo>
                  <a:lnTo>
                    <a:pt x="30" y="643"/>
                  </a:lnTo>
                  <a:lnTo>
                    <a:pt x="32" y="641"/>
                  </a:lnTo>
                  <a:lnTo>
                    <a:pt x="32" y="639"/>
                  </a:lnTo>
                  <a:lnTo>
                    <a:pt x="33" y="639"/>
                  </a:lnTo>
                  <a:lnTo>
                    <a:pt x="33" y="637"/>
                  </a:lnTo>
                  <a:lnTo>
                    <a:pt x="35" y="637"/>
                  </a:lnTo>
                  <a:lnTo>
                    <a:pt x="36" y="639"/>
                  </a:lnTo>
                  <a:lnTo>
                    <a:pt x="36" y="639"/>
                  </a:lnTo>
                  <a:lnTo>
                    <a:pt x="36" y="639"/>
                  </a:lnTo>
                  <a:lnTo>
                    <a:pt x="36" y="637"/>
                  </a:lnTo>
                  <a:lnTo>
                    <a:pt x="37" y="637"/>
                  </a:lnTo>
                  <a:lnTo>
                    <a:pt x="37" y="636"/>
                  </a:lnTo>
                  <a:lnTo>
                    <a:pt x="35" y="636"/>
                  </a:lnTo>
                  <a:lnTo>
                    <a:pt x="33" y="634"/>
                  </a:lnTo>
                  <a:lnTo>
                    <a:pt x="33" y="634"/>
                  </a:lnTo>
                  <a:lnTo>
                    <a:pt x="32" y="634"/>
                  </a:lnTo>
                  <a:lnTo>
                    <a:pt x="32" y="634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1"/>
                  </a:lnTo>
                  <a:lnTo>
                    <a:pt x="33" y="630"/>
                  </a:lnTo>
                  <a:lnTo>
                    <a:pt x="33" y="630"/>
                  </a:lnTo>
                  <a:lnTo>
                    <a:pt x="36" y="630"/>
                  </a:lnTo>
                  <a:lnTo>
                    <a:pt x="37" y="629"/>
                  </a:lnTo>
                  <a:lnTo>
                    <a:pt x="39" y="629"/>
                  </a:lnTo>
                  <a:lnTo>
                    <a:pt x="39" y="629"/>
                  </a:lnTo>
                  <a:lnTo>
                    <a:pt x="39" y="631"/>
                  </a:lnTo>
                  <a:close/>
                  <a:moveTo>
                    <a:pt x="46" y="636"/>
                  </a:moveTo>
                  <a:lnTo>
                    <a:pt x="46" y="636"/>
                  </a:lnTo>
                  <a:lnTo>
                    <a:pt x="44" y="636"/>
                  </a:lnTo>
                  <a:lnTo>
                    <a:pt x="44" y="636"/>
                  </a:lnTo>
                  <a:lnTo>
                    <a:pt x="46" y="634"/>
                  </a:lnTo>
                  <a:lnTo>
                    <a:pt x="46" y="633"/>
                  </a:lnTo>
                  <a:lnTo>
                    <a:pt x="47" y="633"/>
                  </a:lnTo>
                  <a:lnTo>
                    <a:pt x="47" y="633"/>
                  </a:lnTo>
                  <a:lnTo>
                    <a:pt x="47" y="633"/>
                  </a:lnTo>
                  <a:lnTo>
                    <a:pt x="47" y="634"/>
                  </a:lnTo>
                  <a:lnTo>
                    <a:pt x="46" y="636"/>
                  </a:lnTo>
                  <a:lnTo>
                    <a:pt x="46" y="636"/>
                  </a:lnTo>
                  <a:close/>
                  <a:moveTo>
                    <a:pt x="17" y="646"/>
                  </a:moveTo>
                  <a:lnTo>
                    <a:pt x="13" y="649"/>
                  </a:lnTo>
                  <a:lnTo>
                    <a:pt x="12" y="651"/>
                  </a:lnTo>
                  <a:lnTo>
                    <a:pt x="10" y="653"/>
                  </a:lnTo>
                  <a:lnTo>
                    <a:pt x="9" y="654"/>
                  </a:lnTo>
                  <a:lnTo>
                    <a:pt x="9" y="654"/>
                  </a:lnTo>
                  <a:lnTo>
                    <a:pt x="7" y="656"/>
                  </a:lnTo>
                  <a:lnTo>
                    <a:pt x="6" y="657"/>
                  </a:lnTo>
                  <a:lnTo>
                    <a:pt x="6" y="657"/>
                  </a:lnTo>
                  <a:lnTo>
                    <a:pt x="0" y="660"/>
                  </a:lnTo>
                  <a:lnTo>
                    <a:pt x="0" y="660"/>
                  </a:lnTo>
                  <a:lnTo>
                    <a:pt x="0" y="659"/>
                  </a:lnTo>
                  <a:lnTo>
                    <a:pt x="2" y="659"/>
                  </a:lnTo>
                  <a:lnTo>
                    <a:pt x="3" y="657"/>
                  </a:lnTo>
                  <a:lnTo>
                    <a:pt x="3" y="656"/>
                  </a:lnTo>
                  <a:lnTo>
                    <a:pt x="5" y="654"/>
                  </a:lnTo>
                  <a:lnTo>
                    <a:pt x="5" y="653"/>
                  </a:lnTo>
                  <a:lnTo>
                    <a:pt x="5" y="651"/>
                  </a:lnTo>
                  <a:lnTo>
                    <a:pt x="5" y="651"/>
                  </a:lnTo>
                  <a:lnTo>
                    <a:pt x="6" y="650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10" y="649"/>
                  </a:lnTo>
                  <a:lnTo>
                    <a:pt x="12" y="649"/>
                  </a:lnTo>
                  <a:lnTo>
                    <a:pt x="12" y="647"/>
                  </a:lnTo>
                  <a:lnTo>
                    <a:pt x="10" y="647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3"/>
                  </a:lnTo>
                  <a:lnTo>
                    <a:pt x="13" y="643"/>
                  </a:lnTo>
                  <a:lnTo>
                    <a:pt x="15" y="641"/>
                  </a:lnTo>
                  <a:lnTo>
                    <a:pt x="16" y="640"/>
                  </a:lnTo>
                  <a:lnTo>
                    <a:pt x="17" y="640"/>
                  </a:lnTo>
                  <a:lnTo>
                    <a:pt x="20" y="641"/>
                  </a:lnTo>
                  <a:lnTo>
                    <a:pt x="20" y="643"/>
                  </a:lnTo>
                  <a:lnTo>
                    <a:pt x="20" y="644"/>
                  </a:lnTo>
                  <a:lnTo>
                    <a:pt x="19" y="646"/>
                  </a:lnTo>
                  <a:lnTo>
                    <a:pt x="17" y="646"/>
                  </a:lnTo>
                  <a:close/>
                  <a:moveTo>
                    <a:pt x="1213" y="767"/>
                  </a:moveTo>
                  <a:lnTo>
                    <a:pt x="1214" y="766"/>
                  </a:lnTo>
                  <a:lnTo>
                    <a:pt x="1216" y="767"/>
                  </a:lnTo>
                  <a:lnTo>
                    <a:pt x="1217" y="767"/>
                  </a:lnTo>
                  <a:lnTo>
                    <a:pt x="1218" y="767"/>
                  </a:lnTo>
                  <a:lnTo>
                    <a:pt x="1221" y="767"/>
                  </a:lnTo>
                  <a:lnTo>
                    <a:pt x="1223" y="768"/>
                  </a:lnTo>
                  <a:lnTo>
                    <a:pt x="1224" y="770"/>
                  </a:lnTo>
                  <a:lnTo>
                    <a:pt x="1226" y="771"/>
                  </a:lnTo>
                  <a:lnTo>
                    <a:pt x="1227" y="773"/>
                  </a:lnTo>
                  <a:lnTo>
                    <a:pt x="1227" y="774"/>
                  </a:lnTo>
                  <a:lnTo>
                    <a:pt x="1228" y="774"/>
                  </a:lnTo>
                  <a:lnTo>
                    <a:pt x="1230" y="774"/>
                  </a:lnTo>
                  <a:lnTo>
                    <a:pt x="1231" y="773"/>
                  </a:lnTo>
                  <a:lnTo>
                    <a:pt x="1234" y="774"/>
                  </a:lnTo>
                  <a:lnTo>
                    <a:pt x="1237" y="777"/>
                  </a:lnTo>
                  <a:lnTo>
                    <a:pt x="1240" y="778"/>
                  </a:lnTo>
                  <a:lnTo>
                    <a:pt x="1241" y="780"/>
                  </a:lnTo>
                  <a:lnTo>
                    <a:pt x="1244" y="780"/>
                  </a:lnTo>
                  <a:lnTo>
                    <a:pt x="1247" y="778"/>
                  </a:lnTo>
                  <a:lnTo>
                    <a:pt x="1250" y="777"/>
                  </a:lnTo>
                  <a:lnTo>
                    <a:pt x="1251" y="777"/>
                  </a:lnTo>
                  <a:lnTo>
                    <a:pt x="1253" y="777"/>
                  </a:lnTo>
                  <a:lnTo>
                    <a:pt x="1254" y="778"/>
                  </a:lnTo>
                  <a:lnTo>
                    <a:pt x="1254" y="778"/>
                  </a:lnTo>
                  <a:lnTo>
                    <a:pt x="1257" y="778"/>
                  </a:lnTo>
                  <a:lnTo>
                    <a:pt x="1261" y="778"/>
                  </a:lnTo>
                  <a:lnTo>
                    <a:pt x="1264" y="778"/>
                  </a:lnTo>
                  <a:lnTo>
                    <a:pt x="1266" y="780"/>
                  </a:lnTo>
                  <a:lnTo>
                    <a:pt x="1267" y="781"/>
                  </a:lnTo>
                  <a:lnTo>
                    <a:pt x="1268" y="781"/>
                  </a:lnTo>
                  <a:lnTo>
                    <a:pt x="1270" y="781"/>
                  </a:lnTo>
                  <a:lnTo>
                    <a:pt x="1273" y="781"/>
                  </a:lnTo>
                  <a:lnTo>
                    <a:pt x="1273" y="781"/>
                  </a:lnTo>
                  <a:lnTo>
                    <a:pt x="1273" y="781"/>
                  </a:lnTo>
                  <a:lnTo>
                    <a:pt x="1271" y="781"/>
                  </a:lnTo>
                  <a:lnTo>
                    <a:pt x="1271" y="783"/>
                  </a:lnTo>
                  <a:lnTo>
                    <a:pt x="1268" y="784"/>
                  </a:lnTo>
                  <a:lnTo>
                    <a:pt x="1266" y="786"/>
                  </a:lnTo>
                  <a:lnTo>
                    <a:pt x="1263" y="787"/>
                  </a:lnTo>
                  <a:lnTo>
                    <a:pt x="1257" y="788"/>
                  </a:lnTo>
                  <a:lnTo>
                    <a:pt x="1253" y="791"/>
                  </a:lnTo>
                  <a:lnTo>
                    <a:pt x="1251" y="793"/>
                  </a:lnTo>
                  <a:lnTo>
                    <a:pt x="1244" y="800"/>
                  </a:lnTo>
                  <a:lnTo>
                    <a:pt x="1240" y="804"/>
                  </a:lnTo>
                  <a:lnTo>
                    <a:pt x="1233" y="810"/>
                  </a:lnTo>
                  <a:lnTo>
                    <a:pt x="1233" y="810"/>
                  </a:lnTo>
                  <a:lnTo>
                    <a:pt x="1233" y="811"/>
                  </a:lnTo>
                  <a:lnTo>
                    <a:pt x="1233" y="811"/>
                  </a:lnTo>
                  <a:lnTo>
                    <a:pt x="1234" y="813"/>
                  </a:lnTo>
                  <a:lnTo>
                    <a:pt x="1236" y="813"/>
                  </a:lnTo>
                  <a:lnTo>
                    <a:pt x="1237" y="811"/>
                  </a:lnTo>
                  <a:lnTo>
                    <a:pt x="1243" y="810"/>
                  </a:lnTo>
                  <a:lnTo>
                    <a:pt x="1244" y="810"/>
                  </a:lnTo>
                  <a:lnTo>
                    <a:pt x="1247" y="807"/>
                  </a:lnTo>
                  <a:lnTo>
                    <a:pt x="1247" y="807"/>
                  </a:lnTo>
                  <a:lnTo>
                    <a:pt x="1248" y="808"/>
                  </a:lnTo>
                  <a:lnTo>
                    <a:pt x="1248" y="808"/>
                  </a:lnTo>
                  <a:lnTo>
                    <a:pt x="1251" y="806"/>
                  </a:lnTo>
                  <a:lnTo>
                    <a:pt x="1253" y="806"/>
                  </a:lnTo>
                  <a:lnTo>
                    <a:pt x="1253" y="806"/>
                  </a:lnTo>
                  <a:lnTo>
                    <a:pt x="1254" y="807"/>
                  </a:lnTo>
                  <a:lnTo>
                    <a:pt x="1254" y="807"/>
                  </a:lnTo>
                  <a:lnTo>
                    <a:pt x="1254" y="808"/>
                  </a:lnTo>
                  <a:lnTo>
                    <a:pt x="1253" y="810"/>
                  </a:lnTo>
                  <a:lnTo>
                    <a:pt x="1253" y="811"/>
                  </a:lnTo>
                  <a:lnTo>
                    <a:pt x="1253" y="811"/>
                  </a:lnTo>
                  <a:lnTo>
                    <a:pt x="1253" y="813"/>
                  </a:lnTo>
                  <a:lnTo>
                    <a:pt x="1251" y="814"/>
                  </a:lnTo>
                  <a:lnTo>
                    <a:pt x="1251" y="814"/>
                  </a:lnTo>
                  <a:lnTo>
                    <a:pt x="1254" y="813"/>
                  </a:lnTo>
                  <a:lnTo>
                    <a:pt x="1254" y="813"/>
                  </a:lnTo>
                  <a:lnTo>
                    <a:pt x="1254" y="813"/>
                  </a:lnTo>
                  <a:lnTo>
                    <a:pt x="1254" y="813"/>
                  </a:lnTo>
                  <a:lnTo>
                    <a:pt x="1254" y="813"/>
                  </a:lnTo>
                  <a:lnTo>
                    <a:pt x="1257" y="814"/>
                  </a:lnTo>
                  <a:lnTo>
                    <a:pt x="1257" y="814"/>
                  </a:lnTo>
                  <a:lnTo>
                    <a:pt x="1258" y="814"/>
                  </a:lnTo>
                  <a:lnTo>
                    <a:pt x="1261" y="814"/>
                  </a:lnTo>
                  <a:lnTo>
                    <a:pt x="1264" y="813"/>
                  </a:lnTo>
                  <a:lnTo>
                    <a:pt x="1267" y="811"/>
                  </a:lnTo>
                  <a:lnTo>
                    <a:pt x="1268" y="810"/>
                  </a:lnTo>
                  <a:lnTo>
                    <a:pt x="1271" y="808"/>
                  </a:lnTo>
                  <a:lnTo>
                    <a:pt x="1274" y="808"/>
                  </a:lnTo>
                  <a:lnTo>
                    <a:pt x="1277" y="808"/>
                  </a:lnTo>
                  <a:lnTo>
                    <a:pt x="1278" y="807"/>
                  </a:lnTo>
                  <a:lnTo>
                    <a:pt x="1280" y="806"/>
                  </a:lnTo>
                  <a:lnTo>
                    <a:pt x="1281" y="804"/>
                  </a:lnTo>
                  <a:lnTo>
                    <a:pt x="1283" y="804"/>
                  </a:lnTo>
                  <a:lnTo>
                    <a:pt x="1283" y="804"/>
                  </a:lnTo>
                  <a:lnTo>
                    <a:pt x="1284" y="803"/>
                  </a:lnTo>
                  <a:lnTo>
                    <a:pt x="1285" y="801"/>
                  </a:lnTo>
                  <a:lnTo>
                    <a:pt x="1287" y="800"/>
                  </a:lnTo>
                  <a:lnTo>
                    <a:pt x="1288" y="800"/>
                  </a:lnTo>
                  <a:lnTo>
                    <a:pt x="1288" y="800"/>
                  </a:lnTo>
                  <a:lnTo>
                    <a:pt x="1288" y="800"/>
                  </a:lnTo>
                  <a:lnTo>
                    <a:pt x="1288" y="801"/>
                  </a:lnTo>
                  <a:lnTo>
                    <a:pt x="1288" y="801"/>
                  </a:lnTo>
                  <a:lnTo>
                    <a:pt x="1290" y="803"/>
                  </a:lnTo>
                  <a:lnTo>
                    <a:pt x="1290" y="803"/>
                  </a:lnTo>
                  <a:lnTo>
                    <a:pt x="1290" y="804"/>
                  </a:lnTo>
                  <a:lnTo>
                    <a:pt x="1290" y="804"/>
                  </a:lnTo>
                  <a:lnTo>
                    <a:pt x="1291" y="804"/>
                  </a:lnTo>
                  <a:lnTo>
                    <a:pt x="1291" y="806"/>
                  </a:lnTo>
                  <a:lnTo>
                    <a:pt x="1291" y="807"/>
                  </a:lnTo>
                  <a:lnTo>
                    <a:pt x="1291" y="808"/>
                  </a:lnTo>
                  <a:lnTo>
                    <a:pt x="1291" y="810"/>
                  </a:lnTo>
                  <a:lnTo>
                    <a:pt x="1291" y="810"/>
                  </a:lnTo>
                  <a:lnTo>
                    <a:pt x="1291" y="810"/>
                  </a:lnTo>
                  <a:lnTo>
                    <a:pt x="1291" y="808"/>
                  </a:lnTo>
                  <a:lnTo>
                    <a:pt x="1293" y="808"/>
                  </a:lnTo>
                  <a:lnTo>
                    <a:pt x="1293" y="808"/>
                  </a:lnTo>
                  <a:lnTo>
                    <a:pt x="1295" y="806"/>
                  </a:lnTo>
                  <a:lnTo>
                    <a:pt x="1295" y="806"/>
                  </a:lnTo>
                  <a:lnTo>
                    <a:pt x="1295" y="807"/>
                  </a:lnTo>
                  <a:lnTo>
                    <a:pt x="1300" y="807"/>
                  </a:lnTo>
                  <a:lnTo>
                    <a:pt x="1301" y="807"/>
                  </a:lnTo>
                  <a:lnTo>
                    <a:pt x="1304" y="808"/>
                  </a:lnTo>
                  <a:lnTo>
                    <a:pt x="1304" y="808"/>
                  </a:lnTo>
                  <a:lnTo>
                    <a:pt x="1305" y="813"/>
                  </a:lnTo>
                  <a:lnTo>
                    <a:pt x="1307" y="814"/>
                  </a:lnTo>
                  <a:lnTo>
                    <a:pt x="1307" y="814"/>
                  </a:lnTo>
                  <a:lnTo>
                    <a:pt x="1308" y="814"/>
                  </a:lnTo>
                  <a:lnTo>
                    <a:pt x="1308" y="816"/>
                  </a:lnTo>
                  <a:lnTo>
                    <a:pt x="1308" y="816"/>
                  </a:lnTo>
                  <a:lnTo>
                    <a:pt x="1311" y="817"/>
                  </a:lnTo>
                  <a:lnTo>
                    <a:pt x="1313" y="816"/>
                  </a:lnTo>
                  <a:lnTo>
                    <a:pt x="1314" y="816"/>
                  </a:lnTo>
                  <a:lnTo>
                    <a:pt x="1314" y="816"/>
                  </a:lnTo>
                  <a:lnTo>
                    <a:pt x="1315" y="817"/>
                  </a:lnTo>
                  <a:lnTo>
                    <a:pt x="1317" y="817"/>
                  </a:lnTo>
                  <a:lnTo>
                    <a:pt x="1318" y="817"/>
                  </a:lnTo>
                  <a:lnTo>
                    <a:pt x="1318" y="817"/>
                  </a:lnTo>
                  <a:lnTo>
                    <a:pt x="1320" y="817"/>
                  </a:lnTo>
                  <a:lnTo>
                    <a:pt x="1320" y="818"/>
                  </a:lnTo>
                  <a:lnTo>
                    <a:pt x="1320" y="818"/>
                  </a:lnTo>
                  <a:lnTo>
                    <a:pt x="1321" y="816"/>
                  </a:lnTo>
                  <a:lnTo>
                    <a:pt x="1324" y="814"/>
                  </a:lnTo>
                  <a:lnTo>
                    <a:pt x="1327" y="813"/>
                  </a:lnTo>
                  <a:lnTo>
                    <a:pt x="1328" y="813"/>
                  </a:lnTo>
                  <a:lnTo>
                    <a:pt x="1328" y="813"/>
                  </a:lnTo>
                  <a:lnTo>
                    <a:pt x="1331" y="811"/>
                  </a:lnTo>
                  <a:lnTo>
                    <a:pt x="1334" y="811"/>
                  </a:lnTo>
                  <a:lnTo>
                    <a:pt x="1337" y="813"/>
                  </a:lnTo>
                  <a:lnTo>
                    <a:pt x="1340" y="811"/>
                  </a:lnTo>
                  <a:lnTo>
                    <a:pt x="1341" y="811"/>
                  </a:lnTo>
                  <a:lnTo>
                    <a:pt x="1344" y="810"/>
                  </a:lnTo>
                  <a:lnTo>
                    <a:pt x="1345" y="810"/>
                  </a:lnTo>
                  <a:lnTo>
                    <a:pt x="1347" y="810"/>
                  </a:lnTo>
                  <a:lnTo>
                    <a:pt x="1347" y="811"/>
                  </a:lnTo>
                  <a:lnTo>
                    <a:pt x="1345" y="813"/>
                  </a:lnTo>
                  <a:lnTo>
                    <a:pt x="1345" y="814"/>
                  </a:lnTo>
                  <a:lnTo>
                    <a:pt x="1345" y="816"/>
                  </a:lnTo>
                  <a:lnTo>
                    <a:pt x="1345" y="816"/>
                  </a:lnTo>
                  <a:lnTo>
                    <a:pt x="1345" y="816"/>
                  </a:lnTo>
                  <a:lnTo>
                    <a:pt x="1345" y="817"/>
                  </a:lnTo>
                  <a:lnTo>
                    <a:pt x="1348" y="817"/>
                  </a:lnTo>
                  <a:lnTo>
                    <a:pt x="1348" y="817"/>
                  </a:lnTo>
                  <a:lnTo>
                    <a:pt x="1350" y="817"/>
                  </a:lnTo>
                  <a:lnTo>
                    <a:pt x="1351" y="817"/>
                  </a:lnTo>
                  <a:lnTo>
                    <a:pt x="1353" y="817"/>
                  </a:lnTo>
                  <a:lnTo>
                    <a:pt x="1353" y="818"/>
                  </a:lnTo>
                  <a:lnTo>
                    <a:pt x="1354" y="818"/>
                  </a:lnTo>
                  <a:lnTo>
                    <a:pt x="1355" y="817"/>
                  </a:lnTo>
                  <a:lnTo>
                    <a:pt x="1355" y="817"/>
                  </a:lnTo>
                  <a:lnTo>
                    <a:pt x="1355" y="817"/>
                  </a:lnTo>
                  <a:lnTo>
                    <a:pt x="1357" y="817"/>
                  </a:lnTo>
                  <a:lnTo>
                    <a:pt x="1357" y="817"/>
                  </a:lnTo>
                  <a:lnTo>
                    <a:pt x="1357" y="817"/>
                  </a:lnTo>
                  <a:lnTo>
                    <a:pt x="1358" y="818"/>
                  </a:lnTo>
                  <a:lnTo>
                    <a:pt x="1358" y="820"/>
                  </a:lnTo>
                  <a:lnTo>
                    <a:pt x="1358" y="821"/>
                  </a:lnTo>
                  <a:lnTo>
                    <a:pt x="1360" y="821"/>
                  </a:lnTo>
                  <a:lnTo>
                    <a:pt x="1360" y="823"/>
                  </a:lnTo>
                  <a:lnTo>
                    <a:pt x="1358" y="823"/>
                  </a:lnTo>
                  <a:lnTo>
                    <a:pt x="1358" y="824"/>
                  </a:lnTo>
                  <a:lnTo>
                    <a:pt x="1358" y="824"/>
                  </a:lnTo>
                  <a:lnTo>
                    <a:pt x="1361" y="824"/>
                  </a:lnTo>
                  <a:lnTo>
                    <a:pt x="1361" y="824"/>
                  </a:lnTo>
                  <a:lnTo>
                    <a:pt x="1361" y="826"/>
                  </a:lnTo>
                  <a:lnTo>
                    <a:pt x="1361" y="826"/>
                  </a:lnTo>
                  <a:lnTo>
                    <a:pt x="1361" y="826"/>
                  </a:lnTo>
                  <a:lnTo>
                    <a:pt x="1363" y="827"/>
                  </a:lnTo>
                  <a:lnTo>
                    <a:pt x="1364" y="828"/>
                  </a:lnTo>
                  <a:lnTo>
                    <a:pt x="1364" y="828"/>
                  </a:lnTo>
                  <a:lnTo>
                    <a:pt x="1364" y="828"/>
                  </a:lnTo>
                  <a:lnTo>
                    <a:pt x="1364" y="828"/>
                  </a:lnTo>
                  <a:lnTo>
                    <a:pt x="1363" y="830"/>
                  </a:lnTo>
                  <a:lnTo>
                    <a:pt x="1357" y="828"/>
                  </a:lnTo>
                  <a:lnTo>
                    <a:pt x="1355" y="828"/>
                  </a:lnTo>
                  <a:lnTo>
                    <a:pt x="1355" y="828"/>
                  </a:lnTo>
                  <a:lnTo>
                    <a:pt x="1355" y="828"/>
                  </a:lnTo>
                  <a:lnTo>
                    <a:pt x="1354" y="828"/>
                  </a:lnTo>
                  <a:lnTo>
                    <a:pt x="1354" y="828"/>
                  </a:lnTo>
                  <a:lnTo>
                    <a:pt x="1354" y="828"/>
                  </a:lnTo>
                  <a:lnTo>
                    <a:pt x="1354" y="827"/>
                  </a:lnTo>
                  <a:lnTo>
                    <a:pt x="1353" y="827"/>
                  </a:lnTo>
                  <a:lnTo>
                    <a:pt x="1353" y="827"/>
                  </a:lnTo>
                  <a:lnTo>
                    <a:pt x="1351" y="827"/>
                  </a:lnTo>
                  <a:lnTo>
                    <a:pt x="1351" y="830"/>
                  </a:lnTo>
                  <a:lnTo>
                    <a:pt x="1351" y="830"/>
                  </a:lnTo>
                  <a:lnTo>
                    <a:pt x="1351" y="831"/>
                  </a:lnTo>
                  <a:lnTo>
                    <a:pt x="1351" y="831"/>
                  </a:lnTo>
                  <a:lnTo>
                    <a:pt x="1351" y="831"/>
                  </a:lnTo>
                  <a:lnTo>
                    <a:pt x="1351" y="831"/>
                  </a:lnTo>
                  <a:lnTo>
                    <a:pt x="1350" y="831"/>
                  </a:lnTo>
                  <a:lnTo>
                    <a:pt x="1350" y="831"/>
                  </a:lnTo>
                  <a:lnTo>
                    <a:pt x="1347" y="828"/>
                  </a:lnTo>
                  <a:lnTo>
                    <a:pt x="1344" y="827"/>
                  </a:lnTo>
                  <a:lnTo>
                    <a:pt x="1343" y="826"/>
                  </a:lnTo>
                  <a:lnTo>
                    <a:pt x="1340" y="826"/>
                  </a:lnTo>
                  <a:lnTo>
                    <a:pt x="1338" y="826"/>
                  </a:lnTo>
                  <a:lnTo>
                    <a:pt x="1337" y="827"/>
                  </a:lnTo>
                  <a:lnTo>
                    <a:pt x="1337" y="828"/>
                  </a:lnTo>
                  <a:lnTo>
                    <a:pt x="1335" y="828"/>
                  </a:lnTo>
                  <a:lnTo>
                    <a:pt x="1333" y="828"/>
                  </a:lnTo>
                  <a:lnTo>
                    <a:pt x="1331" y="828"/>
                  </a:lnTo>
                  <a:lnTo>
                    <a:pt x="1331" y="830"/>
                  </a:lnTo>
                  <a:lnTo>
                    <a:pt x="1331" y="830"/>
                  </a:lnTo>
                  <a:lnTo>
                    <a:pt x="1330" y="828"/>
                  </a:lnTo>
                  <a:lnTo>
                    <a:pt x="1328" y="828"/>
                  </a:lnTo>
                  <a:lnTo>
                    <a:pt x="1327" y="830"/>
                  </a:lnTo>
                  <a:lnTo>
                    <a:pt x="1325" y="830"/>
                  </a:lnTo>
                  <a:lnTo>
                    <a:pt x="1325" y="831"/>
                  </a:lnTo>
                  <a:lnTo>
                    <a:pt x="1324" y="833"/>
                  </a:lnTo>
                  <a:lnTo>
                    <a:pt x="1324" y="833"/>
                  </a:lnTo>
                  <a:lnTo>
                    <a:pt x="1321" y="834"/>
                  </a:lnTo>
                  <a:lnTo>
                    <a:pt x="1321" y="834"/>
                  </a:lnTo>
                  <a:lnTo>
                    <a:pt x="1321" y="836"/>
                  </a:lnTo>
                  <a:lnTo>
                    <a:pt x="1320" y="836"/>
                  </a:lnTo>
                  <a:lnTo>
                    <a:pt x="1320" y="837"/>
                  </a:lnTo>
                  <a:lnTo>
                    <a:pt x="1320" y="837"/>
                  </a:lnTo>
                  <a:lnTo>
                    <a:pt x="1320" y="836"/>
                  </a:lnTo>
                  <a:lnTo>
                    <a:pt x="1320" y="836"/>
                  </a:lnTo>
                  <a:lnTo>
                    <a:pt x="1320" y="834"/>
                  </a:lnTo>
                  <a:lnTo>
                    <a:pt x="1321" y="833"/>
                  </a:lnTo>
                  <a:lnTo>
                    <a:pt x="1321" y="833"/>
                  </a:lnTo>
                  <a:lnTo>
                    <a:pt x="1321" y="833"/>
                  </a:lnTo>
                  <a:lnTo>
                    <a:pt x="1321" y="831"/>
                  </a:lnTo>
                  <a:lnTo>
                    <a:pt x="1321" y="831"/>
                  </a:lnTo>
                  <a:lnTo>
                    <a:pt x="1320" y="831"/>
                  </a:lnTo>
                  <a:lnTo>
                    <a:pt x="1320" y="831"/>
                  </a:lnTo>
                  <a:lnTo>
                    <a:pt x="1318" y="831"/>
                  </a:lnTo>
                  <a:lnTo>
                    <a:pt x="1318" y="831"/>
                  </a:lnTo>
                  <a:lnTo>
                    <a:pt x="1317" y="833"/>
                  </a:lnTo>
                  <a:lnTo>
                    <a:pt x="1317" y="834"/>
                  </a:lnTo>
                  <a:lnTo>
                    <a:pt x="1315" y="834"/>
                  </a:lnTo>
                  <a:lnTo>
                    <a:pt x="1315" y="836"/>
                  </a:lnTo>
                  <a:lnTo>
                    <a:pt x="1314" y="834"/>
                  </a:lnTo>
                  <a:lnTo>
                    <a:pt x="1314" y="833"/>
                  </a:lnTo>
                  <a:lnTo>
                    <a:pt x="1314" y="831"/>
                  </a:lnTo>
                  <a:lnTo>
                    <a:pt x="1314" y="830"/>
                  </a:lnTo>
                  <a:lnTo>
                    <a:pt x="1314" y="830"/>
                  </a:lnTo>
                  <a:lnTo>
                    <a:pt x="1314" y="831"/>
                  </a:lnTo>
                  <a:lnTo>
                    <a:pt x="1314" y="831"/>
                  </a:lnTo>
                  <a:lnTo>
                    <a:pt x="1313" y="834"/>
                  </a:lnTo>
                  <a:lnTo>
                    <a:pt x="1313" y="836"/>
                  </a:lnTo>
                  <a:lnTo>
                    <a:pt x="1311" y="836"/>
                  </a:lnTo>
                  <a:lnTo>
                    <a:pt x="1311" y="837"/>
                  </a:lnTo>
                  <a:lnTo>
                    <a:pt x="1310" y="840"/>
                  </a:lnTo>
                  <a:lnTo>
                    <a:pt x="1308" y="843"/>
                  </a:lnTo>
                  <a:lnTo>
                    <a:pt x="1305" y="846"/>
                  </a:lnTo>
                  <a:lnTo>
                    <a:pt x="1305" y="847"/>
                  </a:lnTo>
                  <a:lnTo>
                    <a:pt x="1305" y="847"/>
                  </a:lnTo>
                  <a:lnTo>
                    <a:pt x="1304" y="847"/>
                  </a:lnTo>
                  <a:lnTo>
                    <a:pt x="1304" y="850"/>
                  </a:lnTo>
                  <a:lnTo>
                    <a:pt x="1304" y="850"/>
                  </a:lnTo>
                  <a:lnTo>
                    <a:pt x="1303" y="851"/>
                  </a:lnTo>
                  <a:lnTo>
                    <a:pt x="1301" y="853"/>
                  </a:lnTo>
                  <a:lnTo>
                    <a:pt x="1301" y="853"/>
                  </a:lnTo>
                  <a:lnTo>
                    <a:pt x="1301" y="854"/>
                  </a:lnTo>
                  <a:lnTo>
                    <a:pt x="1298" y="857"/>
                  </a:lnTo>
                  <a:lnTo>
                    <a:pt x="1298" y="858"/>
                  </a:lnTo>
                  <a:lnTo>
                    <a:pt x="1298" y="860"/>
                  </a:lnTo>
                  <a:lnTo>
                    <a:pt x="1298" y="861"/>
                  </a:lnTo>
                  <a:lnTo>
                    <a:pt x="1298" y="861"/>
                  </a:lnTo>
                  <a:lnTo>
                    <a:pt x="1300" y="861"/>
                  </a:lnTo>
                  <a:lnTo>
                    <a:pt x="1300" y="860"/>
                  </a:lnTo>
                  <a:lnTo>
                    <a:pt x="1301" y="860"/>
                  </a:lnTo>
                  <a:lnTo>
                    <a:pt x="1301" y="858"/>
                  </a:lnTo>
                  <a:lnTo>
                    <a:pt x="1303" y="858"/>
                  </a:lnTo>
                  <a:lnTo>
                    <a:pt x="1304" y="856"/>
                  </a:lnTo>
                  <a:lnTo>
                    <a:pt x="1304" y="854"/>
                  </a:lnTo>
                  <a:lnTo>
                    <a:pt x="1305" y="854"/>
                  </a:lnTo>
                  <a:lnTo>
                    <a:pt x="1305" y="854"/>
                  </a:lnTo>
                  <a:lnTo>
                    <a:pt x="1307" y="854"/>
                  </a:lnTo>
                  <a:lnTo>
                    <a:pt x="1307" y="854"/>
                  </a:lnTo>
                  <a:lnTo>
                    <a:pt x="1308" y="856"/>
                  </a:lnTo>
                  <a:lnTo>
                    <a:pt x="1308" y="856"/>
                  </a:lnTo>
                  <a:lnTo>
                    <a:pt x="1308" y="856"/>
                  </a:lnTo>
                  <a:lnTo>
                    <a:pt x="1308" y="857"/>
                  </a:lnTo>
                  <a:lnTo>
                    <a:pt x="1308" y="858"/>
                  </a:lnTo>
                  <a:lnTo>
                    <a:pt x="1307" y="860"/>
                  </a:lnTo>
                  <a:lnTo>
                    <a:pt x="1307" y="863"/>
                  </a:lnTo>
                  <a:lnTo>
                    <a:pt x="1305" y="864"/>
                  </a:lnTo>
                  <a:lnTo>
                    <a:pt x="1305" y="867"/>
                  </a:lnTo>
                  <a:lnTo>
                    <a:pt x="1305" y="868"/>
                  </a:lnTo>
                  <a:lnTo>
                    <a:pt x="1305" y="870"/>
                  </a:lnTo>
                  <a:lnTo>
                    <a:pt x="1304" y="871"/>
                  </a:lnTo>
                  <a:lnTo>
                    <a:pt x="1304" y="873"/>
                  </a:lnTo>
                  <a:lnTo>
                    <a:pt x="1303" y="874"/>
                  </a:lnTo>
                  <a:lnTo>
                    <a:pt x="1303" y="876"/>
                  </a:lnTo>
                  <a:lnTo>
                    <a:pt x="1303" y="877"/>
                  </a:lnTo>
                  <a:lnTo>
                    <a:pt x="1303" y="877"/>
                  </a:lnTo>
                  <a:lnTo>
                    <a:pt x="1303" y="878"/>
                  </a:lnTo>
                  <a:lnTo>
                    <a:pt x="1303" y="880"/>
                  </a:lnTo>
                  <a:lnTo>
                    <a:pt x="1301" y="883"/>
                  </a:lnTo>
                  <a:lnTo>
                    <a:pt x="1301" y="884"/>
                  </a:lnTo>
                  <a:lnTo>
                    <a:pt x="1301" y="884"/>
                  </a:lnTo>
                  <a:lnTo>
                    <a:pt x="1301" y="886"/>
                  </a:lnTo>
                  <a:lnTo>
                    <a:pt x="1300" y="888"/>
                  </a:lnTo>
                  <a:lnTo>
                    <a:pt x="1300" y="888"/>
                  </a:lnTo>
                  <a:lnTo>
                    <a:pt x="1300" y="890"/>
                  </a:lnTo>
                  <a:lnTo>
                    <a:pt x="1300" y="891"/>
                  </a:lnTo>
                  <a:lnTo>
                    <a:pt x="1300" y="893"/>
                  </a:lnTo>
                  <a:lnTo>
                    <a:pt x="1300" y="893"/>
                  </a:lnTo>
                  <a:lnTo>
                    <a:pt x="1300" y="893"/>
                  </a:lnTo>
                  <a:lnTo>
                    <a:pt x="1300" y="894"/>
                  </a:lnTo>
                  <a:lnTo>
                    <a:pt x="1300" y="894"/>
                  </a:lnTo>
                  <a:lnTo>
                    <a:pt x="1300" y="896"/>
                  </a:lnTo>
                  <a:lnTo>
                    <a:pt x="1300" y="896"/>
                  </a:lnTo>
                  <a:lnTo>
                    <a:pt x="1301" y="897"/>
                  </a:lnTo>
                  <a:lnTo>
                    <a:pt x="1301" y="898"/>
                  </a:lnTo>
                  <a:lnTo>
                    <a:pt x="1301" y="898"/>
                  </a:lnTo>
                  <a:lnTo>
                    <a:pt x="1301" y="900"/>
                  </a:lnTo>
                  <a:lnTo>
                    <a:pt x="1301" y="901"/>
                  </a:lnTo>
                  <a:lnTo>
                    <a:pt x="1301" y="903"/>
                  </a:lnTo>
                  <a:lnTo>
                    <a:pt x="1301" y="905"/>
                  </a:lnTo>
                  <a:lnTo>
                    <a:pt x="1301" y="910"/>
                  </a:lnTo>
                  <a:lnTo>
                    <a:pt x="1301" y="913"/>
                  </a:lnTo>
                  <a:lnTo>
                    <a:pt x="1303" y="914"/>
                  </a:lnTo>
                  <a:lnTo>
                    <a:pt x="1303" y="914"/>
                  </a:lnTo>
                  <a:lnTo>
                    <a:pt x="1303" y="915"/>
                  </a:lnTo>
                  <a:lnTo>
                    <a:pt x="1304" y="917"/>
                  </a:lnTo>
                  <a:lnTo>
                    <a:pt x="1304" y="920"/>
                  </a:lnTo>
                  <a:lnTo>
                    <a:pt x="1305" y="923"/>
                  </a:lnTo>
                  <a:lnTo>
                    <a:pt x="1305" y="923"/>
                  </a:lnTo>
                  <a:lnTo>
                    <a:pt x="1307" y="924"/>
                  </a:lnTo>
                  <a:lnTo>
                    <a:pt x="1307" y="924"/>
                  </a:lnTo>
                  <a:lnTo>
                    <a:pt x="1307" y="924"/>
                  </a:lnTo>
                  <a:lnTo>
                    <a:pt x="1308" y="924"/>
                  </a:lnTo>
                  <a:lnTo>
                    <a:pt x="1308" y="924"/>
                  </a:lnTo>
                  <a:lnTo>
                    <a:pt x="1310" y="925"/>
                  </a:lnTo>
                  <a:lnTo>
                    <a:pt x="1311" y="924"/>
                  </a:lnTo>
                  <a:lnTo>
                    <a:pt x="1313" y="924"/>
                  </a:lnTo>
                  <a:lnTo>
                    <a:pt x="1317" y="921"/>
                  </a:lnTo>
                  <a:lnTo>
                    <a:pt x="1320" y="920"/>
                  </a:lnTo>
                  <a:lnTo>
                    <a:pt x="1320" y="918"/>
                  </a:lnTo>
                  <a:lnTo>
                    <a:pt x="1321" y="917"/>
                  </a:lnTo>
                  <a:lnTo>
                    <a:pt x="1323" y="915"/>
                  </a:lnTo>
                  <a:lnTo>
                    <a:pt x="1324" y="913"/>
                  </a:lnTo>
                  <a:lnTo>
                    <a:pt x="1324" y="910"/>
                  </a:lnTo>
                  <a:lnTo>
                    <a:pt x="1325" y="908"/>
                  </a:lnTo>
                  <a:lnTo>
                    <a:pt x="1325" y="905"/>
                  </a:lnTo>
                  <a:lnTo>
                    <a:pt x="1327" y="903"/>
                  </a:lnTo>
                  <a:lnTo>
                    <a:pt x="1327" y="900"/>
                  </a:lnTo>
                  <a:lnTo>
                    <a:pt x="1327" y="897"/>
                  </a:lnTo>
                  <a:lnTo>
                    <a:pt x="1327" y="896"/>
                  </a:lnTo>
                  <a:lnTo>
                    <a:pt x="1325" y="893"/>
                  </a:lnTo>
                  <a:lnTo>
                    <a:pt x="1325" y="891"/>
                  </a:lnTo>
                  <a:lnTo>
                    <a:pt x="1325" y="890"/>
                  </a:lnTo>
                  <a:lnTo>
                    <a:pt x="1324" y="887"/>
                  </a:lnTo>
                  <a:lnTo>
                    <a:pt x="1321" y="881"/>
                  </a:lnTo>
                  <a:lnTo>
                    <a:pt x="1321" y="881"/>
                  </a:lnTo>
                  <a:lnTo>
                    <a:pt x="1323" y="878"/>
                  </a:lnTo>
                  <a:lnTo>
                    <a:pt x="1323" y="877"/>
                  </a:lnTo>
                  <a:lnTo>
                    <a:pt x="1323" y="876"/>
                  </a:lnTo>
                  <a:lnTo>
                    <a:pt x="1323" y="874"/>
                  </a:lnTo>
                  <a:lnTo>
                    <a:pt x="1323" y="873"/>
                  </a:lnTo>
                  <a:lnTo>
                    <a:pt x="1323" y="871"/>
                  </a:lnTo>
                  <a:lnTo>
                    <a:pt x="1324" y="870"/>
                  </a:lnTo>
                  <a:lnTo>
                    <a:pt x="1324" y="868"/>
                  </a:lnTo>
                  <a:lnTo>
                    <a:pt x="1325" y="866"/>
                  </a:lnTo>
                  <a:lnTo>
                    <a:pt x="1325" y="864"/>
                  </a:lnTo>
                  <a:lnTo>
                    <a:pt x="1327" y="861"/>
                  </a:lnTo>
                  <a:lnTo>
                    <a:pt x="1327" y="860"/>
                  </a:lnTo>
                  <a:lnTo>
                    <a:pt x="1325" y="858"/>
                  </a:lnTo>
                  <a:lnTo>
                    <a:pt x="1325" y="858"/>
                  </a:lnTo>
                  <a:lnTo>
                    <a:pt x="1327" y="857"/>
                  </a:lnTo>
                  <a:lnTo>
                    <a:pt x="1328" y="857"/>
                  </a:lnTo>
                  <a:lnTo>
                    <a:pt x="1328" y="856"/>
                  </a:lnTo>
                  <a:lnTo>
                    <a:pt x="1328" y="854"/>
                  </a:lnTo>
                  <a:lnTo>
                    <a:pt x="1330" y="853"/>
                  </a:lnTo>
                  <a:lnTo>
                    <a:pt x="1330" y="853"/>
                  </a:lnTo>
                  <a:lnTo>
                    <a:pt x="1331" y="853"/>
                  </a:lnTo>
                  <a:lnTo>
                    <a:pt x="1331" y="851"/>
                  </a:lnTo>
                  <a:lnTo>
                    <a:pt x="1331" y="851"/>
                  </a:lnTo>
                  <a:lnTo>
                    <a:pt x="1333" y="851"/>
                  </a:lnTo>
                  <a:lnTo>
                    <a:pt x="1334" y="851"/>
                  </a:lnTo>
                  <a:lnTo>
                    <a:pt x="1335" y="848"/>
                  </a:lnTo>
                  <a:lnTo>
                    <a:pt x="1337" y="847"/>
                  </a:lnTo>
                  <a:lnTo>
                    <a:pt x="1337" y="847"/>
                  </a:lnTo>
                  <a:lnTo>
                    <a:pt x="1337" y="847"/>
                  </a:lnTo>
                  <a:lnTo>
                    <a:pt x="1337" y="847"/>
                  </a:lnTo>
                  <a:lnTo>
                    <a:pt x="1337" y="848"/>
                  </a:lnTo>
                  <a:lnTo>
                    <a:pt x="1337" y="850"/>
                  </a:lnTo>
                  <a:lnTo>
                    <a:pt x="1337" y="850"/>
                  </a:lnTo>
                  <a:lnTo>
                    <a:pt x="1337" y="851"/>
                  </a:lnTo>
                  <a:lnTo>
                    <a:pt x="1337" y="851"/>
                  </a:lnTo>
                  <a:lnTo>
                    <a:pt x="1335" y="854"/>
                  </a:lnTo>
                  <a:lnTo>
                    <a:pt x="1335" y="854"/>
                  </a:lnTo>
                  <a:lnTo>
                    <a:pt x="1337" y="856"/>
                  </a:lnTo>
                  <a:lnTo>
                    <a:pt x="1337" y="856"/>
                  </a:lnTo>
                  <a:lnTo>
                    <a:pt x="1337" y="854"/>
                  </a:lnTo>
                  <a:lnTo>
                    <a:pt x="1337" y="853"/>
                  </a:lnTo>
                  <a:lnTo>
                    <a:pt x="1337" y="853"/>
                  </a:lnTo>
                  <a:lnTo>
                    <a:pt x="1337" y="853"/>
                  </a:lnTo>
                  <a:lnTo>
                    <a:pt x="1338" y="851"/>
                  </a:lnTo>
                  <a:lnTo>
                    <a:pt x="1338" y="851"/>
                  </a:lnTo>
                  <a:lnTo>
                    <a:pt x="1338" y="851"/>
                  </a:lnTo>
                  <a:lnTo>
                    <a:pt x="1338" y="851"/>
                  </a:lnTo>
                  <a:lnTo>
                    <a:pt x="1338" y="853"/>
                  </a:lnTo>
                  <a:lnTo>
                    <a:pt x="1337" y="856"/>
                  </a:lnTo>
                  <a:lnTo>
                    <a:pt x="1337" y="856"/>
                  </a:lnTo>
                  <a:lnTo>
                    <a:pt x="1337" y="856"/>
                  </a:lnTo>
                  <a:lnTo>
                    <a:pt x="1338" y="854"/>
                  </a:lnTo>
                  <a:lnTo>
                    <a:pt x="1340" y="853"/>
                  </a:lnTo>
                  <a:lnTo>
                    <a:pt x="1340" y="850"/>
                  </a:lnTo>
                  <a:lnTo>
                    <a:pt x="1340" y="850"/>
                  </a:lnTo>
                  <a:lnTo>
                    <a:pt x="1340" y="847"/>
                  </a:lnTo>
                  <a:lnTo>
                    <a:pt x="1340" y="846"/>
                  </a:lnTo>
                  <a:lnTo>
                    <a:pt x="1340" y="844"/>
                  </a:lnTo>
                  <a:lnTo>
                    <a:pt x="1341" y="844"/>
                  </a:lnTo>
                  <a:lnTo>
                    <a:pt x="1343" y="843"/>
                  </a:lnTo>
                  <a:lnTo>
                    <a:pt x="1344" y="843"/>
                  </a:lnTo>
                  <a:lnTo>
                    <a:pt x="1345" y="843"/>
                  </a:lnTo>
                  <a:lnTo>
                    <a:pt x="1347" y="843"/>
                  </a:lnTo>
                  <a:lnTo>
                    <a:pt x="1347" y="841"/>
                  </a:lnTo>
                  <a:lnTo>
                    <a:pt x="1347" y="841"/>
                  </a:lnTo>
                  <a:lnTo>
                    <a:pt x="1347" y="841"/>
                  </a:lnTo>
                  <a:lnTo>
                    <a:pt x="1345" y="840"/>
                  </a:lnTo>
                  <a:lnTo>
                    <a:pt x="1345" y="840"/>
                  </a:lnTo>
                  <a:lnTo>
                    <a:pt x="1345" y="838"/>
                  </a:lnTo>
                  <a:lnTo>
                    <a:pt x="1345" y="837"/>
                  </a:lnTo>
                  <a:lnTo>
                    <a:pt x="1345" y="836"/>
                  </a:lnTo>
                  <a:lnTo>
                    <a:pt x="1347" y="836"/>
                  </a:lnTo>
                  <a:lnTo>
                    <a:pt x="1347" y="834"/>
                  </a:lnTo>
                  <a:lnTo>
                    <a:pt x="1347" y="834"/>
                  </a:lnTo>
                  <a:lnTo>
                    <a:pt x="1347" y="834"/>
                  </a:lnTo>
                  <a:lnTo>
                    <a:pt x="1348" y="834"/>
                  </a:lnTo>
                  <a:lnTo>
                    <a:pt x="1350" y="834"/>
                  </a:lnTo>
                  <a:lnTo>
                    <a:pt x="1350" y="833"/>
                  </a:lnTo>
                  <a:lnTo>
                    <a:pt x="1350" y="833"/>
                  </a:lnTo>
                  <a:lnTo>
                    <a:pt x="1351" y="834"/>
                  </a:lnTo>
                  <a:lnTo>
                    <a:pt x="1354" y="836"/>
                  </a:lnTo>
                  <a:lnTo>
                    <a:pt x="1355" y="836"/>
                  </a:lnTo>
                  <a:lnTo>
                    <a:pt x="1357" y="836"/>
                  </a:lnTo>
                  <a:lnTo>
                    <a:pt x="1358" y="837"/>
                  </a:lnTo>
                  <a:lnTo>
                    <a:pt x="1360" y="837"/>
                  </a:lnTo>
                  <a:lnTo>
                    <a:pt x="1360" y="838"/>
                  </a:lnTo>
                  <a:lnTo>
                    <a:pt x="1360" y="838"/>
                  </a:lnTo>
                  <a:lnTo>
                    <a:pt x="1361" y="840"/>
                  </a:lnTo>
                  <a:lnTo>
                    <a:pt x="1363" y="840"/>
                  </a:lnTo>
                  <a:lnTo>
                    <a:pt x="1364" y="840"/>
                  </a:lnTo>
                  <a:lnTo>
                    <a:pt x="1364" y="841"/>
                  </a:lnTo>
                  <a:lnTo>
                    <a:pt x="1368" y="843"/>
                  </a:lnTo>
                  <a:lnTo>
                    <a:pt x="1371" y="843"/>
                  </a:lnTo>
                  <a:lnTo>
                    <a:pt x="1371" y="844"/>
                  </a:lnTo>
                  <a:lnTo>
                    <a:pt x="1373" y="846"/>
                  </a:lnTo>
                  <a:lnTo>
                    <a:pt x="1373" y="846"/>
                  </a:lnTo>
                  <a:lnTo>
                    <a:pt x="1373" y="846"/>
                  </a:lnTo>
                  <a:lnTo>
                    <a:pt x="1373" y="847"/>
                  </a:lnTo>
                  <a:lnTo>
                    <a:pt x="1373" y="847"/>
                  </a:lnTo>
                  <a:lnTo>
                    <a:pt x="1373" y="848"/>
                  </a:lnTo>
                  <a:lnTo>
                    <a:pt x="1374" y="848"/>
                  </a:lnTo>
                  <a:lnTo>
                    <a:pt x="1374" y="850"/>
                  </a:lnTo>
                  <a:lnTo>
                    <a:pt x="1374" y="850"/>
                  </a:lnTo>
                  <a:lnTo>
                    <a:pt x="1374" y="850"/>
                  </a:lnTo>
                  <a:lnTo>
                    <a:pt x="1373" y="850"/>
                  </a:lnTo>
                  <a:lnTo>
                    <a:pt x="1371" y="850"/>
                  </a:lnTo>
                  <a:lnTo>
                    <a:pt x="1371" y="850"/>
                  </a:lnTo>
                  <a:lnTo>
                    <a:pt x="1371" y="851"/>
                  </a:lnTo>
                  <a:lnTo>
                    <a:pt x="1371" y="851"/>
                  </a:lnTo>
                  <a:lnTo>
                    <a:pt x="1373" y="854"/>
                  </a:lnTo>
                  <a:lnTo>
                    <a:pt x="1374" y="856"/>
                  </a:lnTo>
                  <a:lnTo>
                    <a:pt x="1374" y="858"/>
                  </a:lnTo>
                  <a:lnTo>
                    <a:pt x="1374" y="860"/>
                  </a:lnTo>
                  <a:lnTo>
                    <a:pt x="1373" y="861"/>
                  </a:lnTo>
                  <a:lnTo>
                    <a:pt x="1373" y="864"/>
                  </a:lnTo>
                  <a:lnTo>
                    <a:pt x="1373" y="866"/>
                  </a:lnTo>
                  <a:lnTo>
                    <a:pt x="1373" y="866"/>
                  </a:lnTo>
                  <a:lnTo>
                    <a:pt x="1371" y="867"/>
                  </a:lnTo>
                  <a:lnTo>
                    <a:pt x="1371" y="867"/>
                  </a:lnTo>
                  <a:lnTo>
                    <a:pt x="1371" y="867"/>
                  </a:lnTo>
                  <a:lnTo>
                    <a:pt x="1370" y="867"/>
                  </a:lnTo>
                  <a:lnTo>
                    <a:pt x="1370" y="868"/>
                  </a:lnTo>
                  <a:lnTo>
                    <a:pt x="1370" y="871"/>
                  </a:lnTo>
                  <a:lnTo>
                    <a:pt x="1368" y="873"/>
                  </a:lnTo>
                  <a:lnTo>
                    <a:pt x="1368" y="873"/>
                  </a:lnTo>
                  <a:lnTo>
                    <a:pt x="1367" y="873"/>
                  </a:lnTo>
                  <a:lnTo>
                    <a:pt x="1367" y="873"/>
                  </a:lnTo>
                  <a:lnTo>
                    <a:pt x="1367" y="874"/>
                  </a:lnTo>
                  <a:lnTo>
                    <a:pt x="1365" y="874"/>
                  </a:lnTo>
                  <a:lnTo>
                    <a:pt x="1364" y="874"/>
                  </a:lnTo>
                  <a:lnTo>
                    <a:pt x="1364" y="877"/>
                  </a:lnTo>
                  <a:lnTo>
                    <a:pt x="1364" y="877"/>
                  </a:lnTo>
                  <a:lnTo>
                    <a:pt x="1364" y="878"/>
                  </a:lnTo>
                  <a:lnTo>
                    <a:pt x="1364" y="880"/>
                  </a:lnTo>
                  <a:lnTo>
                    <a:pt x="1364" y="880"/>
                  </a:lnTo>
                  <a:lnTo>
                    <a:pt x="1365" y="881"/>
                  </a:lnTo>
                  <a:lnTo>
                    <a:pt x="1367" y="881"/>
                  </a:lnTo>
                  <a:lnTo>
                    <a:pt x="1368" y="881"/>
                  </a:lnTo>
                  <a:lnTo>
                    <a:pt x="1368" y="881"/>
                  </a:lnTo>
                  <a:lnTo>
                    <a:pt x="1370" y="880"/>
                  </a:lnTo>
                  <a:lnTo>
                    <a:pt x="1370" y="880"/>
                  </a:lnTo>
                  <a:lnTo>
                    <a:pt x="1371" y="880"/>
                  </a:lnTo>
                  <a:lnTo>
                    <a:pt x="1371" y="878"/>
                  </a:lnTo>
                  <a:lnTo>
                    <a:pt x="1373" y="876"/>
                  </a:lnTo>
                  <a:lnTo>
                    <a:pt x="1373" y="876"/>
                  </a:lnTo>
                  <a:lnTo>
                    <a:pt x="1373" y="876"/>
                  </a:lnTo>
                  <a:lnTo>
                    <a:pt x="1373" y="876"/>
                  </a:lnTo>
                  <a:lnTo>
                    <a:pt x="1373" y="876"/>
                  </a:lnTo>
                  <a:lnTo>
                    <a:pt x="1374" y="874"/>
                  </a:lnTo>
                  <a:lnTo>
                    <a:pt x="1374" y="874"/>
                  </a:lnTo>
                  <a:lnTo>
                    <a:pt x="1375" y="874"/>
                  </a:lnTo>
                  <a:lnTo>
                    <a:pt x="1377" y="873"/>
                  </a:lnTo>
                  <a:lnTo>
                    <a:pt x="1378" y="873"/>
                  </a:lnTo>
                  <a:lnTo>
                    <a:pt x="1380" y="873"/>
                  </a:lnTo>
                  <a:lnTo>
                    <a:pt x="1380" y="873"/>
                  </a:lnTo>
                  <a:lnTo>
                    <a:pt x="1381" y="874"/>
                  </a:lnTo>
                  <a:lnTo>
                    <a:pt x="1382" y="876"/>
                  </a:lnTo>
                  <a:lnTo>
                    <a:pt x="1384" y="877"/>
                  </a:lnTo>
                  <a:lnTo>
                    <a:pt x="1385" y="881"/>
                  </a:lnTo>
                  <a:lnTo>
                    <a:pt x="1385" y="890"/>
                  </a:lnTo>
                  <a:lnTo>
                    <a:pt x="1387" y="894"/>
                  </a:lnTo>
                  <a:lnTo>
                    <a:pt x="1387" y="894"/>
                  </a:lnTo>
                  <a:lnTo>
                    <a:pt x="1388" y="896"/>
                  </a:lnTo>
                  <a:lnTo>
                    <a:pt x="1387" y="901"/>
                  </a:lnTo>
                  <a:lnTo>
                    <a:pt x="1385" y="904"/>
                  </a:lnTo>
                  <a:lnTo>
                    <a:pt x="1384" y="905"/>
                  </a:lnTo>
                  <a:lnTo>
                    <a:pt x="1382" y="907"/>
                  </a:lnTo>
                  <a:lnTo>
                    <a:pt x="1381" y="908"/>
                  </a:lnTo>
                  <a:lnTo>
                    <a:pt x="1378" y="910"/>
                  </a:lnTo>
                  <a:lnTo>
                    <a:pt x="1377" y="911"/>
                  </a:lnTo>
                  <a:lnTo>
                    <a:pt x="1377" y="911"/>
                  </a:lnTo>
                  <a:lnTo>
                    <a:pt x="1377" y="911"/>
                  </a:lnTo>
                  <a:lnTo>
                    <a:pt x="1375" y="913"/>
                  </a:lnTo>
                  <a:lnTo>
                    <a:pt x="1375" y="914"/>
                  </a:lnTo>
                  <a:lnTo>
                    <a:pt x="1375" y="915"/>
                  </a:lnTo>
                  <a:lnTo>
                    <a:pt x="1375" y="915"/>
                  </a:lnTo>
                  <a:lnTo>
                    <a:pt x="1375" y="917"/>
                  </a:lnTo>
                  <a:lnTo>
                    <a:pt x="1374" y="917"/>
                  </a:lnTo>
                  <a:lnTo>
                    <a:pt x="1374" y="918"/>
                  </a:lnTo>
                  <a:lnTo>
                    <a:pt x="1374" y="918"/>
                  </a:lnTo>
                  <a:lnTo>
                    <a:pt x="1374" y="918"/>
                  </a:lnTo>
                  <a:lnTo>
                    <a:pt x="1374" y="918"/>
                  </a:lnTo>
                  <a:lnTo>
                    <a:pt x="1374" y="918"/>
                  </a:lnTo>
                  <a:lnTo>
                    <a:pt x="1373" y="920"/>
                  </a:lnTo>
                  <a:lnTo>
                    <a:pt x="1371" y="923"/>
                  </a:lnTo>
                  <a:lnTo>
                    <a:pt x="1371" y="923"/>
                  </a:lnTo>
                  <a:lnTo>
                    <a:pt x="1371" y="923"/>
                  </a:lnTo>
                  <a:lnTo>
                    <a:pt x="1373" y="923"/>
                  </a:lnTo>
                  <a:lnTo>
                    <a:pt x="1374" y="924"/>
                  </a:lnTo>
                  <a:lnTo>
                    <a:pt x="1374" y="924"/>
                  </a:lnTo>
                  <a:lnTo>
                    <a:pt x="1377" y="925"/>
                  </a:lnTo>
                  <a:lnTo>
                    <a:pt x="1378" y="927"/>
                  </a:lnTo>
                  <a:lnTo>
                    <a:pt x="1378" y="927"/>
                  </a:lnTo>
                  <a:lnTo>
                    <a:pt x="1380" y="927"/>
                  </a:lnTo>
                  <a:lnTo>
                    <a:pt x="1380" y="927"/>
                  </a:lnTo>
                  <a:lnTo>
                    <a:pt x="1381" y="927"/>
                  </a:lnTo>
                  <a:lnTo>
                    <a:pt x="1381" y="927"/>
                  </a:lnTo>
                  <a:lnTo>
                    <a:pt x="1381" y="927"/>
                  </a:lnTo>
                  <a:lnTo>
                    <a:pt x="1382" y="927"/>
                  </a:lnTo>
                  <a:lnTo>
                    <a:pt x="1382" y="927"/>
                  </a:lnTo>
                  <a:lnTo>
                    <a:pt x="1378" y="928"/>
                  </a:lnTo>
                  <a:lnTo>
                    <a:pt x="1378" y="928"/>
                  </a:lnTo>
                  <a:lnTo>
                    <a:pt x="1380" y="930"/>
                  </a:lnTo>
                  <a:lnTo>
                    <a:pt x="1380" y="930"/>
                  </a:lnTo>
                  <a:lnTo>
                    <a:pt x="1381" y="928"/>
                  </a:lnTo>
                  <a:lnTo>
                    <a:pt x="1382" y="928"/>
                  </a:lnTo>
                  <a:lnTo>
                    <a:pt x="1384" y="928"/>
                  </a:lnTo>
                  <a:lnTo>
                    <a:pt x="1384" y="928"/>
                  </a:lnTo>
                  <a:lnTo>
                    <a:pt x="1384" y="928"/>
                  </a:lnTo>
                  <a:lnTo>
                    <a:pt x="1385" y="930"/>
                  </a:lnTo>
                  <a:lnTo>
                    <a:pt x="1387" y="930"/>
                  </a:lnTo>
                  <a:lnTo>
                    <a:pt x="1387" y="930"/>
                  </a:lnTo>
                  <a:lnTo>
                    <a:pt x="1388" y="930"/>
                  </a:lnTo>
                  <a:lnTo>
                    <a:pt x="1390" y="928"/>
                  </a:lnTo>
                  <a:lnTo>
                    <a:pt x="1392" y="928"/>
                  </a:lnTo>
                  <a:lnTo>
                    <a:pt x="1395" y="928"/>
                  </a:lnTo>
                  <a:lnTo>
                    <a:pt x="1397" y="928"/>
                  </a:lnTo>
                  <a:lnTo>
                    <a:pt x="1398" y="928"/>
                  </a:lnTo>
                  <a:lnTo>
                    <a:pt x="1400" y="927"/>
                  </a:lnTo>
                  <a:lnTo>
                    <a:pt x="1402" y="924"/>
                  </a:lnTo>
                  <a:lnTo>
                    <a:pt x="1407" y="923"/>
                  </a:lnTo>
                  <a:lnTo>
                    <a:pt x="1412" y="920"/>
                  </a:lnTo>
                  <a:lnTo>
                    <a:pt x="1421" y="917"/>
                  </a:lnTo>
                  <a:lnTo>
                    <a:pt x="1422" y="915"/>
                  </a:lnTo>
                  <a:lnTo>
                    <a:pt x="1424" y="915"/>
                  </a:lnTo>
                  <a:lnTo>
                    <a:pt x="1424" y="914"/>
                  </a:lnTo>
                  <a:lnTo>
                    <a:pt x="1425" y="914"/>
                  </a:lnTo>
                  <a:lnTo>
                    <a:pt x="1431" y="911"/>
                  </a:lnTo>
                  <a:lnTo>
                    <a:pt x="1434" y="908"/>
                  </a:lnTo>
                  <a:lnTo>
                    <a:pt x="1435" y="907"/>
                  </a:lnTo>
                  <a:lnTo>
                    <a:pt x="1437" y="905"/>
                  </a:lnTo>
                  <a:lnTo>
                    <a:pt x="1440" y="905"/>
                  </a:lnTo>
                  <a:lnTo>
                    <a:pt x="1441" y="904"/>
                  </a:lnTo>
                  <a:lnTo>
                    <a:pt x="1441" y="903"/>
                  </a:lnTo>
                  <a:lnTo>
                    <a:pt x="1442" y="901"/>
                  </a:lnTo>
                  <a:lnTo>
                    <a:pt x="1444" y="901"/>
                  </a:lnTo>
                  <a:lnTo>
                    <a:pt x="1444" y="900"/>
                  </a:lnTo>
                  <a:lnTo>
                    <a:pt x="1444" y="900"/>
                  </a:lnTo>
                  <a:lnTo>
                    <a:pt x="1444" y="898"/>
                  </a:lnTo>
                  <a:lnTo>
                    <a:pt x="1444" y="897"/>
                  </a:lnTo>
                  <a:lnTo>
                    <a:pt x="1444" y="896"/>
                  </a:lnTo>
                  <a:lnTo>
                    <a:pt x="1444" y="896"/>
                  </a:lnTo>
                  <a:lnTo>
                    <a:pt x="1444" y="894"/>
                  </a:lnTo>
                  <a:lnTo>
                    <a:pt x="1444" y="894"/>
                  </a:lnTo>
                  <a:lnTo>
                    <a:pt x="1441" y="893"/>
                  </a:lnTo>
                  <a:lnTo>
                    <a:pt x="1441" y="890"/>
                  </a:lnTo>
                  <a:lnTo>
                    <a:pt x="1441" y="890"/>
                  </a:lnTo>
                  <a:lnTo>
                    <a:pt x="1441" y="890"/>
                  </a:lnTo>
                  <a:lnTo>
                    <a:pt x="1447" y="887"/>
                  </a:lnTo>
                  <a:lnTo>
                    <a:pt x="1451" y="887"/>
                  </a:lnTo>
                  <a:lnTo>
                    <a:pt x="1455" y="887"/>
                  </a:lnTo>
                  <a:lnTo>
                    <a:pt x="1461" y="888"/>
                  </a:lnTo>
                  <a:lnTo>
                    <a:pt x="1462" y="888"/>
                  </a:lnTo>
                  <a:lnTo>
                    <a:pt x="1464" y="890"/>
                  </a:lnTo>
                  <a:lnTo>
                    <a:pt x="1465" y="890"/>
                  </a:lnTo>
                  <a:lnTo>
                    <a:pt x="1468" y="890"/>
                  </a:lnTo>
                  <a:lnTo>
                    <a:pt x="1470" y="890"/>
                  </a:lnTo>
                  <a:lnTo>
                    <a:pt x="1474" y="890"/>
                  </a:lnTo>
                  <a:lnTo>
                    <a:pt x="1475" y="890"/>
                  </a:lnTo>
                  <a:lnTo>
                    <a:pt x="1475" y="890"/>
                  </a:lnTo>
                  <a:lnTo>
                    <a:pt x="1475" y="890"/>
                  </a:lnTo>
                  <a:lnTo>
                    <a:pt x="1475" y="890"/>
                  </a:lnTo>
                  <a:lnTo>
                    <a:pt x="1477" y="888"/>
                  </a:lnTo>
                  <a:lnTo>
                    <a:pt x="1478" y="888"/>
                  </a:lnTo>
                  <a:lnTo>
                    <a:pt x="1479" y="888"/>
                  </a:lnTo>
                  <a:lnTo>
                    <a:pt x="1479" y="887"/>
                  </a:lnTo>
                  <a:lnTo>
                    <a:pt x="1479" y="887"/>
                  </a:lnTo>
                  <a:lnTo>
                    <a:pt x="1481" y="886"/>
                  </a:lnTo>
                  <a:lnTo>
                    <a:pt x="1482" y="884"/>
                  </a:lnTo>
                  <a:lnTo>
                    <a:pt x="1484" y="884"/>
                  </a:lnTo>
                  <a:lnTo>
                    <a:pt x="1485" y="884"/>
                  </a:lnTo>
                  <a:lnTo>
                    <a:pt x="1487" y="884"/>
                  </a:lnTo>
                  <a:lnTo>
                    <a:pt x="1487" y="883"/>
                  </a:lnTo>
                  <a:lnTo>
                    <a:pt x="1487" y="883"/>
                  </a:lnTo>
                  <a:lnTo>
                    <a:pt x="1487" y="883"/>
                  </a:lnTo>
                  <a:lnTo>
                    <a:pt x="1487" y="881"/>
                  </a:lnTo>
                  <a:lnTo>
                    <a:pt x="1487" y="881"/>
                  </a:lnTo>
                  <a:lnTo>
                    <a:pt x="1487" y="881"/>
                  </a:lnTo>
                  <a:lnTo>
                    <a:pt x="1487" y="881"/>
                  </a:lnTo>
                  <a:lnTo>
                    <a:pt x="1487" y="878"/>
                  </a:lnTo>
                  <a:lnTo>
                    <a:pt x="1487" y="878"/>
                  </a:lnTo>
                  <a:lnTo>
                    <a:pt x="1487" y="877"/>
                  </a:lnTo>
                  <a:lnTo>
                    <a:pt x="1485" y="877"/>
                  </a:lnTo>
                  <a:lnTo>
                    <a:pt x="1485" y="877"/>
                  </a:lnTo>
                  <a:lnTo>
                    <a:pt x="1487" y="876"/>
                  </a:lnTo>
                  <a:lnTo>
                    <a:pt x="1487" y="877"/>
                  </a:lnTo>
                  <a:lnTo>
                    <a:pt x="1487" y="877"/>
                  </a:lnTo>
                  <a:lnTo>
                    <a:pt x="1487" y="877"/>
                  </a:lnTo>
                  <a:lnTo>
                    <a:pt x="1488" y="876"/>
                  </a:lnTo>
                  <a:lnTo>
                    <a:pt x="1488" y="874"/>
                  </a:lnTo>
                  <a:lnTo>
                    <a:pt x="1489" y="874"/>
                  </a:lnTo>
                  <a:lnTo>
                    <a:pt x="1489" y="874"/>
                  </a:lnTo>
                  <a:lnTo>
                    <a:pt x="1489" y="874"/>
                  </a:lnTo>
                  <a:lnTo>
                    <a:pt x="1488" y="874"/>
                  </a:lnTo>
                  <a:lnTo>
                    <a:pt x="1487" y="874"/>
                  </a:lnTo>
                  <a:lnTo>
                    <a:pt x="1488" y="873"/>
                  </a:lnTo>
                  <a:lnTo>
                    <a:pt x="1488" y="873"/>
                  </a:lnTo>
                  <a:lnTo>
                    <a:pt x="1488" y="871"/>
                  </a:lnTo>
                  <a:lnTo>
                    <a:pt x="1487" y="871"/>
                  </a:lnTo>
                  <a:lnTo>
                    <a:pt x="1485" y="873"/>
                  </a:lnTo>
                  <a:lnTo>
                    <a:pt x="1485" y="873"/>
                  </a:lnTo>
                  <a:lnTo>
                    <a:pt x="1485" y="873"/>
                  </a:lnTo>
                  <a:lnTo>
                    <a:pt x="1485" y="871"/>
                  </a:lnTo>
                  <a:lnTo>
                    <a:pt x="1487" y="870"/>
                  </a:lnTo>
                  <a:lnTo>
                    <a:pt x="1494" y="864"/>
                  </a:lnTo>
                  <a:lnTo>
                    <a:pt x="1494" y="864"/>
                  </a:lnTo>
                  <a:lnTo>
                    <a:pt x="1494" y="863"/>
                  </a:lnTo>
                  <a:lnTo>
                    <a:pt x="1494" y="863"/>
                  </a:lnTo>
                  <a:lnTo>
                    <a:pt x="1494" y="863"/>
                  </a:lnTo>
                  <a:lnTo>
                    <a:pt x="1494" y="863"/>
                  </a:lnTo>
                  <a:lnTo>
                    <a:pt x="1499" y="857"/>
                  </a:lnTo>
                  <a:lnTo>
                    <a:pt x="1504" y="854"/>
                  </a:lnTo>
                  <a:lnTo>
                    <a:pt x="1507" y="851"/>
                  </a:lnTo>
                  <a:lnTo>
                    <a:pt x="1508" y="851"/>
                  </a:lnTo>
                  <a:lnTo>
                    <a:pt x="1511" y="851"/>
                  </a:lnTo>
                  <a:lnTo>
                    <a:pt x="1511" y="851"/>
                  </a:lnTo>
                  <a:lnTo>
                    <a:pt x="1512" y="851"/>
                  </a:lnTo>
                  <a:lnTo>
                    <a:pt x="1515" y="851"/>
                  </a:lnTo>
                  <a:lnTo>
                    <a:pt x="1522" y="851"/>
                  </a:lnTo>
                  <a:lnTo>
                    <a:pt x="1529" y="851"/>
                  </a:lnTo>
                  <a:lnTo>
                    <a:pt x="1535" y="851"/>
                  </a:lnTo>
                  <a:lnTo>
                    <a:pt x="1542" y="851"/>
                  </a:lnTo>
                  <a:lnTo>
                    <a:pt x="1549" y="851"/>
                  </a:lnTo>
                  <a:lnTo>
                    <a:pt x="1555" y="851"/>
                  </a:lnTo>
                  <a:lnTo>
                    <a:pt x="1562" y="851"/>
                  </a:lnTo>
                  <a:lnTo>
                    <a:pt x="1564" y="847"/>
                  </a:lnTo>
                  <a:lnTo>
                    <a:pt x="1565" y="844"/>
                  </a:lnTo>
                  <a:lnTo>
                    <a:pt x="1568" y="846"/>
                  </a:lnTo>
                  <a:lnTo>
                    <a:pt x="1568" y="846"/>
                  </a:lnTo>
                  <a:lnTo>
                    <a:pt x="1569" y="844"/>
                  </a:lnTo>
                  <a:lnTo>
                    <a:pt x="1571" y="844"/>
                  </a:lnTo>
                  <a:lnTo>
                    <a:pt x="1571" y="844"/>
                  </a:lnTo>
                  <a:lnTo>
                    <a:pt x="1572" y="844"/>
                  </a:lnTo>
                  <a:lnTo>
                    <a:pt x="1572" y="846"/>
                  </a:lnTo>
                  <a:lnTo>
                    <a:pt x="1572" y="846"/>
                  </a:lnTo>
                  <a:lnTo>
                    <a:pt x="1574" y="844"/>
                  </a:lnTo>
                  <a:lnTo>
                    <a:pt x="1574" y="843"/>
                  </a:lnTo>
                  <a:lnTo>
                    <a:pt x="1574" y="841"/>
                  </a:lnTo>
                  <a:lnTo>
                    <a:pt x="1575" y="841"/>
                  </a:lnTo>
                  <a:lnTo>
                    <a:pt x="1575" y="841"/>
                  </a:lnTo>
                  <a:lnTo>
                    <a:pt x="1575" y="841"/>
                  </a:lnTo>
                  <a:lnTo>
                    <a:pt x="1575" y="841"/>
                  </a:lnTo>
                  <a:lnTo>
                    <a:pt x="1575" y="840"/>
                  </a:lnTo>
                  <a:lnTo>
                    <a:pt x="1575" y="838"/>
                  </a:lnTo>
                  <a:lnTo>
                    <a:pt x="1576" y="837"/>
                  </a:lnTo>
                  <a:lnTo>
                    <a:pt x="1579" y="836"/>
                  </a:lnTo>
                  <a:lnTo>
                    <a:pt x="1579" y="834"/>
                  </a:lnTo>
                  <a:lnTo>
                    <a:pt x="1579" y="833"/>
                  </a:lnTo>
                  <a:lnTo>
                    <a:pt x="1581" y="831"/>
                  </a:lnTo>
                  <a:lnTo>
                    <a:pt x="1582" y="830"/>
                  </a:lnTo>
                  <a:lnTo>
                    <a:pt x="1582" y="830"/>
                  </a:lnTo>
                  <a:lnTo>
                    <a:pt x="1582" y="828"/>
                  </a:lnTo>
                  <a:lnTo>
                    <a:pt x="1582" y="827"/>
                  </a:lnTo>
                  <a:lnTo>
                    <a:pt x="1582" y="826"/>
                  </a:lnTo>
                  <a:lnTo>
                    <a:pt x="1582" y="823"/>
                  </a:lnTo>
                  <a:lnTo>
                    <a:pt x="1584" y="820"/>
                  </a:lnTo>
                  <a:lnTo>
                    <a:pt x="1585" y="818"/>
                  </a:lnTo>
                  <a:lnTo>
                    <a:pt x="1586" y="816"/>
                  </a:lnTo>
                  <a:lnTo>
                    <a:pt x="1586" y="811"/>
                  </a:lnTo>
                  <a:lnTo>
                    <a:pt x="1588" y="808"/>
                  </a:lnTo>
                  <a:lnTo>
                    <a:pt x="1591" y="806"/>
                  </a:lnTo>
                  <a:lnTo>
                    <a:pt x="1592" y="803"/>
                  </a:lnTo>
                  <a:lnTo>
                    <a:pt x="1595" y="800"/>
                  </a:lnTo>
                  <a:lnTo>
                    <a:pt x="1596" y="797"/>
                  </a:lnTo>
                  <a:lnTo>
                    <a:pt x="1598" y="796"/>
                  </a:lnTo>
                  <a:lnTo>
                    <a:pt x="1598" y="794"/>
                  </a:lnTo>
                  <a:lnTo>
                    <a:pt x="1601" y="794"/>
                  </a:lnTo>
                  <a:lnTo>
                    <a:pt x="1602" y="796"/>
                  </a:lnTo>
                  <a:lnTo>
                    <a:pt x="1601" y="797"/>
                  </a:lnTo>
                  <a:lnTo>
                    <a:pt x="1602" y="798"/>
                  </a:lnTo>
                  <a:lnTo>
                    <a:pt x="1602" y="800"/>
                  </a:lnTo>
                  <a:lnTo>
                    <a:pt x="1604" y="800"/>
                  </a:lnTo>
                  <a:lnTo>
                    <a:pt x="1604" y="800"/>
                  </a:lnTo>
                  <a:lnTo>
                    <a:pt x="1605" y="800"/>
                  </a:lnTo>
                  <a:lnTo>
                    <a:pt x="1608" y="800"/>
                  </a:lnTo>
                  <a:lnTo>
                    <a:pt x="1611" y="798"/>
                  </a:lnTo>
                  <a:lnTo>
                    <a:pt x="1612" y="798"/>
                  </a:lnTo>
                  <a:lnTo>
                    <a:pt x="1612" y="797"/>
                  </a:lnTo>
                  <a:lnTo>
                    <a:pt x="1614" y="797"/>
                  </a:lnTo>
                  <a:lnTo>
                    <a:pt x="1615" y="797"/>
                  </a:lnTo>
                  <a:lnTo>
                    <a:pt x="1616" y="798"/>
                  </a:lnTo>
                  <a:lnTo>
                    <a:pt x="1619" y="801"/>
                  </a:lnTo>
                  <a:lnTo>
                    <a:pt x="1622" y="803"/>
                  </a:lnTo>
                  <a:lnTo>
                    <a:pt x="1622" y="807"/>
                  </a:lnTo>
                  <a:lnTo>
                    <a:pt x="1622" y="810"/>
                  </a:lnTo>
                  <a:lnTo>
                    <a:pt x="1622" y="814"/>
                  </a:lnTo>
                  <a:lnTo>
                    <a:pt x="1622" y="817"/>
                  </a:lnTo>
                  <a:lnTo>
                    <a:pt x="1622" y="821"/>
                  </a:lnTo>
                  <a:lnTo>
                    <a:pt x="1622" y="824"/>
                  </a:lnTo>
                  <a:lnTo>
                    <a:pt x="1622" y="827"/>
                  </a:lnTo>
                  <a:lnTo>
                    <a:pt x="1622" y="830"/>
                  </a:lnTo>
                  <a:lnTo>
                    <a:pt x="1622" y="830"/>
                  </a:lnTo>
                  <a:lnTo>
                    <a:pt x="1622" y="831"/>
                  </a:lnTo>
                  <a:lnTo>
                    <a:pt x="1622" y="831"/>
                  </a:lnTo>
                  <a:lnTo>
                    <a:pt x="1622" y="831"/>
                  </a:lnTo>
                  <a:lnTo>
                    <a:pt x="1622" y="833"/>
                  </a:lnTo>
                  <a:lnTo>
                    <a:pt x="1622" y="833"/>
                  </a:lnTo>
                  <a:lnTo>
                    <a:pt x="1622" y="833"/>
                  </a:lnTo>
                  <a:lnTo>
                    <a:pt x="1622" y="834"/>
                  </a:lnTo>
                  <a:lnTo>
                    <a:pt x="1622" y="834"/>
                  </a:lnTo>
                  <a:lnTo>
                    <a:pt x="1622" y="836"/>
                  </a:lnTo>
                  <a:lnTo>
                    <a:pt x="1622" y="836"/>
                  </a:lnTo>
                  <a:lnTo>
                    <a:pt x="1622" y="836"/>
                  </a:lnTo>
                  <a:lnTo>
                    <a:pt x="1624" y="836"/>
                  </a:lnTo>
                  <a:lnTo>
                    <a:pt x="1624" y="837"/>
                  </a:lnTo>
                  <a:lnTo>
                    <a:pt x="1625" y="837"/>
                  </a:lnTo>
                  <a:lnTo>
                    <a:pt x="1626" y="837"/>
                  </a:lnTo>
                  <a:lnTo>
                    <a:pt x="1626" y="837"/>
                  </a:lnTo>
                  <a:lnTo>
                    <a:pt x="1628" y="837"/>
                  </a:lnTo>
                  <a:lnTo>
                    <a:pt x="1628" y="838"/>
                  </a:lnTo>
                  <a:lnTo>
                    <a:pt x="1628" y="840"/>
                  </a:lnTo>
                  <a:lnTo>
                    <a:pt x="1628" y="840"/>
                  </a:lnTo>
                  <a:lnTo>
                    <a:pt x="1626" y="840"/>
                  </a:lnTo>
                  <a:lnTo>
                    <a:pt x="1626" y="840"/>
                  </a:lnTo>
                  <a:lnTo>
                    <a:pt x="1626" y="841"/>
                  </a:lnTo>
                  <a:lnTo>
                    <a:pt x="1628" y="841"/>
                  </a:lnTo>
                  <a:lnTo>
                    <a:pt x="1628" y="843"/>
                  </a:lnTo>
                  <a:lnTo>
                    <a:pt x="1628" y="844"/>
                  </a:lnTo>
                  <a:lnTo>
                    <a:pt x="1626" y="844"/>
                  </a:lnTo>
                  <a:lnTo>
                    <a:pt x="1626" y="846"/>
                  </a:lnTo>
                  <a:lnTo>
                    <a:pt x="1628" y="846"/>
                  </a:lnTo>
                  <a:lnTo>
                    <a:pt x="1628" y="847"/>
                  </a:lnTo>
                  <a:lnTo>
                    <a:pt x="1629" y="847"/>
                  </a:lnTo>
                  <a:lnTo>
                    <a:pt x="1629" y="848"/>
                  </a:lnTo>
                  <a:lnTo>
                    <a:pt x="1629" y="847"/>
                  </a:lnTo>
                  <a:lnTo>
                    <a:pt x="1631" y="847"/>
                  </a:lnTo>
                  <a:lnTo>
                    <a:pt x="1631" y="847"/>
                  </a:lnTo>
                  <a:lnTo>
                    <a:pt x="1631" y="847"/>
                  </a:lnTo>
                  <a:lnTo>
                    <a:pt x="1632" y="847"/>
                  </a:lnTo>
                  <a:lnTo>
                    <a:pt x="1632" y="847"/>
                  </a:lnTo>
                  <a:lnTo>
                    <a:pt x="1632" y="848"/>
                  </a:lnTo>
                  <a:lnTo>
                    <a:pt x="1634" y="850"/>
                  </a:lnTo>
                  <a:lnTo>
                    <a:pt x="1634" y="851"/>
                  </a:lnTo>
                  <a:lnTo>
                    <a:pt x="1632" y="853"/>
                  </a:lnTo>
                  <a:lnTo>
                    <a:pt x="1632" y="854"/>
                  </a:lnTo>
                  <a:lnTo>
                    <a:pt x="1635" y="854"/>
                  </a:lnTo>
                  <a:lnTo>
                    <a:pt x="1635" y="854"/>
                  </a:lnTo>
                  <a:lnTo>
                    <a:pt x="1635" y="856"/>
                  </a:lnTo>
                  <a:lnTo>
                    <a:pt x="1632" y="858"/>
                  </a:lnTo>
                  <a:lnTo>
                    <a:pt x="1629" y="858"/>
                  </a:lnTo>
                  <a:lnTo>
                    <a:pt x="1628" y="858"/>
                  </a:lnTo>
                  <a:lnTo>
                    <a:pt x="1625" y="860"/>
                  </a:lnTo>
                  <a:lnTo>
                    <a:pt x="1625" y="861"/>
                  </a:lnTo>
                  <a:lnTo>
                    <a:pt x="1624" y="861"/>
                  </a:lnTo>
                  <a:lnTo>
                    <a:pt x="1624" y="861"/>
                  </a:lnTo>
                  <a:lnTo>
                    <a:pt x="1622" y="860"/>
                  </a:lnTo>
                  <a:lnTo>
                    <a:pt x="1621" y="861"/>
                  </a:lnTo>
                  <a:lnTo>
                    <a:pt x="1619" y="864"/>
                  </a:lnTo>
                  <a:lnTo>
                    <a:pt x="1619" y="863"/>
                  </a:lnTo>
                  <a:lnTo>
                    <a:pt x="1619" y="864"/>
                  </a:lnTo>
                  <a:lnTo>
                    <a:pt x="1618" y="864"/>
                  </a:lnTo>
                  <a:lnTo>
                    <a:pt x="1618" y="866"/>
                  </a:lnTo>
                  <a:lnTo>
                    <a:pt x="1616" y="864"/>
                  </a:lnTo>
                  <a:lnTo>
                    <a:pt x="1616" y="863"/>
                  </a:lnTo>
                  <a:lnTo>
                    <a:pt x="1616" y="863"/>
                  </a:lnTo>
                  <a:lnTo>
                    <a:pt x="1615" y="863"/>
                  </a:lnTo>
                  <a:lnTo>
                    <a:pt x="1615" y="863"/>
                  </a:lnTo>
                  <a:lnTo>
                    <a:pt x="1614" y="863"/>
                  </a:lnTo>
                  <a:lnTo>
                    <a:pt x="1614" y="863"/>
                  </a:lnTo>
                  <a:lnTo>
                    <a:pt x="1612" y="864"/>
                  </a:lnTo>
                  <a:lnTo>
                    <a:pt x="1612" y="863"/>
                  </a:lnTo>
                  <a:lnTo>
                    <a:pt x="1611" y="863"/>
                  </a:lnTo>
                  <a:lnTo>
                    <a:pt x="1611" y="864"/>
                  </a:lnTo>
                  <a:lnTo>
                    <a:pt x="1611" y="866"/>
                  </a:lnTo>
                  <a:lnTo>
                    <a:pt x="1611" y="867"/>
                  </a:lnTo>
                  <a:lnTo>
                    <a:pt x="1609" y="868"/>
                  </a:lnTo>
                  <a:lnTo>
                    <a:pt x="1609" y="867"/>
                  </a:lnTo>
                  <a:lnTo>
                    <a:pt x="1609" y="867"/>
                  </a:lnTo>
                  <a:lnTo>
                    <a:pt x="1606" y="866"/>
                  </a:lnTo>
                  <a:lnTo>
                    <a:pt x="1605" y="866"/>
                  </a:lnTo>
                  <a:lnTo>
                    <a:pt x="1606" y="866"/>
                  </a:lnTo>
                  <a:lnTo>
                    <a:pt x="1606" y="864"/>
                  </a:lnTo>
                  <a:lnTo>
                    <a:pt x="1606" y="864"/>
                  </a:lnTo>
                  <a:lnTo>
                    <a:pt x="1606" y="864"/>
                  </a:lnTo>
                  <a:lnTo>
                    <a:pt x="1606" y="864"/>
                  </a:lnTo>
                  <a:lnTo>
                    <a:pt x="1606" y="863"/>
                  </a:lnTo>
                  <a:lnTo>
                    <a:pt x="1606" y="861"/>
                  </a:lnTo>
                  <a:lnTo>
                    <a:pt x="1605" y="861"/>
                  </a:lnTo>
                  <a:lnTo>
                    <a:pt x="1605" y="863"/>
                  </a:lnTo>
                  <a:lnTo>
                    <a:pt x="1604" y="864"/>
                  </a:lnTo>
                  <a:lnTo>
                    <a:pt x="1604" y="866"/>
                  </a:lnTo>
                  <a:lnTo>
                    <a:pt x="1602" y="870"/>
                  </a:lnTo>
                  <a:lnTo>
                    <a:pt x="1601" y="871"/>
                  </a:lnTo>
                  <a:lnTo>
                    <a:pt x="1601" y="873"/>
                  </a:lnTo>
                  <a:lnTo>
                    <a:pt x="1599" y="874"/>
                  </a:lnTo>
                  <a:lnTo>
                    <a:pt x="1596" y="874"/>
                  </a:lnTo>
                  <a:lnTo>
                    <a:pt x="1595" y="874"/>
                  </a:lnTo>
                  <a:lnTo>
                    <a:pt x="1595" y="876"/>
                  </a:lnTo>
                  <a:lnTo>
                    <a:pt x="1594" y="876"/>
                  </a:lnTo>
                  <a:lnTo>
                    <a:pt x="1594" y="874"/>
                  </a:lnTo>
                  <a:lnTo>
                    <a:pt x="1594" y="874"/>
                  </a:lnTo>
                  <a:lnTo>
                    <a:pt x="1594" y="876"/>
                  </a:lnTo>
                  <a:lnTo>
                    <a:pt x="1592" y="876"/>
                  </a:lnTo>
                  <a:lnTo>
                    <a:pt x="1592" y="874"/>
                  </a:lnTo>
                  <a:lnTo>
                    <a:pt x="1592" y="874"/>
                  </a:lnTo>
                  <a:lnTo>
                    <a:pt x="1591" y="874"/>
                  </a:lnTo>
                  <a:lnTo>
                    <a:pt x="1591" y="877"/>
                  </a:lnTo>
                  <a:lnTo>
                    <a:pt x="1591" y="877"/>
                  </a:lnTo>
                  <a:lnTo>
                    <a:pt x="1591" y="876"/>
                  </a:lnTo>
                  <a:lnTo>
                    <a:pt x="1589" y="876"/>
                  </a:lnTo>
                  <a:lnTo>
                    <a:pt x="1589" y="877"/>
                  </a:lnTo>
                  <a:lnTo>
                    <a:pt x="1589" y="878"/>
                  </a:lnTo>
                  <a:lnTo>
                    <a:pt x="1589" y="878"/>
                  </a:lnTo>
                  <a:lnTo>
                    <a:pt x="1589" y="878"/>
                  </a:lnTo>
                  <a:lnTo>
                    <a:pt x="1588" y="877"/>
                  </a:lnTo>
                  <a:lnTo>
                    <a:pt x="1588" y="878"/>
                  </a:lnTo>
                  <a:lnTo>
                    <a:pt x="1586" y="878"/>
                  </a:lnTo>
                  <a:lnTo>
                    <a:pt x="1586" y="877"/>
                  </a:lnTo>
                  <a:lnTo>
                    <a:pt x="1586" y="877"/>
                  </a:lnTo>
                  <a:lnTo>
                    <a:pt x="1585" y="877"/>
                  </a:lnTo>
                  <a:lnTo>
                    <a:pt x="1584" y="878"/>
                  </a:lnTo>
                  <a:lnTo>
                    <a:pt x="1582" y="881"/>
                  </a:lnTo>
                  <a:lnTo>
                    <a:pt x="1582" y="881"/>
                  </a:lnTo>
                  <a:lnTo>
                    <a:pt x="1584" y="881"/>
                  </a:lnTo>
                  <a:lnTo>
                    <a:pt x="1581" y="886"/>
                  </a:lnTo>
                  <a:lnTo>
                    <a:pt x="1578" y="888"/>
                  </a:lnTo>
                  <a:lnTo>
                    <a:pt x="1576" y="893"/>
                  </a:lnTo>
                  <a:lnTo>
                    <a:pt x="1575" y="893"/>
                  </a:lnTo>
                  <a:lnTo>
                    <a:pt x="1575" y="894"/>
                  </a:lnTo>
                  <a:lnTo>
                    <a:pt x="1574" y="897"/>
                  </a:lnTo>
                  <a:lnTo>
                    <a:pt x="1574" y="900"/>
                  </a:lnTo>
                  <a:lnTo>
                    <a:pt x="1574" y="900"/>
                  </a:lnTo>
                  <a:lnTo>
                    <a:pt x="1574" y="901"/>
                  </a:lnTo>
                  <a:lnTo>
                    <a:pt x="1575" y="903"/>
                  </a:lnTo>
                  <a:lnTo>
                    <a:pt x="1575" y="903"/>
                  </a:lnTo>
                  <a:lnTo>
                    <a:pt x="1576" y="903"/>
                  </a:lnTo>
                  <a:lnTo>
                    <a:pt x="1576" y="903"/>
                  </a:lnTo>
                  <a:lnTo>
                    <a:pt x="1576" y="903"/>
                  </a:lnTo>
                  <a:lnTo>
                    <a:pt x="1576" y="904"/>
                  </a:lnTo>
                  <a:lnTo>
                    <a:pt x="1576" y="904"/>
                  </a:lnTo>
                  <a:lnTo>
                    <a:pt x="1575" y="905"/>
                  </a:lnTo>
                  <a:lnTo>
                    <a:pt x="1574" y="905"/>
                  </a:lnTo>
                  <a:lnTo>
                    <a:pt x="1572" y="907"/>
                  </a:lnTo>
                  <a:lnTo>
                    <a:pt x="1572" y="908"/>
                  </a:lnTo>
                  <a:lnTo>
                    <a:pt x="1569" y="910"/>
                  </a:lnTo>
                  <a:lnTo>
                    <a:pt x="1571" y="911"/>
                  </a:lnTo>
                  <a:lnTo>
                    <a:pt x="1574" y="911"/>
                  </a:lnTo>
                  <a:lnTo>
                    <a:pt x="1575" y="913"/>
                  </a:lnTo>
                  <a:lnTo>
                    <a:pt x="1576" y="917"/>
                  </a:lnTo>
                  <a:lnTo>
                    <a:pt x="1576" y="917"/>
                  </a:lnTo>
                  <a:lnTo>
                    <a:pt x="1576" y="917"/>
                  </a:lnTo>
                  <a:lnTo>
                    <a:pt x="1578" y="918"/>
                  </a:lnTo>
                  <a:lnTo>
                    <a:pt x="1578" y="921"/>
                  </a:lnTo>
                  <a:lnTo>
                    <a:pt x="1579" y="923"/>
                  </a:lnTo>
                  <a:lnTo>
                    <a:pt x="1582" y="923"/>
                  </a:lnTo>
                  <a:lnTo>
                    <a:pt x="1584" y="923"/>
                  </a:lnTo>
                  <a:lnTo>
                    <a:pt x="1586" y="921"/>
                  </a:lnTo>
                  <a:lnTo>
                    <a:pt x="1586" y="920"/>
                  </a:lnTo>
                  <a:lnTo>
                    <a:pt x="1585" y="918"/>
                  </a:lnTo>
                  <a:lnTo>
                    <a:pt x="1585" y="917"/>
                  </a:lnTo>
                  <a:lnTo>
                    <a:pt x="1584" y="915"/>
                  </a:lnTo>
                  <a:lnTo>
                    <a:pt x="1584" y="917"/>
                  </a:lnTo>
                  <a:lnTo>
                    <a:pt x="1582" y="915"/>
                  </a:lnTo>
                  <a:lnTo>
                    <a:pt x="1582" y="915"/>
                  </a:lnTo>
                  <a:lnTo>
                    <a:pt x="1584" y="915"/>
                  </a:lnTo>
                  <a:lnTo>
                    <a:pt x="1584" y="915"/>
                  </a:lnTo>
                  <a:lnTo>
                    <a:pt x="1585" y="915"/>
                  </a:lnTo>
                  <a:lnTo>
                    <a:pt x="1586" y="918"/>
                  </a:lnTo>
                  <a:lnTo>
                    <a:pt x="1588" y="921"/>
                  </a:lnTo>
                  <a:lnTo>
                    <a:pt x="1588" y="924"/>
                  </a:lnTo>
                  <a:lnTo>
                    <a:pt x="1588" y="924"/>
                  </a:lnTo>
                  <a:lnTo>
                    <a:pt x="1586" y="924"/>
                  </a:lnTo>
                  <a:lnTo>
                    <a:pt x="1585" y="924"/>
                  </a:lnTo>
                  <a:lnTo>
                    <a:pt x="1579" y="925"/>
                  </a:lnTo>
                  <a:lnTo>
                    <a:pt x="1579" y="925"/>
                  </a:lnTo>
                  <a:lnTo>
                    <a:pt x="1576" y="927"/>
                  </a:lnTo>
                  <a:lnTo>
                    <a:pt x="1575" y="927"/>
                  </a:lnTo>
                  <a:lnTo>
                    <a:pt x="1576" y="925"/>
                  </a:lnTo>
                  <a:lnTo>
                    <a:pt x="1576" y="924"/>
                  </a:lnTo>
                  <a:lnTo>
                    <a:pt x="1575" y="923"/>
                  </a:lnTo>
                  <a:lnTo>
                    <a:pt x="1571" y="927"/>
                  </a:lnTo>
                  <a:lnTo>
                    <a:pt x="1569" y="927"/>
                  </a:lnTo>
                  <a:lnTo>
                    <a:pt x="1568" y="928"/>
                  </a:lnTo>
                  <a:lnTo>
                    <a:pt x="1568" y="927"/>
                  </a:lnTo>
                  <a:lnTo>
                    <a:pt x="1567" y="925"/>
                  </a:lnTo>
                  <a:lnTo>
                    <a:pt x="1568" y="923"/>
                  </a:lnTo>
                  <a:lnTo>
                    <a:pt x="1568" y="923"/>
                  </a:lnTo>
                  <a:lnTo>
                    <a:pt x="1567" y="924"/>
                  </a:lnTo>
                  <a:lnTo>
                    <a:pt x="1565" y="923"/>
                  </a:lnTo>
                  <a:lnTo>
                    <a:pt x="1565" y="923"/>
                  </a:lnTo>
                  <a:lnTo>
                    <a:pt x="1565" y="921"/>
                  </a:lnTo>
                  <a:lnTo>
                    <a:pt x="1564" y="921"/>
                  </a:lnTo>
                  <a:lnTo>
                    <a:pt x="1565" y="924"/>
                  </a:lnTo>
                  <a:lnTo>
                    <a:pt x="1564" y="925"/>
                  </a:lnTo>
                  <a:lnTo>
                    <a:pt x="1564" y="928"/>
                  </a:lnTo>
                  <a:lnTo>
                    <a:pt x="1562" y="931"/>
                  </a:lnTo>
                  <a:lnTo>
                    <a:pt x="1558" y="931"/>
                  </a:lnTo>
                  <a:lnTo>
                    <a:pt x="1555" y="931"/>
                  </a:lnTo>
                  <a:lnTo>
                    <a:pt x="1554" y="931"/>
                  </a:lnTo>
                  <a:lnTo>
                    <a:pt x="1551" y="933"/>
                  </a:lnTo>
                  <a:lnTo>
                    <a:pt x="1548" y="933"/>
                  </a:lnTo>
                  <a:lnTo>
                    <a:pt x="1547" y="933"/>
                  </a:lnTo>
                  <a:lnTo>
                    <a:pt x="1541" y="933"/>
                  </a:lnTo>
                  <a:lnTo>
                    <a:pt x="1539" y="933"/>
                  </a:lnTo>
                  <a:lnTo>
                    <a:pt x="1538" y="934"/>
                  </a:lnTo>
                  <a:lnTo>
                    <a:pt x="1535" y="935"/>
                  </a:lnTo>
                  <a:lnTo>
                    <a:pt x="1529" y="938"/>
                  </a:lnTo>
                  <a:lnTo>
                    <a:pt x="1528" y="940"/>
                  </a:lnTo>
                  <a:lnTo>
                    <a:pt x="1527" y="941"/>
                  </a:lnTo>
                  <a:lnTo>
                    <a:pt x="1525" y="943"/>
                  </a:lnTo>
                  <a:lnTo>
                    <a:pt x="1524" y="943"/>
                  </a:lnTo>
                  <a:lnTo>
                    <a:pt x="1524" y="943"/>
                  </a:lnTo>
                  <a:lnTo>
                    <a:pt x="1522" y="944"/>
                  </a:lnTo>
                  <a:lnTo>
                    <a:pt x="1524" y="943"/>
                  </a:lnTo>
                  <a:lnTo>
                    <a:pt x="1524" y="940"/>
                  </a:lnTo>
                  <a:lnTo>
                    <a:pt x="1525" y="937"/>
                  </a:lnTo>
                  <a:lnTo>
                    <a:pt x="1524" y="935"/>
                  </a:lnTo>
                  <a:lnTo>
                    <a:pt x="1524" y="934"/>
                  </a:lnTo>
                  <a:lnTo>
                    <a:pt x="1522" y="933"/>
                  </a:lnTo>
                  <a:lnTo>
                    <a:pt x="1524" y="935"/>
                  </a:lnTo>
                  <a:lnTo>
                    <a:pt x="1524" y="938"/>
                  </a:lnTo>
                  <a:lnTo>
                    <a:pt x="1524" y="940"/>
                  </a:lnTo>
                  <a:lnTo>
                    <a:pt x="1522" y="944"/>
                  </a:lnTo>
                  <a:lnTo>
                    <a:pt x="1521" y="944"/>
                  </a:lnTo>
                  <a:lnTo>
                    <a:pt x="1521" y="945"/>
                  </a:lnTo>
                  <a:lnTo>
                    <a:pt x="1519" y="945"/>
                  </a:lnTo>
                  <a:lnTo>
                    <a:pt x="1519" y="945"/>
                  </a:lnTo>
                  <a:lnTo>
                    <a:pt x="1519" y="947"/>
                  </a:lnTo>
                  <a:lnTo>
                    <a:pt x="1518" y="948"/>
                  </a:lnTo>
                  <a:lnTo>
                    <a:pt x="1518" y="950"/>
                  </a:lnTo>
                  <a:lnTo>
                    <a:pt x="1522" y="951"/>
                  </a:lnTo>
                  <a:lnTo>
                    <a:pt x="1522" y="950"/>
                  </a:lnTo>
                  <a:lnTo>
                    <a:pt x="1522" y="951"/>
                  </a:lnTo>
                  <a:lnTo>
                    <a:pt x="1524" y="953"/>
                  </a:lnTo>
                  <a:lnTo>
                    <a:pt x="1522" y="954"/>
                  </a:lnTo>
                  <a:lnTo>
                    <a:pt x="1522" y="955"/>
                  </a:lnTo>
                  <a:lnTo>
                    <a:pt x="1522" y="958"/>
                  </a:lnTo>
                  <a:lnTo>
                    <a:pt x="1522" y="961"/>
                  </a:lnTo>
                  <a:lnTo>
                    <a:pt x="1521" y="964"/>
                  </a:lnTo>
                  <a:lnTo>
                    <a:pt x="1521" y="963"/>
                  </a:lnTo>
                  <a:lnTo>
                    <a:pt x="1521" y="960"/>
                  </a:lnTo>
                  <a:lnTo>
                    <a:pt x="1521" y="960"/>
                  </a:lnTo>
                  <a:lnTo>
                    <a:pt x="1521" y="961"/>
                  </a:lnTo>
                  <a:lnTo>
                    <a:pt x="1519" y="965"/>
                  </a:lnTo>
                  <a:lnTo>
                    <a:pt x="1518" y="967"/>
                  </a:lnTo>
                  <a:lnTo>
                    <a:pt x="1517" y="970"/>
                  </a:lnTo>
                  <a:lnTo>
                    <a:pt x="1517" y="968"/>
                  </a:lnTo>
                  <a:lnTo>
                    <a:pt x="1517" y="970"/>
                  </a:lnTo>
                  <a:lnTo>
                    <a:pt x="1515" y="971"/>
                  </a:lnTo>
                  <a:lnTo>
                    <a:pt x="1515" y="973"/>
                  </a:lnTo>
                  <a:lnTo>
                    <a:pt x="1515" y="973"/>
                  </a:lnTo>
                  <a:lnTo>
                    <a:pt x="1514" y="973"/>
                  </a:lnTo>
                  <a:lnTo>
                    <a:pt x="1514" y="974"/>
                  </a:lnTo>
                  <a:lnTo>
                    <a:pt x="1512" y="974"/>
                  </a:lnTo>
                  <a:lnTo>
                    <a:pt x="1512" y="975"/>
                  </a:lnTo>
                  <a:lnTo>
                    <a:pt x="1512" y="975"/>
                  </a:lnTo>
                  <a:lnTo>
                    <a:pt x="1509" y="980"/>
                  </a:lnTo>
                  <a:lnTo>
                    <a:pt x="1508" y="981"/>
                  </a:lnTo>
                  <a:lnTo>
                    <a:pt x="1507" y="981"/>
                  </a:lnTo>
                  <a:lnTo>
                    <a:pt x="1508" y="980"/>
                  </a:lnTo>
                  <a:lnTo>
                    <a:pt x="1508" y="977"/>
                  </a:lnTo>
                  <a:lnTo>
                    <a:pt x="1507" y="977"/>
                  </a:lnTo>
                  <a:lnTo>
                    <a:pt x="1505" y="975"/>
                  </a:lnTo>
                  <a:lnTo>
                    <a:pt x="1504" y="975"/>
                  </a:lnTo>
                  <a:lnTo>
                    <a:pt x="1502" y="974"/>
                  </a:lnTo>
                  <a:lnTo>
                    <a:pt x="1501" y="973"/>
                  </a:lnTo>
                  <a:lnTo>
                    <a:pt x="1498" y="970"/>
                  </a:lnTo>
                  <a:lnTo>
                    <a:pt x="1498" y="970"/>
                  </a:lnTo>
                  <a:lnTo>
                    <a:pt x="1498" y="968"/>
                  </a:lnTo>
                  <a:lnTo>
                    <a:pt x="1499" y="965"/>
                  </a:lnTo>
                  <a:lnTo>
                    <a:pt x="1499" y="964"/>
                  </a:lnTo>
                  <a:lnTo>
                    <a:pt x="1501" y="963"/>
                  </a:lnTo>
                  <a:lnTo>
                    <a:pt x="1504" y="963"/>
                  </a:lnTo>
                  <a:lnTo>
                    <a:pt x="1505" y="961"/>
                  </a:lnTo>
                  <a:lnTo>
                    <a:pt x="1505" y="960"/>
                  </a:lnTo>
                  <a:lnTo>
                    <a:pt x="1504" y="961"/>
                  </a:lnTo>
                  <a:lnTo>
                    <a:pt x="1501" y="963"/>
                  </a:lnTo>
                  <a:lnTo>
                    <a:pt x="1499" y="963"/>
                  </a:lnTo>
                  <a:lnTo>
                    <a:pt x="1499" y="964"/>
                  </a:lnTo>
                  <a:lnTo>
                    <a:pt x="1498" y="965"/>
                  </a:lnTo>
                  <a:lnTo>
                    <a:pt x="1497" y="967"/>
                  </a:lnTo>
                  <a:lnTo>
                    <a:pt x="1497" y="968"/>
                  </a:lnTo>
                  <a:lnTo>
                    <a:pt x="1497" y="968"/>
                  </a:lnTo>
                  <a:lnTo>
                    <a:pt x="1497" y="970"/>
                  </a:lnTo>
                  <a:lnTo>
                    <a:pt x="1498" y="973"/>
                  </a:lnTo>
                  <a:lnTo>
                    <a:pt x="1499" y="974"/>
                  </a:lnTo>
                  <a:lnTo>
                    <a:pt x="1499" y="978"/>
                  </a:lnTo>
                  <a:lnTo>
                    <a:pt x="1501" y="981"/>
                  </a:lnTo>
                  <a:lnTo>
                    <a:pt x="1504" y="984"/>
                  </a:lnTo>
                  <a:lnTo>
                    <a:pt x="1505" y="985"/>
                  </a:lnTo>
                  <a:lnTo>
                    <a:pt x="1505" y="985"/>
                  </a:lnTo>
                  <a:lnTo>
                    <a:pt x="1504" y="988"/>
                  </a:lnTo>
                  <a:lnTo>
                    <a:pt x="1504" y="988"/>
                  </a:lnTo>
                  <a:lnTo>
                    <a:pt x="1505" y="988"/>
                  </a:lnTo>
                  <a:lnTo>
                    <a:pt x="1505" y="988"/>
                  </a:lnTo>
                  <a:lnTo>
                    <a:pt x="1505" y="990"/>
                  </a:lnTo>
                  <a:lnTo>
                    <a:pt x="1505" y="993"/>
                  </a:lnTo>
                  <a:lnTo>
                    <a:pt x="1505" y="993"/>
                  </a:lnTo>
                  <a:lnTo>
                    <a:pt x="1505" y="993"/>
                  </a:lnTo>
                  <a:lnTo>
                    <a:pt x="1505" y="993"/>
                  </a:lnTo>
                  <a:lnTo>
                    <a:pt x="1505" y="993"/>
                  </a:lnTo>
                  <a:lnTo>
                    <a:pt x="1505" y="993"/>
                  </a:lnTo>
                  <a:lnTo>
                    <a:pt x="1504" y="993"/>
                  </a:lnTo>
                  <a:lnTo>
                    <a:pt x="1504" y="994"/>
                  </a:lnTo>
                  <a:lnTo>
                    <a:pt x="1504" y="995"/>
                  </a:lnTo>
                  <a:lnTo>
                    <a:pt x="1502" y="995"/>
                  </a:lnTo>
                  <a:lnTo>
                    <a:pt x="1502" y="998"/>
                  </a:lnTo>
                  <a:lnTo>
                    <a:pt x="1501" y="1000"/>
                  </a:lnTo>
                  <a:lnTo>
                    <a:pt x="1497" y="1008"/>
                  </a:lnTo>
                  <a:lnTo>
                    <a:pt x="1497" y="1010"/>
                  </a:lnTo>
                  <a:lnTo>
                    <a:pt x="1497" y="1010"/>
                  </a:lnTo>
                  <a:lnTo>
                    <a:pt x="1495" y="1010"/>
                  </a:lnTo>
                  <a:lnTo>
                    <a:pt x="1494" y="1011"/>
                  </a:lnTo>
                  <a:lnTo>
                    <a:pt x="1494" y="1013"/>
                  </a:lnTo>
                  <a:lnTo>
                    <a:pt x="1492" y="1015"/>
                  </a:lnTo>
                  <a:lnTo>
                    <a:pt x="1491" y="1018"/>
                  </a:lnTo>
                  <a:lnTo>
                    <a:pt x="1491" y="1017"/>
                  </a:lnTo>
                  <a:lnTo>
                    <a:pt x="1491" y="1015"/>
                  </a:lnTo>
                  <a:lnTo>
                    <a:pt x="1491" y="1013"/>
                  </a:lnTo>
                  <a:lnTo>
                    <a:pt x="1492" y="1008"/>
                  </a:lnTo>
                  <a:lnTo>
                    <a:pt x="1494" y="1005"/>
                  </a:lnTo>
                  <a:lnTo>
                    <a:pt x="1495" y="1004"/>
                  </a:lnTo>
                  <a:lnTo>
                    <a:pt x="1495" y="1001"/>
                  </a:lnTo>
                  <a:lnTo>
                    <a:pt x="1495" y="1001"/>
                  </a:lnTo>
                  <a:lnTo>
                    <a:pt x="1492" y="1001"/>
                  </a:lnTo>
                  <a:lnTo>
                    <a:pt x="1494" y="1000"/>
                  </a:lnTo>
                  <a:lnTo>
                    <a:pt x="1494" y="998"/>
                  </a:lnTo>
                  <a:lnTo>
                    <a:pt x="1492" y="998"/>
                  </a:lnTo>
                  <a:lnTo>
                    <a:pt x="1492" y="998"/>
                  </a:lnTo>
                  <a:lnTo>
                    <a:pt x="1491" y="997"/>
                  </a:lnTo>
                  <a:lnTo>
                    <a:pt x="1492" y="997"/>
                  </a:lnTo>
                  <a:lnTo>
                    <a:pt x="1492" y="995"/>
                  </a:lnTo>
                  <a:lnTo>
                    <a:pt x="1492" y="994"/>
                  </a:lnTo>
                  <a:lnTo>
                    <a:pt x="1492" y="993"/>
                  </a:lnTo>
                  <a:lnTo>
                    <a:pt x="1492" y="994"/>
                  </a:lnTo>
                  <a:lnTo>
                    <a:pt x="1491" y="994"/>
                  </a:lnTo>
                  <a:lnTo>
                    <a:pt x="1491" y="994"/>
                  </a:lnTo>
                  <a:lnTo>
                    <a:pt x="1491" y="994"/>
                  </a:lnTo>
                  <a:lnTo>
                    <a:pt x="1491" y="994"/>
                  </a:lnTo>
                  <a:lnTo>
                    <a:pt x="1489" y="994"/>
                  </a:lnTo>
                  <a:lnTo>
                    <a:pt x="1489" y="995"/>
                  </a:lnTo>
                  <a:lnTo>
                    <a:pt x="1488" y="994"/>
                  </a:lnTo>
                  <a:lnTo>
                    <a:pt x="1487" y="993"/>
                  </a:lnTo>
                  <a:lnTo>
                    <a:pt x="1487" y="991"/>
                  </a:lnTo>
                  <a:lnTo>
                    <a:pt x="1485" y="991"/>
                  </a:lnTo>
                  <a:lnTo>
                    <a:pt x="1487" y="988"/>
                  </a:lnTo>
                  <a:lnTo>
                    <a:pt x="1487" y="988"/>
                  </a:lnTo>
                  <a:lnTo>
                    <a:pt x="1488" y="988"/>
                  </a:lnTo>
                  <a:lnTo>
                    <a:pt x="1491" y="988"/>
                  </a:lnTo>
                  <a:lnTo>
                    <a:pt x="1489" y="988"/>
                  </a:lnTo>
                  <a:lnTo>
                    <a:pt x="1489" y="988"/>
                  </a:lnTo>
                  <a:lnTo>
                    <a:pt x="1488" y="987"/>
                  </a:lnTo>
                  <a:lnTo>
                    <a:pt x="1487" y="985"/>
                  </a:lnTo>
                  <a:lnTo>
                    <a:pt x="1485" y="985"/>
                  </a:lnTo>
                  <a:lnTo>
                    <a:pt x="1485" y="985"/>
                  </a:lnTo>
                  <a:lnTo>
                    <a:pt x="1485" y="985"/>
                  </a:lnTo>
                  <a:lnTo>
                    <a:pt x="1485" y="984"/>
                  </a:lnTo>
                  <a:lnTo>
                    <a:pt x="1487" y="984"/>
                  </a:lnTo>
                  <a:lnTo>
                    <a:pt x="1488" y="983"/>
                  </a:lnTo>
                  <a:lnTo>
                    <a:pt x="1487" y="983"/>
                  </a:lnTo>
                  <a:lnTo>
                    <a:pt x="1487" y="981"/>
                  </a:lnTo>
                  <a:lnTo>
                    <a:pt x="1485" y="983"/>
                  </a:lnTo>
                  <a:lnTo>
                    <a:pt x="1485" y="981"/>
                  </a:lnTo>
                  <a:lnTo>
                    <a:pt x="1485" y="980"/>
                  </a:lnTo>
                  <a:lnTo>
                    <a:pt x="1487" y="980"/>
                  </a:lnTo>
                  <a:lnTo>
                    <a:pt x="1488" y="980"/>
                  </a:lnTo>
                  <a:lnTo>
                    <a:pt x="1488" y="978"/>
                  </a:lnTo>
                  <a:lnTo>
                    <a:pt x="1488" y="978"/>
                  </a:lnTo>
                  <a:lnTo>
                    <a:pt x="1487" y="978"/>
                  </a:lnTo>
                  <a:lnTo>
                    <a:pt x="1487" y="977"/>
                  </a:lnTo>
                  <a:lnTo>
                    <a:pt x="1488" y="974"/>
                  </a:lnTo>
                  <a:lnTo>
                    <a:pt x="1489" y="973"/>
                  </a:lnTo>
                  <a:lnTo>
                    <a:pt x="1491" y="973"/>
                  </a:lnTo>
                  <a:lnTo>
                    <a:pt x="1492" y="973"/>
                  </a:lnTo>
                  <a:lnTo>
                    <a:pt x="1491" y="973"/>
                  </a:lnTo>
                  <a:lnTo>
                    <a:pt x="1491" y="971"/>
                  </a:lnTo>
                  <a:lnTo>
                    <a:pt x="1491" y="971"/>
                  </a:lnTo>
                  <a:lnTo>
                    <a:pt x="1492" y="971"/>
                  </a:lnTo>
                  <a:lnTo>
                    <a:pt x="1492" y="970"/>
                  </a:lnTo>
                  <a:lnTo>
                    <a:pt x="1491" y="970"/>
                  </a:lnTo>
                  <a:lnTo>
                    <a:pt x="1491" y="968"/>
                  </a:lnTo>
                  <a:lnTo>
                    <a:pt x="1491" y="968"/>
                  </a:lnTo>
                  <a:lnTo>
                    <a:pt x="1489" y="968"/>
                  </a:lnTo>
                  <a:lnTo>
                    <a:pt x="1489" y="970"/>
                  </a:lnTo>
                  <a:lnTo>
                    <a:pt x="1489" y="971"/>
                  </a:lnTo>
                  <a:lnTo>
                    <a:pt x="1489" y="971"/>
                  </a:lnTo>
                  <a:lnTo>
                    <a:pt x="1488" y="973"/>
                  </a:lnTo>
                  <a:lnTo>
                    <a:pt x="1487" y="973"/>
                  </a:lnTo>
                  <a:lnTo>
                    <a:pt x="1487" y="971"/>
                  </a:lnTo>
                  <a:lnTo>
                    <a:pt x="1487" y="971"/>
                  </a:lnTo>
                  <a:lnTo>
                    <a:pt x="1487" y="973"/>
                  </a:lnTo>
                  <a:lnTo>
                    <a:pt x="1487" y="974"/>
                  </a:lnTo>
                  <a:lnTo>
                    <a:pt x="1485" y="971"/>
                  </a:lnTo>
                  <a:lnTo>
                    <a:pt x="1485" y="973"/>
                  </a:lnTo>
                  <a:lnTo>
                    <a:pt x="1485" y="973"/>
                  </a:lnTo>
                  <a:lnTo>
                    <a:pt x="1485" y="974"/>
                  </a:lnTo>
                  <a:lnTo>
                    <a:pt x="1484" y="974"/>
                  </a:lnTo>
                  <a:lnTo>
                    <a:pt x="1484" y="975"/>
                  </a:lnTo>
                  <a:lnTo>
                    <a:pt x="1484" y="975"/>
                  </a:lnTo>
                  <a:lnTo>
                    <a:pt x="1481" y="974"/>
                  </a:lnTo>
                  <a:lnTo>
                    <a:pt x="1481" y="975"/>
                  </a:lnTo>
                  <a:lnTo>
                    <a:pt x="1482" y="977"/>
                  </a:lnTo>
                  <a:lnTo>
                    <a:pt x="1484" y="978"/>
                  </a:lnTo>
                  <a:lnTo>
                    <a:pt x="1484" y="978"/>
                  </a:lnTo>
                  <a:lnTo>
                    <a:pt x="1482" y="980"/>
                  </a:lnTo>
                  <a:lnTo>
                    <a:pt x="1481" y="978"/>
                  </a:lnTo>
                  <a:lnTo>
                    <a:pt x="1481" y="978"/>
                  </a:lnTo>
                  <a:lnTo>
                    <a:pt x="1482" y="980"/>
                  </a:lnTo>
                  <a:lnTo>
                    <a:pt x="1482" y="981"/>
                  </a:lnTo>
                  <a:lnTo>
                    <a:pt x="1482" y="983"/>
                  </a:lnTo>
                  <a:lnTo>
                    <a:pt x="1482" y="984"/>
                  </a:lnTo>
                  <a:lnTo>
                    <a:pt x="1482" y="984"/>
                  </a:lnTo>
                  <a:lnTo>
                    <a:pt x="1482" y="985"/>
                  </a:lnTo>
                  <a:lnTo>
                    <a:pt x="1482" y="990"/>
                  </a:lnTo>
                  <a:lnTo>
                    <a:pt x="1482" y="991"/>
                  </a:lnTo>
                  <a:lnTo>
                    <a:pt x="1484" y="993"/>
                  </a:lnTo>
                  <a:lnTo>
                    <a:pt x="1484" y="993"/>
                  </a:lnTo>
                  <a:lnTo>
                    <a:pt x="1484" y="993"/>
                  </a:lnTo>
                  <a:lnTo>
                    <a:pt x="1482" y="993"/>
                  </a:lnTo>
                  <a:lnTo>
                    <a:pt x="1481" y="991"/>
                  </a:lnTo>
                  <a:lnTo>
                    <a:pt x="1479" y="990"/>
                  </a:lnTo>
                  <a:lnTo>
                    <a:pt x="1479" y="988"/>
                  </a:lnTo>
                  <a:lnTo>
                    <a:pt x="1479" y="988"/>
                  </a:lnTo>
                  <a:lnTo>
                    <a:pt x="1479" y="990"/>
                  </a:lnTo>
                  <a:lnTo>
                    <a:pt x="1479" y="991"/>
                  </a:lnTo>
                  <a:lnTo>
                    <a:pt x="1484" y="995"/>
                  </a:lnTo>
                  <a:lnTo>
                    <a:pt x="1485" y="997"/>
                  </a:lnTo>
                  <a:lnTo>
                    <a:pt x="1485" y="998"/>
                  </a:lnTo>
                  <a:lnTo>
                    <a:pt x="1485" y="998"/>
                  </a:lnTo>
                  <a:lnTo>
                    <a:pt x="1484" y="998"/>
                  </a:lnTo>
                  <a:lnTo>
                    <a:pt x="1484" y="997"/>
                  </a:lnTo>
                  <a:lnTo>
                    <a:pt x="1481" y="995"/>
                  </a:lnTo>
                  <a:lnTo>
                    <a:pt x="1478" y="995"/>
                  </a:lnTo>
                  <a:lnTo>
                    <a:pt x="1477" y="993"/>
                  </a:lnTo>
                  <a:lnTo>
                    <a:pt x="1477" y="994"/>
                  </a:lnTo>
                  <a:lnTo>
                    <a:pt x="1477" y="994"/>
                  </a:lnTo>
                  <a:lnTo>
                    <a:pt x="1475" y="994"/>
                  </a:lnTo>
                  <a:lnTo>
                    <a:pt x="1475" y="993"/>
                  </a:lnTo>
                  <a:lnTo>
                    <a:pt x="1474" y="991"/>
                  </a:lnTo>
                  <a:lnTo>
                    <a:pt x="1474" y="991"/>
                  </a:lnTo>
                  <a:lnTo>
                    <a:pt x="1472" y="993"/>
                  </a:lnTo>
                  <a:lnTo>
                    <a:pt x="1471" y="993"/>
                  </a:lnTo>
                  <a:lnTo>
                    <a:pt x="1471" y="991"/>
                  </a:lnTo>
                  <a:lnTo>
                    <a:pt x="1471" y="990"/>
                  </a:lnTo>
                  <a:lnTo>
                    <a:pt x="1472" y="987"/>
                  </a:lnTo>
                  <a:lnTo>
                    <a:pt x="1474" y="987"/>
                  </a:lnTo>
                  <a:lnTo>
                    <a:pt x="1474" y="985"/>
                  </a:lnTo>
                  <a:lnTo>
                    <a:pt x="1474" y="983"/>
                  </a:lnTo>
                  <a:lnTo>
                    <a:pt x="1474" y="985"/>
                  </a:lnTo>
                  <a:lnTo>
                    <a:pt x="1472" y="985"/>
                  </a:lnTo>
                  <a:lnTo>
                    <a:pt x="1472" y="987"/>
                  </a:lnTo>
                  <a:lnTo>
                    <a:pt x="1470" y="988"/>
                  </a:lnTo>
                  <a:lnTo>
                    <a:pt x="1470" y="990"/>
                  </a:lnTo>
                  <a:lnTo>
                    <a:pt x="1470" y="993"/>
                  </a:lnTo>
                  <a:lnTo>
                    <a:pt x="1470" y="994"/>
                  </a:lnTo>
                  <a:lnTo>
                    <a:pt x="1471" y="994"/>
                  </a:lnTo>
                  <a:lnTo>
                    <a:pt x="1472" y="993"/>
                  </a:lnTo>
                  <a:lnTo>
                    <a:pt x="1474" y="994"/>
                  </a:lnTo>
                  <a:lnTo>
                    <a:pt x="1475" y="997"/>
                  </a:lnTo>
                  <a:lnTo>
                    <a:pt x="1479" y="998"/>
                  </a:lnTo>
                  <a:lnTo>
                    <a:pt x="1481" y="998"/>
                  </a:lnTo>
                  <a:lnTo>
                    <a:pt x="1482" y="1000"/>
                  </a:lnTo>
                  <a:lnTo>
                    <a:pt x="1485" y="1001"/>
                  </a:lnTo>
                  <a:lnTo>
                    <a:pt x="1487" y="1003"/>
                  </a:lnTo>
                  <a:lnTo>
                    <a:pt x="1487" y="1004"/>
                  </a:lnTo>
                  <a:lnTo>
                    <a:pt x="1485" y="1005"/>
                  </a:lnTo>
                  <a:lnTo>
                    <a:pt x="1485" y="1007"/>
                  </a:lnTo>
                  <a:lnTo>
                    <a:pt x="1485" y="1007"/>
                  </a:lnTo>
                  <a:lnTo>
                    <a:pt x="1484" y="1007"/>
                  </a:lnTo>
                  <a:lnTo>
                    <a:pt x="1482" y="1007"/>
                  </a:lnTo>
                  <a:lnTo>
                    <a:pt x="1478" y="1001"/>
                  </a:lnTo>
                  <a:lnTo>
                    <a:pt x="1477" y="1001"/>
                  </a:lnTo>
                  <a:lnTo>
                    <a:pt x="1475" y="998"/>
                  </a:lnTo>
                  <a:lnTo>
                    <a:pt x="1474" y="997"/>
                  </a:lnTo>
                  <a:lnTo>
                    <a:pt x="1472" y="997"/>
                  </a:lnTo>
                  <a:lnTo>
                    <a:pt x="1475" y="1000"/>
                  </a:lnTo>
                  <a:lnTo>
                    <a:pt x="1477" y="1001"/>
                  </a:lnTo>
                  <a:lnTo>
                    <a:pt x="1479" y="1004"/>
                  </a:lnTo>
                  <a:lnTo>
                    <a:pt x="1481" y="1005"/>
                  </a:lnTo>
                  <a:lnTo>
                    <a:pt x="1481" y="1007"/>
                  </a:lnTo>
                  <a:lnTo>
                    <a:pt x="1482" y="1008"/>
                  </a:lnTo>
                  <a:lnTo>
                    <a:pt x="1485" y="1010"/>
                  </a:lnTo>
                  <a:lnTo>
                    <a:pt x="1484" y="1010"/>
                  </a:lnTo>
                  <a:lnTo>
                    <a:pt x="1487" y="1011"/>
                  </a:lnTo>
                  <a:lnTo>
                    <a:pt x="1487" y="1013"/>
                  </a:lnTo>
                  <a:lnTo>
                    <a:pt x="1487" y="1014"/>
                  </a:lnTo>
                  <a:lnTo>
                    <a:pt x="1484" y="1013"/>
                  </a:lnTo>
                  <a:lnTo>
                    <a:pt x="1484" y="1014"/>
                  </a:lnTo>
                  <a:lnTo>
                    <a:pt x="1484" y="1014"/>
                  </a:lnTo>
                  <a:lnTo>
                    <a:pt x="1484" y="1015"/>
                  </a:lnTo>
                  <a:lnTo>
                    <a:pt x="1482" y="1014"/>
                  </a:lnTo>
                  <a:lnTo>
                    <a:pt x="1478" y="1011"/>
                  </a:lnTo>
                  <a:lnTo>
                    <a:pt x="1478" y="1011"/>
                  </a:lnTo>
                  <a:lnTo>
                    <a:pt x="1478" y="1011"/>
                  </a:lnTo>
                  <a:lnTo>
                    <a:pt x="1481" y="1014"/>
                  </a:lnTo>
                  <a:lnTo>
                    <a:pt x="1482" y="1015"/>
                  </a:lnTo>
                  <a:lnTo>
                    <a:pt x="1484" y="1017"/>
                  </a:lnTo>
                  <a:lnTo>
                    <a:pt x="1485" y="1018"/>
                  </a:lnTo>
                  <a:lnTo>
                    <a:pt x="1485" y="1018"/>
                  </a:lnTo>
                  <a:lnTo>
                    <a:pt x="1485" y="1020"/>
                  </a:lnTo>
                  <a:lnTo>
                    <a:pt x="1485" y="1021"/>
                  </a:lnTo>
                  <a:lnTo>
                    <a:pt x="1484" y="1021"/>
                  </a:lnTo>
                  <a:lnTo>
                    <a:pt x="1482" y="1020"/>
                  </a:lnTo>
                  <a:lnTo>
                    <a:pt x="1482" y="1020"/>
                  </a:lnTo>
                  <a:lnTo>
                    <a:pt x="1481" y="1018"/>
                  </a:lnTo>
                  <a:lnTo>
                    <a:pt x="1481" y="1017"/>
                  </a:lnTo>
                  <a:lnTo>
                    <a:pt x="1479" y="1017"/>
                  </a:lnTo>
                  <a:lnTo>
                    <a:pt x="1474" y="1014"/>
                  </a:lnTo>
                  <a:lnTo>
                    <a:pt x="1471" y="1014"/>
                  </a:lnTo>
                  <a:lnTo>
                    <a:pt x="1471" y="1014"/>
                  </a:lnTo>
                  <a:lnTo>
                    <a:pt x="1471" y="1015"/>
                  </a:lnTo>
                  <a:lnTo>
                    <a:pt x="1474" y="1015"/>
                  </a:lnTo>
                  <a:lnTo>
                    <a:pt x="1475" y="1017"/>
                  </a:lnTo>
                  <a:lnTo>
                    <a:pt x="1478" y="1017"/>
                  </a:lnTo>
                  <a:lnTo>
                    <a:pt x="1479" y="1017"/>
                  </a:lnTo>
                  <a:lnTo>
                    <a:pt x="1479" y="1020"/>
                  </a:lnTo>
                  <a:lnTo>
                    <a:pt x="1482" y="1021"/>
                  </a:lnTo>
                  <a:lnTo>
                    <a:pt x="1482" y="1023"/>
                  </a:lnTo>
                  <a:lnTo>
                    <a:pt x="1484" y="1023"/>
                  </a:lnTo>
                  <a:lnTo>
                    <a:pt x="1487" y="1021"/>
                  </a:lnTo>
                  <a:lnTo>
                    <a:pt x="1488" y="1023"/>
                  </a:lnTo>
                  <a:lnTo>
                    <a:pt x="1491" y="1023"/>
                  </a:lnTo>
                  <a:lnTo>
                    <a:pt x="1491" y="1024"/>
                  </a:lnTo>
                  <a:lnTo>
                    <a:pt x="1491" y="1025"/>
                  </a:lnTo>
                  <a:lnTo>
                    <a:pt x="1492" y="1027"/>
                  </a:lnTo>
                  <a:lnTo>
                    <a:pt x="1494" y="1035"/>
                  </a:lnTo>
                  <a:lnTo>
                    <a:pt x="1498" y="1043"/>
                  </a:lnTo>
                  <a:lnTo>
                    <a:pt x="1498" y="1044"/>
                  </a:lnTo>
                  <a:lnTo>
                    <a:pt x="1497" y="1043"/>
                  </a:lnTo>
                  <a:lnTo>
                    <a:pt x="1495" y="1038"/>
                  </a:lnTo>
                  <a:lnTo>
                    <a:pt x="1494" y="1035"/>
                  </a:lnTo>
                  <a:lnTo>
                    <a:pt x="1492" y="1030"/>
                  </a:lnTo>
                  <a:lnTo>
                    <a:pt x="1492" y="1028"/>
                  </a:lnTo>
                  <a:lnTo>
                    <a:pt x="1491" y="1027"/>
                  </a:lnTo>
                  <a:lnTo>
                    <a:pt x="1491" y="1028"/>
                  </a:lnTo>
                  <a:lnTo>
                    <a:pt x="1491" y="1028"/>
                  </a:lnTo>
                  <a:lnTo>
                    <a:pt x="1491" y="1030"/>
                  </a:lnTo>
                  <a:lnTo>
                    <a:pt x="1491" y="1031"/>
                  </a:lnTo>
                  <a:lnTo>
                    <a:pt x="1491" y="1033"/>
                  </a:lnTo>
                  <a:lnTo>
                    <a:pt x="1491" y="1033"/>
                  </a:lnTo>
                  <a:lnTo>
                    <a:pt x="1492" y="1035"/>
                  </a:lnTo>
                  <a:lnTo>
                    <a:pt x="1494" y="1038"/>
                  </a:lnTo>
                  <a:lnTo>
                    <a:pt x="1492" y="1037"/>
                  </a:lnTo>
                  <a:lnTo>
                    <a:pt x="1491" y="1037"/>
                  </a:lnTo>
                  <a:lnTo>
                    <a:pt x="1489" y="1035"/>
                  </a:lnTo>
                  <a:lnTo>
                    <a:pt x="1488" y="1035"/>
                  </a:lnTo>
                  <a:lnTo>
                    <a:pt x="1488" y="1037"/>
                  </a:lnTo>
                  <a:lnTo>
                    <a:pt x="1488" y="1038"/>
                  </a:lnTo>
                  <a:lnTo>
                    <a:pt x="1487" y="1037"/>
                  </a:lnTo>
                  <a:lnTo>
                    <a:pt x="1487" y="1037"/>
                  </a:lnTo>
                  <a:lnTo>
                    <a:pt x="1487" y="1038"/>
                  </a:lnTo>
                  <a:lnTo>
                    <a:pt x="1485" y="1038"/>
                  </a:lnTo>
                  <a:lnTo>
                    <a:pt x="1484" y="1038"/>
                  </a:lnTo>
                  <a:lnTo>
                    <a:pt x="1484" y="1040"/>
                  </a:lnTo>
                  <a:lnTo>
                    <a:pt x="1482" y="1040"/>
                  </a:lnTo>
                  <a:lnTo>
                    <a:pt x="1481" y="1040"/>
                  </a:lnTo>
                  <a:lnTo>
                    <a:pt x="1479" y="1040"/>
                  </a:lnTo>
                  <a:lnTo>
                    <a:pt x="1479" y="1038"/>
                  </a:lnTo>
                  <a:lnTo>
                    <a:pt x="1478" y="1035"/>
                  </a:lnTo>
                  <a:lnTo>
                    <a:pt x="1478" y="1038"/>
                  </a:lnTo>
                  <a:lnTo>
                    <a:pt x="1479" y="1040"/>
                  </a:lnTo>
                  <a:lnTo>
                    <a:pt x="1478" y="1041"/>
                  </a:lnTo>
                  <a:lnTo>
                    <a:pt x="1481" y="1041"/>
                  </a:lnTo>
                  <a:lnTo>
                    <a:pt x="1482" y="1041"/>
                  </a:lnTo>
                  <a:lnTo>
                    <a:pt x="1485" y="1041"/>
                  </a:lnTo>
                  <a:lnTo>
                    <a:pt x="1487" y="1041"/>
                  </a:lnTo>
                  <a:lnTo>
                    <a:pt x="1487" y="1041"/>
                  </a:lnTo>
                  <a:lnTo>
                    <a:pt x="1489" y="1041"/>
                  </a:lnTo>
                  <a:lnTo>
                    <a:pt x="1489" y="1043"/>
                  </a:lnTo>
                  <a:lnTo>
                    <a:pt x="1489" y="1045"/>
                  </a:lnTo>
                  <a:lnTo>
                    <a:pt x="1489" y="1047"/>
                  </a:lnTo>
                  <a:lnTo>
                    <a:pt x="1489" y="1047"/>
                  </a:lnTo>
                  <a:lnTo>
                    <a:pt x="1491" y="1045"/>
                  </a:lnTo>
                  <a:lnTo>
                    <a:pt x="1491" y="1043"/>
                  </a:lnTo>
                  <a:lnTo>
                    <a:pt x="1492" y="1041"/>
                  </a:lnTo>
                  <a:lnTo>
                    <a:pt x="1494" y="1041"/>
                  </a:lnTo>
                  <a:lnTo>
                    <a:pt x="1494" y="1043"/>
                  </a:lnTo>
                  <a:lnTo>
                    <a:pt x="1494" y="1044"/>
                  </a:lnTo>
                  <a:lnTo>
                    <a:pt x="1494" y="1045"/>
                  </a:lnTo>
                  <a:lnTo>
                    <a:pt x="1494" y="1047"/>
                  </a:lnTo>
                  <a:lnTo>
                    <a:pt x="1491" y="1050"/>
                  </a:lnTo>
                  <a:lnTo>
                    <a:pt x="1488" y="1053"/>
                  </a:lnTo>
                  <a:lnTo>
                    <a:pt x="1488" y="1053"/>
                  </a:lnTo>
                  <a:lnTo>
                    <a:pt x="1487" y="1053"/>
                  </a:lnTo>
                  <a:lnTo>
                    <a:pt x="1484" y="1053"/>
                  </a:lnTo>
                  <a:lnTo>
                    <a:pt x="1484" y="1053"/>
                  </a:lnTo>
                  <a:lnTo>
                    <a:pt x="1482" y="1053"/>
                  </a:lnTo>
                  <a:lnTo>
                    <a:pt x="1482" y="1051"/>
                  </a:lnTo>
                  <a:lnTo>
                    <a:pt x="1482" y="1050"/>
                  </a:lnTo>
                  <a:lnTo>
                    <a:pt x="1481" y="1050"/>
                  </a:lnTo>
                  <a:lnTo>
                    <a:pt x="1481" y="1050"/>
                  </a:lnTo>
                  <a:lnTo>
                    <a:pt x="1479" y="1051"/>
                  </a:lnTo>
                  <a:lnTo>
                    <a:pt x="1478" y="1051"/>
                  </a:lnTo>
                  <a:lnTo>
                    <a:pt x="1477" y="1051"/>
                  </a:lnTo>
                  <a:lnTo>
                    <a:pt x="1474" y="1050"/>
                  </a:lnTo>
                  <a:lnTo>
                    <a:pt x="1475" y="1051"/>
                  </a:lnTo>
                  <a:lnTo>
                    <a:pt x="1481" y="1054"/>
                  </a:lnTo>
                  <a:lnTo>
                    <a:pt x="1481" y="1054"/>
                  </a:lnTo>
                  <a:lnTo>
                    <a:pt x="1482" y="1055"/>
                  </a:lnTo>
                  <a:lnTo>
                    <a:pt x="1481" y="1055"/>
                  </a:lnTo>
                  <a:lnTo>
                    <a:pt x="1481" y="1057"/>
                  </a:lnTo>
                  <a:lnTo>
                    <a:pt x="1481" y="1058"/>
                  </a:lnTo>
                  <a:lnTo>
                    <a:pt x="1481" y="1058"/>
                  </a:lnTo>
                  <a:lnTo>
                    <a:pt x="1478" y="1060"/>
                  </a:lnTo>
                  <a:lnTo>
                    <a:pt x="1477" y="1060"/>
                  </a:lnTo>
                  <a:lnTo>
                    <a:pt x="1474" y="1057"/>
                  </a:lnTo>
                  <a:lnTo>
                    <a:pt x="1475" y="1060"/>
                  </a:lnTo>
                  <a:lnTo>
                    <a:pt x="1477" y="1061"/>
                  </a:lnTo>
                  <a:lnTo>
                    <a:pt x="1478" y="1061"/>
                  </a:lnTo>
                  <a:lnTo>
                    <a:pt x="1482" y="1060"/>
                  </a:lnTo>
                  <a:lnTo>
                    <a:pt x="1485" y="1061"/>
                  </a:lnTo>
                  <a:lnTo>
                    <a:pt x="1484" y="1063"/>
                  </a:lnTo>
                  <a:lnTo>
                    <a:pt x="1482" y="1064"/>
                  </a:lnTo>
                  <a:lnTo>
                    <a:pt x="1481" y="1064"/>
                  </a:lnTo>
                  <a:lnTo>
                    <a:pt x="1479" y="1065"/>
                  </a:lnTo>
                  <a:lnTo>
                    <a:pt x="1478" y="1065"/>
                  </a:lnTo>
                  <a:lnTo>
                    <a:pt x="1478" y="1065"/>
                  </a:lnTo>
                  <a:lnTo>
                    <a:pt x="1477" y="1065"/>
                  </a:lnTo>
                  <a:lnTo>
                    <a:pt x="1474" y="1065"/>
                  </a:lnTo>
                  <a:lnTo>
                    <a:pt x="1472" y="1065"/>
                  </a:lnTo>
                  <a:lnTo>
                    <a:pt x="1471" y="1068"/>
                  </a:lnTo>
                  <a:lnTo>
                    <a:pt x="1470" y="1068"/>
                  </a:lnTo>
                  <a:lnTo>
                    <a:pt x="1468" y="1067"/>
                  </a:lnTo>
                  <a:lnTo>
                    <a:pt x="1468" y="1065"/>
                  </a:lnTo>
                  <a:lnTo>
                    <a:pt x="1468" y="1065"/>
                  </a:lnTo>
                  <a:lnTo>
                    <a:pt x="1468" y="1068"/>
                  </a:lnTo>
                  <a:lnTo>
                    <a:pt x="1468" y="1068"/>
                  </a:lnTo>
                  <a:lnTo>
                    <a:pt x="1468" y="1070"/>
                  </a:lnTo>
                  <a:lnTo>
                    <a:pt x="1467" y="1071"/>
                  </a:lnTo>
                  <a:lnTo>
                    <a:pt x="1464" y="1073"/>
                  </a:lnTo>
                  <a:lnTo>
                    <a:pt x="1464" y="1073"/>
                  </a:lnTo>
                  <a:lnTo>
                    <a:pt x="1462" y="1074"/>
                  </a:lnTo>
                  <a:lnTo>
                    <a:pt x="1461" y="1077"/>
                  </a:lnTo>
                  <a:lnTo>
                    <a:pt x="1460" y="1078"/>
                  </a:lnTo>
                  <a:lnTo>
                    <a:pt x="1460" y="1081"/>
                  </a:lnTo>
                  <a:lnTo>
                    <a:pt x="1460" y="1080"/>
                  </a:lnTo>
                  <a:lnTo>
                    <a:pt x="1460" y="1078"/>
                  </a:lnTo>
                  <a:lnTo>
                    <a:pt x="1460" y="1077"/>
                  </a:lnTo>
                  <a:lnTo>
                    <a:pt x="1460" y="1080"/>
                  </a:lnTo>
                  <a:lnTo>
                    <a:pt x="1458" y="1081"/>
                  </a:lnTo>
                  <a:lnTo>
                    <a:pt x="1452" y="1081"/>
                  </a:lnTo>
                  <a:lnTo>
                    <a:pt x="1450" y="1083"/>
                  </a:lnTo>
                  <a:lnTo>
                    <a:pt x="1445" y="1085"/>
                  </a:lnTo>
                  <a:lnTo>
                    <a:pt x="1444" y="1085"/>
                  </a:lnTo>
                  <a:lnTo>
                    <a:pt x="1440" y="1091"/>
                  </a:lnTo>
                  <a:lnTo>
                    <a:pt x="1440" y="1094"/>
                  </a:lnTo>
                  <a:lnTo>
                    <a:pt x="1438" y="1093"/>
                  </a:lnTo>
                  <a:lnTo>
                    <a:pt x="1438" y="1091"/>
                  </a:lnTo>
                  <a:lnTo>
                    <a:pt x="1438" y="1091"/>
                  </a:lnTo>
                  <a:lnTo>
                    <a:pt x="1438" y="1093"/>
                  </a:lnTo>
                  <a:lnTo>
                    <a:pt x="1438" y="1095"/>
                  </a:lnTo>
                  <a:lnTo>
                    <a:pt x="1438" y="1095"/>
                  </a:lnTo>
                  <a:lnTo>
                    <a:pt x="1435" y="1098"/>
                  </a:lnTo>
                  <a:lnTo>
                    <a:pt x="1434" y="1098"/>
                  </a:lnTo>
                  <a:lnTo>
                    <a:pt x="1432" y="1098"/>
                  </a:lnTo>
                  <a:lnTo>
                    <a:pt x="1432" y="1100"/>
                  </a:lnTo>
                  <a:lnTo>
                    <a:pt x="1431" y="1103"/>
                  </a:lnTo>
                  <a:lnTo>
                    <a:pt x="1430" y="1103"/>
                  </a:lnTo>
                  <a:lnTo>
                    <a:pt x="1427" y="1103"/>
                  </a:lnTo>
                  <a:lnTo>
                    <a:pt x="1428" y="1104"/>
                  </a:lnTo>
                  <a:lnTo>
                    <a:pt x="1427" y="1105"/>
                  </a:lnTo>
                  <a:lnTo>
                    <a:pt x="1425" y="1105"/>
                  </a:lnTo>
                  <a:lnTo>
                    <a:pt x="1424" y="1107"/>
                  </a:lnTo>
                  <a:lnTo>
                    <a:pt x="1424" y="1107"/>
                  </a:lnTo>
                  <a:lnTo>
                    <a:pt x="1422" y="1107"/>
                  </a:lnTo>
                  <a:lnTo>
                    <a:pt x="1422" y="1107"/>
                  </a:lnTo>
                  <a:lnTo>
                    <a:pt x="1421" y="1108"/>
                  </a:lnTo>
                  <a:lnTo>
                    <a:pt x="1420" y="1108"/>
                  </a:lnTo>
                  <a:lnTo>
                    <a:pt x="1417" y="1107"/>
                  </a:lnTo>
                  <a:lnTo>
                    <a:pt x="1417" y="1108"/>
                  </a:lnTo>
                  <a:lnTo>
                    <a:pt x="1418" y="1108"/>
                  </a:lnTo>
                  <a:lnTo>
                    <a:pt x="1418" y="1110"/>
                  </a:lnTo>
                  <a:lnTo>
                    <a:pt x="1418" y="1111"/>
                  </a:lnTo>
                  <a:lnTo>
                    <a:pt x="1418" y="1111"/>
                  </a:lnTo>
                  <a:lnTo>
                    <a:pt x="1417" y="1112"/>
                  </a:lnTo>
                  <a:lnTo>
                    <a:pt x="1417" y="1112"/>
                  </a:lnTo>
                  <a:lnTo>
                    <a:pt x="1417" y="1111"/>
                  </a:lnTo>
                  <a:lnTo>
                    <a:pt x="1415" y="1110"/>
                  </a:lnTo>
                  <a:lnTo>
                    <a:pt x="1415" y="1110"/>
                  </a:lnTo>
                  <a:lnTo>
                    <a:pt x="1415" y="1111"/>
                  </a:lnTo>
                  <a:lnTo>
                    <a:pt x="1415" y="1111"/>
                  </a:lnTo>
                  <a:lnTo>
                    <a:pt x="1414" y="1110"/>
                  </a:lnTo>
                  <a:lnTo>
                    <a:pt x="1414" y="1111"/>
                  </a:lnTo>
                  <a:lnTo>
                    <a:pt x="1414" y="1112"/>
                  </a:lnTo>
                  <a:lnTo>
                    <a:pt x="1414" y="1112"/>
                  </a:lnTo>
                  <a:lnTo>
                    <a:pt x="1415" y="1112"/>
                  </a:lnTo>
                  <a:lnTo>
                    <a:pt x="1415" y="1114"/>
                  </a:lnTo>
                  <a:lnTo>
                    <a:pt x="1414" y="1115"/>
                  </a:lnTo>
                  <a:lnTo>
                    <a:pt x="1414" y="1115"/>
                  </a:lnTo>
                  <a:lnTo>
                    <a:pt x="1412" y="1115"/>
                  </a:lnTo>
                  <a:lnTo>
                    <a:pt x="1412" y="1117"/>
                  </a:lnTo>
                  <a:lnTo>
                    <a:pt x="1412" y="1117"/>
                  </a:lnTo>
                  <a:lnTo>
                    <a:pt x="1411" y="1118"/>
                  </a:lnTo>
                  <a:lnTo>
                    <a:pt x="1410" y="1120"/>
                  </a:lnTo>
                  <a:lnTo>
                    <a:pt x="1410" y="1120"/>
                  </a:lnTo>
                  <a:lnTo>
                    <a:pt x="1408" y="1120"/>
                  </a:lnTo>
                  <a:lnTo>
                    <a:pt x="1408" y="1121"/>
                  </a:lnTo>
                  <a:lnTo>
                    <a:pt x="1410" y="1121"/>
                  </a:lnTo>
                  <a:lnTo>
                    <a:pt x="1410" y="1121"/>
                  </a:lnTo>
                  <a:lnTo>
                    <a:pt x="1408" y="1122"/>
                  </a:lnTo>
                  <a:lnTo>
                    <a:pt x="1408" y="1122"/>
                  </a:lnTo>
                  <a:lnTo>
                    <a:pt x="1407" y="1122"/>
                  </a:lnTo>
                  <a:lnTo>
                    <a:pt x="1407" y="1124"/>
                  </a:lnTo>
                  <a:lnTo>
                    <a:pt x="1408" y="1124"/>
                  </a:lnTo>
                  <a:lnTo>
                    <a:pt x="1408" y="1125"/>
                  </a:lnTo>
                  <a:lnTo>
                    <a:pt x="1407" y="1125"/>
                  </a:lnTo>
                  <a:lnTo>
                    <a:pt x="1407" y="1127"/>
                  </a:lnTo>
                  <a:lnTo>
                    <a:pt x="1407" y="1127"/>
                  </a:lnTo>
                  <a:lnTo>
                    <a:pt x="1407" y="1127"/>
                  </a:lnTo>
                  <a:lnTo>
                    <a:pt x="1408" y="1127"/>
                  </a:lnTo>
                  <a:lnTo>
                    <a:pt x="1407" y="1127"/>
                  </a:lnTo>
                  <a:lnTo>
                    <a:pt x="1407" y="1128"/>
                  </a:lnTo>
                  <a:lnTo>
                    <a:pt x="1405" y="1130"/>
                  </a:lnTo>
                  <a:lnTo>
                    <a:pt x="1404" y="1130"/>
                  </a:lnTo>
                  <a:lnTo>
                    <a:pt x="1404" y="1130"/>
                  </a:lnTo>
                  <a:lnTo>
                    <a:pt x="1405" y="1130"/>
                  </a:lnTo>
                  <a:lnTo>
                    <a:pt x="1405" y="1131"/>
                  </a:lnTo>
                  <a:lnTo>
                    <a:pt x="1404" y="1132"/>
                  </a:lnTo>
                  <a:lnTo>
                    <a:pt x="1404" y="1132"/>
                  </a:lnTo>
                  <a:lnTo>
                    <a:pt x="1404" y="1132"/>
                  </a:lnTo>
                  <a:lnTo>
                    <a:pt x="1402" y="1134"/>
                  </a:lnTo>
                  <a:lnTo>
                    <a:pt x="1402" y="1134"/>
                  </a:lnTo>
                  <a:lnTo>
                    <a:pt x="1402" y="1135"/>
                  </a:lnTo>
                  <a:lnTo>
                    <a:pt x="1402" y="1138"/>
                  </a:lnTo>
                  <a:lnTo>
                    <a:pt x="1402" y="1138"/>
                  </a:lnTo>
                  <a:lnTo>
                    <a:pt x="1402" y="1140"/>
                  </a:lnTo>
                  <a:lnTo>
                    <a:pt x="1402" y="1141"/>
                  </a:lnTo>
                  <a:lnTo>
                    <a:pt x="1402" y="1142"/>
                  </a:lnTo>
                  <a:lnTo>
                    <a:pt x="1404" y="1150"/>
                  </a:lnTo>
                  <a:lnTo>
                    <a:pt x="1405" y="1152"/>
                  </a:lnTo>
                  <a:lnTo>
                    <a:pt x="1407" y="1158"/>
                  </a:lnTo>
                  <a:lnTo>
                    <a:pt x="1408" y="1165"/>
                  </a:lnTo>
                  <a:lnTo>
                    <a:pt x="1412" y="1172"/>
                  </a:lnTo>
                  <a:lnTo>
                    <a:pt x="1417" y="1181"/>
                  </a:lnTo>
                  <a:lnTo>
                    <a:pt x="1418" y="1182"/>
                  </a:lnTo>
                  <a:lnTo>
                    <a:pt x="1417" y="1184"/>
                  </a:lnTo>
                  <a:lnTo>
                    <a:pt x="1417" y="1184"/>
                  </a:lnTo>
                  <a:lnTo>
                    <a:pt x="1417" y="1187"/>
                  </a:lnTo>
                  <a:lnTo>
                    <a:pt x="1417" y="1188"/>
                  </a:lnTo>
                  <a:lnTo>
                    <a:pt x="1418" y="1190"/>
                  </a:lnTo>
                  <a:lnTo>
                    <a:pt x="1420" y="1192"/>
                  </a:lnTo>
                  <a:lnTo>
                    <a:pt x="1418" y="1192"/>
                  </a:lnTo>
                  <a:lnTo>
                    <a:pt x="1417" y="1188"/>
                  </a:lnTo>
                  <a:lnTo>
                    <a:pt x="1417" y="1185"/>
                  </a:lnTo>
                  <a:lnTo>
                    <a:pt x="1417" y="1181"/>
                  </a:lnTo>
                  <a:lnTo>
                    <a:pt x="1417" y="1182"/>
                  </a:lnTo>
                  <a:lnTo>
                    <a:pt x="1415" y="1182"/>
                  </a:lnTo>
                  <a:lnTo>
                    <a:pt x="1415" y="1184"/>
                  </a:lnTo>
                  <a:lnTo>
                    <a:pt x="1415" y="1185"/>
                  </a:lnTo>
                  <a:lnTo>
                    <a:pt x="1415" y="1182"/>
                  </a:lnTo>
                  <a:lnTo>
                    <a:pt x="1415" y="1182"/>
                  </a:lnTo>
                  <a:lnTo>
                    <a:pt x="1415" y="1181"/>
                  </a:lnTo>
                  <a:lnTo>
                    <a:pt x="1415" y="1180"/>
                  </a:lnTo>
                  <a:lnTo>
                    <a:pt x="1414" y="1180"/>
                  </a:lnTo>
                  <a:lnTo>
                    <a:pt x="1414" y="1178"/>
                  </a:lnTo>
                  <a:lnTo>
                    <a:pt x="1414" y="1178"/>
                  </a:lnTo>
                  <a:lnTo>
                    <a:pt x="1414" y="1177"/>
                  </a:lnTo>
                  <a:lnTo>
                    <a:pt x="1412" y="1177"/>
                  </a:lnTo>
                  <a:lnTo>
                    <a:pt x="1414" y="1180"/>
                  </a:lnTo>
                  <a:lnTo>
                    <a:pt x="1414" y="1181"/>
                  </a:lnTo>
                  <a:lnTo>
                    <a:pt x="1414" y="1184"/>
                  </a:lnTo>
                  <a:lnTo>
                    <a:pt x="1415" y="1187"/>
                  </a:lnTo>
                  <a:lnTo>
                    <a:pt x="1415" y="1188"/>
                  </a:lnTo>
                  <a:lnTo>
                    <a:pt x="1422" y="1205"/>
                  </a:lnTo>
                  <a:lnTo>
                    <a:pt x="1424" y="1208"/>
                  </a:lnTo>
                  <a:lnTo>
                    <a:pt x="1425" y="1210"/>
                  </a:lnTo>
                  <a:lnTo>
                    <a:pt x="1425" y="1212"/>
                  </a:lnTo>
                  <a:lnTo>
                    <a:pt x="1425" y="1217"/>
                  </a:lnTo>
                  <a:lnTo>
                    <a:pt x="1424" y="1225"/>
                  </a:lnTo>
                  <a:lnTo>
                    <a:pt x="1424" y="1230"/>
                  </a:lnTo>
                  <a:lnTo>
                    <a:pt x="1424" y="1230"/>
                  </a:lnTo>
                  <a:lnTo>
                    <a:pt x="1424" y="1230"/>
                  </a:lnTo>
                  <a:lnTo>
                    <a:pt x="1424" y="1230"/>
                  </a:lnTo>
                  <a:lnTo>
                    <a:pt x="1422" y="1231"/>
                  </a:lnTo>
                  <a:lnTo>
                    <a:pt x="1421" y="1234"/>
                  </a:lnTo>
                  <a:lnTo>
                    <a:pt x="1421" y="1237"/>
                  </a:lnTo>
                  <a:lnTo>
                    <a:pt x="1421" y="1238"/>
                  </a:lnTo>
                  <a:lnTo>
                    <a:pt x="1418" y="1241"/>
                  </a:lnTo>
                  <a:lnTo>
                    <a:pt x="1417" y="1241"/>
                  </a:lnTo>
                  <a:lnTo>
                    <a:pt x="1414" y="1242"/>
                  </a:lnTo>
                  <a:lnTo>
                    <a:pt x="1412" y="1241"/>
                  </a:lnTo>
                  <a:lnTo>
                    <a:pt x="1410" y="1242"/>
                  </a:lnTo>
                  <a:lnTo>
                    <a:pt x="1408" y="1242"/>
                  </a:lnTo>
                  <a:lnTo>
                    <a:pt x="1408" y="1241"/>
                  </a:lnTo>
                  <a:lnTo>
                    <a:pt x="1408" y="1240"/>
                  </a:lnTo>
                  <a:lnTo>
                    <a:pt x="1408" y="1240"/>
                  </a:lnTo>
                  <a:lnTo>
                    <a:pt x="1408" y="1240"/>
                  </a:lnTo>
                  <a:lnTo>
                    <a:pt x="1411" y="1241"/>
                  </a:lnTo>
                  <a:lnTo>
                    <a:pt x="1411" y="1240"/>
                  </a:lnTo>
                  <a:lnTo>
                    <a:pt x="1411" y="1240"/>
                  </a:lnTo>
                  <a:lnTo>
                    <a:pt x="1410" y="1238"/>
                  </a:lnTo>
                  <a:lnTo>
                    <a:pt x="1408" y="1238"/>
                  </a:lnTo>
                  <a:lnTo>
                    <a:pt x="1407" y="1234"/>
                  </a:lnTo>
                  <a:lnTo>
                    <a:pt x="1405" y="1231"/>
                  </a:lnTo>
                  <a:lnTo>
                    <a:pt x="1404" y="1230"/>
                  </a:lnTo>
                  <a:lnTo>
                    <a:pt x="1401" y="1228"/>
                  </a:lnTo>
                  <a:lnTo>
                    <a:pt x="1398" y="1227"/>
                  </a:lnTo>
                  <a:lnTo>
                    <a:pt x="1397" y="1224"/>
                  </a:lnTo>
                  <a:lnTo>
                    <a:pt x="1397" y="1220"/>
                  </a:lnTo>
                  <a:lnTo>
                    <a:pt x="1395" y="1218"/>
                  </a:lnTo>
                  <a:lnTo>
                    <a:pt x="1395" y="1218"/>
                  </a:lnTo>
                  <a:lnTo>
                    <a:pt x="1395" y="1217"/>
                  </a:lnTo>
                  <a:lnTo>
                    <a:pt x="1397" y="1215"/>
                  </a:lnTo>
                  <a:lnTo>
                    <a:pt x="1397" y="1215"/>
                  </a:lnTo>
                  <a:lnTo>
                    <a:pt x="1395" y="1215"/>
                  </a:lnTo>
                  <a:lnTo>
                    <a:pt x="1395" y="1217"/>
                  </a:lnTo>
                  <a:lnTo>
                    <a:pt x="1394" y="1217"/>
                  </a:lnTo>
                  <a:lnTo>
                    <a:pt x="1394" y="1217"/>
                  </a:lnTo>
                  <a:lnTo>
                    <a:pt x="1392" y="1214"/>
                  </a:lnTo>
                  <a:lnTo>
                    <a:pt x="1394" y="1211"/>
                  </a:lnTo>
                  <a:lnTo>
                    <a:pt x="1394" y="1210"/>
                  </a:lnTo>
                  <a:lnTo>
                    <a:pt x="1392" y="1210"/>
                  </a:lnTo>
                  <a:lnTo>
                    <a:pt x="1391" y="1210"/>
                  </a:lnTo>
                  <a:lnTo>
                    <a:pt x="1391" y="1211"/>
                  </a:lnTo>
                  <a:lnTo>
                    <a:pt x="1391" y="1212"/>
                  </a:lnTo>
                  <a:lnTo>
                    <a:pt x="1391" y="1212"/>
                  </a:lnTo>
                  <a:lnTo>
                    <a:pt x="1390" y="1211"/>
                  </a:lnTo>
                  <a:lnTo>
                    <a:pt x="1388" y="1210"/>
                  </a:lnTo>
                  <a:lnTo>
                    <a:pt x="1387" y="1208"/>
                  </a:lnTo>
                  <a:lnTo>
                    <a:pt x="1384" y="1202"/>
                  </a:lnTo>
                  <a:lnTo>
                    <a:pt x="1384" y="1201"/>
                  </a:lnTo>
                  <a:lnTo>
                    <a:pt x="1382" y="1200"/>
                  </a:lnTo>
                  <a:lnTo>
                    <a:pt x="1384" y="1200"/>
                  </a:lnTo>
                  <a:lnTo>
                    <a:pt x="1384" y="1200"/>
                  </a:lnTo>
                  <a:lnTo>
                    <a:pt x="1385" y="1197"/>
                  </a:lnTo>
                  <a:lnTo>
                    <a:pt x="1387" y="1195"/>
                  </a:lnTo>
                  <a:lnTo>
                    <a:pt x="1388" y="1194"/>
                  </a:lnTo>
                  <a:lnTo>
                    <a:pt x="1388" y="1194"/>
                  </a:lnTo>
                  <a:lnTo>
                    <a:pt x="1387" y="1192"/>
                  </a:lnTo>
                  <a:lnTo>
                    <a:pt x="1387" y="1194"/>
                  </a:lnTo>
                  <a:lnTo>
                    <a:pt x="1385" y="1194"/>
                  </a:lnTo>
                  <a:lnTo>
                    <a:pt x="1385" y="1192"/>
                  </a:lnTo>
                  <a:lnTo>
                    <a:pt x="1384" y="1191"/>
                  </a:lnTo>
                  <a:lnTo>
                    <a:pt x="1384" y="1192"/>
                  </a:lnTo>
                  <a:lnTo>
                    <a:pt x="1384" y="1192"/>
                  </a:lnTo>
                  <a:lnTo>
                    <a:pt x="1385" y="1194"/>
                  </a:lnTo>
                  <a:lnTo>
                    <a:pt x="1384" y="1195"/>
                  </a:lnTo>
                  <a:lnTo>
                    <a:pt x="1384" y="1195"/>
                  </a:lnTo>
                  <a:lnTo>
                    <a:pt x="1384" y="1197"/>
                  </a:lnTo>
                  <a:lnTo>
                    <a:pt x="1382" y="1195"/>
                  </a:lnTo>
                  <a:lnTo>
                    <a:pt x="1382" y="1197"/>
                  </a:lnTo>
                  <a:lnTo>
                    <a:pt x="1382" y="1195"/>
                  </a:lnTo>
                  <a:lnTo>
                    <a:pt x="1381" y="1195"/>
                  </a:lnTo>
                  <a:lnTo>
                    <a:pt x="1381" y="1194"/>
                  </a:lnTo>
                  <a:lnTo>
                    <a:pt x="1382" y="1187"/>
                  </a:lnTo>
                  <a:lnTo>
                    <a:pt x="1384" y="1182"/>
                  </a:lnTo>
                  <a:lnTo>
                    <a:pt x="1384" y="1177"/>
                  </a:lnTo>
                  <a:lnTo>
                    <a:pt x="1384" y="1177"/>
                  </a:lnTo>
                  <a:lnTo>
                    <a:pt x="1384" y="1175"/>
                  </a:lnTo>
                  <a:lnTo>
                    <a:pt x="1382" y="1172"/>
                  </a:lnTo>
                  <a:lnTo>
                    <a:pt x="1374" y="1165"/>
                  </a:lnTo>
                  <a:lnTo>
                    <a:pt x="1367" y="1155"/>
                  </a:lnTo>
                  <a:lnTo>
                    <a:pt x="1361" y="1152"/>
                  </a:lnTo>
                  <a:lnTo>
                    <a:pt x="1357" y="1154"/>
                  </a:lnTo>
                  <a:lnTo>
                    <a:pt x="1357" y="1154"/>
                  </a:lnTo>
                  <a:lnTo>
                    <a:pt x="1357" y="1155"/>
                  </a:lnTo>
                  <a:lnTo>
                    <a:pt x="1357" y="1155"/>
                  </a:lnTo>
                  <a:lnTo>
                    <a:pt x="1357" y="1157"/>
                  </a:lnTo>
                  <a:lnTo>
                    <a:pt x="1355" y="1157"/>
                  </a:lnTo>
                  <a:lnTo>
                    <a:pt x="1354" y="1157"/>
                  </a:lnTo>
                  <a:lnTo>
                    <a:pt x="1350" y="1158"/>
                  </a:lnTo>
                  <a:lnTo>
                    <a:pt x="1348" y="1158"/>
                  </a:lnTo>
                  <a:lnTo>
                    <a:pt x="1347" y="1160"/>
                  </a:lnTo>
                  <a:lnTo>
                    <a:pt x="1345" y="1160"/>
                  </a:lnTo>
                  <a:lnTo>
                    <a:pt x="1344" y="1160"/>
                  </a:lnTo>
                  <a:lnTo>
                    <a:pt x="1341" y="1161"/>
                  </a:lnTo>
                  <a:lnTo>
                    <a:pt x="1340" y="1160"/>
                  </a:lnTo>
                  <a:lnTo>
                    <a:pt x="1340" y="1160"/>
                  </a:lnTo>
                  <a:lnTo>
                    <a:pt x="1340" y="1158"/>
                  </a:lnTo>
                  <a:lnTo>
                    <a:pt x="1340" y="1158"/>
                  </a:lnTo>
                  <a:lnTo>
                    <a:pt x="1341" y="1160"/>
                  </a:lnTo>
                  <a:lnTo>
                    <a:pt x="1341" y="1160"/>
                  </a:lnTo>
                  <a:lnTo>
                    <a:pt x="1341" y="1158"/>
                  </a:lnTo>
                  <a:lnTo>
                    <a:pt x="1341" y="1157"/>
                  </a:lnTo>
                  <a:lnTo>
                    <a:pt x="1338" y="1155"/>
                  </a:lnTo>
                  <a:lnTo>
                    <a:pt x="1335" y="1152"/>
                  </a:lnTo>
                  <a:lnTo>
                    <a:pt x="1337" y="1152"/>
                  </a:lnTo>
                  <a:lnTo>
                    <a:pt x="1337" y="1152"/>
                  </a:lnTo>
                  <a:lnTo>
                    <a:pt x="1335" y="1151"/>
                  </a:lnTo>
                  <a:lnTo>
                    <a:pt x="1335" y="1150"/>
                  </a:lnTo>
                  <a:lnTo>
                    <a:pt x="1337" y="1150"/>
                  </a:lnTo>
                  <a:lnTo>
                    <a:pt x="1335" y="1150"/>
                  </a:lnTo>
                  <a:lnTo>
                    <a:pt x="1334" y="1150"/>
                  </a:lnTo>
                  <a:lnTo>
                    <a:pt x="1334" y="1151"/>
                  </a:lnTo>
                  <a:lnTo>
                    <a:pt x="1334" y="1151"/>
                  </a:lnTo>
                  <a:lnTo>
                    <a:pt x="1334" y="1151"/>
                  </a:lnTo>
                  <a:lnTo>
                    <a:pt x="1333" y="1151"/>
                  </a:lnTo>
                  <a:lnTo>
                    <a:pt x="1327" y="1148"/>
                  </a:lnTo>
                  <a:lnTo>
                    <a:pt x="1323" y="1147"/>
                  </a:lnTo>
                  <a:lnTo>
                    <a:pt x="1327" y="1147"/>
                  </a:lnTo>
                  <a:lnTo>
                    <a:pt x="1328" y="1147"/>
                  </a:lnTo>
                  <a:lnTo>
                    <a:pt x="1328" y="1147"/>
                  </a:lnTo>
                  <a:lnTo>
                    <a:pt x="1328" y="1147"/>
                  </a:lnTo>
                  <a:lnTo>
                    <a:pt x="1325" y="1145"/>
                  </a:lnTo>
                  <a:lnTo>
                    <a:pt x="1324" y="1145"/>
                  </a:lnTo>
                  <a:lnTo>
                    <a:pt x="1323" y="1145"/>
                  </a:lnTo>
                  <a:lnTo>
                    <a:pt x="1323" y="1145"/>
                  </a:lnTo>
                  <a:lnTo>
                    <a:pt x="1321" y="1147"/>
                  </a:lnTo>
                  <a:lnTo>
                    <a:pt x="1320" y="1147"/>
                  </a:lnTo>
                  <a:lnTo>
                    <a:pt x="1315" y="1148"/>
                  </a:lnTo>
                  <a:lnTo>
                    <a:pt x="1311" y="1148"/>
                  </a:lnTo>
                  <a:lnTo>
                    <a:pt x="1311" y="1148"/>
                  </a:lnTo>
                  <a:lnTo>
                    <a:pt x="1313" y="1147"/>
                  </a:lnTo>
                  <a:lnTo>
                    <a:pt x="1314" y="1147"/>
                  </a:lnTo>
                  <a:lnTo>
                    <a:pt x="1315" y="1145"/>
                  </a:lnTo>
                  <a:lnTo>
                    <a:pt x="1314" y="1144"/>
                  </a:lnTo>
                  <a:lnTo>
                    <a:pt x="1314" y="1144"/>
                  </a:lnTo>
                  <a:lnTo>
                    <a:pt x="1313" y="1145"/>
                  </a:lnTo>
                  <a:lnTo>
                    <a:pt x="1313" y="1145"/>
                  </a:lnTo>
                  <a:lnTo>
                    <a:pt x="1311" y="1145"/>
                  </a:lnTo>
                  <a:lnTo>
                    <a:pt x="1311" y="1147"/>
                  </a:lnTo>
                  <a:lnTo>
                    <a:pt x="1310" y="1147"/>
                  </a:lnTo>
                  <a:lnTo>
                    <a:pt x="1310" y="1148"/>
                  </a:lnTo>
                  <a:lnTo>
                    <a:pt x="1307" y="1150"/>
                  </a:lnTo>
                  <a:lnTo>
                    <a:pt x="1307" y="1150"/>
                  </a:lnTo>
                  <a:lnTo>
                    <a:pt x="1307" y="1148"/>
                  </a:lnTo>
                  <a:lnTo>
                    <a:pt x="1307" y="1147"/>
                  </a:lnTo>
                  <a:lnTo>
                    <a:pt x="1305" y="1148"/>
                  </a:lnTo>
                  <a:lnTo>
                    <a:pt x="1304" y="1150"/>
                  </a:lnTo>
                  <a:lnTo>
                    <a:pt x="1298" y="1151"/>
                  </a:lnTo>
                  <a:lnTo>
                    <a:pt x="1298" y="1150"/>
                  </a:lnTo>
                  <a:lnTo>
                    <a:pt x="1300" y="1150"/>
                  </a:lnTo>
                  <a:lnTo>
                    <a:pt x="1301" y="1150"/>
                  </a:lnTo>
                  <a:lnTo>
                    <a:pt x="1301" y="1148"/>
                  </a:lnTo>
                  <a:lnTo>
                    <a:pt x="1301" y="1147"/>
                  </a:lnTo>
                  <a:lnTo>
                    <a:pt x="1300" y="1147"/>
                  </a:lnTo>
                  <a:lnTo>
                    <a:pt x="1300" y="1147"/>
                  </a:lnTo>
                  <a:lnTo>
                    <a:pt x="1300" y="1144"/>
                  </a:lnTo>
                  <a:lnTo>
                    <a:pt x="1298" y="1142"/>
                  </a:lnTo>
                  <a:lnTo>
                    <a:pt x="1298" y="1142"/>
                  </a:lnTo>
                  <a:lnTo>
                    <a:pt x="1298" y="1142"/>
                  </a:lnTo>
                  <a:lnTo>
                    <a:pt x="1297" y="1144"/>
                  </a:lnTo>
                  <a:lnTo>
                    <a:pt x="1297" y="1147"/>
                  </a:lnTo>
                  <a:lnTo>
                    <a:pt x="1295" y="1148"/>
                  </a:lnTo>
                  <a:lnTo>
                    <a:pt x="1294" y="1148"/>
                  </a:lnTo>
                  <a:lnTo>
                    <a:pt x="1293" y="1148"/>
                  </a:lnTo>
                  <a:lnTo>
                    <a:pt x="1287" y="1148"/>
                  </a:lnTo>
                  <a:lnTo>
                    <a:pt x="1285" y="1147"/>
                  </a:lnTo>
                  <a:lnTo>
                    <a:pt x="1284" y="1147"/>
                  </a:lnTo>
                  <a:lnTo>
                    <a:pt x="1284" y="1147"/>
                  </a:lnTo>
                  <a:lnTo>
                    <a:pt x="1281" y="1148"/>
                  </a:lnTo>
                  <a:lnTo>
                    <a:pt x="1278" y="1148"/>
                  </a:lnTo>
                  <a:lnTo>
                    <a:pt x="1278" y="1148"/>
                  </a:lnTo>
                  <a:lnTo>
                    <a:pt x="1277" y="1148"/>
                  </a:lnTo>
                  <a:lnTo>
                    <a:pt x="1276" y="1151"/>
                  </a:lnTo>
                  <a:lnTo>
                    <a:pt x="1273" y="1151"/>
                  </a:lnTo>
                  <a:lnTo>
                    <a:pt x="1267" y="1150"/>
                  </a:lnTo>
                  <a:lnTo>
                    <a:pt x="1266" y="1148"/>
                  </a:lnTo>
                  <a:lnTo>
                    <a:pt x="1264" y="1148"/>
                  </a:lnTo>
                  <a:lnTo>
                    <a:pt x="1263" y="1148"/>
                  </a:lnTo>
                  <a:lnTo>
                    <a:pt x="1261" y="1150"/>
                  </a:lnTo>
                  <a:lnTo>
                    <a:pt x="1260" y="1152"/>
                  </a:lnTo>
                  <a:lnTo>
                    <a:pt x="1261" y="1154"/>
                  </a:lnTo>
                  <a:lnTo>
                    <a:pt x="1264" y="1154"/>
                  </a:lnTo>
                  <a:lnTo>
                    <a:pt x="1267" y="1154"/>
                  </a:lnTo>
                  <a:lnTo>
                    <a:pt x="1268" y="1152"/>
                  </a:lnTo>
                  <a:lnTo>
                    <a:pt x="1270" y="1152"/>
                  </a:lnTo>
                  <a:lnTo>
                    <a:pt x="1270" y="1152"/>
                  </a:lnTo>
                  <a:lnTo>
                    <a:pt x="1270" y="1151"/>
                  </a:lnTo>
                  <a:lnTo>
                    <a:pt x="1271" y="1152"/>
                  </a:lnTo>
                  <a:lnTo>
                    <a:pt x="1271" y="1152"/>
                  </a:lnTo>
                  <a:lnTo>
                    <a:pt x="1271" y="1154"/>
                  </a:lnTo>
                  <a:lnTo>
                    <a:pt x="1270" y="1154"/>
                  </a:lnTo>
                  <a:lnTo>
                    <a:pt x="1270" y="1154"/>
                  </a:lnTo>
                  <a:lnTo>
                    <a:pt x="1270" y="1155"/>
                  </a:lnTo>
                  <a:lnTo>
                    <a:pt x="1273" y="1157"/>
                  </a:lnTo>
                  <a:lnTo>
                    <a:pt x="1273" y="1157"/>
                  </a:lnTo>
                  <a:lnTo>
                    <a:pt x="1273" y="1154"/>
                  </a:lnTo>
                  <a:lnTo>
                    <a:pt x="1274" y="1154"/>
                  </a:lnTo>
                  <a:lnTo>
                    <a:pt x="1276" y="1154"/>
                  </a:lnTo>
                  <a:lnTo>
                    <a:pt x="1276" y="1154"/>
                  </a:lnTo>
                  <a:lnTo>
                    <a:pt x="1276" y="1155"/>
                  </a:lnTo>
                  <a:lnTo>
                    <a:pt x="1277" y="1157"/>
                  </a:lnTo>
                  <a:lnTo>
                    <a:pt x="1277" y="1158"/>
                  </a:lnTo>
                  <a:lnTo>
                    <a:pt x="1277" y="1158"/>
                  </a:lnTo>
                  <a:lnTo>
                    <a:pt x="1276" y="1158"/>
                  </a:lnTo>
                  <a:lnTo>
                    <a:pt x="1274" y="1158"/>
                  </a:lnTo>
                  <a:lnTo>
                    <a:pt x="1273" y="1160"/>
                  </a:lnTo>
                  <a:lnTo>
                    <a:pt x="1273" y="1160"/>
                  </a:lnTo>
                  <a:lnTo>
                    <a:pt x="1273" y="1161"/>
                  </a:lnTo>
                  <a:lnTo>
                    <a:pt x="1271" y="1161"/>
                  </a:lnTo>
                  <a:lnTo>
                    <a:pt x="1271" y="1161"/>
                  </a:lnTo>
                  <a:lnTo>
                    <a:pt x="1271" y="1161"/>
                  </a:lnTo>
                  <a:lnTo>
                    <a:pt x="1271" y="1161"/>
                  </a:lnTo>
                  <a:lnTo>
                    <a:pt x="1271" y="1162"/>
                  </a:lnTo>
                  <a:lnTo>
                    <a:pt x="1273" y="1164"/>
                  </a:lnTo>
                  <a:lnTo>
                    <a:pt x="1274" y="1165"/>
                  </a:lnTo>
                  <a:lnTo>
                    <a:pt x="1278" y="1167"/>
                  </a:lnTo>
                  <a:lnTo>
                    <a:pt x="1280" y="1167"/>
                  </a:lnTo>
                  <a:lnTo>
                    <a:pt x="1280" y="1168"/>
                  </a:lnTo>
                  <a:lnTo>
                    <a:pt x="1281" y="1170"/>
                  </a:lnTo>
                  <a:lnTo>
                    <a:pt x="1283" y="1170"/>
                  </a:lnTo>
                  <a:lnTo>
                    <a:pt x="1281" y="1171"/>
                  </a:lnTo>
                  <a:lnTo>
                    <a:pt x="1280" y="1171"/>
                  </a:lnTo>
                  <a:lnTo>
                    <a:pt x="1280" y="1172"/>
                  </a:lnTo>
                  <a:lnTo>
                    <a:pt x="1280" y="1172"/>
                  </a:lnTo>
                  <a:lnTo>
                    <a:pt x="1278" y="1172"/>
                  </a:lnTo>
                  <a:lnTo>
                    <a:pt x="1278" y="1171"/>
                  </a:lnTo>
                  <a:lnTo>
                    <a:pt x="1277" y="1172"/>
                  </a:lnTo>
                  <a:lnTo>
                    <a:pt x="1276" y="1174"/>
                  </a:lnTo>
                  <a:lnTo>
                    <a:pt x="1277" y="1171"/>
                  </a:lnTo>
                  <a:lnTo>
                    <a:pt x="1276" y="1171"/>
                  </a:lnTo>
                  <a:lnTo>
                    <a:pt x="1276" y="1170"/>
                  </a:lnTo>
                  <a:lnTo>
                    <a:pt x="1274" y="1168"/>
                  </a:lnTo>
                  <a:lnTo>
                    <a:pt x="1273" y="1168"/>
                  </a:lnTo>
                  <a:lnTo>
                    <a:pt x="1273" y="1167"/>
                  </a:lnTo>
                  <a:lnTo>
                    <a:pt x="1271" y="1167"/>
                  </a:lnTo>
                  <a:lnTo>
                    <a:pt x="1271" y="1167"/>
                  </a:lnTo>
                  <a:lnTo>
                    <a:pt x="1270" y="1167"/>
                  </a:lnTo>
                  <a:lnTo>
                    <a:pt x="1270" y="1165"/>
                  </a:lnTo>
                  <a:lnTo>
                    <a:pt x="1268" y="1165"/>
                  </a:lnTo>
                  <a:lnTo>
                    <a:pt x="1268" y="1164"/>
                  </a:lnTo>
                  <a:lnTo>
                    <a:pt x="1264" y="1162"/>
                  </a:lnTo>
                  <a:lnTo>
                    <a:pt x="1264" y="1164"/>
                  </a:lnTo>
                  <a:lnTo>
                    <a:pt x="1264" y="1164"/>
                  </a:lnTo>
                  <a:lnTo>
                    <a:pt x="1264" y="1164"/>
                  </a:lnTo>
                  <a:lnTo>
                    <a:pt x="1266" y="1165"/>
                  </a:lnTo>
                  <a:lnTo>
                    <a:pt x="1266" y="1167"/>
                  </a:lnTo>
                  <a:lnTo>
                    <a:pt x="1266" y="1168"/>
                  </a:lnTo>
                  <a:lnTo>
                    <a:pt x="1266" y="1168"/>
                  </a:lnTo>
                  <a:lnTo>
                    <a:pt x="1264" y="1170"/>
                  </a:lnTo>
                  <a:lnTo>
                    <a:pt x="1264" y="1171"/>
                  </a:lnTo>
                  <a:lnTo>
                    <a:pt x="1263" y="1171"/>
                  </a:lnTo>
                  <a:lnTo>
                    <a:pt x="1263" y="1171"/>
                  </a:lnTo>
                  <a:lnTo>
                    <a:pt x="1261" y="1168"/>
                  </a:lnTo>
                  <a:lnTo>
                    <a:pt x="1260" y="1168"/>
                  </a:lnTo>
                  <a:lnTo>
                    <a:pt x="1258" y="1168"/>
                  </a:lnTo>
                  <a:lnTo>
                    <a:pt x="1257" y="1168"/>
                  </a:lnTo>
                  <a:lnTo>
                    <a:pt x="1256" y="1170"/>
                  </a:lnTo>
                  <a:lnTo>
                    <a:pt x="1254" y="1171"/>
                  </a:lnTo>
                  <a:lnTo>
                    <a:pt x="1250" y="1170"/>
                  </a:lnTo>
                  <a:lnTo>
                    <a:pt x="1246" y="1168"/>
                  </a:lnTo>
                  <a:lnTo>
                    <a:pt x="1246" y="1167"/>
                  </a:lnTo>
                  <a:lnTo>
                    <a:pt x="1247" y="1167"/>
                  </a:lnTo>
                  <a:lnTo>
                    <a:pt x="1248" y="1167"/>
                  </a:lnTo>
                  <a:lnTo>
                    <a:pt x="1247" y="1167"/>
                  </a:lnTo>
                  <a:lnTo>
                    <a:pt x="1246" y="1165"/>
                  </a:lnTo>
                  <a:lnTo>
                    <a:pt x="1246" y="1164"/>
                  </a:lnTo>
                  <a:lnTo>
                    <a:pt x="1246" y="1162"/>
                  </a:lnTo>
                  <a:lnTo>
                    <a:pt x="1246" y="1162"/>
                  </a:lnTo>
                  <a:lnTo>
                    <a:pt x="1246" y="1164"/>
                  </a:lnTo>
                  <a:lnTo>
                    <a:pt x="1241" y="1162"/>
                  </a:lnTo>
                  <a:lnTo>
                    <a:pt x="1241" y="1162"/>
                  </a:lnTo>
                  <a:lnTo>
                    <a:pt x="1240" y="1160"/>
                  </a:lnTo>
                  <a:lnTo>
                    <a:pt x="1237" y="1160"/>
                  </a:lnTo>
                  <a:lnTo>
                    <a:pt x="1236" y="1158"/>
                  </a:lnTo>
                  <a:lnTo>
                    <a:pt x="1234" y="1158"/>
                  </a:lnTo>
                  <a:lnTo>
                    <a:pt x="1233" y="1160"/>
                  </a:lnTo>
                  <a:lnTo>
                    <a:pt x="1231" y="1160"/>
                  </a:lnTo>
                  <a:lnTo>
                    <a:pt x="1233" y="1161"/>
                  </a:lnTo>
                  <a:lnTo>
                    <a:pt x="1233" y="1161"/>
                  </a:lnTo>
                  <a:lnTo>
                    <a:pt x="1233" y="1162"/>
                  </a:lnTo>
                  <a:lnTo>
                    <a:pt x="1230" y="1162"/>
                  </a:lnTo>
                  <a:lnTo>
                    <a:pt x="1223" y="1162"/>
                  </a:lnTo>
                  <a:lnTo>
                    <a:pt x="1221" y="1161"/>
                  </a:lnTo>
                  <a:lnTo>
                    <a:pt x="1218" y="1160"/>
                  </a:lnTo>
                  <a:lnTo>
                    <a:pt x="1216" y="1158"/>
                  </a:lnTo>
                  <a:lnTo>
                    <a:pt x="1214" y="1158"/>
                  </a:lnTo>
                  <a:lnTo>
                    <a:pt x="1211" y="1158"/>
                  </a:lnTo>
                  <a:lnTo>
                    <a:pt x="1207" y="1158"/>
                  </a:lnTo>
                  <a:lnTo>
                    <a:pt x="1206" y="1160"/>
                  </a:lnTo>
                  <a:lnTo>
                    <a:pt x="1206" y="1160"/>
                  </a:lnTo>
                  <a:lnTo>
                    <a:pt x="1204" y="1160"/>
                  </a:lnTo>
                  <a:lnTo>
                    <a:pt x="1204" y="1158"/>
                  </a:lnTo>
                  <a:lnTo>
                    <a:pt x="1204" y="1158"/>
                  </a:lnTo>
                  <a:lnTo>
                    <a:pt x="1206" y="1157"/>
                  </a:lnTo>
                  <a:lnTo>
                    <a:pt x="1206" y="1157"/>
                  </a:lnTo>
                  <a:lnTo>
                    <a:pt x="1206" y="1155"/>
                  </a:lnTo>
                  <a:lnTo>
                    <a:pt x="1206" y="1155"/>
                  </a:lnTo>
                  <a:lnTo>
                    <a:pt x="1204" y="1155"/>
                  </a:lnTo>
                  <a:lnTo>
                    <a:pt x="1203" y="1158"/>
                  </a:lnTo>
                  <a:lnTo>
                    <a:pt x="1204" y="1160"/>
                  </a:lnTo>
                  <a:lnTo>
                    <a:pt x="1204" y="1161"/>
                  </a:lnTo>
                  <a:lnTo>
                    <a:pt x="1200" y="1161"/>
                  </a:lnTo>
                  <a:lnTo>
                    <a:pt x="1193" y="1164"/>
                  </a:lnTo>
                  <a:lnTo>
                    <a:pt x="1190" y="1165"/>
                  </a:lnTo>
                  <a:lnTo>
                    <a:pt x="1190" y="1165"/>
                  </a:lnTo>
                  <a:lnTo>
                    <a:pt x="1194" y="1162"/>
                  </a:lnTo>
                  <a:lnTo>
                    <a:pt x="1193" y="1162"/>
                  </a:lnTo>
                  <a:lnTo>
                    <a:pt x="1190" y="1162"/>
                  </a:lnTo>
                  <a:lnTo>
                    <a:pt x="1190" y="1162"/>
                  </a:lnTo>
                  <a:lnTo>
                    <a:pt x="1190" y="1161"/>
                  </a:lnTo>
                  <a:lnTo>
                    <a:pt x="1190" y="1160"/>
                  </a:lnTo>
                  <a:lnTo>
                    <a:pt x="1188" y="1160"/>
                  </a:lnTo>
                  <a:lnTo>
                    <a:pt x="1188" y="1161"/>
                  </a:lnTo>
                  <a:lnTo>
                    <a:pt x="1187" y="1161"/>
                  </a:lnTo>
                  <a:lnTo>
                    <a:pt x="1187" y="1160"/>
                  </a:lnTo>
                  <a:lnTo>
                    <a:pt x="1186" y="1160"/>
                  </a:lnTo>
                  <a:lnTo>
                    <a:pt x="1186" y="1164"/>
                  </a:lnTo>
                  <a:lnTo>
                    <a:pt x="1187" y="1164"/>
                  </a:lnTo>
                  <a:lnTo>
                    <a:pt x="1188" y="1167"/>
                  </a:lnTo>
                  <a:lnTo>
                    <a:pt x="1186" y="1168"/>
                  </a:lnTo>
                  <a:lnTo>
                    <a:pt x="1184" y="1170"/>
                  </a:lnTo>
                  <a:lnTo>
                    <a:pt x="1184" y="1171"/>
                  </a:lnTo>
                  <a:lnTo>
                    <a:pt x="1181" y="1174"/>
                  </a:lnTo>
                  <a:lnTo>
                    <a:pt x="1180" y="1175"/>
                  </a:lnTo>
                  <a:lnTo>
                    <a:pt x="1176" y="1178"/>
                  </a:lnTo>
                  <a:lnTo>
                    <a:pt x="1174" y="1178"/>
                  </a:lnTo>
                  <a:lnTo>
                    <a:pt x="1173" y="1180"/>
                  </a:lnTo>
                  <a:lnTo>
                    <a:pt x="1170" y="1181"/>
                  </a:lnTo>
                  <a:lnTo>
                    <a:pt x="1167" y="1182"/>
                  </a:lnTo>
                  <a:lnTo>
                    <a:pt x="1166" y="1182"/>
                  </a:lnTo>
                  <a:lnTo>
                    <a:pt x="1169" y="1181"/>
                  </a:lnTo>
                  <a:lnTo>
                    <a:pt x="1170" y="1180"/>
                  </a:lnTo>
                  <a:lnTo>
                    <a:pt x="1169" y="1180"/>
                  </a:lnTo>
                  <a:lnTo>
                    <a:pt x="1166" y="1180"/>
                  </a:lnTo>
                  <a:lnTo>
                    <a:pt x="1164" y="1180"/>
                  </a:lnTo>
                  <a:lnTo>
                    <a:pt x="1164" y="1180"/>
                  </a:lnTo>
                  <a:lnTo>
                    <a:pt x="1163" y="1181"/>
                  </a:lnTo>
                  <a:lnTo>
                    <a:pt x="1161" y="1180"/>
                  </a:lnTo>
                  <a:lnTo>
                    <a:pt x="1161" y="1178"/>
                  </a:lnTo>
                  <a:lnTo>
                    <a:pt x="1161" y="1178"/>
                  </a:lnTo>
                  <a:lnTo>
                    <a:pt x="1160" y="1178"/>
                  </a:lnTo>
                  <a:lnTo>
                    <a:pt x="1160" y="1178"/>
                  </a:lnTo>
                  <a:lnTo>
                    <a:pt x="1161" y="1182"/>
                  </a:lnTo>
                  <a:lnTo>
                    <a:pt x="1163" y="1182"/>
                  </a:lnTo>
                  <a:lnTo>
                    <a:pt x="1163" y="1182"/>
                  </a:lnTo>
                  <a:lnTo>
                    <a:pt x="1163" y="1184"/>
                  </a:lnTo>
                  <a:lnTo>
                    <a:pt x="1161" y="1184"/>
                  </a:lnTo>
                  <a:lnTo>
                    <a:pt x="1160" y="1185"/>
                  </a:lnTo>
                  <a:lnTo>
                    <a:pt x="1157" y="1184"/>
                  </a:lnTo>
                  <a:lnTo>
                    <a:pt x="1157" y="1185"/>
                  </a:lnTo>
                  <a:lnTo>
                    <a:pt x="1157" y="1187"/>
                  </a:lnTo>
                  <a:lnTo>
                    <a:pt x="1157" y="1188"/>
                  </a:lnTo>
                  <a:lnTo>
                    <a:pt x="1156" y="1188"/>
                  </a:lnTo>
                  <a:lnTo>
                    <a:pt x="1156" y="1188"/>
                  </a:lnTo>
                  <a:lnTo>
                    <a:pt x="1156" y="1187"/>
                  </a:lnTo>
                  <a:lnTo>
                    <a:pt x="1154" y="1188"/>
                  </a:lnTo>
                  <a:lnTo>
                    <a:pt x="1154" y="1188"/>
                  </a:lnTo>
                  <a:lnTo>
                    <a:pt x="1153" y="1188"/>
                  </a:lnTo>
                  <a:lnTo>
                    <a:pt x="1151" y="1188"/>
                  </a:lnTo>
                  <a:lnTo>
                    <a:pt x="1151" y="1190"/>
                  </a:lnTo>
                  <a:lnTo>
                    <a:pt x="1151" y="1190"/>
                  </a:lnTo>
                  <a:lnTo>
                    <a:pt x="1154" y="1190"/>
                  </a:lnTo>
                  <a:lnTo>
                    <a:pt x="1153" y="1191"/>
                  </a:lnTo>
                  <a:lnTo>
                    <a:pt x="1151" y="1194"/>
                  </a:lnTo>
                  <a:lnTo>
                    <a:pt x="1150" y="1194"/>
                  </a:lnTo>
                  <a:lnTo>
                    <a:pt x="1149" y="1194"/>
                  </a:lnTo>
                  <a:lnTo>
                    <a:pt x="1147" y="1194"/>
                  </a:lnTo>
                  <a:lnTo>
                    <a:pt x="1147" y="1194"/>
                  </a:lnTo>
                  <a:lnTo>
                    <a:pt x="1150" y="1197"/>
                  </a:lnTo>
                  <a:lnTo>
                    <a:pt x="1149" y="1201"/>
                  </a:lnTo>
                  <a:lnTo>
                    <a:pt x="1147" y="1204"/>
                  </a:lnTo>
                  <a:lnTo>
                    <a:pt x="1147" y="1204"/>
                  </a:lnTo>
                  <a:lnTo>
                    <a:pt x="1146" y="1204"/>
                  </a:lnTo>
                  <a:lnTo>
                    <a:pt x="1143" y="1202"/>
                  </a:lnTo>
                  <a:lnTo>
                    <a:pt x="1141" y="1201"/>
                  </a:lnTo>
                  <a:lnTo>
                    <a:pt x="1143" y="1204"/>
                  </a:lnTo>
                  <a:lnTo>
                    <a:pt x="1146" y="1205"/>
                  </a:lnTo>
                  <a:lnTo>
                    <a:pt x="1147" y="1205"/>
                  </a:lnTo>
                  <a:lnTo>
                    <a:pt x="1147" y="1207"/>
                  </a:lnTo>
                  <a:lnTo>
                    <a:pt x="1146" y="1208"/>
                  </a:lnTo>
                  <a:lnTo>
                    <a:pt x="1146" y="1210"/>
                  </a:lnTo>
                  <a:lnTo>
                    <a:pt x="1146" y="1211"/>
                  </a:lnTo>
                  <a:lnTo>
                    <a:pt x="1146" y="1214"/>
                  </a:lnTo>
                  <a:lnTo>
                    <a:pt x="1147" y="1215"/>
                  </a:lnTo>
                  <a:lnTo>
                    <a:pt x="1147" y="1218"/>
                  </a:lnTo>
                  <a:lnTo>
                    <a:pt x="1147" y="1220"/>
                  </a:lnTo>
                  <a:lnTo>
                    <a:pt x="1150" y="1225"/>
                  </a:lnTo>
                  <a:lnTo>
                    <a:pt x="1151" y="1225"/>
                  </a:lnTo>
                  <a:lnTo>
                    <a:pt x="1151" y="1227"/>
                  </a:lnTo>
                  <a:lnTo>
                    <a:pt x="1151" y="1228"/>
                  </a:lnTo>
                  <a:lnTo>
                    <a:pt x="1150" y="1228"/>
                  </a:lnTo>
                  <a:lnTo>
                    <a:pt x="1149" y="1228"/>
                  </a:lnTo>
                  <a:lnTo>
                    <a:pt x="1149" y="1230"/>
                  </a:lnTo>
                  <a:lnTo>
                    <a:pt x="1149" y="1230"/>
                  </a:lnTo>
                  <a:lnTo>
                    <a:pt x="1149" y="1230"/>
                  </a:lnTo>
                  <a:lnTo>
                    <a:pt x="1147" y="1228"/>
                  </a:lnTo>
                  <a:lnTo>
                    <a:pt x="1144" y="1227"/>
                  </a:lnTo>
                  <a:lnTo>
                    <a:pt x="1141" y="1227"/>
                  </a:lnTo>
                  <a:lnTo>
                    <a:pt x="1137" y="1225"/>
                  </a:lnTo>
                  <a:lnTo>
                    <a:pt x="1134" y="1225"/>
                  </a:lnTo>
                  <a:lnTo>
                    <a:pt x="1131" y="1224"/>
                  </a:lnTo>
                  <a:lnTo>
                    <a:pt x="1130" y="1222"/>
                  </a:lnTo>
                  <a:lnTo>
                    <a:pt x="1129" y="1222"/>
                  </a:lnTo>
                  <a:lnTo>
                    <a:pt x="1127" y="1222"/>
                  </a:lnTo>
                  <a:lnTo>
                    <a:pt x="1126" y="1221"/>
                  </a:lnTo>
                  <a:lnTo>
                    <a:pt x="1124" y="1220"/>
                  </a:lnTo>
                  <a:lnTo>
                    <a:pt x="1121" y="1220"/>
                  </a:lnTo>
                  <a:lnTo>
                    <a:pt x="1120" y="1220"/>
                  </a:lnTo>
                  <a:lnTo>
                    <a:pt x="1120" y="1217"/>
                  </a:lnTo>
                  <a:lnTo>
                    <a:pt x="1119" y="1217"/>
                  </a:lnTo>
                  <a:lnTo>
                    <a:pt x="1119" y="1214"/>
                  </a:lnTo>
                  <a:lnTo>
                    <a:pt x="1117" y="1211"/>
                  </a:lnTo>
                  <a:lnTo>
                    <a:pt x="1114" y="1208"/>
                  </a:lnTo>
                  <a:lnTo>
                    <a:pt x="1114" y="1208"/>
                  </a:lnTo>
                  <a:lnTo>
                    <a:pt x="1114" y="1208"/>
                  </a:lnTo>
                  <a:lnTo>
                    <a:pt x="1114" y="1208"/>
                  </a:lnTo>
                  <a:lnTo>
                    <a:pt x="1114" y="1207"/>
                  </a:lnTo>
                  <a:lnTo>
                    <a:pt x="1114" y="1205"/>
                  </a:lnTo>
                  <a:lnTo>
                    <a:pt x="1114" y="1204"/>
                  </a:lnTo>
                  <a:lnTo>
                    <a:pt x="1114" y="1202"/>
                  </a:lnTo>
                  <a:lnTo>
                    <a:pt x="1114" y="1202"/>
                  </a:lnTo>
                  <a:lnTo>
                    <a:pt x="1114" y="1201"/>
                  </a:lnTo>
                  <a:lnTo>
                    <a:pt x="1114" y="1200"/>
                  </a:lnTo>
                  <a:lnTo>
                    <a:pt x="1113" y="1198"/>
                  </a:lnTo>
                  <a:lnTo>
                    <a:pt x="1110" y="1195"/>
                  </a:lnTo>
                  <a:lnTo>
                    <a:pt x="1107" y="1194"/>
                  </a:lnTo>
                  <a:lnTo>
                    <a:pt x="1106" y="1190"/>
                  </a:lnTo>
                  <a:lnTo>
                    <a:pt x="1104" y="1188"/>
                  </a:lnTo>
                  <a:lnTo>
                    <a:pt x="1103" y="1187"/>
                  </a:lnTo>
                  <a:lnTo>
                    <a:pt x="1101" y="1185"/>
                  </a:lnTo>
                  <a:lnTo>
                    <a:pt x="1100" y="1184"/>
                  </a:lnTo>
                  <a:lnTo>
                    <a:pt x="1100" y="1182"/>
                  </a:lnTo>
                  <a:lnTo>
                    <a:pt x="1100" y="1182"/>
                  </a:lnTo>
                  <a:lnTo>
                    <a:pt x="1100" y="1180"/>
                  </a:lnTo>
                  <a:lnTo>
                    <a:pt x="1097" y="1177"/>
                  </a:lnTo>
                  <a:lnTo>
                    <a:pt x="1096" y="1174"/>
                  </a:lnTo>
                  <a:lnTo>
                    <a:pt x="1096" y="1171"/>
                  </a:lnTo>
                  <a:lnTo>
                    <a:pt x="1094" y="1170"/>
                  </a:lnTo>
                  <a:lnTo>
                    <a:pt x="1091" y="1167"/>
                  </a:lnTo>
                  <a:lnTo>
                    <a:pt x="1090" y="1165"/>
                  </a:lnTo>
                  <a:lnTo>
                    <a:pt x="1090" y="1164"/>
                  </a:lnTo>
                  <a:lnTo>
                    <a:pt x="1090" y="1164"/>
                  </a:lnTo>
                  <a:lnTo>
                    <a:pt x="1086" y="1161"/>
                  </a:lnTo>
                  <a:lnTo>
                    <a:pt x="1084" y="1160"/>
                  </a:lnTo>
                  <a:lnTo>
                    <a:pt x="1083" y="1158"/>
                  </a:lnTo>
                  <a:lnTo>
                    <a:pt x="1082" y="1158"/>
                  </a:lnTo>
                  <a:lnTo>
                    <a:pt x="1082" y="1158"/>
                  </a:lnTo>
                  <a:lnTo>
                    <a:pt x="1082" y="1158"/>
                  </a:lnTo>
                  <a:lnTo>
                    <a:pt x="1082" y="1158"/>
                  </a:lnTo>
                  <a:lnTo>
                    <a:pt x="1080" y="1158"/>
                  </a:lnTo>
                  <a:lnTo>
                    <a:pt x="1079" y="1158"/>
                  </a:lnTo>
                  <a:lnTo>
                    <a:pt x="1074" y="1158"/>
                  </a:lnTo>
                  <a:lnTo>
                    <a:pt x="1072" y="1158"/>
                  </a:lnTo>
                  <a:lnTo>
                    <a:pt x="1070" y="1157"/>
                  </a:lnTo>
                  <a:lnTo>
                    <a:pt x="1069" y="1157"/>
                  </a:lnTo>
                  <a:lnTo>
                    <a:pt x="1067" y="1158"/>
                  </a:lnTo>
                  <a:lnTo>
                    <a:pt x="1066" y="1158"/>
                  </a:lnTo>
                  <a:lnTo>
                    <a:pt x="1064" y="1160"/>
                  </a:lnTo>
                  <a:lnTo>
                    <a:pt x="1063" y="1161"/>
                  </a:lnTo>
                  <a:lnTo>
                    <a:pt x="1060" y="1165"/>
                  </a:lnTo>
                  <a:lnTo>
                    <a:pt x="1060" y="1167"/>
                  </a:lnTo>
                  <a:lnTo>
                    <a:pt x="1060" y="1168"/>
                  </a:lnTo>
                  <a:lnTo>
                    <a:pt x="1060" y="1170"/>
                  </a:lnTo>
                  <a:lnTo>
                    <a:pt x="1059" y="1170"/>
                  </a:lnTo>
                  <a:lnTo>
                    <a:pt x="1057" y="1171"/>
                  </a:lnTo>
                  <a:lnTo>
                    <a:pt x="1057" y="1172"/>
                  </a:lnTo>
                  <a:lnTo>
                    <a:pt x="1056" y="1172"/>
                  </a:lnTo>
                  <a:lnTo>
                    <a:pt x="1054" y="1172"/>
                  </a:lnTo>
                  <a:lnTo>
                    <a:pt x="1052" y="1171"/>
                  </a:lnTo>
                  <a:lnTo>
                    <a:pt x="1047" y="1170"/>
                  </a:lnTo>
                  <a:lnTo>
                    <a:pt x="1044" y="1168"/>
                  </a:lnTo>
                  <a:lnTo>
                    <a:pt x="1042" y="1167"/>
                  </a:lnTo>
                  <a:lnTo>
                    <a:pt x="1040" y="1165"/>
                  </a:lnTo>
                  <a:lnTo>
                    <a:pt x="1039" y="1164"/>
                  </a:lnTo>
                  <a:lnTo>
                    <a:pt x="1037" y="1162"/>
                  </a:lnTo>
                  <a:lnTo>
                    <a:pt x="1036" y="1162"/>
                  </a:lnTo>
                  <a:lnTo>
                    <a:pt x="1034" y="1161"/>
                  </a:lnTo>
                  <a:lnTo>
                    <a:pt x="1032" y="1157"/>
                  </a:lnTo>
                  <a:lnTo>
                    <a:pt x="1032" y="1155"/>
                  </a:lnTo>
                  <a:lnTo>
                    <a:pt x="1032" y="1152"/>
                  </a:lnTo>
                  <a:lnTo>
                    <a:pt x="1029" y="1147"/>
                  </a:lnTo>
                  <a:lnTo>
                    <a:pt x="1027" y="1144"/>
                  </a:lnTo>
                  <a:lnTo>
                    <a:pt x="1026" y="1142"/>
                  </a:lnTo>
                  <a:lnTo>
                    <a:pt x="1024" y="1141"/>
                  </a:lnTo>
                  <a:lnTo>
                    <a:pt x="1022" y="1140"/>
                  </a:lnTo>
                  <a:lnTo>
                    <a:pt x="1017" y="1137"/>
                  </a:lnTo>
                  <a:lnTo>
                    <a:pt x="1013" y="1131"/>
                  </a:lnTo>
                  <a:lnTo>
                    <a:pt x="1010" y="1128"/>
                  </a:lnTo>
                  <a:lnTo>
                    <a:pt x="1007" y="1128"/>
                  </a:lnTo>
                  <a:lnTo>
                    <a:pt x="1006" y="1125"/>
                  </a:lnTo>
                  <a:lnTo>
                    <a:pt x="1004" y="1124"/>
                  </a:lnTo>
                  <a:lnTo>
                    <a:pt x="1003" y="1122"/>
                  </a:lnTo>
                  <a:lnTo>
                    <a:pt x="1003" y="1122"/>
                  </a:lnTo>
                  <a:lnTo>
                    <a:pt x="1003" y="1121"/>
                  </a:lnTo>
                  <a:lnTo>
                    <a:pt x="999" y="1121"/>
                  </a:lnTo>
                  <a:lnTo>
                    <a:pt x="996" y="1121"/>
                  </a:lnTo>
                  <a:lnTo>
                    <a:pt x="992" y="1121"/>
                  </a:lnTo>
                  <a:lnTo>
                    <a:pt x="989" y="1121"/>
                  </a:lnTo>
                  <a:lnTo>
                    <a:pt x="985" y="1121"/>
                  </a:lnTo>
                  <a:lnTo>
                    <a:pt x="982" y="1121"/>
                  </a:lnTo>
                  <a:lnTo>
                    <a:pt x="979" y="1121"/>
                  </a:lnTo>
                  <a:lnTo>
                    <a:pt x="975" y="1121"/>
                  </a:lnTo>
                  <a:lnTo>
                    <a:pt x="975" y="1124"/>
                  </a:lnTo>
                  <a:lnTo>
                    <a:pt x="975" y="1125"/>
                  </a:lnTo>
                  <a:lnTo>
                    <a:pt x="975" y="1128"/>
                  </a:lnTo>
                  <a:lnTo>
                    <a:pt x="975" y="1130"/>
                  </a:lnTo>
                  <a:lnTo>
                    <a:pt x="969" y="1130"/>
                  </a:lnTo>
                  <a:lnTo>
                    <a:pt x="963" y="1130"/>
                  </a:lnTo>
                  <a:lnTo>
                    <a:pt x="957" y="1130"/>
                  </a:lnTo>
                  <a:lnTo>
                    <a:pt x="952" y="1130"/>
                  </a:lnTo>
                  <a:lnTo>
                    <a:pt x="946" y="1130"/>
                  </a:lnTo>
                  <a:lnTo>
                    <a:pt x="940" y="1130"/>
                  </a:lnTo>
                  <a:lnTo>
                    <a:pt x="935" y="1130"/>
                  </a:lnTo>
                  <a:lnTo>
                    <a:pt x="929" y="1130"/>
                  </a:lnTo>
                  <a:lnTo>
                    <a:pt x="922" y="1127"/>
                  </a:lnTo>
                  <a:lnTo>
                    <a:pt x="915" y="1124"/>
                  </a:lnTo>
                  <a:lnTo>
                    <a:pt x="906" y="1122"/>
                  </a:lnTo>
                  <a:lnTo>
                    <a:pt x="899" y="1120"/>
                  </a:lnTo>
                  <a:lnTo>
                    <a:pt x="892" y="1117"/>
                  </a:lnTo>
                  <a:lnTo>
                    <a:pt x="883" y="1114"/>
                  </a:lnTo>
                  <a:lnTo>
                    <a:pt x="876" y="1111"/>
                  </a:lnTo>
                  <a:lnTo>
                    <a:pt x="869" y="1108"/>
                  </a:lnTo>
                  <a:lnTo>
                    <a:pt x="869" y="1107"/>
                  </a:lnTo>
                  <a:lnTo>
                    <a:pt x="870" y="1104"/>
                  </a:lnTo>
                  <a:lnTo>
                    <a:pt x="869" y="1104"/>
                  </a:lnTo>
                  <a:lnTo>
                    <a:pt x="863" y="1104"/>
                  </a:lnTo>
                  <a:lnTo>
                    <a:pt x="859" y="1105"/>
                  </a:lnTo>
                  <a:lnTo>
                    <a:pt x="855" y="1105"/>
                  </a:lnTo>
                  <a:lnTo>
                    <a:pt x="850" y="1105"/>
                  </a:lnTo>
                  <a:lnTo>
                    <a:pt x="846" y="1107"/>
                  </a:lnTo>
                  <a:lnTo>
                    <a:pt x="840" y="1107"/>
                  </a:lnTo>
                  <a:lnTo>
                    <a:pt x="836" y="1107"/>
                  </a:lnTo>
                  <a:lnTo>
                    <a:pt x="832" y="1107"/>
                  </a:lnTo>
                  <a:lnTo>
                    <a:pt x="832" y="1107"/>
                  </a:lnTo>
                  <a:lnTo>
                    <a:pt x="832" y="1105"/>
                  </a:lnTo>
                  <a:lnTo>
                    <a:pt x="830" y="1104"/>
                  </a:lnTo>
                  <a:lnTo>
                    <a:pt x="830" y="1105"/>
                  </a:lnTo>
                  <a:lnTo>
                    <a:pt x="829" y="1103"/>
                  </a:lnTo>
                  <a:lnTo>
                    <a:pt x="829" y="1101"/>
                  </a:lnTo>
                  <a:lnTo>
                    <a:pt x="829" y="1100"/>
                  </a:lnTo>
                  <a:lnTo>
                    <a:pt x="829" y="1097"/>
                  </a:lnTo>
                  <a:lnTo>
                    <a:pt x="826" y="1093"/>
                  </a:lnTo>
                  <a:lnTo>
                    <a:pt x="822" y="1088"/>
                  </a:lnTo>
                  <a:lnTo>
                    <a:pt x="819" y="1087"/>
                  </a:lnTo>
                  <a:lnTo>
                    <a:pt x="816" y="1085"/>
                  </a:lnTo>
                  <a:lnTo>
                    <a:pt x="815" y="1084"/>
                  </a:lnTo>
                  <a:lnTo>
                    <a:pt x="813" y="1084"/>
                  </a:lnTo>
                  <a:lnTo>
                    <a:pt x="813" y="1085"/>
                  </a:lnTo>
                  <a:lnTo>
                    <a:pt x="812" y="1084"/>
                  </a:lnTo>
                  <a:lnTo>
                    <a:pt x="812" y="1083"/>
                  </a:lnTo>
                  <a:lnTo>
                    <a:pt x="809" y="1080"/>
                  </a:lnTo>
                  <a:lnTo>
                    <a:pt x="808" y="1078"/>
                  </a:lnTo>
                  <a:lnTo>
                    <a:pt x="805" y="1078"/>
                  </a:lnTo>
                  <a:lnTo>
                    <a:pt x="799" y="1077"/>
                  </a:lnTo>
                  <a:lnTo>
                    <a:pt x="798" y="1077"/>
                  </a:lnTo>
                  <a:lnTo>
                    <a:pt x="798" y="1074"/>
                  </a:lnTo>
                  <a:lnTo>
                    <a:pt x="795" y="1073"/>
                  </a:lnTo>
                  <a:lnTo>
                    <a:pt x="792" y="1071"/>
                  </a:lnTo>
                  <a:lnTo>
                    <a:pt x="791" y="1071"/>
                  </a:lnTo>
                  <a:lnTo>
                    <a:pt x="788" y="1071"/>
                  </a:lnTo>
                  <a:lnTo>
                    <a:pt x="785" y="1070"/>
                  </a:lnTo>
                  <a:lnTo>
                    <a:pt x="783" y="1070"/>
                  </a:lnTo>
                  <a:lnTo>
                    <a:pt x="779" y="1071"/>
                  </a:lnTo>
                  <a:lnTo>
                    <a:pt x="778" y="1070"/>
                  </a:lnTo>
                  <a:lnTo>
                    <a:pt x="776" y="1068"/>
                  </a:lnTo>
                  <a:lnTo>
                    <a:pt x="775" y="1068"/>
                  </a:lnTo>
                  <a:lnTo>
                    <a:pt x="776" y="1067"/>
                  </a:lnTo>
                  <a:lnTo>
                    <a:pt x="776" y="1065"/>
                  </a:lnTo>
                  <a:lnTo>
                    <a:pt x="776" y="1064"/>
                  </a:lnTo>
                  <a:lnTo>
                    <a:pt x="775" y="1061"/>
                  </a:lnTo>
                  <a:lnTo>
                    <a:pt x="776" y="1058"/>
                  </a:lnTo>
                  <a:lnTo>
                    <a:pt x="775" y="1058"/>
                  </a:lnTo>
                  <a:lnTo>
                    <a:pt x="775" y="1057"/>
                  </a:lnTo>
                  <a:lnTo>
                    <a:pt x="772" y="1055"/>
                  </a:lnTo>
                  <a:lnTo>
                    <a:pt x="772" y="1054"/>
                  </a:lnTo>
                  <a:lnTo>
                    <a:pt x="772" y="1053"/>
                  </a:lnTo>
                  <a:lnTo>
                    <a:pt x="772" y="1051"/>
                  </a:lnTo>
                  <a:lnTo>
                    <a:pt x="769" y="1051"/>
                  </a:lnTo>
                  <a:lnTo>
                    <a:pt x="768" y="1048"/>
                  </a:lnTo>
                  <a:lnTo>
                    <a:pt x="765" y="1047"/>
                  </a:lnTo>
                  <a:lnTo>
                    <a:pt x="765" y="1044"/>
                  </a:lnTo>
                  <a:lnTo>
                    <a:pt x="763" y="1043"/>
                  </a:lnTo>
                  <a:lnTo>
                    <a:pt x="762" y="1043"/>
                  </a:lnTo>
                  <a:lnTo>
                    <a:pt x="759" y="1037"/>
                  </a:lnTo>
                  <a:lnTo>
                    <a:pt x="756" y="1034"/>
                  </a:lnTo>
                  <a:lnTo>
                    <a:pt x="755" y="1033"/>
                  </a:lnTo>
                  <a:lnTo>
                    <a:pt x="755" y="1030"/>
                  </a:lnTo>
                  <a:lnTo>
                    <a:pt x="756" y="1027"/>
                  </a:lnTo>
                  <a:lnTo>
                    <a:pt x="758" y="1025"/>
                  </a:lnTo>
                  <a:lnTo>
                    <a:pt x="758" y="1024"/>
                  </a:lnTo>
                  <a:lnTo>
                    <a:pt x="756" y="1024"/>
                  </a:lnTo>
                  <a:lnTo>
                    <a:pt x="756" y="1021"/>
                  </a:lnTo>
                  <a:lnTo>
                    <a:pt x="751" y="1021"/>
                  </a:lnTo>
                  <a:lnTo>
                    <a:pt x="748" y="1017"/>
                  </a:lnTo>
                  <a:lnTo>
                    <a:pt x="748" y="1013"/>
                  </a:lnTo>
                  <a:lnTo>
                    <a:pt x="746" y="1010"/>
                  </a:lnTo>
                  <a:lnTo>
                    <a:pt x="746" y="1007"/>
                  </a:lnTo>
                  <a:lnTo>
                    <a:pt x="745" y="1005"/>
                  </a:lnTo>
                  <a:lnTo>
                    <a:pt x="746" y="1004"/>
                  </a:lnTo>
                  <a:lnTo>
                    <a:pt x="748" y="1005"/>
                  </a:lnTo>
                  <a:lnTo>
                    <a:pt x="748" y="1005"/>
                  </a:lnTo>
                  <a:lnTo>
                    <a:pt x="748" y="1007"/>
                  </a:lnTo>
                  <a:lnTo>
                    <a:pt x="749" y="1008"/>
                  </a:lnTo>
                  <a:lnTo>
                    <a:pt x="751" y="1010"/>
                  </a:lnTo>
                  <a:lnTo>
                    <a:pt x="751" y="1011"/>
                  </a:lnTo>
                  <a:lnTo>
                    <a:pt x="752" y="1011"/>
                  </a:lnTo>
                  <a:lnTo>
                    <a:pt x="752" y="1011"/>
                  </a:lnTo>
                  <a:lnTo>
                    <a:pt x="752" y="1010"/>
                  </a:lnTo>
                  <a:lnTo>
                    <a:pt x="752" y="1010"/>
                  </a:lnTo>
                  <a:lnTo>
                    <a:pt x="751" y="1008"/>
                  </a:lnTo>
                  <a:lnTo>
                    <a:pt x="751" y="1005"/>
                  </a:lnTo>
                  <a:lnTo>
                    <a:pt x="749" y="1004"/>
                  </a:lnTo>
                  <a:lnTo>
                    <a:pt x="748" y="1003"/>
                  </a:lnTo>
                  <a:lnTo>
                    <a:pt x="748" y="1003"/>
                  </a:lnTo>
                  <a:lnTo>
                    <a:pt x="748" y="1001"/>
                  </a:lnTo>
                  <a:lnTo>
                    <a:pt x="749" y="1000"/>
                  </a:lnTo>
                  <a:lnTo>
                    <a:pt x="751" y="1000"/>
                  </a:lnTo>
                  <a:lnTo>
                    <a:pt x="752" y="1000"/>
                  </a:lnTo>
                  <a:lnTo>
                    <a:pt x="758" y="1000"/>
                  </a:lnTo>
                  <a:lnTo>
                    <a:pt x="759" y="1000"/>
                  </a:lnTo>
                  <a:lnTo>
                    <a:pt x="761" y="1000"/>
                  </a:lnTo>
                  <a:lnTo>
                    <a:pt x="762" y="1000"/>
                  </a:lnTo>
                  <a:lnTo>
                    <a:pt x="759" y="998"/>
                  </a:lnTo>
                  <a:lnTo>
                    <a:pt x="759" y="998"/>
                  </a:lnTo>
                  <a:lnTo>
                    <a:pt x="758" y="998"/>
                  </a:lnTo>
                  <a:lnTo>
                    <a:pt x="756" y="998"/>
                  </a:lnTo>
                  <a:lnTo>
                    <a:pt x="755" y="998"/>
                  </a:lnTo>
                  <a:lnTo>
                    <a:pt x="753" y="998"/>
                  </a:lnTo>
                  <a:lnTo>
                    <a:pt x="753" y="998"/>
                  </a:lnTo>
                  <a:lnTo>
                    <a:pt x="752" y="1000"/>
                  </a:lnTo>
                  <a:lnTo>
                    <a:pt x="751" y="998"/>
                  </a:lnTo>
                  <a:lnTo>
                    <a:pt x="748" y="998"/>
                  </a:lnTo>
                  <a:lnTo>
                    <a:pt x="748" y="997"/>
                  </a:lnTo>
                  <a:lnTo>
                    <a:pt x="746" y="998"/>
                  </a:lnTo>
                  <a:lnTo>
                    <a:pt x="746" y="1001"/>
                  </a:lnTo>
                  <a:lnTo>
                    <a:pt x="746" y="1004"/>
                  </a:lnTo>
                  <a:lnTo>
                    <a:pt x="745" y="1004"/>
                  </a:lnTo>
                  <a:lnTo>
                    <a:pt x="745" y="1003"/>
                  </a:lnTo>
                  <a:lnTo>
                    <a:pt x="743" y="1003"/>
                  </a:lnTo>
                  <a:lnTo>
                    <a:pt x="742" y="1001"/>
                  </a:lnTo>
                  <a:lnTo>
                    <a:pt x="739" y="1000"/>
                  </a:lnTo>
                  <a:lnTo>
                    <a:pt x="739" y="1000"/>
                  </a:lnTo>
                  <a:lnTo>
                    <a:pt x="738" y="1001"/>
                  </a:lnTo>
                  <a:lnTo>
                    <a:pt x="738" y="1000"/>
                  </a:lnTo>
                  <a:lnTo>
                    <a:pt x="738" y="998"/>
                  </a:lnTo>
                  <a:lnTo>
                    <a:pt x="738" y="995"/>
                  </a:lnTo>
                  <a:lnTo>
                    <a:pt x="739" y="998"/>
                  </a:lnTo>
                  <a:lnTo>
                    <a:pt x="739" y="997"/>
                  </a:lnTo>
                  <a:lnTo>
                    <a:pt x="738" y="995"/>
                  </a:lnTo>
                  <a:lnTo>
                    <a:pt x="736" y="994"/>
                  </a:lnTo>
                  <a:lnTo>
                    <a:pt x="736" y="991"/>
                  </a:lnTo>
                  <a:lnTo>
                    <a:pt x="733" y="990"/>
                  </a:lnTo>
                  <a:lnTo>
                    <a:pt x="731" y="987"/>
                  </a:lnTo>
                  <a:lnTo>
                    <a:pt x="726" y="983"/>
                  </a:lnTo>
                  <a:lnTo>
                    <a:pt x="726" y="978"/>
                  </a:lnTo>
                  <a:lnTo>
                    <a:pt x="725" y="973"/>
                  </a:lnTo>
                  <a:lnTo>
                    <a:pt x="725" y="970"/>
                  </a:lnTo>
                  <a:lnTo>
                    <a:pt x="725" y="967"/>
                  </a:lnTo>
                  <a:lnTo>
                    <a:pt x="725" y="964"/>
                  </a:lnTo>
                  <a:lnTo>
                    <a:pt x="723" y="963"/>
                  </a:lnTo>
                  <a:lnTo>
                    <a:pt x="721" y="957"/>
                  </a:lnTo>
                  <a:lnTo>
                    <a:pt x="716" y="954"/>
                  </a:lnTo>
                  <a:lnTo>
                    <a:pt x="716" y="951"/>
                  </a:lnTo>
                  <a:lnTo>
                    <a:pt x="716" y="950"/>
                  </a:lnTo>
                  <a:lnTo>
                    <a:pt x="716" y="947"/>
                  </a:lnTo>
                  <a:lnTo>
                    <a:pt x="718" y="944"/>
                  </a:lnTo>
                  <a:lnTo>
                    <a:pt x="718" y="944"/>
                  </a:lnTo>
                  <a:lnTo>
                    <a:pt x="718" y="944"/>
                  </a:lnTo>
                  <a:lnTo>
                    <a:pt x="718" y="944"/>
                  </a:lnTo>
                  <a:lnTo>
                    <a:pt x="718" y="945"/>
                  </a:lnTo>
                  <a:lnTo>
                    <a:pt x="718" y="944"/>
                  </a:lnTo>
                  <a:lnTo>
                    <a:pt x="719" y="943"/>
                  </a:lnTo>
                  <a:lnTo>
                    <a:pt x="718" y="943"/>
                  </a:lnTo>
                  <a:lnTo>
                    <a:pt x="718" y="943"/>
                  </a:lnTo>
                  <a:lnTo>
                    <a:pt x="719" y="943"/>
                  </a:lnTo>
                  <a:lnTo>
                    <a:pt x="719" y="938"/>
                  </a:lnTo>
                  <a:lnTo>
                    <a:pt x="719" y="935"/>
                  </a:lnTo>
                  <a:lnTo>
                    <a:pt x="721" y="930"/>
                  </a:lnTo>
                  <a:lnTo>
                    <a:pt x="721" y="928"/>
                  </a:lnTo>
                  <a:lnTo>
                    <a:pt x="719" y="925"/>
                  </a:lnTo>
                  <a:lnTo>
                    <a:pt x="719" y="923"/>
                  </a:lnTo>
                  <a:lnTo>
                    <a:pt x="718" y="921"/>
                  </a:lnTo>
                  <a:lnTo>
                    <a:pt x="718" y="920"/>
                  </a:lnTo>
                  <a:lnTo>
                    <a:pt x="718" y="917"/>
                  </a:lnTo>
                  <a:lnTo>
                    <a:pt x="716" y="914"/>
                  </a:lnTo>
                  <a:lnTo>
                    <a:pt x="715" y="911"/>
                  </a:lnTo>
                  <a:lnTo>
                    <a:pt x="715" y="908"/>
                  </a:lnTo>
                  <a:lnTo>
                    <a:pt x="715" y="904"/>
                  </a:lnTo>
                  <a:lnTo>
                    <a:pt x="715" y="903"/>
                  </a:lnTo>
                  <a:lnTo>
                    <a:pt x="713" y="900"/>
                  </a:lnTo>
                  <a:lnTo>
                    <a:pt x="713" y="897"/>
                  </a:lnTo>
                  <a:lnTo>
                    <a:pt x="715" y="896"/>
                  </a:lnTo>
                  <a:lnTo>
                    <a:pt x="716" y="888"/>
                  </a:lnTo>
                  <a:lnTo>
                    <a:pt x="716" y="887"/>
                  </a:lnTo>
                  <a:lnTo>
                    <a:pt x="718" y="887"/>
                  </a:lnTo>
                  <a:lnTo>
                    <a:pt x="719" y="886"/>
                  </a:lnTo>
                  <a:lnTo>
                    <a:pt x="718" y="886"/>
                  </a:lnTo>
                  <a:lnTo>
                    <a:pt x="718" y="887"/>
                  </a:lnTo>
                  <a:lnTo>
                    <a:pt x="718" y="884"/>
                  </a:lnTo>
                  <a:lnTo>
                    <a:pt x="719" y="881"/>
                  </a:lnTo>
                  <a:lnTo>
                    <a:pt x="719" y="880"/>
                  </a:lnTo>
                  <a:lnTo>
                    <a:pt x="719" y="873"/>
                  </a:lnTo>
                  <a:lnTo>
                    <a:pt x="721" y="866"/>
                  </a:lnTo>
                  <a:lnTo>
                    <a:pt x="721" y="864"/>
                  </a:lnTo>
                  <a:lnTo>
                    <a:pt x="721" y="861"/>
                  </a:lnTo>
                  <a:lnTo>
                    <a:pt x="721" y="858"/>
                  </a:lnTo>
                  <a:lnTo>
                    <a:pt x="721" y="856"/>
                  </a:lnTo>
                  <a:lnTo>
                    <a:pt x="722" y="841"/>
                  </a:lnTo>
                  <a:lnTo>
                    <a:pt x="722" y="840"/>
                  </a:lnTo>
                  <a:lnTo>
                    <a:pt x="723" y="838"/>
                  </a:lnTo>
                  <a:lnTo>
                    <a:pt x="722" y="831"/>
                  </a:lnTo>
                  <a:lnTo>
                    <a:pt x="722" y="826"/>
                  </a:lnTo>
                  <a:lnTo>
                    <a:pt x="722" y="824"/>
                  </a:lnTo>
                  <a:lnTo>
                    <a:pt x="722" y="823"/>
                  </a:lnTo>
                  <a:lnTo>
                    <a:pt x="722" y="823"/>
                  </a:lnTo>
                  <a:lnTo>
                    <a:pt x="723" y="824"/>
                  </a:lnTo>
                  <a:lnTo>
                    <a:pt x="726" y="824"/>
                  </a:lnTo>
                  <a:lnTo>
                    <a:pt x="729" y="823"/>
                  </a:lnTo>
                  <a:lnTo>
                    <a:pt x="731" y="823"/>
                  </a:lnTo>
                  <a:lnTo>
                    <a:pt x="731" y="824"/>
                  </a:lnTo>
                  <a:lnTo>
                    <a:pt x="732" y="826"/>
                  </a:lnTo>
                  <a:lnTo>
                    <a:pt x="735" y="824"/>
                  </a:lnTo>
                  <a:lnTo>
                    <a:pt x="733" y="824"/>
                  </a:lnTo>
                  <a:lnTo>
                    <a:pt x="733" y="824"/>
                  </a:lnTo>
                  <a:lnTo>
                    <a:pt x="731" y="823"/>
                  </a:lnTo>
                  <a:lnTo>
                    <a:pt x="731" y="821"/>
                  </a:lnTo>
                  <a:lnTo>
                    <a:pt x="728" y="823"/>
                  </a:lnTo>
                  <a:lnTo>
                    <a:pt x="726" y="821"/>
                  </a:lnTo>
                  <a:lnTo>
                    <a:pt x="723" y="823"/>
                  </a:lnTo>
                  <a:lnTo>
                    <a:pt x="722" y="821"/>
                  </a:lnTo>
                  <a:lnTo>
                    <a:pt x="721" y="821"/>
                  </a:lnTo>
                  <a:lnTo>
                    <a:pt x="721" y="820"/>
                  </a:lnTo>
                  <a:lnTo>
                    <a:pt x="721" y="817"/>
                  </a:lnTo>
                  <a:lnTo>
                    <a:pt x="721" y="814"/>
                  </a:lnTo>
                  <a:lnTo>
                    <a:pt x="722" y="816"/>
                  </a:lnTo>
                  <a:lnTo>
                    <a:pt x="722" y="818"/>
                  </a:lnTo>
                  <a:lnTo>
                    <a:pt x="723" y="816"/>
                  </a:lnTo>
                  <a:lnTo>
                    <a:pt x="723" y="813"/>
                  </a:lnTo>
                  <a:lnTo>
                    <a:pt x="722" y="811"/>
                  </a:lnTo>
                  <a:lnTo>
                    <a:pt x="721" y="811"/>
                  </a:lnTo>
                  <a:lnTo>
                    <a:pt x="721" y="808"/>
                  </a:lnTo>
                  <a:lnTo>
                    <a:pt x="725" y="806"/>
                  </a:lnTo>
                  <a:lnTo>
                    <a:pt x="722" y="806"/>
                  </a:lnTo>
                  <a:lnTo>
                    <a:pt x="721" y="804"/>
                  </a:lnTo>
                  <a:lnTo>
                    <a:pt x="721" y="804"/>
                  </a:lnTo>
                  <a:lnTo>
                    <a:pt x="719" y="806"/>
                  </a:lnTo>
                  <a:lnTo>
                    <a:pt x="719" y="806"/>
                  </a:lnTo>
                  <a:lnTo>
                    <a:pt x="719" y="804"/>
                  </a:lnTo>
                  <a:lnTo>
                    <a:pt x="719" y="803"/>
                  </a:lnTo>
                  <a:lnTo>
                    <a:pt x="719" y="800"/>
                  </a:lnTo>
                  <a:lnTo>
                    <a:pt x="716" y="796"/>
                  </a:lnTo>
                  <a:lnTo>
                    <a:pt x="716" y="790"/>
                  </a:lnTo>
                  <a:lnTo>
                    <a:pt x="715" y="787"/>
                  </a:lnTo>
                  <a:lnTo>
                    <a:pt x="712" y="784"/>
                  </a:lnTo>
                  <a:lnTo>
                    <a:pt x="711" y="781"/>
                  </a:lnTo>
                  <a:lnTo>
                    <a:pt x="711" y="777"/>
                  </a:lnTo>
                  <a:lnTo>
                    <a:pt x="711" y="774"/>
                  </a:lnTo>
                  <a:lnTo>
                    <a:pt x="711" y="773"/>
                  </a:lnTo>
                  <a:lnTo>
                    <a:pt x="712" y="773"/>
                  </a:lnTo>
                  <a:lnTo>
                    <a:pt x="715" y="774"/>
                  </a:lnTo>
                  <a:lnTo>
                    <a:pt x="719" y="776"/>
                  </a:lnTo>
                  <a:lnTo>
                    <a:pt x="721" y="777"/>
                  </a:lnTo>
                  <a:lnTo>
                    <a:pt x="722" y="777"/>
                  </a:lnTo>
                  <a:lnTo>
                    <a:pt x="733" y="778"/>
                  </a:lnTo>
                  <a:lnTo>
                    <a:pt x="733" y="778"/>
                  </a:lnTo>
                  <a:lnTo>
                    <a:pt x="735" y="777"/>
                  </a:lnTo>
                  <a:lnTo>
                    <a:pt x="736" y="778"/>
                  </a:lnTo>
                  <a:lnTo>
                    <a:pt x="738" y="780"/>
                  </a:lnTo>
                  <a:lnTo>
                    <a:pt x="738" y="780"/>
                  </a:lnTo>
                  <a:lnTo>
                    <a:pt x="739" y="780"/>
                  </a:lnTo>
                  <a:lnTo>
                    <a:pt x="741" y="780"/>
                  </a:lnTo>
                  <a:lnTo>
                    <a:pt x="741" y="778"/>
                  </a:lnTo>
                  <a:lnTo>
                    <a:pt x="742" y="778"/>
                  </a:lnTo>
                  <a:lnTo>
                    <a:pt x="742" y="780"/>
                  </a:lnTo>
                  <a:lnTo>
                    <a:pt x="742" y="781"/>
                  </a:lnTo>
                  <a:lnTo>
                    <a:pt x="743" y="783"/>
                  </a:lnTo>
                  <a:lnTo>
                    <a:pt x="743" y="784"/>
                  </a:lnTo>
                  <a:lnTo>
                    <a:pt x="741" y="787"/>
                  </a:lnTo>
                  <a:lnTo>
                    <a:pt x="741" y="787"/>
                  </a:lnTo>
                  <a:lnTo>
                    <a:pt x="741" y="787"/>
                  </a:lnTo>
                  <a:lnTo>
                    <a:pt x="741" y="786"/>
                  </a:lnTo>
                  <a:lnTo>
                    <a:pt x="736" y="793"/>
                  </a:lnTo>
                  <a:lnTo>
                    <a:pt x="736" y="794"/>
                  </a:lnTo>
                  <a:lnTo>
                    <a:pt x="735" y="796"/>
                  </a:lnTo>
                  <a:lnTo>
                    <a:pt x="735" y="797"/>
                  </a:lnTo>
                  <a:lnTo>
                    <a:pt x="736" y="797"/>
                  </a:lnTo>
                  <a:lnTo>
                    <a:pt x="738" y="797"/>
                  </a:lnTo>
                  <a:lnTo>
                    <a:pt x="739" y="796"/>
                  </a:lnTo>
                  <a:lnTo>
                    <a:pt x="739" y="796"/>
                  </a:lnTo>
                  <a:lnTo>
                    <a:pt x="738" y="796"/>
                  </a:lnTo>
                  <a:lnTo>
                    <a:pt x="736" y="796"/>
                  </a:lnTo>
                  <a:lnTo>
                    <a:pt x="736" y="794"/>
                  </a:lnTo>
                  <a:lnTo>
                    <a:pt x="736" y="794"/>
                  </a:lnTo>
                  <a:lnTo>
                    <a:pt x="738" y="791"/>
                  </a:lnTo>
                  <a:lnTo>
                    <a:pt x="739" y="791"/>
                  </a:lnTo>
                  <a:lnTo>
                    <a:pt x="741" y="790"/>
                  </a:lnTo>
                  <a:lnTo>
                    <a:pt x="742" y="788"/>
                  </a:lnTo>
                  <a:lnTo>
                    <a:pt x="742" y="787"/>
                  </a:lnTo>
                  <a:lnTo>
                    <a:pt x="743" y="786"/>
                  </a:lnTo>
                  <a:lnTo>
                    <a:pt x="745" y="784"/>
                  </a:lnTo>
                  <a:lnTo>
                    <a:pt x="745" y="783"/>
                  </a:lnTo>
                  <a:lnTo>
                    <a:pt x="745" y="783"/>
                  </a:lnTo>
                  <a:lnTo>
                    <a:pt x="745" y="783"/>
                  </a:lnTo>
                  <a:lnTo>
                    <a:pt x="745" y="786"/>
                  </a:lnTo>
                  <a:lnTo>
                    <a:pt x="745" y="787"/>
                  </a:lnTo>
                  <a:lnTo>
                    <a:pt x="743" y="788"/>
                  </a:lnTo>
                  <a:lnTo>
                    <a:pt x="743" y="788"/>
                  </a:lnTo>
                  <a:lnTo>
                    <a:pt x="743" y="790"/>
                  </a:lnTo>
                  <a:lnTo>
                    <a:pt x="743" y="791"/>
                  </a:lnTo>
                  <a:lnTo>
                    <a:pt x="743" y="790"/>
                  </a:lnTo>
                  <a:lnTo>
                    <a:pt x="743" y="790"/>
                  </a:lnTo>
                  <a:lnTo>
                    <a:pt x="745" y="793"/>
                  </a:lnTo>
                  <a:lnTo>
                    <a:pt x="745" y="794"/>
                  </a:lnTo>
                  <a:lnTo>
                    <a:pt x="745" y="796"/>
                  </a:lnTo>
                  <a:lnTo>
                    <a:pt x="745" y="798"/>
                  </a:lnTo>
                  <a:lnTo>
                    <a:pt x="743" y="798"/>
                  </a:lnTo>
                  <a:lnTo>
                    <a:pt x="743" y="798"/>
                  </a:lnTo>
                  <a:lnTo>
                    <a:pt x="742" y="797"/>
                  </a:lnTo>
                  <a:lnTo>
                    <a:pt x="742" y="798"/>
                  </a:lnTo>
                  <a:lnTo>
                    <a:pt x="742" y="800"/>
                  </a:lnTo>
                  <a:lnTo>
                    <a:pt x="741" y="800"/>
                  </a:lnTo>
                  <a:lnTo>
                    <a:pt x="741" y="797"/>
                  </a:lnTo>
                  <a:lnTo>
                    <a:pt x="741" y="797"/>
                  </a:lnTo>
                  <a:lnTo>
                    <a:pt x="739" y="798"/>
                  </a:lnTo>
                  <a:lnTo>
                    <a:pt x="738" y="800"/>
                  </a:lnTo>
                  <a:lnTo>
                    <a:pt x="738" y="801"/>
                  </a:lnTo>
                  <a:lnTo>
                    <a:pt x="738" y="801"/>
                  </a:lnTo>
                  <a:lnTo>
                    <a:pt x="739" y="801"/>
                  </a:lnTo>
                  <a:lnTo>
                    <a:pt x="741" y="801"/>
                  </a:lnTo>
                  <a:lnTo>
                    <a:pt x="742" y="803"/>
                  </a:lnTo>
                  <a:lnTo>
                    <a:pt x="742" y="803"/>
                  </a:lnTo>
                  <a:lnTo>
                    <a:pt x="743" y="801"/>
                  </a:lnTo>
                  <a:lnTo>
                    <a:pt x="743" y="801"/>
                  </a:lnTo>
                  <a:lnTo>
                    <a:pt x="745" y="798"/>
                  </a:lnTo>
                  <a:lnTo>
                    <a:pt x="745" y="798"/>
                  </a:lnTo>
                  <a:lnTo>
                    <a:pt x="746" y="798"/>
                  </a:lnTo>
                  <a:lnTo>
                    <a:pt x="748" y="797"/>
                  </a:lnTo>
                  <a:lnTo>
                    <a:pt x="748" y="796"/>
                  </a:lnTo>
                  <a:lnTo>
                    <a:pt x="748" y="796"/>
                  </a:lnTo>
                  <a:lnTo>
                    <a:pt x="748" y="793"/>
                  </a:lnTo>
                  <a:lnTo>
                    <a:pt x="748" y="791"/>
                  </a:lnTo>
                  <a:lnTo>
                    <a:pt x="748" y="790"/>
                  </a:lnTo>
                  <a:lnTo>
                    <a:pt x="748" y="790"/>
                  </a:lnTo>
                  <a:lnTo>
                    <a:pt x="748" y="788"/>
                  </a:lnTo>
                  <a:lnTo>
                    <a:pt x="748" y="788"/>
                  </a:lnTo>
                  <a:lnTo>
                    <a:pt x="748" y="787"/>
                  </a:lnTo>
                  <a:lnTo>
                    <a:pt x="748" y="787"/>
                  </a:lnTo>
                  <a:lnTo>
                    <a:pt x="748" y="786"/>
                  </a:lnTo>
                  <a:lnTo>
                    <a:pt x="749" y="784"/>
                  </a:lnTo>
                  <a:lnTo>
                    <a:pt x="749" y="783"/>
                  </a:lnTo>
                  <a:lnTo>
                    <a:pt x="751" y="781"/>
                  </a:lnTo>
                  <a:lnTo>
                    <a:pt x="749" y="780"/>
                  </a:lnTo>
                  <a:lnTo>
                    <a:pt x="749" y="780"/>
                  </a:lnTo>
                  <a:lnTo>
                    <a:pt x="748" y="778"/>
                  </a:lnTo>
                  <a:lnTo>
                    <a:pt x="748" y="777"/>
                  </a:lnTo>
                  <a:lnTo>
                    <a:pt x="748" y="777"/>
                  </a:lnTo>
                  <a:lnTo>
                    <a:pt x="746" y="777"/>
                  </a:lnTo>
                  <a:lnTo>
                    <a:pt x="748" y="780"/>
                  </a:lnTo>
                  <a:lnTo>
                    <a:pt x="748" y="780"/>
                  </a:lnTo>
                  <a:lnTo>
                    <a:pt x="746" y="778"/>
                  </a:lnTo>
                  <a:lnTo>
                    <a:pt x="745" y="777"/>
                  </a:lnTo>
                  <a:lnTo>
                    <a:pt x="745" y="777"/>
                  </a:lnTo>
                  <a:lnTo>
                    <a:pt x="745" y="776"/>
                  </a:lnTo>
                  <a:lnTo>
                    <a:pt x="746" y="776"/>
                  </a:lnTo>
                  <a:lnTo>
                    <a:pt x="748" y="776"/>
                  </a:lnTo>
                  <a:lnTo>
                    <a:pt x="748" y="774"/>
                  </a:lnTo>
                  <a:lnTo>
                    <a:pt x="746" y="773"/>
                  </a:lnTo>
                  <a:lnTo>
                    <a:pt x="745" y="771"/>
                  </a:lnTo>
                  <a:lnTo>
                    <a:pt x="745" y="771"/>
                  </a:lnTo>
                  <a:lnTo>
                    <a:pt x="743" y="771"/>
                  </a:lnTo>
                  <a:lnTo>
                    <a:pt x="743" y="771"/>
                  </a:lnTo>
                  <a:lnTo>
                    <a:pt x="743" y="770"/>
                  </a:lnTo>
                  <a:lnTo>
                    <a:pt x="743" y="770"/>
                  </a:lnTo>
                  <a:lnTo>
                    <a:pt x="743" y="770"/>
                  </a:lnTo>
                  <a:lnTo>
                    <a:pt x="745" y="770"/>
                  </a:lnTo>
                  <a:lnTo>
                    <a:pt x="746" y="770"/>
                  </a:lnTo>
                  <a:lnTo>
                    <a:pt x="746" y="768"/>
                  </a:lnTo>
                  <a:lnTo>
                    <a:pt x="745" y="768"/>
                  </a:lnTo>
                  <a:lnTo>
                    <a:pt x="745" y="766"/>
                  </a:lnTo>
                  <a:lnTo>
                    <a:pt x="745" y="763"/>
                  </a:lnTo>
                  <a:lnTo>
                    <a:pt x="745" y="763"/>
                  </a:lnTo>
                  <a:lnTo>
                    <a:pt x="745" y="763"/>
                  </a:lnTo>
                  <a:lnTo>
                    <a:pt x="743" y="763"/>
                  </a:lnTo>
                  <a:lnTo>
                    <a:pt x="743" y="763"/>
                  </a:lnTo>
                  <a:lnTo>
                    <a:pt x="743" y="763"/>
                  </a:lnTo>
                  <a:lnTo>
                    <a:pt x="742" y="761"/>
                  </a:lnTo>
                  <a:lnTo>
                    <a:pt x="741" y="757"/>
                  </a:lnTo>
                  <a:lnTo>
                    <a:pt x="743" y="757"/>
                  </a:lnTo>
                  <a:lnTo>
                    <a:pt x="749" y="757"/>
                  </a:lnTo>
                  <a:lnTo>
                    <a:pt x="756" y="757"/>
                  </a:lnTo>
                  <a:lnTo>
                    <a:pt x="763" y="757"/>
                  </a:lnTo>
                  <a:lnTo>
                    <a:pt x="771" y="757"/>
                  </a:lnTo>
                  <a:lnTo>
                    <a:pt x="776" y="757"/>
                  </a:lnTo>
                  <a:lnTo>
                    <a:pt x="783" y="757"/>
                  </a:lnTo>
                  <a:lnTo>
                    <a:pt x="791" y="757"/>
                  </a:lnTo>
                  <a:lnTo>
                    <a:pt x="798" y="757"/>
                  </a:lnTo>
                  <a:lnTo>
                    <a:pt x="805" y="757"/>
                  </a:lnTo>
                  <a:lnTo>
                    <a:pt x="810" y="757"/>
                  </a:lnTo>
                  <a:lnTo>
                    <a:pt x="818" y="757"/>
                  </a:lnTo>
                  <a:lnTo>
                    <a:pt x="825" y="757"/>
                  </a:lnTo>
                  <a:lnTo>
                    <a:pt x="832" y="757"/>
                  </a:lnTo>
                  <a:lnTo>
                    <a:pt x="839" y="757"/>
                  </a:lnTo>
                  <a:lnTo>
                    <a:pt x="845" y="757"/>
                  </a:lnTo>
                  <a:lnTo>
                    <a:pt x="852" y="757"/>
                  </a:lnTo>
                  <a:lnTo>
                    <a:pt x="859" y="757"/>
                  </a:lnTo>
                  <a:lnTo>
                    <a:pt x="866" y="757"/>
                  </a:lnTo>
                  <a:lnTo>
                    <a:pt x="872" y="757"/>
                  </a:lnTo>
                  <a:lnTo>
                    <a:pt x="879" y="757"/>
                  </a:lnTo>
                  <a:lnTo>
                    <a:pt x="886" y="757"/>
                  </a:lnTo>
                  <a:lnTo>
                    <a:pt x="893" y="757"/>
                  </a:lnTo>
                  <a:lnTo>
                    <a:pt x="900" y="757"/>
                  </a:lnTo>
                  <a:lnTo>
                    <a:pt x="906" y="757"/>
                  </a:lnTo>
                  <a:lnTo>
                    <a:pt x="913" y="757"/>
                  </a:lnTo>
                  <a:lnTo>
                    <a:pt x="920" y="757"/>
                  </a:lnTo>
                  <a:lnTo>
                    <a:pt x="927" y="757"/>
                  </a:lnTo>
                  <a:lnTo>
                    <a:pt x="935" y="757"/>
                  </a:lnTo>
                  <a:lnTo>
                    <a:pt x="940" y="757"/>
                  </a:lnTo>
                  <a:lnTo>
                    <a:pt x="947" y="757"/>
                  </a:lnTo>
                  <a:lnTo>
                    <a:pt x="955" y="757"/>
                  </a:lnTo>
                  <a:lnTo>
                    <a:pt x="962" y="757"/>
                  </a:lnTo>
                  <a:lnTo>
                    <a:pt x="967" y="757"/>
                  </a:lnTo>
                  <a:lnTo>
                    <a:pt x="975" y="757"/>
                  </a:lnTo>
                  <a:lnTo>
                    <a:pt x="982" y="757"/>
                  </a:lnTo>
                  <a:lnTo>
                    <a:pt x="989" y="757"/>
                  </a:lnTo>
                  <a:lnTo>
                    <a:pt x="996" y="757"/>
                  </a:lnTo>
                  <a:lnTo>
                    <a:pt x="1002" y="757"/>
                  </a:lnTo>
                  <a:lnTo>
                    <a:pt x="1009" y="757"/>
                  </a:lnTo>
                  <a:lnTo>
                    <a:pt x="1016" y="757"/>
                  </a:lnTo>
                  <a:lnTo>
                    <a:pt x="1023" y="757"/>
                  </a:lnTo>
                  <a:lnTo>
                    <a:pt x="1030" y="757"/>
                  </a:lnTo>
                  <a:lnTo>
                    <a:pt x="1036" y="757"/>
                  </a:lnTo>
                  <a:lnTo>
                    <a:pt x="1043" y="757"/>
                  </a:lnTo>
                  <a:lnTo>
                    <a:pt x="1050" y="757"/>
                  </a:lnTo>
                  <a:lnTo>
                    <a:pt x="1057" y="757"/>
                  </a:lnTo>
                  <a:lnTo>
                    <a:pt x="1064" y="757"/>
                  </a:lnTo>
                  <a:lnTo>
                    <a:pt x="1070" y="757"/>
                  </a:lnTo>
                  <a:lnTo>
                    <a:pt x="1077" y="757"/>
                  </a:lnTo>
                  <a:lnTo>
                    <a:pt x="1084" y="757"/>
                  </a:lnTo>
                  <a:lnTo>
                    <a:pt x="1091" y="757"/>
                  </a:lnTo>
                  <a:lnTo>
                    <a:pt x="1097" y="757"/>
                  </a:lnTo>
                  <a:lnTo>
                    <a:pt x="1104" y="757"/>
                  </a:lnTo>
                  <a:lnTo>
                    <a:pt x="1111" y="757"/>
                  </a:lnTo>
                  <a:lnTo>
                    <a:pt x="1119" y="757"/>
                  </a:lnTo>
                  <a:lnTo>
                    <a:pt x="1126" y="757"/>
                  </a:lnTo>
                  <a:lnTo>
                    <a:pt x="1131" y="757"/>
                  </a:lnTo>
                  <a:lnTo>
                    <a:pt x="1139" y="757"/>
                  </a:lnTo>
                  <a:lnTo>
                    <a:pt x="1146" y="757"/>
                  </a:lnTo>
                  <a:lnTo>
                    <a:pt x="1153" y="757"/>
                  </a:lnTo>
                  <a:lnTo>
                    <a:pt x="1160" y="757"/>
                  </a:lnTo>
                  <a:lnTo>
                    <a:pt x="1166" y="757"/>
                  </a:lnTo>
                  <a:lnTo>
                    <a:pt x="1173" y="757"/>
                  </a:lnTo>
                  <a:lnTo>
                    <a:pt x="1180" y="757"/>
                  </a:lnTo>
                  <a:lnTo>
                    <a:pt x="1184" y="757"/>
                  </a:lnTo>
                  <a:lnTo>
                    <a:pt x="1184" y="753"/>
                  </a:lnTo>
                  <a:lnTo>
                    <a:pt x="1184" y="748"/>
                  </a:lnTo>
                  <a:lnTo>
                    <a:pt x="1187" y="748"/>
                  </a:lnTo>
                  <a:lnTo>
                    <a:pt x="1188" y="750"/>
                  </a:lnTo>
                  <a:lnTo>
                    <a:pt x="1188" y="750"/>
                  </a:lnTo>
                  <a:lnTo>
                    <a:pt x="1188" y="751"/>
                  </a:lnTo>
                  <a:lnTo>
                    <a:pt x="1188" y="754"/>
                  </a:lnTo>
                  <a:lnTo>
                    <a:pt x="1190" y="757"/>
                  </a:lnTo>
                  <a:lnTo>
                    <a:pt x="1191" y="760"/>
                  </a:lnTo>
                  <a:lnTo>
                    <a:pt x="1191" y="760"/>
                  </a:lnTo>
                  <a:lnTo>
                    <a:pt x="1191" y="761"/>
                  </a:lnTo>
                  <a:lnTo>
                    <a:pt x="1191" y="763"/>
                  </a:lnTo>
                  <a:lnTo>
                    <a:pt x="1193" y="764"/>
                  </a:lnTo>
                  <a:lnTo>
                    <a:pt x="1196" y="764"/>
                  </a:lnTo>
                  <a:lnTo>
                    <a:pt x="1201" y="766"/>
                  </a:lnTo>
                  <a:lnTo>
                    <a:pt x="1204" y="767"/>
                  </a:lnTo>
                  <a:lnTo>
                    <a:pt x="1206" y="768"/>
                  </a:lnTo>
                  <a:lnTo>
                    <a:pt x="1207" y="768"/>
                  </a:lnTo>
                  <a:lnTo>
                    <a:pt x="1208" y="768"/>
                  </a:lnTo>
                  <a:lnTo>
                    <a:pt x="1211" y="768"/>
                  </a:lnTo>
                  <a:lnTo>
                    <a:pt x="1213" y="767"/>
                  </a:lnTo>
                  <a:close/>
                  <a:moveTo>
                    <a:pt x="741" y="766"/>
                  </a:moveTo>
                  <a:lnTo>
                    <a:pt x="742" y="766"/>
                  </a:lnTo>
                  <a:lnTo>
                    <a:pt x="741" y="766"/>
                  </a:lnTo>
                  <a:lnTo>
                    <a:pt x="741" y="767"/>
                  </a:lnTo>
                  <a:lnTo>
                    <a:pt x="739" y="766"/>
                  </a:lnTo>
                  <a:lnTo>
                    <a:pt x="739" y="766"/>
                  </a:lnTo>
                  <a:lnTo>
                    <a:pt x="739" y="767"/>
                  </a:lnTo>
                  <a:lnTo>
                    <a:pt x="739" y="767"/>
                  </a:lnTo>
                  <a:lnTo>
                    <a:pt x="738" y="766"/>
                  </a:lnTo>
                  <a:lnTo>
                    <a:pt x="738" y="766"/>
                  </a:lnTo>
                  <a:lnTo>
                    <a:pt x="738" y="766"/>
                  </a:lnTo>
                  <a:lnTo>
                    <a:pt x="739" y="764"/>
                  </a:lnTo>
                  <a:lnTo>
                    <a:pt x="739" y="764"/>
                  </a:lnTo>
                  <a:lnTo>
                    <a:pt x="741" y="766"/>
                  </a:lnTo>
                  <a:close/>
                  <a:moveTo>
                    <a:pt x="738" y="770"/>
                  </a:moveTo>
                  <a:lnTo>
                    <a:pt x="738" y="770"/>
                  </a:lnTo>
                  <a:lnTo>
                    <a:pt x="736" y="770"/>
                  </a:lnTo>
                  <a:lnTo>
                    <a:pt x="735" y="770"/>
                  </a:lnTo>
                  <a:lnTo>
                    <a:pt x="735" y="768"/>
                  </a:lnTo>
                  <a:lnTo>
                    <a:pt x="735" y="767"/>
                  </a:lnTo>
                  <a:lnTo>
                    <a:pt x="735" y="767"/>
                  </a:lnTo>
                  <a:lnTo>
                    <a:pt x="736" y="767"/>
                  </a:lnTo>
                  <a:lnTo>
                    <a:pt x="738" y="768"/>
                  </a:lnTo>
                  <a:lnTo>
                    <a:pt x="738" y="770"/>
                  </a:lnTo>
                  <a:close/>
                  <a:moveTo>
                    <a:pt x="741" y="771"/>
                  </a:moveTo>
                  <a:lnTo>
                    <a:pt x="741" y="771"/>
                  </a:lnTo>
                  <a:lnTo>
                    <a:pt x="739" y="771"/>
                  </a:lnTo>
                  <a:lnTo>
                    <a:pt x="739" y="770"/>
                  </a:lnTo>
                  <a:lnTo>
                    <a:pt x="739" y="770"/>
                  </a:lnTo>
                  <a:lnTo>
                    <a:pt x="739" y="768"/>
                  </a:lnTo>
                  <a:lnTo>
                    <a:pt x="739" y="768"/>
                  </a:lnTo>
                  <a:lnTo>
                    <a:pt x="739" y="768"/>
                  </a:lnTo>
                  <a:lnTo>
                    <a:pt x="741" y="770"/>
                  </a:lnTo>
                  <a:lnTo>
                    <a:pt x="741" y="770"/>
                  </a:lnTo>
                  <a:lnTo>
                    <a:pt x="741" y="771"/>
                  </a:lnTo>
                  <a:close/>
                  <a:moveTo>
                    <a:pt x="745" y="777"/>
                  </a:moveTo>
                  <a:lnTo>
                    <a:pt x="745" y="781"/>
                  </a:lnTo>
                  <a:lnTo>
                    <a:pt x="746" y="780"/>
                  </a:lnTo>
                  <a:lnTo>
                    <a:pt x="748" y="781"/>
                  </a:lnTo>
                  <a:lnTo>
                    <a:pt x="748" y="783"/>
                  </a:lnTo>
                  <a:lnTo>
                    <a:pt x="748" y="783"/>
                  </a:lnTo>
                  <a:lnTo>
                    <a:pt x="748" y="783"/>
                  </a:lnTo>
                  <a:lnTo>
                    <a:pt x="746" y="783"/>
                  </a:lnTo>
                  <a:lnTo>
                    <a:pt x="746" y="783"/>
                  </a:lnTo>
                  <a:lnTo>
                    <a:pt x="746" y="781"/>
                  </a:lnTo>
                  <a:lnTo>
                    <a:pt x="745" y="781"/>
                  </a:lnTo>
                  <a:lnTo>
                    <a:pt x="745" y="781"/>
                  </a:lnTo>
                  <a:lnTo>
                    <a:pt x="743" y="780"/>
                  </a:lnTo>
                  <a:lnTo>
                    <a:pt x="743" y="778"/>
                  </a:lnTo>
                  <a:lnTo>
                    <a:pt x="743" y="777"/>
                  </a:lnTo>
                  <a:lnTo>
                    <a:pt x="743" y="777"/>
                  </a:lnTo>
                  <a:lnTo>
                    <a:pt x="742" y="777"/>
                  </a:lnTo>
                  <a:lnTo>
                    <a:pt x="742" y="776"/>
                  </a:lnTo>
                  <a:lnTo>
                    <a:pt x="742" y="776"/>
                  </a:lnTo>
                  <a:lnTo>
                    <a:pt x="742" y="774"/>
                  </a:lnTo>
                  <a:lnTo>
                    <a:pt x="743" y="773"/>
                  </a:lnTo>
                  <a:lnTo>
                    <a:pt x="743" y="773"/>
                  </a:lnTo>
                  <a:lnTo>
                    <a:pt x="743" y="773"/>
                  </a:lnTo>
                  <a:lnTo>
                    <a:pt x="745" y="773"/>
                  </a:lnTo>
                  <a:lnTo>
                    <a:pt x="745" y="774"/>
                  </a:lnTo>
                  <a:lnTo>
                    <a:pt x="745" y="774"/>
                  </a:lnTo>
                  <a:lnTo>
                    <a:pt x="742" y="776"/>
                  </a:lnTo>
                  <a:lnTo>
                    <a:pt x="742" y="776"/>
                  </a:lnTo>
                  <a:lnTo>
                    <a:pt x="743" y="776"/>
                  </a:lnTo>
                  <a:lnTo>
                    <a:pt x="745" y="777"/>
                  </a:lnTo>
                  <a:lnTo>
                    <a:pt x="745" y="777"/>
                  </a:lnTo>
                  <a:close/>
                  <a:moveTo>
                    <a:pt x="1283" y="783"/>
                  </a:moveTo>
                  <a:lnTo>
                    <a:pt x="1283" y="784"/>
                  </a:lnTo>
                  <a:lnTo>
                    <a:pt x="1284" y="784"/>
                  </a:lnTo>
                  <a:lnTo>
                    <a:pt x="1283" y="784"/>
                  </a:lnTo>
                  <a:lnTo>
                    <a:pt x="1283" y="784"/>
                  </a:lnTo>
                  <a:lnTo>
                    <a:pt x="1281" y="786"/>
                  </a:lnTo>
                  <a:lnTo>
                    <a:pt x="1280" y="786"/>
                  </a:lnTo>
                  <a:lnTo>
                    <a:pt x="1278" y="786"/>
                  </a:lnTo>
                  <a:lnTo>
                    <a:pt x="1278" y="784"/>
                  </a:lnTo>
                  <a:lnTo>
                    <a:pt x="1280" y="784"/>
                  </a:lnTo>
                  <a:lnTo>
                    <a:pt x="1280" y="783"/>
                  </a:lnTo>
                  <a:lnTo>
                    <a:pt x="1278" y="783"/>
                  </a:lnTo>
                  <a:lnTo>
                    <a:pt x="1280" y="783"/>
                  </a:lnTo>
                  <a:lnTo>
                    <a:pt x="1280" y="783"/>
                  </a:lnTo>
                  <a:lnTo>
                    <a:pt x="1285" y="778"/>
                  </a:lnTo>
                  <a:lnTo>
                    <a:pt x="1288" y="777"/>
                  </a:lnTo>
                  <a:lnTo>
                    <a:pt x="1290" y="777"/>
                  </a:lnTo>
                  <a:lnTo>
                    <a:pt x="1290" y="777"/>
                  </a:lnTo>
                  <a:lnTo>
                    <a:pt x="1288" y="778"/>
                  </a:lnTo>
                  <a:lnTo>
                    <a:pt x="1288" y="780"/>
                  </a:lnTo>
                  <a:lnTo>
                    <a:pt x="1288" y="780"/>
                  </a:lnTo>
                  <a:lnTo>
                    <a:pt x="1288" y="780"/>
                  </a:lnTo>
                  <a:lnTo>
                    <a:pt x="1284" y="783"/>
                  </a:lnTo>
                  <a:lnTo>
                    <a:pt x="1283" y="783"/>
                  </a:lnTo>
                  <a:close/>
                  <a:moveTo>
                    <a:pt x="746" y="791"/>
                  </a:moveTo>
                  <a:lnTo>
                    <a:pt x="746" y="791"/>
                  </a:lnTo>
                  <a:lnTo>
                    <a:pt x="745" y="791"/>
                  </a:lnTo>
                  <a:lnTo>
                    <a:pt x="745" y="790"/>
                  </a:lnTo>
                  <a:lnTo>
                    <a:pt x="745" y="790"/>
                  </a:lnTo>
                  <a:lnTo>
                    <a:pt x="745" y="788"/>
                  </a:lnTo>
                  <a:lnTo>
                    <a:pt x="745" y="788"/>
                  </a:lnTo>
                  <a:lnTo>
                    <a:pt x="745" y="788"/>
                  </a:lnTo>
                  <a:lnTo>
                    <a:pt x="746" y="788"/>
                  </a:lnTo>
                  <a:lnTo>
                    <a:pt x="746" y="791"/>
                  </a:lnTo>
                  <a:close/>
                  <a:moveTo>
                    <a:pt x="748" y="796"/>
                  </a:moveTo>
                  <a:lnTo>
                    <a:pt x="748" y="796"/>
                  </a:lnTo>
                  <a:lnTo>
                    <a:pt x="746" y="797"/>
                  </a:lnTo>
                  <a:lnTo>
                    <a:pt x="746" y="797"/>
                  </a:lnTo>
                  <a:lnTo>
                    <a:pt x="746" y="796"/>
                  </a:lnTo>
                  <a:lnTo>
                    <a:pt x="746" y="796"/>
                  </a:lnTo>
                  <a:lnTo>
                    <a:pt x="746" y="797"/>
                  </a:lnTo>
                  <a:lnTo>
                    <a:pt x="746" y="796"/>
                  </a:lnTo>
                  <a:lnTo>
                    <a:pt x="746" y="794"/>
                  </a:lnTo>
                  <a:lnTo>
                    <a:pt x="746" y="794"/>
                  </a:lnTo>
                  <a:lnTo>
                    <a:pt x="746" y="794"/>
                  </a:lnTo>
                  <a:lnTo>
                    <a:pt x="748" y="796"/>
                  </a:lnTo>
                  <a:close/>
                  <a:moveTo>
                    <a:pt x="1294" y="800"/>
                  </a:moveTo>
                  <a:lnTo>
                    <a:pt x="1294" y="801"/>
                  </a:lnTo>
                  <a:lnTo>
                    <a:pt x="1294" y="801"/>
                  </a:lnTo>
                  <a:lnTo>
                    <a:pt x="1293" y="803"/>
                  </a:lnTo>
                  <a:lnTo>
                    <a:pt x="1291" y="804"/>
                  </a:lnTo>
                  <a:lnTo>
                    <a:pt x="1291" y="804"/>
                  </a:lnTo>
                  <a:lnTo>
                    <a:pt x="1291" y="804"/>
                  </a:lnTo>
                  <a:lnTo>
                    <a:pt x="1291" y="803"/>
                  </a:lnTo>
                  <a:lnTo>
                    <a:pt x="1291" y="803"/>
                  </a:lnTo>
                  <a:lnTo>
                    <a:pt x="1291" y="801"/>
                  </a:lnTo>
                  <a:lnTo>
                    <a:pt x="1291" y="801"/>
                  </a:lnTo>
                  <a:lnTo>
                    <a:pt x="1291" y="800"/>
                  </a:lnTo>
                  <a:lnTo>
                    <a:pt x="1291" y="801"/>
                  </a:lnTo>
                  <a:lnTo>
                    <a:pt x="1291" y="801"/>
                  </a:lnTo>
                  <a:lnTo>
                    <a:pt x="1291" y="801"/>
                  </a:lnTo>
                  <a:lnTo>
                    <a:pt x="1291" y="803"/>
                  </a:lnTo>
                  <a:lnTo>
                    <a:pt x="1288" y="801"/>
                  </a:lnTo>
                  <a:lnTo>
                    <a:pt x="1288" y="801"/>
                  </a:lnTo>
                  <a:lnTo>
                    <a:pt x="1288" y="800"/>
                  </a:lnTo>
                  <a:lnTo>
                    <a:pt x="1290" y="798"/>
                  </a:lnTo>
                  <a:lnTo>
                    <a:pt x="1291" y="796"/>
                  </a:lnTo>
                  <a:lnTo>
                    <a:pt x="1293" y="796"/>
                  </a:lnTo>
                  <a:lnTo>
                    <a:pt x="1297" y="794"/>
                  </a:lnTo>
                  <a:lnTo>
                    <a:pt x="1298" y="794"/>
                  </a:lnTo>
                  <a:lnTo>
                    <a:pt x="1300" y="794"/>
                  </a:lnTo>
                  <a:lnTo>
                    <a:pt x="1301" y="794"/>
                  </a:lnTo>
                  <a:lnTo>
                    <a:pt x="1303" y="794"/>
                  </a:lnTo>
                  <a:lnTo>
                    <a:pt x="1301" y="796"/>
                  </a:lnTo>
                  <a:lnTo>
                    <a:pt x="1298" y="796"/>
                  </a:lnTo>
                  <a:lnTo>
                    <a:pt x="1298" y="796"/>
                  </a:lnTo>
                  <a:lnTo>
                    <a:pt x="1298" y="797"/>
                  </a:lnTo>
                  <a:lnTo>
                    <a:pt x="1298" y="797"/>
                  </a:lnTo>
                  <a:lnTo>
                    <a:pt x="1298" y="797"/>
                  </a:lnTo>
                  <a:lnTo>
                    <a:pt x="1294" y="800"/>
                  </a:lnTo>
                  <a:close/>
                  <a:moveTo>
                    <a:pt x="741" y="800"/>
                  </a:moveTo>
                  <a:lnTo>
                    <a:pt x="741" y="801"/>
                  </a:lnTo>
                  <a:lnTo>
                    <a:pt x="739" y="801"/>
                  </a:lnTo>
                  <a:lnTo>
                    <a:pt x="739" y="800"/>
                  </a:lnTo>
                  <a:lnTo>
                    <a:pt x="739" y="798"/>
                  </a:lnTo>
                  <a:lnTo>
                    <a:pt x="739" y="798"/>
                  </a:lnTo>
                  <a:lnTo>
                    <a:pt x="741" y="800"/>
                  </a:lnTo>
                  <a:lnTo>
                    <a:pt x="741" y="800"/>
                  </a:lnTo>
                  <a:close/>
                  <a:moveTo>
                    <a:pt x="1260" y="804"/>
                  </a:moveTo>
                  <a:lnTo>
                    <a:pt x="1258" y="804"/>
                  </a:lnTo>
                  <a:lnTo>
                    <a:pt x="1258" y="804"/>
                  </a:lnTo>
                  <a:lnTo>
                    <a:pt x="1258" y="804"/>
                  </a:lnTo>
                  <a:lnTo>
                    <a:pt x="1258" y="804"/>
                  </a:lnTo>
                  <a:lnTo>
                    <a:pt x="1260" y="803"/>
                  </a:lnTo>
                  <a:lnTo>
                    <a:pt x="1260" y="804"/>
                  </a:lnTo>
                  <a:lnTo>
                    <a:pt x="1260" y="804"/>
                  </a:lnTo>
                  <a:lnTo>
                    <a:pt x="1260" y="804"/>
                  </a:lnTo>
                  <a:close/>
                  <a:moveTo>
                    <a:pt x="1256" y="807"/>
                  </a:moveTo>
                  <a:lnTo>
                    <a:pt x="1254" y="807"/>
                  </a:lnTo>
                  <a:lnTo>
                    <a:pt x="1254" y="807"/>
                  </a:lnTo>
                  <a:lnTo>
                    <a:pt x="1254" y="806"/>
                  </a:lnTo>
                  <a:lnTo>
                    <a:pt x="1254" y="806"/>
                  </a:lnTo>
                  <a:lnTo>
                    <a:pt x="1254" y="806"/>
                  </a:lnTo>
                  <a:lnTo>
                    <a:pt x="1254" y="807"/>
                  </a:lnTo>
                  <a:lnTo>
                    <a:pt x="1256" y="807"/>
                  </a:lnTo>
                  <a:close/>
                  <a:moveTo>
                    <a:pt x="1257" y="807"/>
                  </a:moveTo>
                  <a:lnTo>
                    <a:pt x="1257" y="807"/>
                  </a:lnTo>
                  <a:lnTo>
                    <a:pt x="1256" y="807"/>
                  </a:lnTo>
                  <a:lnTo>
                    <a:pt x="1256" y="807"/>
                  </a:lnTo>
                  <a:lnTo>
                    <a:pt x="1257" y="806"/>
                  </a:lnTo>
                  <a:lnTo>
                    <a:pt x="1257" y="806"/>
                  </a:lnTo>
                  <a:lnTo>
                    <a:pt x="1257" y="806"/>
                  </a:lnTo>
                  <a:lnTo>
                    <a:pt x="1257" y="807"/>
                  </a:lnTo>
                  <a:close/>
                  <a:moveTo>
                    <a:pt x="1254" y="810"/>
                  </a:moveTo>
                  <a:lnTo>
                    <a:pt x="1254" y="810"/>
                  </a:lnTo>
                  <a:lnTo>
                    <a:pt x="1254" y="810"/>
                  </a:lnTo>
                  <a:lnTo>
                    <a:pt x="1254" y="810"/>
                  </a:lnTo>
                  <a:lnTo>
                    <a:pt x="1254" y="810"/>
                  </a:lnTo>
                  <a:lnTo>
                    <a:pt x="1257" y="808"/>
                  </a:lnTo>
                  <a:lnTo>
                    <a:pt x="1257" y="808"/>
                  </a:lnTo>
                  <a:lnTo>
                    <a:pt x="1257" y="808"/>
                  </a:lnTo>
                  <a:lnTo>
                    <a:pt x="1256" y="808"/>
                  </a:lnTo>
                  <a:lnTo>
                    <a:pt x="1256" y="810"/>
                  </a:lnTo>
                  <a:lnTo>
                    <a:pt x="1256" y="810"/>
                  </a:lnTo>
                  <a:lnTo>
                    <a:pt x="1254" y="810"/>
                  </a:lnTo>
                  <a:close/>
                  <a:moveTo>
                    <a:pt x="1360" y="820"/>
                  </a:moveTo>
                  <a:lnTo>
                    <a:pt x="1360" y="820"/>
                  </a:lnTo>
                  <a:lnTo>
                    <a:pt x="1360" y="820"/>
                  </a:lnTo>
                  <a:lnTo>
                    <a:pt x="1360" y="820"/>
                  </a:lnTo>
                  <a:lnTo>
                    <a:pt x="1358" y="820"/>
                  </a:lnTo>
                  <a:lnTo>
                    <a:pt x="1358" y="818"/>
                  </a:lnTo>
                  <a:lnTo>
                    <a:pt x="1358" y="817"/>
                  </a:lnTo>
                  <a:lnTo>
                    <a:pt x="1358" y="816"/>
                  </a:lnTo>
                  <a:lnTo>
                    <a:pt x="1360" y="816"/>
                  </a:lnTo>
                  <a:lnTo>
                    <a:pt x="1360" y="816"/>
                  </a:lnTo>
                  <a:lnTo>
                    <a:pt x="1360" y="817"/>
                  </a:lnTo>
                  <a:lnTo>
                    <a:pt x="1360" y="817"/>
                  </a:lnTo>
                  <a:lnTo>
                    <a:pt x="1360" y="818"/>
                  </a:lnTo>
                  <a:lnTo>
                    <a:pt x="1360" y="820"/>
                  </a:lnTo>
                  <a:close/>
                  <a:moveTo>
                    <a:pt x="1360" y="823"/>
                  </a:moveTo>
                  <a:lnTo>
                    <a:pt x="1360" y="823"/>
                  </a:lnTo>
                  <a:lnTo>
                    <a:pt x="1360" y="821"/>
                  </a:lnTo>
                  <a:lnTo>
                    <a:pt x="1360" y="821"/>
                  </a:lnTo>
                  <a:lnTo>
                    <a:pt x="1360" y="821"/>
                  </a:lnTo>
                  <a:lnTo>
                    <a:pt x="1360" y="821"/>
                  </a:lnTo>
                  <a:lnTo>
                    <a:pt x="1360" y="821"/>
                  </a:lnTo>
                  <a:lnTo>
                    <a:pt x="1360" y="821"/>
                  </a:lnTo>
                  <a:lnTo>
                    <a:pt x="1361" y="823"/>
                  </a:lnTo>
                  <a:lnTo>
                    <a:pt x="1360" y="823"/>
                  </a:lnTo>
                  <a:close/>
                  <a:moveTo>
                    <a:pt x="1370" y="828"/>
                  </a:moveTo>
                  <a:lnTo>
                    <a:pt x="1371" y="828"/>
                  </a:lnTo>
                  <a:lnTo>
                    <a:pt x="1370" y="830"/>
                  </a:lnTo>
                  <a:lnTo>
                    <a:pt x="1368" y="830"/>
                  </a:lnTo>
                  <a:lnTo>
                    <a:pt x="1367" y="830"/>
                  </a:lnTo>
                  <a:lnTo>
                    <a:pt x="1365" y="830"/>
                  </a:lnTo>
                  <a:lnTo>
                    <a:pt x="1364" y="828"/>
                  </a:lnTo>
                  <a:lnTo>
                    <a:pt x="1364" y="828"/>
                  </a:lnTo>
                  <a:lnTo>
                    <a:pt x="1364" y="828"/>
                  </a:lnTo>
                  <a:lnTo>
                    <a:pt x="1365" y="828"/>
                  </a:lnTo>
                  <a:lnTo>
                    <a:pt x="1365" y="828"/>
                  </a:lnTo>
                  <a:lnTo>
                    <a:pt x="1365" y="828"/>
                  </a:lnTo>
                  <a:lnTo>
                    <a:pt x="1367" y="827"/>
                  </a:lnTo>
                  <a:lnTo>
                    <a:pt x="1367" y="827"/>
                  </a:lnTo>
                  <a:lnTo>
                    <a:pt x="1367" y="827"/>
                  </a:lnTo>
                  <a:lnTo>
                    <a:pt x="1367" y="826"/>
                  </a:lnTo>
                  <a:lnTo>
                    <a:pt x="1367" y="826"/>
                  </a:lnTo>
                  <a:lnTo>
                    <a:pt x="1368" y="826"/>
                  </a:lnTo>
                  <a:lnTo>
                    <a:pt x="1370" y="827"/>
                  </a:lnTo>
                  <a:lnTo>
                    <a:pt x="1370" y="827"/>
                  </a:lnTo>
                  <a:lnTo>
                    <a:pt x="1370" y="828"/>
                  </a:lnTo>
                  <a:close/>
                  <a:moveTo>
                    <a:pt x="1354" y="833"/>
                  </a:moveTo>
                  <a:lnTo>
                    <a:pt x="1355" y="833"/>
                  </a:lnTo>
                  <a:lnTo>
                    <a:pt x="1355" y="833"/>
                  </a:lnTo>
                  <a:lnTo>
                    <a:pt x="1357" y="833"/>
                  </a:lnTo>
                  <a:lnTo>
                    <a:pt x="1357" y="834"/>
                  </a:lnTo>
                  <a:lnTo>
                    <a:pt x="1355" y="834"/>
                  </a:lnTo>
                  <a:lnTo>
                    <a:pt x="1355" y="834"/>
                  </a:lnTo>
                  <a:lnTo>
                    <a:pt x="1355" y="834"/>
                  </a:lnTo>
                  <a:lnTo>
                    <a:pt x="1354" y="834"/>
                  </a:lnTo>
                  <a:lnTo>
                    <a:pt x="1353" y="833"/>
                  </a:lnTo>
                  <a:lnTo>
                    <a:pt x="1354" y="833"/>
                  </a:lnTo>
                  <a:close/>
                  <a:moveTo>
                    <a:pt x="1337" y="837"/>
                  </a:moveTo>
                  <a:lnTo>
                    <a:pt x="1337" y="837"/>
                  </a:lnTo>
                  <a:lnTo>
                    <a:pt x="1337" y="837"/>
                  </a:lnTo>
                  <a:lnTo>
                    <a:pt x="1337" y="836"/>
                  </a:lnTo>
                  <a:lnTo>
                    <a:pt x="1337" y="834"/>
                  </a:lnTo>
                  <a:lnTo>
                    <a:pt x="1338" y="833"/>
                  </a:lnTo>
                  <a:lnTo>
                    <a:pt x="1338" y="834"/>
                  </a:lnTo>
                  <a:lnTo>
                    <a:pt x="1338" y="834"/>
                  </a:lnTo>
                  <a:lnTo>
                    <a:pt x="1338" y="836"/>
                  </a:lnTo>
                  <a:lnTo>
                    <a:pt x="1338" y="837"/>
                  </a:lnTo>
                  <a:lnTo>
                    <a:pt x="1337" y="837"/>
                  </a:lnTo>
                  <a:close/>
                  <a:moveTo>
                    <a:pt x="1317" y="843"/>
                  </a:moveTo>
                  <a:lnTo>
                    <a:pt x="1315" y="843"/>
                  </a:lnTo>
                  <a:lnTo>
                    <a:pt x="1315" y="843"/>
                  </a:lnTo>
                  <a:lnTo>
                    <a:pt x="1315" y="843"/>
                  </a:lnTo>
                  <a:lnTo>
                    <a:pt x="1315" y="841"/>
                  </a:lnTo>
                  <a:lnTo>
                    <a:pt x="1315" y="841"/>
                  </a:lnTo>
                  <a:lnTo>
                    <a:pt x="1317" y="841"/>
                  </a:lnTo>
                  <a:lnTo>
                    <a:pt x="1317" y="841"/>
                  </a:lnTo>
                  <a:lnTo>
                    <a:pt x="1317" y="843"/>
                  </a:lnTo>
                  <a:lnTo>
                    <a:pt x="1317" y="843"/>
                  </a:lnTo>
                  <a:close/>
                  <a:moveTo>
                    <a:pt x="1314" y="846"/>
                  </a:moveTo>
                  <a:lnTo>
                    <a:pt x="1314" y="846"/>
                  </a:lnTo>
                  <a:lnTo>
                    <a:pt x="1314" y="846"/>
                  </a:lnTo>
                  <a:lnTo>
                    <a:pt x="1314" y="846"/>
                  </a:lnTo>
                  <a:lnTo>
                    <a:pt x="1314" y="847"/>
                  </a:lnTo>
                  <a:lnTo>
                    <a:pt x="1314" y="847"/>
                  </a:lnTo>
                  <a:lnTo>
                    <a:pt x="1313" y="847"/>
                  </a:lnTo>
                  <a:lnTo>
                    <a:pt x="1313" y="848"/>
                  </a:lnTo>
                  <a:lnTo>
                    <a:pt x="1313" y="848"/>
                  </a:lnTo>
                  <a:lnTo>
                    <a:pt x="1313" y="848"/>
                  </a:lnTo>
                  <a:lnTo>
                    <a:pt x="1313" y="850"/>
                  </a:lnTo>
                  <a:lnTo>
                    <a:pt x="1313" y="850"/>
                  </a:lnTo>
                  <a:lnTo>
                    <a:pt x="1313" y="850"/>
                  </a:lnTo>
                  <a:lnTo>
                    <a:pt x="1313" y="850"/>
                  </a:lnTo>
                  <a:lnTo>
                    <a:pt x="1311" y="851"/>
                  </a:lnTo>
                  <a:lnTo>
                    <a:pt x="1311" y="853"/>
                  </a:lnTo>
                  <a:lnTo>
                    <a:pt x="1311" y="853"/>
                  </a:lnTo>
                  <a:lnTo>
                    <a:pt x="1311" y="853"/>
                  </a:lnTo>
                  <a:lnTo>
                    <a:pt x="1310" y="854"/>
                  </a:lnTo>
                  <a:lnTo>
                    <a:pt x="1310" y="856"/>
                  </a:lnTo>
                  <a:lnTo>
                    <a:pt x="1308" y="854"/>
                  </a:lnTo>
                  <a:lnTo>
                    <a:pt x="1308" y="854"/>
                  </a:lnTo>
                  <a:lnTo>
                    <a:pt x="1308" y="853"/>
                  </a:lnTo>
                  <a:lnTo>
                    <a:pt x="1308" y="853"/>
                  </a:lnTo>
                  <a:lnTo>
                    <a:pt x="1308" y="853"/>
                  </a:lnTo>
                  <a:lnTo>
                    <a:pt x="1310" y="850"/>
                  </a:lnTo>
                  <a:lnTo>
                    <a:pt x="1310" y="850"/>
                  </a:lnTo>
                  <a:lnTo>
                    <a:pt x="1310" y="848"/>
                  </a:lnTo>
                  <a:lnTo>
                    <a:pt x="1311" y="847"/>
                  </a:lnTo>
                  <a:lnTo>
                    <a:pt x="1311" y="847"/>
                  </a:lnTo>
                  <a:lnTo>
                    <a:pt x="1313" y="846"/>
                  </a:lnTo>
                  <a:lnTo>
                    <a:pt x="1313" y="844"/>
                  </a:lnTo>
                  <a:lnTo>
                    <a:pt x="1314" y="844"/>
                  </a:lnTo>
                  <a:lnTo>
                    <a:pt x="1314" y="844"/>
                  </a:lnTo>
                  <a:lnTo>
                    <a:pt x="1314" y="844"/>
                  </a:lnTo>
                  <a:lnTo>
                    <a:pt x="1314" y="846"/>
                  </a:lnTo>
                  <a:close/>
                  <a:moveTo>
                    <a:pt x="1331" y="848"/>
                  </a:moveTo>
                  <a:lnTo>
                    <a:pt x="1331" y="848"/>
                  </a:lnTo>
                  <a:lnTo>
                    <a:pt x="1330" y="848"/>
                  </a:lnTo>
                  <a:lnTo>
                    <a:pt x="1330" y="848"/>
                  </a:lnTo>
                  <a:lnTo>
                    <a:pt x="1330" y="847"/>
                  </a:lnTo>
                  <a:lnTo>
                    <a:pt x="1330" y="847"/>
                  </a:lnTo>
                  <a:lnTo>
                    <a:pt x="1330" y="847"/>
                  </a:lnTo>
                  <a:lnTo>
                    <a:pt x="1331" y="848"/>
                  </a:lnTo>
                  <a:lnTo>
                    <a:pt x="1331" y="848"/>
                  </a:lnTo>
                  <a:close/>
                  <a:moveTo>
                    <a:pt x="1615" y="866"/>
                  </a:moveTo>
                  <a:lnTo>
                    <a:pt x="1615" y="867"/>
                  </a:lnTo>
                  <a:lnTo>
                    <a:pt x="1614" y="867"/>
                  </a:lnTo>
                  <a:lnTo>
                    <a:pt x="1614" y="867"/>
                  </a:lnTo>
                  <a:lnTo>
                    <a:pt x="1614" y="868"/>
                  </a:lnTo>
                  <a:lnTo>
                    <a:pt x="1612" y="867"/>
                  </a:lnTo>
                  <a:lnTo>
                    <a:pt x="1612" y="867"/>
                  </a:lnTo>
                  <a:lnTo>
                    <a:pt x="1612" y="866"/>
                  </a:lnTo>
                  <a:lnTo>
                    <a:pt x="1614" y="864"/>
                  </a:lnTo>
                  <a:lnTo>
                    <a:pt x="1614" y="863"/>
                  </a:lnTo>
                  <a:lnTo>
                    <a:pt x="1615" y="864"/>
                  </a:lnTo>
                  <a:lnTo>
                    <a:pt x="1615" y="866"/>
                  </a:lnTo>
                  <a:lnTo>
                    <a:pt x="1615" y="866"/>
                  </a:lnTo>
                  <a:close/>
                  <a:moveTo>
                    <a:pt x="1488" y="867"/>
                  </a:moveTo>
                  <a:lnTo>
                    <a:pt x="1488" y="867"/>
                  </a:lnTo>
                  <a:lnTo>
                    <a:pt x="1488" y="867"/>
                  </a:lnTo>
                  <a:lnTo>
                    <a:pt x="1488" y="867"/>
                  </a:lnTo>
                  <a:lnTo>
                    <a:pt x="1488" y="867"/>
                  </a:lnTo>
                  <a:lnTo>
                    <a:pt x="1489" y="867"/>
                  </a:lnTo>
                  <a:lnTo>
                    <a:pt x="1489" y="867"/>
                  </a:lnTo>
                  <a:lnTo>
                    <a:pt x="1488" y="867"/>
                  </a:lnTo>
                  <a:close/>
                  <a:moveTo>
                    <a:pt x="1608" y="868"/>
                  </a:moveTo>
                  <a:lnTo>
                    <a:pt x="1608" y="870"/>
                  </a:lnTo>
                  <a:lnTo>
                    <a:pt x="1608" y="870"/>
                  </a:lnTo>
                  <a:lnTo>
                    <a:pt x="1608" y="868"/>
                  </a:lnTo>
                  <a:lnTo>
                    <a:pt x="1608" y="868"/>
                  </a:lnTo>
                  <a:lnTo>
                    <a:pt x="1608" y="868"/>
                  </a:lnTo>
                  <a:lnTo>
                    <a:pt x="1608" y="868"/>
                  </a:lnTo>
                  <a:lnTo>
                    <a:pt x="1608" y="868"/>
                  </a:lnTo>
                  <a:close/>
                  <a:moveTo>
                    <a:pt x="1487" y="874"/>
                  </a:moveTo>
                  <a:lnTo>
                    <a:pt x="1487" y="874"/>
                  </a:lnTo>
                  <a:lnTo>
                    <a:pt x="1487" y="873"/>
                  </a:lnTo>
                  <a:lnTo>
                    <a:pt x="1487" y="873"/>
                  </a:lnTo>
                  <a:lnTo>
                    <a:pt x="1487" y="873"/>
                  </a:lnTo>
                  <a:lnTo>
                    <a:pt x="1487" y="873"/>
                  </a:lnTo>
                  <a:lnTo>
                    <a:pt x="1487" y="874"/>
                  </a:lnTo>
                  <a:close/>
                  <a:moveTo>
                    <a:pt x="1444" y="896"/>
                  </a:moveTo>
                  <a:lnTo>
                    <a:pt x="1442" y="896"/>
                  </a:lnTo>
                  <a:lnTo>
                    <a:pt x="1442" y="896"/>
                  </a:lnTo>
                  <a:lnTo>
                    <a:pt x="1442" y="896"/>
                  </a:lnTo>
                  <a:lnTo>
                    <a:pt x="1442" y="896"/>
                  </a:lnTo>
                  <a:lnTo>
                    <a:pt x="1442" y="894"/>
                  </a:lnTo>
                  <a:lnTo>
                    <a:pt x="1442" y="894"/>
                  </a:lnTo>
                  <a:lnTo>
                    <a:pt x="1444" y="894"/>
                  </a:lnTo>
                  <a:lnTo>
                    <a:pt x="1444" y="894"/>
                  </a:lnTo>
                  <a:lnTo>
                    <a:pt x="1444" y="896"/>
                  </a:lnTo>
                  <a:close/>
                  <a:moveTo>
                    <a:pt x="1567" y="928"/>
                  </a:moveTo>
                  <a:lnTo>
                    <a:pt x="1565" y="928"/>
                  </a:lnTo>
                  <a:lnTo>
                    <a:pt x="1565" y="928"/>
                  </a:lnTo>
                  <a:lnTo>
                    <a:pt x="1565" y="928"/>
                  </a:lnTo>
                  <a:lnTo>
                    <a:pt x="1565" y="927"/>
                  </a:lnTo>
                  <a:lnTo>
                    <a:pt x="1567" y="925"/>
                  </a:lnTo>
                  <a:lnTo>
                    <a:pt x="1567" y="925"/>
                  </a:lnTo>
                  <a:lnTo>
                    <a:pt x="1567" y="924"/>
                  </a:lnTo>
                  <a:lnTo>
                    <a:pt x="1567" y="928"/>
                  </a:lnTo>
                  <a:close/>
                  <a:moveTo>
                    <a:pt x="1565" y="928"/>
                  </a:moveTo>
                  <a:lnTo>
                    <a:pt x="1564" y="928"/>
                  </a:lnTo>
                  <a:lnTo>
                    <a:pt x="1564" y="927"/>
                  </a:lnTo>
                  <a:lnTo>
                    <a:pt x="1564" y="927"/>
                  </a:lnTo>
                  <a:lnTo>
                    <a:pt x="1565" y="927"/>
                  </a:lnTo>
                  <a:lnTo>
                    <a:pt x="1565" y="927"/>
                  </a:lnTo>
                  <a:lnTo>
                    <a:pt x="1565" y="928"/>
                  </a:lnTo>
                  <a:close/>
                  <a:moveTo>
                    <a:pt x="1578" y="930"/>
                  </a:moveTo>
                  <a:lnTo>
                    <a:pt x="1574" y="931"/>
                  </a:lnTo>
                  <a:lnTo>
                    <a:pt x="1574" y="931"/>
                  </a:lnTo>
                  <a:lnTo>
                    <a:pt x="1574" y="930"/>
                  </a:lnTo>
                  <a:lnTo>
                    <a:pt x="1575" y="928"/>
                  </a:lnTo>
                  <a:lnTo>
                    <a:pt x="1576" y="928"/>
                  </a:lnTo>
                  <a:lnTo>
                    <a:pt x="1578" y="930"/>
                  </a:lnTo>
                  <a:lnTo>
                    <a:pt x="1578" y="930"/>
                  </a:lnTo>
                  <a:close/>
                  <a:moveTo>
                    <a:pt x="1586" y="933"/>
                  </a:moveTo>
                  <a:lnTo>
                    <a:pt x="1585" y="933"/>
                  </a:lnTo>
                  <a:lnTo>
                    <a:pt x="1582" y="933"/>
                  </a:lnTo>
                  <a:lnTo>
                    <a:pt x="1585" y="931"/>
                  </a:lnTo>
                  <a:lnTo>
                    <a:pt x="1585" y="931"/>
                  </a:lnTo>
                  <a:lnTo>
                    <a:pt x="1585" y="930"/>
                  </a:lnTo>
                  <a:lnTo>
                    <a:pt x="1586" y="930"/>
                  </a:lnTo>
                  <a:lnTo>
                    <a:pt x="1586" y="933"/>
                  </a:lnTo>
                  <a:lnTo>
                    <a:pt x="1586" y="933"/>
                  </a:lnTo>
                  <a:close/>
                  <a:moveTo>
                    <a:pt x="1547" y="938"/>
                  </a:moveTo>
                  <a:lnTo>
                    <a:pt x="1545" y="940"/>
                  </a:lnTo>
                  <a:lnTo>
                    <a:pt x="1547" y="940"/>
                  </a:lnTo>
                  <a:lnTo>
                    <a:pt x="1547" y="940"/>
                  </a:lnTo>
                  <a:lnTo>
                    <a:pt x="1548" y="938"/>
                  </a:lnTo>
                  <a:lnTo>
                    <a:pt x="1549" y="938"/>
                  </a:lnTo>
                  <a:lnTo>
                    <a:pt x="1551" y="937"/>
                  </a:lnTo>
                  <a:lnTo>
                    <a:pt x="1552" y="937"/>
                  </a:lnTo>
                  <a:lnTo>
                    <a:pt x="1552" y="938"/>
                  </a:lnTo>
                  <a:lnTo>
                    <a:pt x="1554" y="937"/>
                  </a:lnTo>
                  <a:lnTo>
                    <a:pt x="1557" y="937"/>
                  </a:lnTo>
                  <a:lnTo>
                    <a:pt x="1549" y="941"/>
                  </a:lnTo>
                  <a:lnTo>
                    <a:pt x="1548" y="941"/>
                  </a:lnTo>
                  <a:lnTo>
                    <a:pt x="1545" y="943"/>
                  </a:lnTo>
                  <a:lnTo>
                    <a:pt x="1544" y="943"/>
                  </a:lnTo>
                  <a:lnTo>
                    <a:pt x="1542" y="943"/>
                  </a:lnTo>
                  <a:lnTo>
                    <a:pt x="1535" y="945"/>
                  </a:lnTo>
                  <a:lnTo>
                    <a:pt x="1535" y="945"/>
                  </a:lnTo>
                  <a:lnTo>
                    <a:pt x="1534" y="945"/>
                  </a:lnTo>
                  <a:lnTo>
                    <a:pt x="1528" y="947"/>
                  </a:lnTo>
                  <a:lnTo>
                    <a:pt x="1527" y="947"/>
                  </a:lnTo>
                  <a:lnTo>
                    <a:pt x="1524" y="947"/>
                  </a:lnTo>
                  <a:lnTo>
                    <a:pt x="1525" y="947"/>
                  </a:lnTo>
                  <a:lnTo>
                    <a:pt x="1525" y="945"/>
                  </a:lnTo>
                  <a:lnTo>
                    <a:pt x="1525" y="945"/>
                  </a:lnTo>
                  <a:lnTo>
                    <a:pt x="1524" y="945"/>
                  </a:lnTo>
                  <a:lnTo>
                    <a:pt x="1524" y="947"/>
                  </a:lnTo>
                  <a:lnTo>
                    <a:pt x="1522" y="947"/>
                  </a:lnTo>
                  <a:lnTo>
                    <a:pt x="1522" y="945"/>
                  </a:lnTo>
                  <a:lnTo>
                    <a:pt x="1522" y="945"/>
                  </a:lnTo>
                  <a:lnTo>
                    <a:pt x="1522" y="944"/>
                  </a:lnTo>
                  <a:lnTo>
                    <a:pt x="1524" y="943"/>
                  </a:lnTo>
                  <a:lnTo>
                    <a:pt x="1527" y="943"/>
                  </a:lnTo>
                  <a:lnTo>
                    <a:pt x="1528" y="941"/>
                  </a:lnTo>
                  <a:lnTo>
                    <a:pt x="1528" y="941"/>
                  </a:lnTo>
                  <a:lnTo>
                    <a:pt x="1528" y="941"/>
                  </a:lnTo>
                  <a:lnTo>
                    <a:pt x="1528" y="940"/>
                  </a:lnTo>
                  <a:lnTo>
                    <a:pt x="1529" y="940"/>
                  </a:lnTo>
                  <a:lnTo>
                    <a:pt x="1531" y="940"/>
                  </a:lnTo>
                  <a:lnTo>
                    <a:pt x="1531" y="940"/>
                  </a:lnTo>
                  <a:lnTo>
                    <a:pt x="1532" y="940"/>
                  </a:lnTo>
                  <a:lnTo>
                    <a:pt x="1532" y="940"/>
                  </a:lnTo>
                  <a:lnTo>
                    <a:pt x="1534" y="940"/>
                  </a:lnTo>
                  <a:lnTo>
                    <a:pt x="1535" y="940"/>
                  </a:lnTo>
                  <a:lnTo>
                    <a:pt x="1537" y="940"/>
                  </a:lnTo>
                  <a:lnTo>
                    <a:pt x="1538" y="940"/>
                  </a:lnTo>
                  <a:lnTo>
                    <a:pt x="1541" y="938"/>
                  </a:lnTo>
                  <a:lnTo>
                    <a:pt x="1545" y="938"/>
                  </a:lnTo>
                  <a:lnTo>
                    <a:pt x="1545" y="938"/>
                  </a:lnTo>
                  <a:lnTo>
                    <a:pt x="1548" y="935"/>
                  </a:lnTo>
                  <a:lnTo>
                    <a:pt x="1549" y="935"/>
                  </a:lnTo>
                  <a:lnTo>
                    <a:pt x="1548" y="937"/>
                  </a:lnTo>
                  <a:lnTo>
                    <a:pt x="1547" y="938"/>
                  </a:lnTo>
                  <a:close/>
                  <a:moveTo>
                    <a:pt x="1519" y="948"/>
                  </a:moveTo>
                  <a:lnTo>
                    <a:pt x="1518" y="948"/>
                  </a:lnTo>
                  <a:lnTo>
                    <a:pt x="1519" y="947"/>
                  </a:lnTo>
                  <a:lnTo>
                    <a:pt x="1521" y="945"/>
                  </a:lnTo>
                  <a:lnTo>
                    <a:pt x="1521" y="945"/>
                  </a:lnTo>
                  <a:lnTo>
                    <a:pt x="1521" y="947"/>
                  </a:lnTo>
                  <a:lnTo>
                    <a:pt x="1521" y="947"/>
                  </a:lnTo>
                  <a:lnTo>
                    <a:pt x="1521" y="948"/>
                  </a:lnTo>
                  <a:lnTo>
                    <a:pt x="1519" y="948"/>
                  </a:lnTo>
                  <a:close/>
                  <a:moveTo>
                    <a:pt x="1521" y="965"/>
                  </a:moveTo>
                  <a:lnTo>
                    <a:pt x="1518" y="970"/>
                  </a:lnTo>
                  <a:lnTo>
                    <a:pt x="1518" y="968"/>
                  </a:lnTo>
                  <a:lnTo>
                    <a:pt x="1521" y="964"/>
                  </a:lnTo>
                  <a:lnTo>
                    <a:pt x="1521" y="965"/>
                  </a:lnTo>
                  <a:close/>
                  <a:moveTo>
                    <a:pt x="1501" y="1003"/>
                  </a:moveTo>
                  <a:lnTo>
                    <a:pt x="1501" y="1003"/>
                  </a:lnTo>
                  <a:lnTo>
                    <a:pt x="1502" y="998"/>
                  </a:lnTo>
                  <a:lnTo>
                    <a:pt x="1504" y="995"/>
                  </a:lnTo>
                  <a:lnTo>
                    <a:pt x="1505" y="994"/>
                  </a:lnTo>
                  <a:lnTo>
                    <a:pt x="1504" y="997"/>
                  </a:lnTo>
                  <a:lnTo>
                    <a:pt x="1504" y="998"/>
                  </a:lnTo>
                  <a:lnTo>
                    <a:pt x="1501" y="1003"/>
                  </a:lnTo>
                  <a:close/>
                  <a:moveTo>
                    <a:pt x="1497" y="1044"/>
                  </a:moveTo>
                  <a:lnTo>
                    <a:pt x="1497" y="1044"/>
                  </a:lnTo>
                  <a:lnTo>
                    <a:pt x="1495" y="1041"/>
                  </a:lnTo>
                  <a:lnTo>
                    <a:pt x="1497" y="1043"/>
                  </a:lnTo>
                  <a:lnTo>
                    <a:pt x="1497" y="1043"/>
                  </a:lnTo>
                  <a:lnTo>
                    <a:pt x="1497" y="1044"/>
                  </a:lnTo>
                  <a:close/>
                  <a:moveTo>
                    <a:pt x="1498" y="1055"/>
                  </a:moveTo>
                  <a:lnTo>
                    <a:pt x="1495" y="1055"/>
                  </a:lnTo>
                  <a:lnTo>
                    <a:pt x="1495" y="1055"/>
                  </a:lnTo>
                  <a:lnTo>
                    <a:pt x="1498" y="1054"/>
                  </a:lnTo>
                  <a:lnTo>
                    <a:pt x="1498" y="1051"/>
                  </a:lnTo>
                  <a:lnTo>
                    <a:pt x="1498" y="1048"/>
                  </a:lnTo>
                  <a:lnTo>
                    <a:pt x="1498" y="1045"/>
                  </a:lnTo>
                  <a:lnTo>
                    <a:pt x="1498" y="1045"/>
                  </a:lnTo>
                  <a:lnTo>
                    <a:pt x="1498" y="1045"/>
                  </a:lnTo>
                  <a:lnTo>
                    <a:pt x="1499" y="1050"/>
                  </a:lnTo>
                  <a:lnTo>
                    <a:pt x="1499" y="1051"/>
                  </a:lnTo>
                  <a:lnTo>
                    <a:pt x="1498" y="1054"/>
                  </a:lnTo>
                  <a:lnTo>
                    <a:pt x="1498" y="1055"/>
                  </a:lnTo>
                  <a:close/>
                  <a:moveTo>
                    <a:pt x="1494" y="1057"/>
                  </a:moveTo>
                  <a:lnTo>
                    <a:pt x="1491" y="1058"/>
                  </a:lnTo>
                  <a:lnTo>
                    <a:pt x="1491" y="1058"/>
                  </a:lnTo>
                  <a:lnTo>
                    <a:pt x="1492" y="1057"/>
                  </a:lnTo>
                  <a:lnTo>
                    <a:pt x="1494" y="1057"/>
                  </a:lnTo>
                  <a:close/>
                  <a:moveTo>
                    <a:pt x="1482" y="1067"/>
                  </a:moveTo>
                  <a:lnTo>
                    <a:pt x="1482" y="1067"/>
                  </a:lnTo>
                  <a:lnTo>
                    <a:pt x="1484" y="1065"/>
                  </a:lnTo>
                  <a:lnTo>
                    <a:pt x="1487" y="1061"/>
                  </a:lnTo>
                  <a:lnTo>
                    <a:pt x="1487" y="1061"/>
                  </a:lnTo>
                  <a:lnTo>
                    <a:pt x="1485" y="1064"/>
                  </a:lnTo>
                  <a:lnTo>
                    <a:pt x="1482" y="1067"/>
                  </a:lnTo>
                  <a:close/>
                  <a:moveTo>
                    <a:pt x="1481" y="1067"/>
                  </a:moveTo>
                  <a:lnTo>
                    <a:pt x="1481" y="1067"/>
                  </a:lnTo>
                  <a:lnTo>
                    <a:pt x="1481" y="1067"/>
                  </a:lnTo>
                  <a:lnTo>
                    <a:pt x="1479" y="1067"/>
                  </a:lnTo>
                  <a:lnTo>
                    <a:pt x="1479" y="1065"/>
                  </a:lnTo>
                  <a:lnTo>
                    <a:pt x="1481" y="1065"/>
                  </a:lnTo>
                  <a:lnTo>
                    <a:pt x="1481" y="1067"/>
                  </a:lnTo>
                  <a:close/>
                  <a:moveTo>
                    <a:pt x="788" y="1078"/>
                  </a:moveTo>
                  <a:lnTo>
                    <a:pt x="791" y="1078"/>
                  </a:lnTo>
                  <a:lnTo>
                    <a:pt x="793" y="1078"/>
                  </a:lnTo>
                  <a:lnTo>
                    <a:pt x="793" y="1078"/>
                  </a:lnTo>
                  <a:lnTo>
                    <a:pt x="793" y="1080"/>
                  </a:lnTo>
                  <a:lnTo>
                    <a:pt x="789" y="1080"/>
                  </a:lnTo>
                  <a:lnTo>
                    <a:pt x="788" y="1080"/>
                  </a:lnTo>
                  <a:lnTo>
                    <a:pt x="788" y="1078"/>
                  </a:lnTo>
                  <a:lnTo>
                    <a:pt x="788" y="1078"/>
                  </a:lnTo>
                  <a:lnTo>
                    <a:pt x="788" y="1078"/>
                  </a:lnTo>
                  <a:close/>
                  <a:moveTo>
                    <a:pt x="781" y="1078"/>
                  </a:moveTo>
                  <a:lnTo>
                    <a:pt x="781" y="1080"/>
                  </a:lnTo>
                  <a:lnTo>
                    <a:pt x="779" y="1078"/>
                  </a:lnTo>
                  <a:lnTo>
                    <a:pt x="779" y="1078"/>
                  </a:lnTo>
                  <a:lnTo>
                    <a:pt x="781" y="1078"/>
                  </a:lnTo>
                  <a:lnTo>
                    <a:pt x="781" y="1078"/>
                  </a:lnTo>
                  <a:lnTo>
                    <a:pt x="781" y="1078"/>
                  </a:lnTo>
                  <a:close/>
                  <a:moveTo>
                    <a:pt x="785" y="1081"/>
                  </a:moveTo>
                  <a:lnTo>
                    <a:pt x="783" y="1081"/>
                  </a:lnTo>
                  <a:lnTo>
                    <a:pt x="783" y="1081"/>
                  </a:lnTo>
                  <a:lnTo>
                    <a:pt x="782" y="1080"/>
                  </a:lnTo>
                  <a:lnTo>
                    <a:pt x="785" y="1078"/>
                  </a:lnTo>
                  <a:lnTo>
                    <a:pt x="786" y="1080"/>
                  </a:lnTo>
                  <a:lnTo>
                    <a:pt x="786" y="1080"/>
                  </a:lnTo>
                  <a:lnTo>
                    <a:pt x="785" y="1081"/>
                  </a:lnTo>
                  <a:close/>
                  <a:moveTo>
                    <a:pt x="812" y="1091"/>
                  </a:moveTo>
                  <a:lnTo>
                    <a:pt x="813" y="1093"/>
                  </a:lnTo>
                  <a:lnTo>
                    <a:pt x="812" y="1093"/>
                  </a:lnTo>
                  <a:lnTo>
                    <a:pt x="810" y="1093"/>
                  </a:lnTo>
                  <a:lnTo>
                    <a:pt x="810" y="1091"/>
                  </a:lnTo>
                  <a:lnTo>
                    <a:pt x="810" y="1091"/>
                  </a:lnTo>
                  <a:lnTo>
                    <a:pt x="809" y="1091"/>
                  </a:lnTo>
                  <a:lnTo>
                    <a:pt x="809" y="1090"/>
                  </a:lnTo>
                  <a:lnTo>
                    <a:pt x="809" y="1090"/>
                  </a:lnTo>
                  <a:lnTo>
                    <a:pt x="809" y="1090"/>
                  </a:lnTo>
                  <a:lnTo>
                    <a:pt x="809" y="1090"/>
                  </a:lnTo>
                  <a:lnTo>
                    <a:pt x="812" y="1091"/>
                  </a:lnTo>
                  <a:lnTo>
                    <a:pt x="812" y="1091"/>
                  </a:lnTo>
                  <a:close/>
                  <a:moveTo>
                    <a:pt x="795" y="1094"/>
                  </a:moveTo>
                  <a:lnTo>
                    <a:pt x="793" y="1094"/>
                  </a:lnTo>
                  <a:lnTo>
                    <a:pt x="793" y="1094"/>
                  </a:lnTo>
                  <a:lnTo>
                    <a:pt x="792" y="1093"/>
                  </a:lnTo>
                  <a:lnTo>
                    <a:pt x="793" y="1093"/>
                  </a:lnTo>
                  <a:lnTo>
                    <a:pt x="795" y="1094"/>
                  </a:lnTo>
                  <a:lnTo>
                    <a:pt x="795" y="1094"/>
                  </a:lnTo>
                  <a:lnTo>
                    <a:pt x="795" y="1094"/>
                  </a:lnTo>
                  <a:close/>
                  <a:moveTo>
                    <a:pt x="812" y="1103"/>
                  </a:moveTo>
                  <a:lnTo>
                    <a:pt x="812" y="1103"/>
                  </a:lnTo>
                  <a:lnTo>
                    <a:pt x="810" y="1101"/>
                  </a:lnTo>
                  <a:lnTo>
                    <a:pt x="809" y="1100"/>
                  </a:lnTo>
                  <a:lnTo>
                    <a:pt x="809" y="1098"/>
                  </a:lnTo>
                  <a:lnTo>
                    <a:pt x="809" y="1098"/>
                  </a:lnTo>
                  <a:lnTo>
                    <a:pt x="809" y="1100"/>
                  </a:lnTo>
                  <a:lnTo>
                    <a:pt x="812" y="1101"/>
                  </a:lnTo>
                  <a:lnTo>
                    <a:pt x="812" y="1103"/>
                  </a:lnTo>
                  <a:close/>
                  <a:moveTo>
                    <a:pt x="1404" y="1137"/>
                  </a:moveTo>
                  <a:lnTo>
                    <a:pt x="1402" y="1141"/>
                  </a:lnTo>
                  <a:lnTo>
                    <a:pt x="1402" y="1140"/>
                  </a:lnTo>
                  <a:lnTo>
                    <a:pt x="1402" y="1138"/>
                  </a:lnTo>
                  <a:lnTo>
                    <a:pt x="1402" y="1137"/>
                  </a:lnTo>
                  <a:lnTo>
                    <a:pt x="1404" y="1137"/>
                  </a:lnTo>
                  <a:close/>
                  <a:moveTo>
                    <a:pt x="1297" y="1150"/>
                  </a:moveTo>
                  <a:lnTo>
                    <a:pt x="1295" y="1151"/>
                  </a:lnTo>
                  <a:lnTo>
                    <a:pt x="1294" y="1151"/>
                  </a:lnTo>
                  <a:lnTo>
                    <a:pt x="1293" y="1150"/>
                  </a:lnTo>
                  <a:lnTo>
                    <a:pt x="1294" y="1150"/>
                  </a:lnTo>
                  <a:lnTo>
                    <a:pt x="1297" y="1150"/>
                  </a:lnTo>
                  <a:lnTo>
                    <a:pt x="1297" y="1150"/>
                  </a:lnTo>
                  <a:close/>
                  <a:moveTo>
                    <a:pt x="1290" y="1151"/>
                  </a:moveTo>
                  <a:lnTo>
                    <a:pt x="1290" y="1151"/>
                  </a:lnTo>
                  <a:lnTo>
                    <a:pt x="1288" y="1151"/>
                  </a:lnTo>
                  <a:lnTo>
                    <a:pt x="1287" y="1150"/>
                  </a:lnTo>
                  <a:lnTo>
                    <a:pt x="1287" y="1150"/>
                  </a:lnTo>
                  <a:lnTo>
                    <a:pt x="1288" y="1151"/>
                  </a:lnTo>
                  <a:lnTo>
                    <a:pt x="1290" y="1151"/>
                  </a:lnTo>
                  <a:close/>
                  <a:moveTo>
                    <a:pt x="1278" y="1152"/>
                  </a:moveTo>
                  <a:lnTo>
                    <a:pt x="1278" y="1154"/>
                  </a:lnTo>
                  <a:lnTo>
                    <a:pt x="1278" y="1154"/>
                  </a:lnTo>
                  <a:lnTo>
                    <a:pt x="1277" y="1154"/>
                  </a:lnTo>
                  <a:lnTo>
                    <a:pt x="1277" y="1152"/>
                  </a:lnTo>
                  <a:lnTo>
                    <a:pt x="1277" y="1152"/>
                  </a:lnTo>
                  <a:lnTo>
                    <a:pt x="1278" y="1152"/>
                  </a:lnTo>
                  <a:lnTo>
                    <a:pt x="1280" y="1151"/>
                  </a:lnTo>
                  <a:lnTo>
                    <a:pt x="1278" y="1152"/>
                  </a:lnTo>
                  <a:lnTo>
                    <a:pt x="1278" y="1152"/>
                  </a:lnTo>
                  <a:close/>
                  <a:moveTo>
                    <a:pt x="1285" y="1158"/>
                  </a:moveTo>
                  <a:lnTo>
                    <a:pt x="1284" y="1158"/>
                  </a:lnTo>
                  <a:lnTo>
                    <a:pt x="1285" y="1155"/>
                  </a:lnTo>
                  <a:lnTo>
                    <a:pt x="1284" y="1154"/>
                  </a:lnTo>
                  <a:lnTo>
                    <a:pt x="1285" y="1155"/>
                  </a:lnTo>
                  <a:lnTo>
                    <a:pt x="1285" y="1155"/>
                  </a:lnTo>
                  <a:lnTo>
                    <a:pt x="1285" y="1158"/>
                  </a:lnTo>
                  <a:close/>
                  <a:moveTo>
                    <a:pt x="1284" y="1160"/>
                  </a:moveTo>
                  <a:lnTo>
                    <a:pt x="1283" y="1161"/>
                  </a:lnTo>
                  <a:lnTo>
                    <a:pt x="1283" y="1161"/>
                  </a:lnTo>
                  <a:lnTo>
                    <a:pt x="1284" y="1160"/>
                  </a:lnTo>
                  <a:lnTo>
                    <a:pt x="1284" y="1160"/>
                  </a:lnTo>
                  <a:lnTo>
                    <a:pt x="1284" y="1160"/>
                  </a:lnTo>
                  <a:close/>
                  <a:moveTo>
                    <a:pt x="1348" y="1161"/>
                  </a:moveTo>
                  <a:lnTo>
                    <a:pt x="1347" y="1162"/>
                  </a:lnTo>
                  <a:lnTo>
                    <a:pt x="1344" y="1161"/>
                  </a:lnTo>
                  <a:lnTo>
                    <a:pt x="1345" y="1161"/>
                  </a:lnTo>
                  <a:lnTo>
                    <a:pt x="1347" y="1161"/>
                  </a:lnTo>
                  <a:lnTo>
                    <a:pt x="1348" y="1161"/>
                  </a:lnTo>
                  <a:lnTo>
                    <a:pt x="1350" y="1160"/>
                  </a:lnTo>
                  <a:lnTo>
                    <a:pt x="1351" y="1160"/>
                  </a:lnTo>
                  <a:lnTo>
                    <a:pt x="1348" y="1161"/>
                  </a:lnTo>
                  <a:close/>
                  <a:moveTo>
                    <a:pt x="1237" y="1164"/>
                  </a:moveTo>
                  <a:lnTo>
                    <a:pt x="1237" y="1164"/>
                  </a:lnTo>
                  <a:lnTo>
                    <a:pt x="1234" y="1162"/>
                  </a:lnTo>
                  <a:lnTo>
                    <a:pt x="1234" y="1162"/>
                  </a:lnTo>
                  <a:lnTo>
                    <a:pt x="1236" y="1161"/>
                  </a:lnTo>
                  <a:lnTo>
                    <a:pt x="1236" y="1161"/>
                  </a:lnTo>
                  <a:lnTo>
                    <a:pt x="1237" y="1162"/>
                  </a:lnTo>
                  <a:lnTo>
                    <a:pt x="1238" y="1162"/>
                  </a:lnTo>
                  <a:lnTo>
                    <a:pt x="1238" y="1162"/>
                  </a:lnTo>
                  <a:lnTo>
                    <a:pt x="1238" y="1162"/>
                  </a:lnTo>
                  <a:lnTo>
                    <a:pt x="1237" y="1164"/>
                  </a:lnTo>
                  <a:close/>
                  <a:moveTo>
                    <a:pt x="1186" y="1170"/>
                  </a:moveTo>
                  <a:lnTo>
                    <a:pt x="1184" y="1171"/>
                  </a:lnTo>
                  <a:lnTo>
                    <a:pt x="1188" y="1168"/>
                  </a:lnTo>
                  <a:lnTo>
                    <a:pt x="1188" y="1167"/>
                  </a:lnTo>
                  <a:lnTo>
                    <a:pt x="1190" y="1167"/>
                  </a:lnTo>
                  <a:lnTo>
                    <a:pt x="1188" y="1168"/>
                  </a:lnTo>
                  <a:lnTo>
                    <a:pt x="1186" y="1170"/>
                  </a:lnTo>
                  <a:close/>
                  <a:moveTo>
                    <a:pt x="1159" y="1188"/>
                  </a:moveTo>
                  <a:lnTo>
                    <a:pt x="1157" y="1188"/>
                  </a:lnTo>
                  <a:lnTo>
                    <a:pt x="1159" y="1187"/>
                  </a:lnTo>
                  <a:lnTo>
                    <a:pt x="1159" y="1187"/>
                  </a:lnTo>
                  <a:lnTo>
                    <a:pt x="1161" y="1185"/>
                  </a:lnTo>
                  <a:lnTo>
                    <a:pt x="1163" y="1185"/>
                  </a:lnTo>
                  <a:lnTo>
                    <a:pt x="1163" y="1184"/>
                  </a:lnTo>
                  <a:lnTo>
                    <a:pt x="1164" y="1184"/>
                  </a:lnTo>
                  <a:lnTo>
                    <a:pt x="1163" y="1185"/>
                  </a:lnTo>
                  <a:lnTo>
                    <a:pt x="1161" y="1187"/>
                  </a:lnTo>
                  <a:lnTo>
                    <a:pt x="1159" y="1188"/>
                  </a:lnTo>
                  <a:close/>
                  <a:moveTo>
                    <a:pt x="1154" y="1192"/>
                  </a:moveTo>
                  <a:lnTo>
                    <a:pt x="1153" y="1192"/>
                  </a:lnTo>
                  <a:lnTo>
                    <a:pt x="1154" y="1191"/>
                  </a:lnTo>
                  <a:lnTo>
                    <a:pt x="1154" y="1191"/>
                  </a:lnTo>
                  <a:lnTo>
                    <a:pt x="1156" y="1190"/>
                  </a:lnTo>
                  <a:lnTo>
                    <a:pt x="1156" y="1188"/>
                  </a:lnTo>
                  <a:lnTo>
                    <a:pt x="1157" y="1190"/>
                  </a:lnTo>
                  <a:lnTo>
                    <a:pt x="1156" y="1191"/>
                  </a:lnTo>
                  <a:lnTo>
                    <a:pt x="1154" y="1192"/>
                  </a:lnTo>
                  <a:close/>
                  <a:moveTo>
                    <a:pt x="1424" y="1204"/>
                  </a:moveTo>
                  <a:lnTo>
                    <a:pt x="1424" y="1205"/>
                  </a:lnTo>
                  <a:lnTo>
                    <a:pt x="1422" y="1202"/>
                  </a:lnTo>
                  <a:lnTo>
                    <a:pt x="1421" y="1198"/>
                  </a:lnTo>
                  <a:lnTo>
                    <a:pt x="1420" y="1194"/>
                  </a:lnTo>
                  <a:lnTo>
                    <a:pt x="1420" y="1195"/>
                  </a:lnTo>
                  <a:lnTo>
                    <a:pt x="1421" y="1197"/>
                  </a:lnTo>
                  <a:lnTo>
                    <a:pt x="1424" y="1204"/>
                  </a:lnTo>
                  <a:close/>
                  <a:moveTo>
                    <a:pt x="1149" y="1204"/>
                  </a:moveTo>
                  <a:lnTo>
                    <a:pt x="1149" y="1205"/>
                  </a:lnTo>
                  <a:lnTo>
                    <a:pt x="1149" y="1204"/>
                  </a:lnTo>
                  <a:lnTo>
                    <a:pt x="1150" y="1200"/>
                  </a:lnTo>
                  <a:lnTo>
                    <a:pt x="1151" y="1195"/>
                  </a:lnTo>
                  <a:lnTo>
                    <a:pt x="1153" y="1194"/>
                  </a:lnTo>
                  <a:lnTo>
                    <a:pt x="1150" y="1200"/>
                  </a:lnTo>
                  <a:lnTo>
                    <a:pt x="1149" y="1204"/>
                  </a:lnTo>
                  <a:close/>
                  <a:moveTo>
                    <a:pt x="1151" y="1224"/>
                  </a:moveTo>
                  <a:lnTo>
                    <a:pt x="1151" y="1225"/>
                  </a:lnTo>
                  <a:lnTo>
                    <a:pt x="1150" y="1221"/>
                  </a:lnTo>
                  <a:lnTo>
                    <a:pt x="1147" y="1212"/>
                  </a:lnTo>
                  <a:lnTo>
                    <a:pt x="1147" y="1207"/>
                  </a:lnTo>
                  <a:lnTo>
                    <a:pt x="1149" y="1205"/>
                  </a:lnTo>
                  <a:lnTo>
                    <a:pt x="1149" y="1212"/>
                  </a:lnTo>
                  <a:lnTo>
                    <a:pt x="1151" y="1221"/>
                  </a:lnTo>
                  <a:lnTo>
                    <a:pt x="1151" y="1224"/>
                  </a:lnTo>
                  <a:close/>
                  <a:moveTo>
                    <a:pt x="1392" y="1217"/>
                  </a:moveTo>
                  <a:lnTo>
                    <a:pt x="1392" y="1218"/>
                  </a:lnTo>
                  <a:lnTo>
                    <a:pt x="1392" y="1217"/>
                  </a:lnTo>
                  <a:lnTo>
                    <a:pt x="1391" y="1214"/>
                  </a:lnTo>
                  <a:lnTo>
                    <a:pt x="1392" y="1215"/>
                  </a:lnTo>
                  <a:lnTo>
                    <a:pt x="1392" y="1217"/>
                  </a:lnTo>
                  <a:close/>
                  <a:moveTo>
                    <a:pt x="1394" y="1218"/>
                  </a:moveTo>
                  <a:lnTo>
                    <a:pt x="1392" y="1220"/>
                  </a:lnTo>
                  <a:lnTo>
                    <a:pt x="1392" y="1220"/>
                  </a:lnTo>
                  <a:lnTo>
                    <a:pt x="1391" y="1218"/>
                  </a:lnTo>
                  <a:lnTo>
                    <a:pt x="1391" y="1217"/>
                  </a:lnTo>
                  <a:lnTo>
                    <a:pt x="1392" y="1218"/>
                  </a:lnTo>
                  <a:lnTo>
                    <a:pt x="1392" y="1218"/>
                  </a:lnTo>
                  <a:lnTo>
                    <a:pt x="1394" y="1218"/>
                  </a:lnTo>
                  <a:close/>
                  <a:moveTo>
                    <a:pt x="1420" y="1242"/>
                  </a:moveTo>
                  <a:lnTo>
                    <a:pt x="1417" y="1245"/>
                  </a:lnTo>
                  <a:lnTo>
                    <a:pt x="1417" y="1244"/>
                  </a:lnTo>
                  <a:lnTo>
                    <a:pt x="1418" y="1242"/>
                  </a:lnTo>
                  <a:lnTo>
                    <a:pt x="1420" y="1242"/>
                  </a:lnTo>
                  <a:lnTo>
                    <a:pt x="1420" y="1241"/>
                  </a:lnTo>
                  <a:lnTo>
                    <a:pt x="1421" y="1241"/>
                  </a:lnTo>
                  <a:lnTo>
                    <a:pt x="1421" y="1240"/>
                  </a:lnTo>
                  <a:lnTo>
                    <a:pt x="1422" y="1238"/>
                  </a:lnTo>
                  <a:lnTo>
                    <a:pt x="1422" y="1238"/>
                  </a:lnTo>
                  <a:lnTo>
                    <a:pt x="1420" y="1242"/>
                  </a:lnTo>
                  <a:close/>
                  <a:moveTo>
                    <a:pt x="1417" y="1247"/>
                  </a:moveTo>
                  <a:lnTo>
                    <a:pt x="1415" y="1247"/>
                  </a:lnTo>
                  <a:lnTo>
                    <a:pt x="1417" y="1245"/>
                  </a:lnTo>
                  <a:lnTo>
                    <a:pt x="1417" y="1245"/>
                  </a:lnTo>
                  <a:lnTo>
                    <a:pt x="1417" y="1247"/>
                  </a:lnTo>
                  <a:close/>
                  <a:moveTo>
                    <a:pt x="1412" y="1248"/>
                  </a:moveTo>
                  <a:lnTo>
                    <a:pt x="1412" y="1248"/>
                  </a:lnTo>
                  <a:lnTo>
                    <a:pt x="1412" y="1248"/>
                  </a:lnTo>
                  <a:lnTo>
                    <a:pt x="1414" y="1247"/>
                  </a:lnTo>
                  <a:lnTo>
                    <a:pt x="1414" y="1248"/>
                  </a:lnTo>
                  <a:lnTo>
                    <a:pt x="1414" y="1248"/>
                  </a:lnTo>
                  <a:lnTo>
                    <a:pt x="1412" y="1248"/>
                  </a:lnTo>
                  <a:close/>
                  <a:moveTo>
                    <a:pt x="1410" y="1250"/>
                  </a:moveTo>
                  <a:lnTo>
                    <a:pt x="1408" y="1250"/>
                  </a:lnTo>
                  <a:lnTo>
                    <a:pt x="1408" y="1250"/>
                  </a:lnTo>
                  <a:lnTo>
                    <a:pt x="1410" y="1250"/>
                  </a:lnTo>
                  <a:lnTo>
                    <a:pt x="1411" y="1248"/>
                  </a:lnTo>
                  <a:lnTo>
                    <a:pt x="1411" y="1250"/>
                  </a:lnTo>
                  <a:lnTo>
                    <a:pt x="1410" y="1250"/>
                  </a:lnTo>
                  <a:close/>
                  <a:moveTo>
                    <a:pt x="1405" y="1251"/>
                  </a:moveTo>
                  <a:lnTo>
                    <a:pt x="1404" y="1251"/>
                  </a:lnTo>
                  <a:lnTo>
                    <a:pt x="1404" y="1251"/>
                  </a:lnTo>
                  <a:lnTo>
                    <a:pt x="1404" y="1251"/>
                  </a:lnTo>
                  <a:lnTo>
                    <a:pt x="1404" y="1250"/>
                  </a:lnTo>
                  <a:lnTo>
                    <a:pt x="1404" y="1250"/>
                  </a:lnTo>
                  <a:lnTo>
                    <a:pt x="1405" y="1250"/>
                  </a:lnTo>
                  <a:lnTo>
                    <a:pt x="1405" y="1251"/>
                  </a:lnTo>
                  <a:lnTo>
                    <a:pt x="1405" y="1251"/>
                  </a:lnTo>
                  <a:close/>
                  <a:moveTo>
                    <a:pt x="1401" y="1251"/>
                  </a:moveTo>
                  <a:lnTo>
                    <a:pt x="1400" y="1252"/>
                  </a:lnTo>
                  <a:lnTo>
                    <a:pt x="1401" y="1251"/>
                  </a:lnTo>
                  <a:lnTo>
                    <a:pt x="1401" y="1250"/>
                  </a:lnTo>
                  <a:lnTo>
                    <a:pt x="1402" y="1251"/>
                  </a:lnTo>
                  <a:lnTo>
                    <a:pt x="1402" y="1251"/>
                  </a:lnTo>
                  <a:lnTo>
                    <a:pt x="1401" y="1251"/>
                  </a:lnTo>
                  <a:close/>
                  <a:moveTo>
                    <a:pt x="1398" y="1252"/>
                  </a:moveTo>
                  <a:lnTo>
                    <a:pt x="1397" y="1252"/>
                  </a:lnTo>
                  <a:lnTo>
                    <a:pt x="1397" y="1252"/>
                  </a:lnTo>
                  <a:lnTo>
                    <a:pt x="1398" y="1252"/>
                  </a:lnTo>
                  <a:lnTo>
                    <a:pt x="1398" y="1252"/>
                  </a:lnTo>
                  <a:lnTo>
                    <a:pt x="1398" y="1252"/>
                  </a:lnTo>
                  <a:lnTo>
                    <a:pt x="1398" y="1252"/>
                  </a:lnTo>
                  <a:close/>
                  <a:moveTo>
                    <a:pt x="156" y="1298"/>
                  </a:moveTo>
                  <a:lnTo>
                    <a:pt x="154" y="1300"/>
                  </a:lnTo>
                  <a:lnTo>
                    <a:pt x="153" y="1298"/>
                  </a:lnTo>
                  <a:lnTo>
                    <a:pt x="151" y="1298"/>
                  </a:lnTo>
                  <a:lnTo>
                    <a:pt x="151" y="1298"/>
                  </a:lnTo>
                  <a:lnTo>
                    <a:pt x="149" y="1297"/>
                  </a:lnTo>
                  <a:lnTo>
                    <a:pt x="149" y="1297"/>
                  </a:lnTo>
                  <a:lnTo>
                    <a:pt x="150" y="1294"/>
                  </a:lnTo>
                  <a:lnTo>
                    <a:pt x="151" y="1292"/>
                  </a:lnTo>
                  <a:lnTo>
                    <a:pt x="156" y="1292"/>
                  </a:lnTo>
                  <a:lnTo>
                    <a:pt x="156" y="1294"/>
                  </a:lnTo>
                  <a:lnTo>
                    <a:pt x="157" y="1295"/>
                  </a:lnTo>
                  <a:lnTo>
                    <a:pt x="156" y="1295"/>
                  </a:lnTo>
                  <a:lnTo>
                    <a:pt x="156" y="1297"/>
                  </a:lnTo>
                  <a:lnTo>
                    <a:pt x="156" y="1298"/>
                  </a:lnTo>
                  <a:close/>
                  <a:moveTo>
                    <a:pt x="143" y="1300"/>
                  </a:moveTo>
                  <a:lnTo>
                    <a:pt x="141" y="1300"/>
                  </a:lnTo>
                  <a:lnTo>
                    <a:pt x="141" y="1300"/>
                  </a:lnTo>
                  <a:lnTo>
                    <a:pt x="141" y="1300"/>
                  </a:lnTo>
                  <a:lnTo>
                    <a:pt x="141" y="1298"/>
                  </a:lnTo>
                  <a:lnTo>
                    <a:pt x="143" y="1298"/>
                  </a:lnTo>
                  <a:lnTo>
                    <a:pt x="144" y="1297"/>
                  </a:lnTo>
                  <a:lnTo>
                    <a:pt x="144" y="1297"/>
                  </a:lnTo>
                  <a:lnTo>
                    <a:pt x="144" y="1298"/>
                  </a:lnTo>
                  <a:lnTo>
                    <a:pt x="144" y="1298"/>
                  </a:lnTo>
                  <a:lnTo>
                    <a:pt x="143" y="1298"/>
                  </a:lnTo>
                  <a:lnTo>
                    <a:pt x="143" y="1300"/>
                  </a:lnTo>
                  <a:close/>
                  <a:moveTo>
                    <a:pt x="180" y="1307"/>
                  </a:moveTo>
                  <a:lnTo>
                    <a:pt x="181" y="1307"/>
                  </a:lnTo>
                  <a:lnTo>
                    <a:pt x="181" y="1307"/>
                  </a:lnTo>
                  <a:lnTo>
                    <a:pt x="181" y="1307"/>
                  </a:lnTo>
                  <a:lnTo>
                    <a:pt x="183" y="1308"/>
                  </a:lnTo>
                  <a:lnTo>
                    <a:pt x="183" y="1308"/>
                  </a:lnTo>
                  <a:lnTo>
                    <a:pt x="183" y="1310"/>
                  </a:lnTo>
                  <a:lnTo>
                    <a:pt x="180" y="1310"/>
                  </a:lnTo>
                  <a:lnTo>
                    <a:pt x="180" y="1310"/>
                  </a:lnTo>
                  <a:lnTo>
                    <a:pt x="179" y="1308"/>
                  </a:lnTo>
                  <a:lnTo>
                    <a:pt x="179" y="1308"/>
                  </a:lnTo>
                  <a:lnTo>
                    <a:pt x="177" y="1308"/>
                  </a:lnTo>
                  <a:lnTo>
                    <a:pt x="177" y="1307"/>
                  </a:lnTo>
                  <a:lnTo>
                    <a:pt x="177" y="1308"/>
                  </a:lnTo>
                  <a:lnTo>
                    <a:pt x="177" y="1308"/>
                  </a:lnTo>
                  <a:lnTo>
                    <a:pt x="176" y="1308"/>
                  </a:lnTo>
                  <a:lnTo>
                    <a:pt x="176" y="1308"/>
                  </a:lnTo>
                  <a:lnTo>
                    <a:pt x="176" y="1308"/>
                  </a:lnTo>
                  <a:lnTo>
                    <a:pt x="173" y="1305"/>
                  </a:lnTo>
                  <a:lnTo>
                    <a:pt x="173" y="1305"/>
                  </a:lnTo>
                  <a:lnTo>
                    <a:pt x="173" y="1304"/>
                  </a:lnTo>
                  <a:lnTo>
                    <a:pt x="176" y="1304"/>
                  </a:lnTo>
                  <a:lnTo>
                    <a:pt x="177" y="1302"/>
                  </a:lnTo>
                  <a:lnTo>
                    <a:pt x="179" y="1302"/>
                  </a:lnTo>
                  <a:lnTo>
                    <a:pt x="180" y="1304"/>
                  </a:lnTo>
                  <a:lnTo>
                    <a:pt x="180" y="1305"/>
                  </a:lnTo>
                  <a:lnTo>
                    <a:pt x="180" y="1305"/>
                  </a:lnTo>
                  <a:lnTo>
                    <a:pt x="180" y="1307"/>
                  </a:lnTo>
                  <a:close/>
                  <a:moveTo>
                    <a:pt x="190" y="1310"/>
                  </a:moveTo>
                  <a:lnTo>
                    <a:pt x="193" y="1311"/>
                  </a:lnTo>
                  <a:lnTo>
                    <a:pt x="194" y="1311"/>
                  </a:lnTo>
                  <a:lnTo>
                    <a:pt x="194" y="1311"/>
                  </a:lnTo>
                  <a:lnTo>
                    <a:pt x="197" y="1311"/>
                  </a:lnTo>
                  <a:lnTo>
                    <a:pt x="199" y="1311"/>
                  </a:lnTo>
                  <a:lnTo>
                    <a:pt x="197" y="1312"/>
                  </a:lnTo>
                  <a:lnTo>
                    <a:pt x="196" y="1312"/>
                  </a:lnTo>
                  <a:lnTo>
                    <a:pt x="193" y="1312"/>
                  </a:lnTo>
                  <a:lnTo>
                    <a:pt x="189" y="1312"/>
                  </a:lnTo>
                  <a:lnTo>
                    <a:pt x="189" y="1311"/>
                  </a:lnTo>
                  <a:lnTo>
                    <a:pt x="189" y="1311"/>
                  </a:lnTo>
                  <a:lnTo>
                    <a:pt x="190" y="1310"/>
                  </a:lnTo>
                  <a:lnTo>
                    <a:pt x="190" y="1310"/>
                  </a:lnTo>
                  <a:close/>
                  <a:moveTo>
                    <a:pt x="201" y="1315"/>
                  </a:moveTo>
                  <a:lnTo>
                    <a:pt x="201" y="1315"/>
                  </a:lnTo>
                  <a:lnTo>
                    <a:pt x="204" y="1315"/>
                  </a:lnTo>
                  <a:lnTo>
                    <a:pt x="204" y="1315"/>
                  </a:lnTo>
                  <a:lnTo>
                    <a:pt x="207" y="1315"/>
                  </a:lnTo>
                  <a:lnTo>
                    <a:pt x="207" y="1317"/>
                  </a:lnTo>
                  <a:lnTo>
                    <a:pt x="209" y="1318"/>
                  </a:lnTo>
                  <a:lnTo>
                    <a:pt x="210" y="1318"/>
                  </a:lnTo>
                  <a:lnTo>
                    <a:pt x="209" y="1318"/>
                  </a:lnTo>
                  <a:lnTo>
                    <a:pt x="207" y="1320"/>
                  </a:lnTo>
                  <a:lnTo>
                    <a:pt x="206" y="1320"/>
                  </a:lnTo>
                  <a:lnTo>
                    <a:pt x="204" y="1321"/>
                  </a:lnTo>
                  <a:lnTo>
                    <a:pt x="203" y="1321"/>
                  </a:lnTo>
                  <a:lnTo>
                    <a:pt x="203" y="1321"/>
                  </a:lnTo>
                  <a:lnTo>
                    <a:pt x="203" y="1320"/>
                  </a:lnTo>
                  <a:lnTo>
                    <a:pt x="201" y="1317"/>
                  </a:lnTo>
                  <a:lnTo>
                    <a:pt x="200" y="1318"/>
                  </a:lnTo>
                  <a:lnTo>
                    <a:pt x="200" y="1317"/>
                  </a:lnTo>
                  <a:lnTo>
                    <a:pt x="199" y="1315"/>
                  </a:lnTo>
                  <a:lnTo>
                    <a:pt x="199" y="1315"/>
                  </a:lnTo>
                  <a:lnTo>
                    <a:pt x="199" y="1314"/>
                  </a:lnTo>
                  <a:lnTo>
                    <a:pt x="200" y="1314"/>
                  </a:lnTo>
                  <a:lnTo>
                    <a:pt x="201" y="1314"/>
                  </a:lnTo>
                  <a:lnTo>
                    <a:pt x="201" y="1315"/>
                  </a:lnTo>
                  <a:close/>
                  <a:moveTo>
                    <a:pt x="196" y="1318"/>
                  </a:moveTo>
                  <a:lnTo>
                    <a:pt x="194" y="1318"/>
                  </a:lnTo>
                  <a:lnTo>
                    <a:pt x="194" y="1318"/>
                  </a:lnTo>
                  <a:lnTo>
                    <a:pt x="193" y="1317"/>
                  </a:lnTo>
                  <a:lnTo>
                    <a:pt x="193" y="1315"/>
                  </a:lnTo>
                  <a:lnTo>
                    <a:pt x="194" y="1315"/>
                  </a:lnTo>
                  <a:lnTo>
                    <a:pt x="196" y="1315"/>
                  </a:lnTo>
                  <a:lnTo>
                    <a:pt x="196" y="1315"/>
                  </a:lnTo>
                  <a:lnTo>
                    <a:pt x="196" y="1317"/>
                  </a:lnTo>
                  <a:lnTo>
                    <a:pt x="196" y="1318"/>
                  </a:lnTo>
                  <a:close/>
                  <a:moveTo>
                    <a:pt x="216" y="1348"/>
                  </a:moveTo>
                  <a:lnTo>
                    <a:pt x="216" y="1348"/>
                  </a:lnTo>
                  <a:lnTo>
                    <a:pt x="214" y="1348"/>
                  </a:lnTo>
                  <a:lnTo>
                    <a:pt x="211" y="1347"/>
                  </a:lnTo>
                  <a:lnTo>
                    <a:pt x="211" y="1345"/>
                  </a:lnTo>
                  <a:lnTo>
                    <a:pt x="211" y="1341"/>
                  </a:lnTo>
                  <a:lnTo>
                    <a:pt x="210" y="1338"/>
                  </a:lnTo>
                  <a:lnTo>
                    <a:pt x="209" y="1335"/>
                  </a:lnTo>
                  <a:lnTo>
                    <a:pt x="210" y="1334"/>
                  </a:lnTo>
                  <a:lnTo>
                    <a:pt x="211" y="1332"/>
                  </a:lnTo>
                  <a:lnTo>
                    <a:pt x="213" y="1331"/>
                  </a:lnTo>
                  <a:lnTo>
                    <a:pt x="211" y="1328"/>
                  </a:lnTo>
                  <a:lnTo>
                    <a:pt x="211" y="1327"/>
                  </a:lnTo>
                  <a:lnTo>
                    <a:pt x="211" y="1327"/>
                  </a:lnTo>
                  <a:lnTo>
                    <a:pt x="216" y="1328"/>
                  </a:lnTo>
                  <a:lnTo>
                    <a:pt x="223" y="1331"/>
                  </a:lnTo>
                  <a:lnTo>
                    <a:pt x="224" y="1332"/>
                  </a:lnTo>
                  <a:lnTo>
                    <a:pt x="224" y="1335"/>
                  </a:lnTo>
                  <a:lnTo>
                    <a:pt x="226" y="1335"/>
                  </a:lnTo>
                  <a:lnTo>
                    <a:pt x="226" y="1337"/>
                  </a:lnTo>
                  <a:lnTo>
                    <a:pt x="229" y="1338"/>
                  </a:lnTo>
                  <a:lnTo>
                    <a:pt x="229" y="1339"/>
                  </a:lnTo>
                  <a:lnTo>
                    <a:pt x="227" y="1339"/>
                  </a:lnTo>
                  <a:lnTo>
                    <a:pt x="224" y="1342"/>
                  </a:lnTo>
                  <a:lnTo>
                    <a:pt x="220" y="1344"/>
                  </a:lnTo>
                  <a:lnTo>
                    <a:pt x="217" y="1345"/>
                  </a:lnTo>
                  <a:lnTo>
                    <a:pt x="216" y="134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4" name="Google Shape;334;p3"/>
            <p:cNvSpPr/>
            <p:nvPr/>
          </p:nvSpPr>
          <p:spPr>
            <a:xfrm>
              <a:off x="3295717" y="4688710"/>
              <a:ext cx="58909" cy="57129"/>
            </a:xfrm>
            <a:custGeom>
              <a:rect b="b" l="l" r="r" t="t"/>
              <a:pathLst>
                <a:path extrusionOk="0" h="91" w="84">
                  <a:moveTo>
                    <a:pt x="81" y="68"/>
                  </a:moveTo>
                  <a:lnTo>
                    <a:pt x="80" y="70"/>
                  </a:lnTo>
                  <a:lnTo>
                    <a:pt x="80" y="71"/>
                  </a:lnTo>
                  <a:lnTo>
                    <a:pt x="78" y="74"/>
                  </a:lnTo>
                  <a:lnTo>
                    <a:pt x="74" y="78"/>
                  </a:lnTo>
                  <a:lnTo>
                    <a:pt x="74" y="81"/>
                  </a:lnTo>
                  <a:lnTo>
                    <a:pt x="70" y="84"/>
                  </a:lnTo>
                  <a:lnTo>
                    <a:pt x="68" y="87"/>
                  </a:lnTo>
                  <a:lnTo>
                    <a:pt x="67" y="87"/>
                  </a:lnTo>
                  <a:lnTo>
                    <a:pt x="64" y="87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1" y="91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1" y="90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4" y="91"/>
                  </a:lnTo>
                  <a:lnTo>
                    <a:pt x="33" y="90"/>
                  </a:lnTo>
                  <a:lnTo>
                    <a:pt x="31" y="88"/>
                  </a:lnTo>
                  <a:lnTo>
                    <a:pt x="26" y="87"/>
                  </a:lnTo>
                  <a:lnTo>
                    <a:pt x="20" y="83"/>
                  </a:lnTo>
                  <a:lnTo>
                    <a:pt x="14" y="83"/>
                  </a:lnTo>
                  <a:lnTo>
                    <a:pt x="10" y="83"/>
                  </a:lnTo>
                  <a:lnTo>
                    <a:pt x="8" y="83"/>
                  </a:lnTo>
                  <a:lnTo>
                    <a:pt x="8" y="81"/>
                  </a:lnTo>
                  <a:lnTo>
                    <a:pt x="7" y="80"/>
                  </a:lnTo>
                  <a:lnTo>
                    <a:pt x="3" y="76"/>
                  </a:lnTo>
                  <a:lnTo>
                    <a:pt x="0" y="71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1" y="60"/>
                  </a:lnTo>
                  <a:lnTo>
                    <a:pt x="1" y="58"/>
                  </a:lnTo>
                  <a:lnTo>
                    <a:pt x="1" y="57"/>
                  </a:lnTo>
                  <a:lnTo>
                    <a:pt x="3" y="57"/>
                  </a:lnTo>
                  <a:lnTo>
                    <a:pt x="4" y="56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4" y="50"/>
                  </a:lnTo>
                  <a:lnTo>
                    <a:pt x="4" y="46"/>
                  </a:lnTo>
                  <a:lnTo>
                    <a:pt x="3" y="44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7" y="30"/>
                  </a:lnTo>
                  <a:lnTo>
                    <a:pt x="7" y="28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7" y="23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10" y="7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4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7" y="1"/>
                  </a:lnTo>
                  <a:lnTo>
                    <a:pt x="33" y="7"/>
                  </a:lnTo>
                  <a:lnTo>
                    <a:pt x="36" y="10"/>
                  </a:lnTo>
                  <a:lnTo>
                    <a:pt x="37" y="11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6"/>
                  </a:lnTo>
                  <a:lnTo>
                    <a:pt x="48" y="17"/>
                  </a:lnTo>
                  <a:lnTo>
                    <a:pt x="48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3" y="23"/>
                  </a:lnTo>
                  <a:lnTo>
                    <a:pt x="54" y="21"/>
                  </a:lnTo>
                  <a:lnTo>
                    <a:pt x="57" y="24"/>
                  </a:lnTo>
                  <a:lnTo>
                    <a:pt x="61" y="26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4" y="31"/>
                  </a:lnTo>
                  <a:lnTo>
                    <a:pt x="67" y="33"/>
                  </a:lnTo>
                  <a:lnTo>
                    <a:pt x="68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6" y="38"/>
                  </a:lnTo>
                  <a:lnTo>
                    <a:pt x="76" y="41"/>
                  </a:lnTo>
                  <a:lnTo>
                    <a:pt x="77" y="43"/>
                  </a:lnTo>
                  <a:lnTo>
                    <a:pt x="78" y="46"/>
                  </a:lnTo>
                  <a:lnTo>
                    <a:pt x="81" y="47"/>
                  </a:lnTo>
                  <a:lnTo>
                    <a:pt x="83" y="47"/>
                  </a:lnTo>
                  <a:lnTo>
                    <a:pt x="84" y="48"/>
                  </a:lnTo>
                  <a:lnTo>
                    <a:pt x="84" y="50"/>
                  </a:lnTo>
                  <a:lnTo>
                    <a:pt x="83" y="51"/>
                  </a:lnTo>
                  <a:lnTo>
                    <a:pt x="81" y="53"/>
                  </a:lnTo>
                  <a:lnTo>
                    <a:pt x="80" y="54"/>
                  </a:lnTo>
                  <a:lnTo>
                    <a:pt x="78" y="56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64"/>
                  </a:lnTo>
                  <a:lnTo>
                    <a:pt x="78" y="66"/>
                  </a:lnTo>
                  <a:lnTo>
                    <a:pt x="78" y="67"/>
                  </a:lnTo>
                  <a:lnTo>
                    <a:pt x="78" y="67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1" y="6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5" name="Google Shape;335;p3"/>
            <p:cNvSpPr/>
            <p:nvPr/>
          </p:nvSpPr>
          <p:spPr>
            <a:xfrm>
              <a:off x="4579794" y="3859407"/>
              <a:ext cx="193558" cy="112374"/>
            </a:xfrm>
            <a:custGeom>
              <a:rect b="b" l="l" r="r" t="t"/>
              <a:pathLst>
                <a:path extrusionOk="0" h="179" w="276">
                  <a:moveTo>
                    <a:pt x="240" y="73"/>
                  </a:moveTo>
                  <a:lnTo>
                    <a:pt x="242" y="73"/>
                  </a:lnTo>
                  <a:lnTo>
                    <a:pt x="242" y="73"/>
                  </a:lnTo>
                  <a:lnTo>
                    <a:pt x="243" y="73"/>
                  </a:lnTo>
                  <a:lnTo>
                    <a:pt x="244" y="75"/>
                  </a:lnTo>
                  <a:lnTo>
                    <a:pt x="244" y="75"/>
                  </a:lnTo>
                  <a:lnTo>
                    <a:pt x="244" y="76"/>
                  </a:lnTo>
                  <a:lnTo>
                    <a:pt x="242" y="77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39" y="79"/>
                  </a:lnTo>
                  <a:lnTo>
                    <a:pt x="239" y="80"/>
                  </a:lnTo>
                  <a:lnTo>
                    <a:pt x="237" y="82"/>
                  </a:lnTo>
                  <a:lnTo>
                    <a:pt x="236" y="82"/>
                  </a:lnTo>
                  <a:lnTo>
                    <a:pt x="234" y="83"/>
                  </a:lnTo>
                  <a:lnTo>
                    <a:pt x="233" y="85"/>
                  </a:lnTo>
                  <a:lnTo>
                    <a:pt x="229" y="89"/>
                  </a:lnTo>
                  <a:lnTo>
                    <a:pt x="229" y="89"/>
                  </a:lnTo>
                  <a:lnTo>
                    <a:pt x="229" y="89"/>
                  </a:lnTo>
                  <a:lnTo>
                    <a:pt x="230" y="90"/>
                  </a:lnTo>
                  <a:lnTo>
                    <a:pt x="232" y="90"/>
                  </a:lnTo>
                  <a:lnTo>
                    <a:pt x="233" y="92"/>
                  </a:lnTo>
                  <a:lnTo>
                    <a:pt x="236" y="90"/>
                  </a:lnTo>
                  <a:lnTo>
                    <a:pt x="236" y="90"/>
                  </a:lnTo>
                  <a:lnTo>
                    <a:pt x="237" y="92"/>
                  </a:lnTo>
                  <a:lnTo>
                    <a:pt x="237" y="95"/>
                  </a:lnTo>
                  <a:lnTo>
                    <a:pt x="239" y="96"/>
                  </a:lnTo>
                  <a:lnTo>
                    <a:pt x="240" y="96"/>
                  </a:lnTo>
                  <a:lnTo>
                    <a:pt x="242" y="96"/>
                  </a:lnTo>
                  <a:lnTo>
                    <a:pt x="243" y="97"/>
                  </a:lnTo>
                  <a:lnTo>
                    <a:pt x="244" y="97"/>
                  </a:lnTo>
                  <a:lnTo>
                    <a:pt x="246" y="97"/>
                  </a:lnTo>
                  <a:lnTo>
                    <a:pt x="247" y="97"/>
                  </a:lnTo>
                  <a:lnTo>
                    <a:pt x="247" y="97"/>
                  </a:lnTo>
                  <a:lnTo>
                    <a:pt x="249" y="93"/>
                  </a:lnTo>
                  <a:lnTo>
                    <a:pt x="249" y="93"/>
                  </a:lnTo>
                  <a:lnTo>
                    <a:pt x="250" y="93"/>
                  </a:lnTo>
                  <a:lnTo>
                    <a:pt x="250" y="93"/>
                  </a:lnTo>
                  <a:lnTo>
                    <a:pt x="251" y="93"/>
                  </a:lnTo>
                  <a:lnTo>
                    <a:pt x="251" y="92"/>
                  </a:lnTo>
                  <a:lnTo>
                    <a:pt x="251" y="90"/>
                  </a:lnTo>
                  <a:lnTo>
                    <a:pt x="251" y="89"/>
                  </a:lnTo>
                  <a:lnTo>
                    <a:pt x="251" y="89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3" y="90"/>
                  </a:lnTo>
                  <a:lnTo>
                    <a:pt x="253" y="92"/>
                  </a:lnTo>
                  <a:lnTo>
                    <a:pt x="254" y="92"/>
                  </a:lnTo>
                  <a:lnTo>
                    <a:pt x="254" y="93"/>
                  </a:lnTo>
                  <a:lnTo>
                    <a:pt x="254" y="93"/>
                  </a:lnTo>
                  <a:lnTo>
                    <a:pt x="256" y="96"/>
                  </a:lnTo>
                  <a:lnTo>
                    <a:pt x="257" y="96"/>
                  </a:lnTo>
                  <a:lnTo>
                    <a:pt x="259" y="97"/>
                  </a:lnTo>
                  <a:lnTo>
                    <a:pt x="259" y="96"/>
                  </a:lnTo>
                  <a:lnTo>
                    <a:pt x="260" y="96"/>
                  </a:lnTo>
                  <a:lnTo>
                    <a:pt x="260" y="97"/>
                  </a:lnTo>
                  <a:lnTo>
                    <a:pt x="260" y="99"/>
                  </a:lnTo>
                  <a:lnTo>
                    <a:pt x="260" y="100"/>
                  </a:lnTo>
                  <a:lnTo>
                    <a:pt x="260" y="100"/>
                  </a:lnTo>
                  <a:lnTo>
                    <a:pt x="261" y="99"/>
                  </a:lnTo>
                  <a:lnTo>
                    <a:pt x="263" y="99"/>
                  </a:lnTo>
                  <a:lnTo>
                    <a:pt x="264" y="100"/>
                  </a:lnTo>
                  <a:lnTo>
                    <a:pt x="266" y="100"/>
                  </a:lnTo>
                  <a:lnTo>
                    <a:pt x="267" y="103"/>
                  </a:lnTo>
                  <a:lnTo>
                    <a:pt x="267" y="103"/>
                  </a:lnTo>
                  <a:lnTo>
                    <a:pt x="270" y="103"/>
                  </a:lnTo>
                  <a:lnTo>
                    <a:pt x="271" y="103"/>
                  </a:lnTo>
                  <a:lnTo>
                    <a:pt x="271" y="103"/>
                  </a:lnTo>
                  <a:lnTo>
                    <a:pt x="273" y="103"/>
                  </a:lnTo>
                  <a:lnTo>
                    <a:pt x="276" y="105"/>
                  </a:lnTo>
                  <a:lnTo>
                    <a:pt x="276" y="105"/>
                  </a:lnTo>
                  <a:lnTo>
                    <a:pt x="276" y="105"/>
                  </a:lnTo>
                  <a:lnTo>
                    <a:pt x="270" y="107"/>
                  </a:lnTo>
                  <a:lnTo>
                    <a:pt x="270" y="109"/>
                  </a:lnTo>
                  <a:lnTo>
                    <a:pt x="269" y="110"/>
                  </a:lnTo>
                  <a:lnTo>
                    <a:pt x="267" y="110"/>
                  </a:lnTo>
                  <a:lnTo>
                    <a:pt x="266" y="110"/>
                  </a:lnTo>
                  <a:lnTo>
                    <a:pt x="264" y="109"/>
                  </a:lnTo>
                  <a:lnTo>
                    <a:pt x="263" y="109"/>
                  </a:lnTo>
                  <a:lnTo>
                    <a:pt x="263" y="110"/>
                  </a:lnTo>
                  <a:lnTo>
                    <a:pt x="263" y="110"/>
                  </a:lnTo>
                  <a:lnTo>
                    <a:pt x="264" y="112"/>
                  </a:lnTo>
                  <a:lnTo>
                    <a:pt x="263" y="112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2"/>
                  </a:lnTo>
                  <a:lnTo>
                    <a:pt x="261" y="112"/>
                  </a:lnTo>
                  <a:lnTo>
                    <a:pt x="260" y="112"/>
                  </a:lnTo>
                  <a:lnTo>
                    <a:pt x="260" y="112"/>
                  </a:lnTo>
                  <a:lnTo>
                    <a:pt x="257" y="115"/>
                  </a:lnTo>
                  <a:lnTo>
                    <a:pt x="257" y="116"/>
                  </a:lnTo>
                  <a:lnTo>
                    <a:pt x="257" y="116"/>
                  </a:lnTo>
                  <a:lnTo>
                    <a:pt x="256" y="116"/>
                  </a:lnTo>
                  <a:lnTo>
                    <a:pt x="254" y="116"/>
                  </a:lnTo>
                  <a:lnTo>
                    <a:pt x="254" y="117"/>
                  </a:lnTo>
                  <a:lnTo>
                    <a:pt x="253" y="119"/>
                  </a:lnTo>
                  <a:lnTo>
                    <a:pt x="251" y="117"/>
                  </a:lnTo>
                  <a:lnTo>
                    <a:pt x="251" y="117"/>
                  </a:lnTo>
                  <a:lnTo>
                    <a:pt x="251" y="117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49" y="116"/>
                  </a:lnTo>
                  <a:lnTo>
                    <a:pt x="247" y="116"/>
                  </a:lnTo>
                  <a:lnTo>
                    <a:pt x="246" y="116"/>
                  </a:lnTo>
                  <a:lnTo>
                    <a:pt x="243" y="116"/>
                  </a:lnTo>
                  <a:lnTo>
                    <a:pt x="242" y="116"/>
                  </a:lnTo>
                  <a:lnTo>
                    <a:pt x="240" y="116"/>
                  </a:lnTo>
                  <a:lnTo>
                    <a:pt x="240" y="116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6"/>
                  </a:lnTo>
                  <a:lnTo>
                    <a:pt x="234" y="115"/>
                  </a:lnTo>
                  <a:lnTo>
                    <a:pt x="233" y="115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4" y="110"/>
                  </a:lnTo>
                  <a:lnTo>
                    <a:pt x="236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6"/>
                  </a:lnTo>
                  <a:lnTo>
                    <a:pt x="237" y="106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3"/>
                  </a:lnTo>
                  <a:lnTo>
                    <a:pt x="234" y="102"/>
                  </a:lnTo>
                  <a:lnTo>
                    <a:pt x="233" y="100"/>
                  </a:lnTo>
                  <a:lnTo>
                    <a:pt x="232" y="100"/>
                  </a:lnTo>
                  <a:lnTo>
                    <a:pt x="232" y="100"/>
                  </a:lnTo>
                  <a:lnTo>
                    <a:pt x="230" y="102"/>
                  </a:lnTo>
                  <a:lnTo>
                    <a:pt x="230" y="103"/>
                  </a:lnTo>
                  <a:lnTo>
                    <a:pt x="227" y="105"/>
                  </a:lnTo>
                  <a:lnTo>
                    <a:pt x="226" y="105"/>
                  </a:lnTo>
                  <a:lnTo>
                    <a:pt x="222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19" y="107"/>
                  </a:lnTo>
                  <a:lnTo>
                    <a:pt x="217" y="105"/>
                  </a:lnTo>
                  <a:lnTo>
                    <a:pt x="216" y="105"/>
                  </a:lnTo>
                  <a:lnTo>
                    <a:pt x="214" y="105"/>
                  </a:lnTo>
                  <a:lnTo>
                    <a:pt x="214" y="106"/>
                  </a:lnTo>
                  <a:lnTo>
                    <a:pt x="214" y="107"/>
                  </a:lnTo>
                  <a:lnTo>
                    <a:pt x="213" y="109"/>
                  </a:lnTo>
                  <a:lnTo>
                    <a:pt x="213" y="109"/>
                  </a:lnTo>
                  <a:lnTo>
                    <a:pt x="214" y="115"/>
                  </a:lnTo>
                  <a:lnTo>
                    <a:pt x="214" y="115"/>
                  </a:lnTo>
                  <a:lnTo>
                    <a:pt x="213" y="116"/>
                  </a:lnTo>
                  <a:lnTo>
                    <a:pt x="213" y="117"/>
                  </a:lnTo>
                  <a:lnTo>
                    <a:pt x="213" y="117"/>
                  </a:lnTo>
                  <a:lnTo>
                    <a:pt x="212" y="117"/>
                  </a:lnTo>
                  <a:lnTo>
                    <a:pt x="209" y="116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9"/>
                  </a:lnTo>
                  <a:lnTo>
                    <a:pt x="206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20"/>
                  </a:lnTo>
                  <a:lnTo>
                    <a:pt x="207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7" y="123"/>
                  </a:lnTo>
                  <a:lnTo>
                    <a:pt x="207" y="123"/>
                  </a:lnTo>
                  <a:lnTo>
                    <a:pt x="207" y="123"/>
                  </a:lnTo>
                  <a:lnTo>
                    <a:pt x="207" y="123"/>
                  </a:lnTo>
                  <a:lnTo>
                    <a:pt x="206" y="123"/>
                  </a:lnTo>
                  <a:lnTo>
                    <a:pt x="206" y="123"/>
                  </a:lnTo>
                  <a:lnTo>
                    <a:pt x="206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4" y="125"/>
                  </a:lnTo>
                  <a:lnTo>
                    <a:pt x="203" y="125"/>
                  </a:lnTo>
                  <a:lnTo>
                    <a:pt x="203" y="126"/>
                  </a:lnTo>
                  <a:lnTo>
                    <a:pt x="203" y="129"/>
                  </a:lnTo>
                  <a:lnTo>
                    <a:pt x="202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199" y="130"/>
                  </a:lnTo>
                  <a:lnTo>
                    <a:pt x="197" y="130"/>
                  </a:lnTo>
                  <a:lnTo>
                    <a:pt x="194" y="130"/>
                  </a:lnTo>
                  <a:lnTo>
                    <a:pt x="192" y="130"/>
                  </a:lnTo>
                  <a:lnTo>
                    <a:pt x="189" y="129"/>
                  </a:lnTo>
                  <a:lnTo>
                    <a:pt x="186" y="130"/>
                  </a:lnTo>
                  <a:lnTo>
                    <a:pt x="184" y="132"/>
                  </a:lnTo>
                  <a:lnTo>
                    <a:pt x="184" y="132"/>
                  </a:lnTo>
                  <a:lnTo>
                    <a:pt x="184" y="133"/>
                  </a:lnTo>
                  <a:lnTo>
                    <a:pt x="183" y="137"/>
                  </a:lnTo>
                  <a:lnTo>
                    <a:pt x="183" y="137"/>
                  </a:lnTo>
                  <a:lnTo>
                    <a:pt x="183" y="13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40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90" y="143"/>
                  </a:lnTo>
                  <a:lnTo>
                    <a:pt x="192" y="142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4" y="143"/>
                  </a:lnTo>
                  <a:lnTo>
                    <a:pt x="196" y="143"/>
                  </a:lnTo>
                  <a:lnTo>
                    <a:pt x="196" y="145"/>
                  </a:lnTo>
                  <a:lnTo>
                    <a:pt x="194" y="149"/>
                  </a:lnTo>
                  <a:lnTo>
                    <a:pt x="194" y="150"/>
                  </a:lnTo>
                  <a:lnTo>
                    <a:pt x="194" y="153"/>
                  </a:lnTo>
                  <a:lnTo>
                    <a:pt x="196" y="155"/>
                  </a:lnTo>
                  <a:lnTo>
                    <a:pt x="197" y="156"/>
                  </a:lnTo>
                  <a:lnTo>
                    <a:pt x="199" y="157"/>
                  </a:lnTo>
                  <a:lnTo>
                    <a:pt x="199" y="159"/>
                  </a:lnTo>
                  <a:lnTo>
                    <a:pt x="199" y="159"/>
                  </a:lnTo>
                  <a:lnTo>
                    <a:pt x="199" y="160"/>
                  </a:lnTo>
                  <a:lnTo>
                    <a:pt x="197" y="162"/>
                  </a:lnTo>
                  <a:lnTo>
                    <a:pt x="197" y="163"/>
                  </a:lnTo>
                  <a:lnTo>
                    <a:pt x="196" y="165"/>
                  </a:lnTo>
                  <a:lnTo>
                    <a:pt x="194" y="166"/>
                  </a:lnTo>
                  <a:lnTo>
                    <a:pt x="193" y="167"/>
                  </a:lnTo>
                  <a:lnTo>
                    <a:pt x="192" y="172"/>
                  </a:lnTo>
                  <a:lnTo>
                    <a:pt x="190" y="173"/>
                  </a:lnTo>
                  <a:lnTo>
                    <a:pt x="190" y="177"/>
                  </a:lnTo>
                  <a:lnTo>
                    <a:pt x="189" y="179"/>
                  </a:lnTo>
                  <a:lnTo>
                    <a:pt x="189" y="179"/>
                  </a:lnTo>
                  <a:lnTo>
                    <a:pt x="189" y="177"/>
                  </a:lnTo>
                  <a:lnTo>
                    <a:pt x="187" y="177"/>
                  </a:lnTo>
                  <a:lnTo>
                    <a:pt x="186" y="177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2" y="179"/>
                  </a:lnTo>
                  <a:lnTo>
                    <a:pt x="180" y="177"/>
                  </a:lnTo>
                  <a:lnTo>
                    <a:pt x="179" y="176"/>
                  </a:lnTo>
                  <a:lnTo>
                    <a:pt x="174" y="175"/>
                  </a:lnTo>
                  <a:lnTo>
                    <a:pt x="170" y="176"/>
                  </a:lnTo>
                  <a:lnTo>
                    <a:pt x="169" y="173"/>
                  </a:lnTo>
                  <a:lnTo>
                    <a:pt x="169" y="170"/>
                  </a:lnTo>
                  <a:lnTo>
                    <a:pt x="170" y="167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0" y="163"/>
                  </a:lnTo>
                  <a:lnTo>
                    <a:pt x="170" y="162"/>
                  </a:lnTo>
                  <a:lnTo>
                    <a:pt x="167" y="162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4" y="159"/>
                  </a:lnTo>
                  <a:lnTo>
                    <a:pt x="163" y="159"/>
                  </a:lnTo>
                  <a:lnTo>
                    <a:pt x="160" y="157"/>
                  </a:lnTo>
                  <a:lnTo>
                    <a:pt x="159" y="157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6" y="157"/>
                  </a:lnTo>
                  <a:lnTo>
                    <a:pt x="155" y="157"/>
                  </a:lnTo>
                  <a:lnTo>
                    <a:pt x="152" y="156"/>
                  </a:lnTo>
                  <a:lnTo>
                    <a:pt x="146" y="152"/>
                  </a:lnTo>
                  <a:lnTo>
                    <a:pt x="142" y="149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7" y="146"/>
                  </a:lnTo>
                  <a:lnTo>
                    <a:pt x="135" y="143"/>
                  </a:lnTo>
                  <a:lnTo>
                    <a:pt x="132" y="143"/>
                  </a:lnTo>
                  <a:lnTo>
                    <a:pt x="129" y="140"/>
                  </a:lnTo>
                  <a:lnTo>
                    <a:pt x="126" y="139"/>
                  </a:lnTo>
                  <a:lnTo>
                    <a:pt x="125" y="137"/>
                  </a:lnTo>
                  <a:lnTo>
                    <a:pt x="122" y="135"/>
                  </a:lnTo>
                  <a:lnTo>
                    <a:pt x="117" y="132"/>
                  </a:lnTo>
                  <a:lnTo>
                    <a:pt x="115" y="129"/>
                  </a:lnTo>
                  <a:lnTo>
                    <a:pt x="112" y="127"/>
                  </a:lnTo>
                  <a:lnTo>
                    <a:pt x="107" y="125"/>
                  </a:lnTo>
                  <a:lnTo>
                    <a:pt x="106" y="123"/>
                  </a:lnTo>
                  <a:lnTo>
                    <a:pt x="105" y="122"/>
                  </a:lnTo>
                  <a:lnTo>
                    <a:pt x="105" y="120"/>
                  </a:lnTo>
                  <a:lnTo>
                    <a:pt x="103" y="115"/>
                  </a:lnTo>
                  <a:lnTo>
                    <a:pt x="102" y="112"/>
                  </a:lnTo>
                  <a:lnTo>
                    <a:pt x="100" y="110"/>
                  </a:lnTo>
                  <a:lnTo>
                    <a:pt x="99" y="107"/>
                  </a:lnTo>
                  <a:lnTo>
                    <a:pt x="97" y="103"/>
                  </a:lnTo>
                  <a:lnTo>
                    <a:pt x="96" y="100"/>
                  </a:lnTo>
                  <a:lnTo>
                    <a:pt x="96" y="99"/>
                  </a:lnTo>
                  <a:lnTo>
                    <a:pt x="95" y="97"/>
                  </a:lnTo>
                  <a:lnTo>
                    <a:pt x="92" y="95"/>
                  </a:lnTo>
                  <a:lnTo>
                    <a:pt x="89" y="95"/>
                  </a:lnTo>
                  <a:lnTo>
                    <a:pt x="89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6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3" y="96"/>
                  </a:lnTo>
                  <a:lnTo>
                    <a:pt x="80" y="96"/>
                  </a:lnTo>
                  <a:lnTo>
                    <a:pt x="79" y="95"/>
                  </a:lnTo>
                  <a:lnTo>
                    <a:pt x="77" y="95"/>
                  </a:lnTo>
                  <a:lnTo>
                    <a:pt x="73" y="96"/>
                  </a:lnTo>
                  <a:lnTo>
                    <a:pt x="72" y="96"/>
                  </a:lnTo>
                  <a:lnTo>
                    <a:pt x="69" y="93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0"/>
                  </a:lnTo>
                  <a:lnTo>
                    <a:pt x="66" y="89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6" y="86"/>
                  </a:lnTo>
                  <a:lnTo>
                    <a:pt x="66" y="85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9" y="83"/>
                  </a:lnTo>
                  <a:lnTo>
                    <a:pt x="67" y="83"/>
                  </a:lnTo>
                  <a:lnTo>
                    <a:pt x="67" y="82"/>
                  </a:lnTo>
                  <a:lnTo>
                    <a:pt x="66" y="80"/>
                  </a:lnTo>
                  <a:lnTo>
                    <a:pt x="65" y="80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56" y="73"/>
                  </a:lnTo>
                  <a:lnTo>
                    <a:pt x="55" y="72"/>
                  </a:lnTo>
                  <a:lnTo>
                    <a:pt x="53" y="72"/>
                  </a:lnTo>
                  <a:lnTo>
                    <a:pt x="52" y="69"/>
                  </a:lnTo>
                  <a:lnTo>
                    <a:pt x="52" y="67"/>
                  </a:lnTo>
                  <a:lnTo>
                    <a:pt x="50" y="67"/>
                  </a:lnTo>
                  <a:lnTo>
                    <a:pt x="49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5" y="65"/>
                  </a:lnTo>
                  <a:lnTo>
                    <a:pt x="42" y="62"/>
                  </a:lnTo>
                  <a:lnTo>
                    <a:pt x="42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8" y="67"/>
                  </a:lnTo>
                  <a:lnTo>
                    <a:pt x="40" y="70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5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28" y="76"/>
                  </a:lnTo>
                  <a:lnTo>
                    <a:pt x="23" y="76"/>
                  </a:lnTo>
                  <a:lnTo>
                    <a:pt x="22" y="76"/>
                  </a:lnTo>
                  <a:lnTo>
                    <a:pt x="20" y="77"/>
                  </a:lnTo>
                  <a:lnTo>
                    <a:pt x="19" y="80"/>
                  </a:lnTo>
                  <a:lnTo>
                    <a:pt x="18" y="80"/>
                  </a:lnTo>
                  <a:lnTo>
                    <a:pt x="16" y="82"/>
                  </a:lnTo>
                  <a:lnTo>
                    <a:pt x="16" y="86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19" y="92"/>
                  </a:lnTo>
                  <a:lnTo>
                    <a:pt x="19" y="93"/>
                  </a:lnTo>
                  <a:lnTo>
                    <a:pt x="19" y="93"/>
                  </a:lnTo>
                  <a:lnTo>
                    <a:pt x="18" y="93"/>
                  </a:lnTo>
                  <a:lnTo>
                    <a:pt x="18" y="95"/>
                  </a:lnTo>
                  <a:lnTo>
                    <a:pt x="16" y="95"/>
                  </a:lnTo>
                  <a:lnTo>
                    <a:pt x="15" y="95"/>
                  </a:lnTo>
                  <a:lnTo>
                    <a:pt x="13" y="95"/>
                  </a:lnTo>
                  <a:lnTo>
                    <a:pt x="9" y="95"/>
                  </a:lnTo>
                  <a:lnTo>
                    <a:pt x="5" y="93"/>
                  </a:lnTo>
                  <a:lnTo>
                    <a:pt x="0" y="93"/>
                  </a:lnTo>
                  <a:lnTo>
                    <a:pt x="0" y="89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3"/>
                  </a:lnTo>
                  <a:lnTo>
                    <a:pt x="0" y="4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3"/>
                  </a:lnTo>
                  <a:lnTo>
                    <a:pt x="0" y="29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3" y="9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2" y="6"/>
                  </a:lnTo>
                  <a:lnTo>
                    <a:pt x="25" y="5"/>
                  </a:lnTo>
                  <a:lnTo>
                    <a:pt x="28" y="5"/>
                  </a:lnTo>
                  <a:lnTo>
                    <a:pt x="32" y="3"/>
                  </a:lnTo>
                  <a:lnTo>
                    <a:pt x="35" y="2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3" y="2"/>
                  </a:lnTo>
                  <a:lnTo>
                    <a:pt x="46" y="3"/>
                  </a:lnTo>
                  <a:lnTo>
                    <a:pt x="48" y="5"/>
                  </a:lnTo>
                  <a:lnTo>
                    <a:pt x="50" y="6"/>
                  </a:lnTo>
                  <a:lnTo>
                    <a:pt x="53" y="8"/>
                  </a:lnTo>
                  <a:lnTo>
                    <a:pt x="55" y="9"/>
                  </a:lnTo>
                  <a:lnTo>
                    <a:pt x="58" y="10"/>
                  </a:lnTo>
                  <a:lnTo>
                    <a:pt x="59" y="12"/>
                  </a:lnTo>
                  <a:lnTo>
                    <a:pt x="62" y="13"/>
                  </a:lnTo>
                  <a:lnTo>
                    <a:pt x="63" y="15"/>
                  </a:lnTo>
                  <a:lnTo>
                    <a:pt x="66" y="16"/>
                  </a:lnTo>
                  <a:lnTo>
                    <a:pt x="67" y="18"/>
                  </a:lnTo>
                  <a:lnTo>
                    <a:pt x="70" y="19"/>
                  </a:lnTo>
                  <a:lnTo>
                    <a:pt x="73" y="20"/>
                  </a:lnTo>
                  <a:lnTo>
                    <a:pt x="75" y="22"/>
                  </a:lnTo>
                  <a:lnTo>
                    <a:pt x="77" y="23"/>
                  </a:lnTo>
                  <a:lnTo>
                    <a:pt x="79" y="25"/>
                  </a:lnTo>
                  <a:lnTo>
                    <a:pt x="82" y="26"/>
                  </a:lnTo>
                  <a:lnTo>
                    <a:pt x="82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6" y="33"/>
                  </a:lnTo>
                  <a:lnTo>
                    <a:pt x="87" y="36"/>
                  </a:lnTo>
                  <a:lnTo>
                    <a:pt x="89" y="38"/>
                  </a:lnTo>
                  <a:lnTo>
                    <a:pt x="92" y="40"/>
                  </a:lnTo>
                  <a:lnTo>
                    <a:pt x="93" y="42"/>
                  </a:lnTo>
                  <a:lnTo>
                    <a:pt x="96" y="45"/>
                  </a:lnTo>
                  <a:lnTo>
                    <a:pt x="97" y="46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105" y="46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5" y="45"/>
                  </a:lnTo>
                  <a:lnTo>
                    <a:pt x="116" y="43"/>
                  </a:lnTo>
                  <a:lnTo>
                    <a:pt x="120" y="43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9" y="45"/>
                  </a:lnTo>
                  <a:lnTo>
                    <a:pt x="133" y="45"/>
                  </a:lnTo>
                  <a:lnTo>
                    <a:pt x="135" y="45"/>
                  </a:lnTo>
                  <a:lnTo>
                    <a:pt x="136" y="45"/>
                  </a:lnTo>
                  <a:lnTo>
                    <a:pt x="137" y="45"/>
                  </a:lnTo>
                  <a:lnTo>
                    <a:pt x="139" y="43"/>
                  </a:lnTo>
                  <a:lnTo>
                    <a:pt x="140" y="43"/>
                  </a:lnTo>
                  <a:lnTo>
                    <a:pt x="142" y="42"/>
                  </a:lnTo>
                  <a:lnTo>
                    <a:pt x="143" y="42"/>
                  </a:lnTo>
                  <a:lnTo>
                    <a:pt x="145" y="43"/>
                  </a:lnTo>
                  <a:lnTo>
                    <a:pt x="146" y="45"/>
                  </a:lnTo>
                  <a:lnTo>
                    <a:pt x="147" y="46"/>
                  </a:lnTo>
                  <a:lnTo>
                    <a:pt x="149" y="48"/>
                  </a:lnTo>
                  <a:lnTo>
                    <a:pt x="152" y="49"/>
                  </a:lnTo>
                  <a:lnTo>
                    <a:pt x="153" y="50"/>
                  </a:lnTo>
                  <a:lnTo>
                    <a:pt x="155" y="53"/>
                  </a:lnTo>
                  <a:lnTo>
                    <a:pt x="156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60" y="59"/>
                  </a:lnTo>
                  <a:lnTo>
                    <a:pt x="162" y="59"/>
                  </a:lnTo>
                  <a:lnTo>
                    <a:pt x="163" y="58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2" y="66"/>
                  </a:lnTo>
                  <a:lnTo>
                    <a:pt x="162" y="69"/>
                  </a:lnTo>
                  <a:lnTo>
                    <a:pt x="162" y="72"/>
                  </a:lnTo>
                  <a:lnTo>
                    <a:pt x="162" y="75"/>
                  </a:lnTo>
                  <a:lnTo>
                    <a:pt x="162" y="77"/>
                  </a:lnTo>
                  <a:lnTo>
                    <a:pt x="162" y="79"/>
                  </a:lnTo>
                  <a:lnTo>
                    <a:pt x="164" y="79"/>
                  </a:lnTo>
                  <a:lnTo>
                    <a:pt x="166" y="79"/>
                  </a:lnTo>
                  <a:lnTo>
                    <a:pt x="169" y="79"/>
                  </a:lnTo>
                  <a:lnTo>
                    <a:pt x="169" y="82"/>
                  </a:lnTo>
                  <a:lnTo>
                    <a:pt x="170" y="85"/>
                  </a:lnTo>
                  <a:lnTo>
                    <a:pt x="170" y="87"/>
                  </a:lnTo>
                  <a:lnTo>
                    <a:pt x="170" y="90"/>
                  </a:lnTo>
                  <a:lnTo>
                    <a:pt x="172" y="93"/>
                  </a:lnTo>
                  <a:lnTo>
                    <a:pt x="172" y="95"/>
                  </a:lnTo>
                  <a:lnTo>
                    <a:pt x="173" y="96"/>
                  </a:lnTo>
                  <a:lnTo>
                    <a:pt x="173" y="97"/>
                  </a:lnTo>
                  <a:lnTo>
                    <a:pt x="174" y="97"/>
                  </a:lnTo>
                  <a:lnTo>
                    <a:pt x="177" y="97"/>
                  </a:lnTo>
                  <a:lnTo>
                    <a:pt x="180" y="97"/>
                  </a:lnTo>
                  <a:lnTo>
                    <a:pt x="183" y="96"/>
                  </a:lnTo>
                  <a:lnTo>
                    <a:pt x="186" y="96"/>
                  </a:lnTo>
                  <a:lnTo>
                    <a:pt x="189" y="96"/>
                  </a:lnTo>
                  <a:lnTo>
                    <a:pt x="190" y="97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3" y="97"/>
                  </a:lnTo>
                  <a:lnTo>
                    <a:pt x="193" y="99"/>
                  </a:lnTo>
                  <a:lnTo>
                    <a:pt x="194" y="99"/>
                  </a:lnTo>
                  <a:lnTo>
                    <a:pt x="194" y="100"/>
                  </a:lnTo>
                  <a:lnTo>
                    <a:pt x="194" y="102"/>
                  </a:lnTo>
                  <a:lnTo>
                    <a:pt x="194" y="103"/>
                  </a:lnTo>
                  <a:lnTo>
                    <a:pt x="194" y="105"/>
                  </a:lnTo>
                  <a:lnTo>
                    <a:pt x="194" y="106"/>
                  </a:lnTo>
                  <a:lnTo>
                    <a:pt x="196" y="106"/>
                  </a:lnTo>
                  <a:lnTo>
                    <a:pt x="197" y="107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3" y="106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3" y="103"/>
                  </a:lnTo>
                  <a:lnTo>
                    <a:pt x="204" y="102"/>
                  </a:lnTo>
                  <a:lnTo>
                    <a:pt x="204" y="99"/>
                  </a:lnTo>
                  <a:lnTo>
                    <a:pt x="207" y="97"/>
                  </a:lnTo>
                  <a:lnTo>
                    <a:pt x="209" y="96"/>
                  </a:lnTo>
                  <a:lnTo>
                    <a:pt x="210" y="95"/>
                  </a:lnTo>
                  <a:lnTo>
                    <a:pt x="210" y="93"/>
                  </a:lnTo>
                  <a:lnTo>
                    <a:pt x="212" y="92"/>
                  </a:lnTo>
                  <a:lnTo>
                    <a:pt x="213" y="90"/>
                  </a:lnTo>
                  <a:lnTo>
                    <a:pt x="214" y="90"/>
                  </a:lnTo>
                  <a:lnTo>
                    <a:pt x="216" y="89"/>
                  </a:lnTo>
                  <a:lnTo>
                    <a:pt x="219" y="87"/>
                  </a:lnTo>
                  <a:lnTo>
                    <a:pt x="220" y="86"/>
                  </a:lnTo>
                  <a:lnTo>
                    <a:pt x="222" y="86"/>
                  </a:lnTo>
                  <a:lnTo>
                    <a:pt x="224" y="85"/>
                  </a:lnTo>
                  <a:lnTo>
                    <a:pt x="227" y="83"/>
                  </a:lnTo>
                  <a:lnTo>
                    <a:pt x="229" y="80"/>
                  </a:lnTo>
                  <a:lnTo>
                    <a:pt x="230" y="79"/>
                  </a:lnTo>
                  <a:lnTo>
                    <a:pt x="232" y="77"/>
                  </a:lnTo>
                  <a:lnTo>
                    <a:pt x="233" y="77"/>
                  </a:lnTo>
                  <a:lnTo>
                    <a:pt x="234" y="77"/>
                  </a:lnTo>
                  <a:lnTo>
                    <a:pt x="234" y="79"/>
                  </a:lnTo>
                  <a:lnTo>
                    <a:pt x="234" y="77"/>
                  </a:lnTo>
                  <a:lnTo>
                    <a:pt x="236" y="76"/>
                  </a:lnTo>
                  <a:lnTo>
                    <a:pt x="237" y="76"/>
                  </a:lnTo>
                  <a:lnTo>
                    <a:pt x="237" y="75"/>
                  </a:lnTo>
                  <a:lnTo>
                    <a:pt x="239" y="75"/>
                  </a:lnTo>
                  <a:lnTo>
                    <a:pt x="240" y="73"/>
                  </a:lnTo>
                  <a:close/>
                  <a:moveTo>
                    <a:pt x="236" y="102"/>
                  </a:moveTo>
                  <a:lnTo>
                    <a:pt x="236" y="102"/>
                  </a:lnTo>
                  <a:lnTo>
                    <a:pt x="236" y="100"/>
                  </a:lnTo>
                  <a:lnTo>
                    <a:pt x="234" y="100"/>
                  </a:lnTo>
                  <a:lnTo>
                    <a:pt x="234" y="100"/>
                  </a:lnTo>
                  <a:lnTo>
                    <a:pt x="234" y="100"/>
                  </a:lnTo>
                  <a:lnTo>
                    <a:pt x="236" y="102"/>
                  </a:lnTo>
                  <a:lnTo>
                    <a:pt x="236" y="102"/>
                  </a:lnTo>
                  <a:close/>
                  <a:moveTo>
                    <a:pt x="244" y="123"/>
                  </a:moveTo>
                  <a:lnTo>
                    <a:pt x="244" y="123"/>
                  </a:lnTo>
                  <a:lnTo>
                    <a:pt x="243" y="123"/>
                  </a:lnTo>
                  <a:lnTo>
                    <a:pt x="242" y="123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0"/>
                  </a:lnTo>
                  <a:lnTo>
                    <a:pt x="240" y="119"/>
                  </a:lnTo>
                  <a:lnTo>
                    <a:pt x="242" y="119"/>
                  </a:lnTo>
                  <a:lnTo>
                    <a:pt x="242" y="119"/>
                  </a:lnTo>
                  <a:lnTo>
                    <a:pt x="242" y="119"/>
                  </a:lnTo>
                  <a:lnTo>
                    <a:pt x="243" y="120"/>
                  </a:lnTo>
                  <a:lnTo>
                    <a:pt x="243" y="120"/>
                  </a:lnTo>
                  <a:lnTo>
                    <a:pt x="244" y="120"/>
                  </a:lnTo>
                  <a:lnTo>
                    <a:pt x="244" y="122"/>
                  </a:lnTo>
                  <a:lnTo>
                    <a:pt x="244" y="123"/>
                  </a:lnTo>
                  <a:lnTo>
                    <a:pt x="244" y="123"/>
                  </a:lnTo>
                  <a:close/>
                  <a:moveTo>
                    <a:pt x="254" y="122"/>
                  </a:moveTo>
                  <a:lnTo>
                    <a:pt x="253" y="123"/>
                  </a:lnTo>
                  <a:lnTo>
                    <a:pt x="253" y="123"/>
                  </a:lnTo>
                  <a:lnTo>
                    <a:pt x="251" y="123"/>
                  </a:lnTo>
                  <a:lnTo>
                    <a:pt x="251" y="122"/>
                  </a:lnTo>
                  <a:lnTo>
                    <a:pt x="253" y="122"/>
                  </a:lnTo>
                  <a:lnTo>
                    <a:pt x="253" y="122"/>
                  </a:lnTo>
                  <a:lnTo>
                    <a:pt x="254" y="122"/>
                  </a:lnTo>
                  <a:lnTo>
                    <a:pt x="254" y="12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6" name="Google Shape;336;p3"/>
            <p:cNvSpPr/>
            <p:nvPr/>
          </p:nvSpPr>
          <p:spPr>
            <a:xfrm>
              <a:off x="4090989" y="3910885"/>
              <a:ext cx="0" cy="0"/>
            </a:xfrm>
            <a:custGeom>
              <a:rect b="b" l="l" r="r" t="t"/>
              <a:pathLst>
                <a:path extrusionOk="0" h="120000" w="12000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7" name="Google Shape;337;p3"/>
            <p:cNvSpPr/>
            <p:nvPr/>
          </p:nvSpPr>
          <p:spPr>
            <a:xfrm>
              <a:off x="3127405" y="4250517"/>
              <a:ext cx="152182" cy="115512"/>
            </a:xfrm>
            <a:custGeom>
              <a:rect b="b" l="l" r="r" t="t"/>
              <a:pathLst>
                <a:path extrusionOk="0" h="184" w="217">
                  <a:moveTo>
                    <a:pt x="214" y="58"/>
                  </a:moveTo>
                  <a:lnTo>
                    <a:pt x="217" y="63"/>
                  </a:lnTo>
                  <a:lnTo>
                    <a:pt x="217" y="63"/>
                  </a:lnTo>
                  <a:lnTo>
                    <a:pt x="217" y="63"/>
                  </a:lnTo>
                  <a:lnTo>
                    <a:pt x="216" y="64"/>
                  </a:lnTo>
                  <a:lnTo>
                    <a:pt x="214" y="64"/>
                  </a:lnTo>
                  <a:lnTo>
                    <a:pt x="214" y="67"/>
                  </a:lnTo>
                  <a:lnTo>
                    <a:pt x="211" y="67"/>
                  </a:lnTo>
                  <a:lnTo>
                    <a:pt x="210" y="68"/>
                  </a:lnTo>
                  <a:lnTo>
                    <a:pt x="209" y="70"/>
                  </a:lnTo>
                  <a:lnTo>
                    <a:pt x="209" y="70"/>
                  </a:lnTo>
                  <a:lnTo>
                    <a:pt x="206" y="70"/>
                  </a:lnTo>
                  <a:lnTo>
                    <a:pt x="206" y="71"/>
                  </a:lnTo>
                  <a:lnTo>
                    <a:pt x="204" y="73"/>
                  </a:lnTo>
                  <a:lnTo>
                    <a:pt x="204" y="74"/>
                  </a:lnTo>
                  <a:lnTo>
                    <a:pt x="203" y="74"/>
                  </a:lnTo>
                  <a:lnTo>
                    <a:pt x="203" y="76"/>
                  </a:lnTo>
                  <a:lnTo>
                    <a:pt x="204" y="77"/>
                  </a:lnTo>
                  <a:lnTo>
                    <a:pt x="204" y="78"/>
                  </a:lnTo>
                  <a:lnTo>
                    <a:pt x="204" y="80"/>
                  </a:lnTo>
                  <a:lnTo>
                    <a:pt x="204" y="80"/>
                  </a:lnTo>
                  <a:lnTo>
                    <a:pt x="206" y="81"/>
                  </a:lnTo>
                  <a:lnTo>
                    <a:pt x="206" y="81"/>
                  </a:lnTo>
                  <a:lnTo>
                    <a:pt x="207" y="81"/>
                  </a:lnTo>
                  <a:lnTo>
                    <a:pt x="209" y="81"/>
                  </a:lnTo>
                  <a:lnTo>
                    <a:pt x="209" y="81"/>
                  </a:lnTo>
                  <a:lnTo>
                    <a:pt x="210" y="81"/>
                  </a:lnTo>
                  <a:lnTo>
                    <a:pt x="210" y="81"/>
                  </a:lnTo>
                  <a:lnTo>
                    <a:pt x="209" y="83"/>
                  </a:lnTo>
                  <a:lnTo>
                    <a:pt x="209" y="84"/>
                  </a:lnTo>
                  <a:lnTo>
                    <a:pt x="206" y="85"/>
                  </a:lnTo>
                  <a:lnTo>
                    <a:pt x="204" y="87"/>
                  </a:lnTo>
                  <a:lnTo>
                    <a:pt x="203" y="87"/>
                  </a:lnTo>
                  <a:lnTo>
                    <a:pt x="201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199" y="88"/>
                  </a:lnTo>
                  <a:lnTo>
                    <a:pt x="197" y="88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6" y="90"/>
                  </a:lnTo>
                  <a:lnTo>
                    <a:pt x="196" y="91"/>
                  </a:lnTo>
                  <a:lnTo>
                    <a:pt x="196" y="93"/>
                  </a:lnTo>
                  <a:lnTo>
                    <a:pt x="196" y="93"/>
                  </a:lnTo>
                  <a:lnTo>
                    <a:pt x="197" y="95"/>
                  </a:lnTo>
                  <a:lnTo>
                    <a:pt x="196" y="97"/>
                  </a:lnTo>
                  <a:lnTo>
                    <a:pt x="194" y="97"/>
                  </a:lnTo>
                  <a:lnTo>
                    <a:pt x="194" y="98"/>
                  </a:lnTo>
                  <a:lnTo>
                    <a:pt x="193" y="100"/>
                  </a:lnTo>
                  <a:lnTo>
                    <a:pt x="193" y="101"/>
                  </a:lnTo>
                  <a:lnTo>
                    <a:pt x="196" y="104"/>
                  </a:lnTo>
                  <a:lnTo>
                    <a:pt x="200" y="108"/>
                  </a:lnTo>
                  <a:lnTo>
                    <a:pt x="203" y="113"/>
                  </a:lnTo>
                  <a:lnTo>
                    <a:pt x="203" y="113"/>
                  </a:lnTo>
                  <a:lnTo>
                    <a:pt x="204" y="113"/>
                  </a:lnTo>
                  <a:lnTo>
                    <a:pt x="204" y="114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4" y="117"/>
                  </a:lnTo>
                  <a:lnTo>
                    <a:pt x="204" y="118"/>
                  </a:lnTo>
                  <a:lnTo>
                    <a:pt x="203" y="118"/>
                  </a:lnTo>
                  <a:lnTo>
                    <a:pt x="201" y="120"/>
                  </a:lnTo>
                  <a:lnTo>
                    <a:pt x="200" y="120"/>
                  </a:lnTo>
                  <a:lnTo>
                    <a:pt x="199" y="123"/>
                  </a:lnTo>
                  <a:lnTo>
                    <a:pt x="199" y="123"/>
                  </a:lnTo>
                  <a:lnTo>
                    <a:pt x="199" y="123"/>
                  </a:lnTo>
                  <a:lnTo>
                    <a:pt x="197" y="123"/>
                  </a:lnTo>
                  <a:lnTo>
                    <a:pt x="196" y="123"/>
                  </a:lnTo>
                  <a:lnTo>
                    <a:pt x="194" y="123"/>
                  </a:lnTo>
                  <a:lnTo>
                    <a:pt x="193" y="124"/>
                  </a:lnTo>
                  <a:lnTo>
                    <a:pt x="191" y="125"/>
                  </a:lnTo>
                  <a:lnTo>
                    <a:pt x="190" y="127"/>
                  </a:lnTo>
                  <a:lnTo>
                    <a:pt x="186" y="128"/>
                  </a:lnTo>
                  <a:lnTo>
                    <a:pt x="181" y="130"/>
                  </a:lnTo>
                  <a:lnTo>
                    <a:pt x="180" y="130"/>
                  </a:lnTo>
                  <a:lnTo>
                    <a:pt x="176" y="128"/>
                  </a:lnTo>
                  <a:lnTo>
                    <a:pt x="174" y="128"/>
                  </a:lnTo>
                  <a:lnTo>
                    <a:pt x="174" y="130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1" y="131"/>
                  </a:lnTo>
                  <a:lnTo>
                    <a:pt x="170" y="133"/>
                  </a:lnTo>
                  <a:lnTo>
                    <a:pt x="170" y="137"/>
                  </a:lnTo>
                  <a:lnTo>
                    <a:pt x="169" y="138"/>
                  </a:lnTo>
                  <a:lnTo>
                    <a:pt x="167" y="138"/>
                  </a:lnTo>
                  <a:lnTo>
                    <a:pt x="166" y="137"/>
                  </a:lnTo>
                  <a:lnTo>
                    <a:pt x="164" y="135"/>
                  </a:lnTo>
                  <a:lnTo>
                    <a:pt x="161" y="133"/>
                  </a:lnTo>
                  <a:lnTo>
                    <a:pt x="161" y="133"/>
                  </a:lnTo>
                  <a:lnTo>
                    <a:pt x="160" y="133"/>
                  </a:lnTo>
                  <a:lnTo>
                    <a:pt x="159" y="133"/>
                  </a:lnTo>
                  <a:lnTo>
                    <a:pt x="157" y="133"/>
                  </a:lnTo>
                  <a:lnTo>
                    <a:pt x="156" y="133"/>
                  </a:lnTo>
                  <a:lnTo>
                    <a:pt x="154" y="133"/>
                  </a:lnTo>
                  <a:lnTo>
                    <a:pt x="151" y="133"/>
                  </a:lnTo>
                  <a:lnTo>
                    <a:pt x="150" y="133"/>
                  </a:lnTo>
                  <a:lnTo>
                    <a:pt x="149" y="131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7" y="130"/>
                  </a:lnTo>
                  <a:lnTo>
                    <a:pt x="146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0" y="128"/>
                  </a:lnTo>
                  <a:lnTo>
                    <a:pt x="140" y="127"/>
                  </a:lnTo>
                  <a:lnTo>
                    <a:pt x="139" y="127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30"/>
                  </a:lnTo>
                  <a:lnTo>
                    <a:pt x="140" y="131"/>
                  </a:lnTo>
                  <a:lnTo>
                    <a:pt x="141" y="133"/>
                  </a:lnTo>
                  <a:lnTo>
                    <a:pt x="146" y="137"/>
                  </a:lnTo>
                  <a:lnTo>
                    <a:pt x="147" y="138"/>
                  </a:lnTo>
                  <a:lnTo>
                    <a:pt x="147" y="140"/>
                  </a:lnTo>
                  <a:lnTo>
                    <a:pt x="147" y="141"/>
                  </a:lnTo>
                  <a:lnTo>
                    <a:pt x="147" y="144"/>
                  </a:lnTo>
                  <a:lnTo>
                    <a:pt x="149" y="147"/>
                  </a:lnTo>
                  <a:lnTo>
                    <a:pt x="150" y="150"/>
                  </a:lnTo>
                  <a:lnTo>
                    <a:pt x="150" y="153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1" y="155"/>
                  </a:lnTo>
                  <a:lnTo>
                    <a:pt x="156" y="157"/>
                  </a:lnTo>
                  <a:lnTo>
                    <a:pt x="157" y="157"/>
                  </a:lnTo>
                  <a:lnTo>
                    <a:pt x="160" y="157"/>
                  </a:lnTo>
                  <a:lnTo>
                    <a:pt x="160" y="158"/>
                  </a:lnTo>
                  <a:lnTo>
                    <a:pt x="160" y="160"/>
                  </a:lnTo>
                  <a:lnTo>
                    <a:pt x="160" y="161"/>
                  </a:lnTo>
                  <a:lnTo>
                    <a:pt x="159" y="161"/>
                  </a:lnTo>
                  <a:lnTo>
                    <a:pt x="157" y="161"/>
                  </a:lnTo>
                  <a:lnTo>
                    <a:pt x="156" y="163"/>
                  </a:lnTo>
                  <a:lnTo>
                    <a:pt x="153" y="164"/>
                  </a:lnTo>
                  <a:lnTo>
                    <a:pt x="151" y="164"/>
                  </a:lnTo>
                  <a:lnTo>
                    <a:pt x="151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7"/>
                  </a:lnTo>
                  <a:lnTo>
                    <a:pt x="149" y="170"/>
                  </a:lnTo>
                  <a:lnTo>
                    <a:pt x="147" y="171"/>
                  </a:lnTo>
                  <a:lnTo>
                    <a:pt x="146" y="171"/>
                  </a:lnTo>
                  <a:lnTo>
                    <a:pt x="144" y="173"/>
                  </a:lnTo>
                  <a:lnTo>
                    <a:pt x="143" y="171"/>
                  </a:lnTo>
                  <a:lnTo>
                    <a:pt x="141" y="173"/>
                  </a:lnTo>
                  <a:lnTo>
                    <a:pt x="141" y="173"/>
                  </a:lnTo>
                  <a:lnTo>
                    <a:pt x="140" y="174"/>
                  </a:lnTo>
                  <a:lnTo>
                    <a:pt x="139" y="175"/>
                  </a:lnTo>
                  <a:lnTo>
                    <a:pt x="137" y="175"/>
                  </a:lnTo>
                  <a:lnTo>
                    <a:pt x="136" y="175"/>
                  </a:lnTo>
                  <a:lnTo>
                    <a:pt x="134" y="177"/>
                  </a:lnTo>
                  <a:lnTo>
                    <a:pt x="133" y="177"/>
                  </a:lnTo>
                  <a:lnTo>
                    <a:pt x="131" y="178"/>
                  </a:lnTo>
                  <a:lnTo>
                    <a:pt x="130" y="180"/>
                  </a:lnTo>
                  <a:lnTo>
                    <a:pt x="129" y="181"/>
                  </a:lnTo>
                  <a:lnTo>
                    <a:pt x="129" y="183"/>
                  </a:lnTo>
                  <a:lnTo>
                    <a:pt x="127" y="184"/>
                  </a:lnTo>
                  <a:lnTo>
                    <a:pt x="126" y="184"/>
                  </a:lnTo>
                  <a:lnTo>
                    <a:pt x="126" y="183"/>
                  </a:lnTo>
                  <a:lnTo>
                    <a:pt x="126" y="181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3" y="180"/>
                  </a:lnTo>
                  <a:lnTo>
                    <a:pt x="122" y="180"/>
                  </a:lnTo>
                  <a:lnTo>
                    <a:pt x="120" y="181"/>
                  </a:lnTo>
                  <a:lnTo>
                    <a:pt x="119" y="183"/>
                  </a:lnTo>
                  <a:lnTo>
                    <a:pt x="117" y="183"/>
                  </a:lnTo>
                  <a:lnTo>
                    <a:pt x="116" y="183"/>
                  </a:lnTo>
                  <a:lnTo>
                    <a:pt x="113" y="183"/>
                  </a:lnTo>
                  <a:lnTo>
                    <a:pt x="113" y="183"/>
                  </a:lnTo>
                  <a:lnTo>
                    <a:pt x="112" y="183"/>
                  </a:lnTo>
                  <a:lnTo>
                    <a:pt x="109" y="180"/>
                  </a:lnTo>
                  <a:lnTo>
                    <a:pt x="104" y="175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3" y="171"/>
                  </a:lnTo>
                  <a:lnTo>
                    <a:pt x="103" y="170"/>
                  </a:lnTo>
                  <a:lnTo>
                    <a:pt x="103" y="170"/>
                  </a:lnTo>
                  <a:lnTo>
                    <a:pt x="103" y="168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7" y="155"/>
                  </a:lnTo>
                  <a:lnTo>
                    <a:pt x="96" y="154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3" y="153"/>
                  </a:lnTo>
                  <a:lnTo>
                    <a:pt x="93" y="151"/>
                  </a:lnTo>
                  <a:lnTo>
                    <a:pt x="93" y="150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0"/>
                  </a:lnTo>
                  <a:lnTo>
                    <a:pt x="89" y="148"/>
                  </a:lnTo>
                  <a:lnTo>
                    <a:pt x="94" y="144"/>
                  </a:lnTo>
                  <a:lnTo>
                    <a:pt x="97" y="143"/>
                  </a:lnTo>
                  <a:lnTo>
                    <a:pt x="97" y="141"/>
                  </a:lnTo>
                  <a:lnTo>
                    <a:pt x="97" y="141"/>
                  </a:lnTo>
                  <a:lnTo>
                    <a:pt x="97" y="141"/>
                  </a:lnTo>
                  <a:lnTo>
                    <a:pt x="97" y="140"/>
                  </a:lnTo>
                  <a:lnTo>
                    <a:pt x="94" y="135"/>
                  </a:lnTo>
                  <a:lnTo>
                    <a:pt x="93" y="135"/>
                  </a:lnTo>
                  <a:lnTo>
                    <a:pt x="93" y="135"/>
                  </a:lnTo>
                  <a:lnTo>
                    <a:pt x="92" y="134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89" y="124"/>
                  </a:lnTo>
                  <a:lnTo>
                    <a:pt x="89" y="123"/>
                  </a:lnTo>
                  <a:lnTo>
                    <a:pt x="89" y="121"/>
                  </a:lnTo>
                  <a:lnTo>
                    <a:pt x="89" y="117"/>
                  </a:lnTo>
                  <a:lnTo>
                    <a:pt x="90" y="113"/>
                  </a:lnTo>
                  <a:lnTo>
                    <a:pt x="89" y="111"/>
                  </a:lnTo>
                  <a:lnTo>
                    <a:pt x="90" y="110"/>
                  </a:lnTo>
                  <a:lnTo>
                    <a:pt x="92" y="108"/>
                  </a:lnTo>
                  <a:lnTo>
                    <a:pt x="92" y="107"/>
                  </a:lnTo>
                  <a:lnTo>
                    <a:pt x="93" y="104"/>
                  </a:lnTo>
                  <a:lnTo>
                    <a:pt x="93" y="101"/>
                  </a:lnTo>
                  <a:lnTo>
                    <a:pt x="94" y="100"/>
                  </a:lnTo>
                  <a:lnTo>
                    <a:pt x="96" y="98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3" y="95"/>
                  </a:lnTo>
                  <a:lnTo>
                    <a:pt x="90" y="94"/>
                  </a:lnTo>
                  <a:lnTo>
                    <a:pt x="89" y="94"/>
                  </a:lnTo>
                  <a:lnTo>
                    <a:pt x="87" y="95"/>
                  </a:lnTo>
                  <a:lnTo>
                    <a:pt x="84" y="95"/>
                  </a:lnTo>
                  <a:lnTo>
                    <a:pt x="79" y="97"/>
                  </a:lnTo>
                  <a:lnTo>
                    <a:pt x="74" y="97"/>
                  </a:lnTo>
                  <a:lnTo>
                    <a:pt x="72" y="95"/>
                  </a:lnTo>
                  <a:lnTo>
                    <a:pt x="69" y="97"/>
                  </a:lnTo>
                  <a:lnTo>
                    <a:pt x="67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4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0" y="94"/>
                  </a:lnTo>
                  <a:lnTo>
                    <a:pt x="59" y="91"/>
                  </a:lnTo>
                  <a:lnTo>
                    <a:pt x="56" y="88"/>
                  </a:lnTo>
                  <a:lnTo>
                    <a:pt x="53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0" y="84"/>
                  </a:lnTo>
                  <a:lnTo>
                    <a:pt x="49" y="84"/>
                  </a:lnTo>
                  <a:lnTo>
                    <a:pt x="47" y="83"/>
                  </a:lnTo>
                  <a:lnTo>
                    <a:pt x="46" y="83"/>
                  </a:lnTo>
                  <a:lnTo>
                    <a:pt x="44" y="81"/>
                  </a:lnTo>
                  <a:lnTo>
                    <a:pt x="43" y="81"/>
                  </a:lnTo>
                  <a:lnTo>
                    <a:pt x="42" y="83"/>
                  </a:lnTo>
                  <a:lnTo>
                    <a:pt x="39" y="83"/>
                  </a:lnTo>
                  <a:lnTo>
                    <a:pt x="36" y="84"/>
                  </a:lnTo>
                  <a:lnTo>
                    <a:pt x="35" y="84"/>
                  </a:lnTo>
                  <a:lnTo>
                    <a:pt x="32" y="83"/>
                  </a:lnTo>
                  <a:lnTo>
                    <a:pt x="29" y="83"/>
                  </a:lnTo>
                  <a:lnTo>
                    <a:pt x="26" y="83"/>
                  </a:lnTo>
                  <a:lnTo>
                    <a:pt x="25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0"/>
                  </a:lnTo>
                  <a:lnTo>
                    <a:pt x="19" y="77"/>
                  </a:lnTo>
                  <a:lnTo>
                    <a:pt x="17" y="77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5" y="74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68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5" y="60"/>
                  </a:lnTo>
                  <a:lnTo>
                    <a:pt x="12" y="57"/>
                  </a:lnTo>
                  <a:lnTo>
                    <a:pt x="10" y="54"/>
                  </a:lnTo>
                  <a:lnTo>
                    <a:pt x="10" y="50"/>
                  </a:lnTo>
                  <a:lnTo>
                    <a:pt x="9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3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2" y="46"/>
                  </a:lnTo>
                  <a:lnTo>
                    <a:pt x="3" y="44"/>
                  </a:lnTo>
                  <a:lnTo>
                    <a:pt x="5" y="43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7" y="34"/>
                  </a:lnTo>
                  <a:lnTo>
                    <a:pt x="7" y="31"/>
                  </a:lnTo>
                  <a:lnTo>
                    <a:pt x="9" y="27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9" y="16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7" y="7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7"/>
                  </a:lnTo>
                  <a:lnTo>
                    <a:pt x="30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5" y="16"/>
                  </a:lnTo>
                  <a:lnTo>
                    <a:pt x="26" y="17"/>
                  </a:lnTo>
                  <a:lnTo>
                    <a:pt x="29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21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7" y="28"/>
                  </a:lnTo>
                  <a:lnTo>
                    <a:pt x="26" y="30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0" y="38"/>
                  </a:lnTo>
                  <a:lnTo>
                    <a:pt x="23" y="41"/>
                  </a:lnTo>
                  <a:lnTo>
                    <a:pt x="23" y="43"/>
                  </a:lnTo>
                  <a:lnTo>
                    <a:pt x="25" y="44"/>
                  </a:lnTo>
                  <a:lnTo>
                    <a:pt x="26" y="44"/>
                  </a:lnTo>
                  <a:lnTo>
                    <a:pt x="26" y="46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7" y="50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33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7" y="46"/>
                  </a:lnTo>
                  <a:lnTo>
                    <a:pt x="37" y="43"/>
                  </a:lnTo>
                  <a:lnTo>
                    <a:pt x="37" y="40"/>
                  </a:lnTo>
                  <a:lnTo>
                    <a:pt x="37" y="37"/>
                  </a:lnTo>
                  <a:lnTo>
                    <a:pt x="35" y="34"/>
                  </a:lnTo>
                  <a:lnTo>
                    <a:pt x="35" y="33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0" y="27"/>
                  </a:lnTo>
                  <a:lnTo>
                    <a:pt x="30" y="24"/>
                  </a:lnTo>
                  <a:lnTo>
                    <a:pt x="30" y="23"/>
                  </a:lnTo>
                  <a:lnTo>
                    <a:pt x="32" y="21"/>
                  </a:lnTo>
                  <a:lnTo>
                    <a:pt x="30" y="20"/>
                  </a:lnTo>
                  <a:lnTo>
                    <a:pt x="35" y="18"/>
                  </a:lnTo>
                  <a:lnTo>
                    <a:pt x="42" y="16"/>
                  </a:lnTo>
                  <a:lnTo>
                    <a:pt x="46" y="14"/>
                  </a:lnTo>
                  <a:lnTo>
                    <a:pt x="50" y="13"/>
                  </a:lnTo>
                  <a:lnTo>
                    <a:pt x="52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6" y="11"/>
                  </a:lnTo>
                  <a:lnTo>
                    <a:pt x="57" y="11"/>
                  </a:lnTo>
                  <a:lnTo>
                    <a:pt x="57" y="10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4"/>
                  </a:lnTo>
                  <a:lnTo>
                    <a:pt x="50" y="3"/>
                  </a:lnTo>
                  <a:lnTo>
                    <a:pt x="52" y="1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3"/>
                  </a:lnTo>
                  <a:lnTo>
                    <a:pt x="57" y="6"/>
                  </a:lnTo>
                  <a:lnTo>
                    <a:pt x="59" y="8"/>
                  </a:lnTo>
                  <a:lnTo>
                    <a:pt x="59" y="10"/>
                  </a:lnTo>
                  <a:lnTo>
                    <a:pt x="60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7" y="10"/>
                  </a:lnTo>
                  <a:lnTo>
                    <a:pt x="70" y="11"/>
                  </a:lnTo>
                  <a:lnTo>
                    <a:pt x="73" y="11"/>
                  </a:lnTo>
                  <a:lnTo>
                    <a:pt x="76" y="14"/>
                  </a:lnTo>
                  <a:lnTo>
                    <a:pt x="80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3" y="26"/>
                  </a:lnTo>
                  <a:lnTo>
                    <a:pt x="84" y="27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100" y="26"/>
                  </a:lnTo>
                  <a:lnTo>
                    <a:pt x="103" y="26"/>
                  </a:lnTo>
                  <a:lnTo>
                    <a:pt x="114" y="24"/>
                  </a:lnTo>
                  <a:lnTo>
                    <a:pt x="117" y="26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22" y="31"/>
                  </a:lnTo>
                  <a:lnTo>
                    <a:pt x="124" y="31"/>
                  </a:lnTo>
                  <a:lnTo>
                    <a:pt x="127" y="33"/>
                  </a:lnTo>
                  <a:lnTo>
                    <a:pt x="130" y="33"/>
                  </a:lnTo>
                  <a:lnTo>
                    <a:pt x="133" y="34"/>
                  </a:lnTo>
                  <a:lnTo>
                    <a:pt x="134" y="34"/>
                  </a:lnTo>
                  <a:lnTo>
                    <a:pt x="136" y="33"/>
                  </a:lnTo>
                  <a:lnTo>
                    <a:pt x="137" y="33"/>
                  </a:lnTo>
                  <a:lnTo>
                    <a:pt x="147" y="27"/>
                  </a:lnTo>
                  <a:lnTo>
                    <a:pt x="153" y="27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3" y="26"/>
                  </a:lnTo>
                  <a:lnTo>
                    <a:pt x="149" y="26"/>
                  </a:lnTo>
                  <a:lnTo>
                    <a:pt x="147" y="26"/>
                  </a:lnTo>
                  <a:lnTo>
                    <a:pt x="146" y="24"/>
                  </a:lnTo>
                  <a:lnTo>
                    <a:pt x="147" y="24"/>
                  </a:lnTo>
                  <a:lnTo>
                    <a:pt x="153" y="24"/>
                  </a:lnTo>
                  <a:lnTo>
                    <a:pt x="159" y="24"/>
                  </a:lnTo>
                  <a:lnTo>
                    <a:pt x="163" y="23"/>
                  </a:lnTo>
                  <a:lnTo>
                    <a:pt x="166" y="23"/>
                  </a:lnTo>
                  <a:lnTo>
                    <a:pt x="167" y="24"/>
                  </a:lnTo>
                  <a:lnTo>
                    <a:pt x="171" y="23"/>
                  </a:lnTo>
                  <a:lnTo>
                    <a:pt x="179" y="24"/>
                  </a:lnTo>
                  <a:lnTo>
                    <a:pt x="184" y="23"/>
                  </a:lnTo>
                  <a:lnTo>
                    <a:pt x="184" y="24"/>
                  </a:lnTo>
                  <a:lnTo>
                    <a:pt x="181" y="24"/>
                  </a:lnTo>
                  <a:lnTo>
                    <a:pt x="179" y="24"/>
                  </a:lnTo>
                  <a:lnTo>
                    <a:pt x="176" y="26"/>
                  </a:lnTo>
                  <a:lnTo>
                    <a:pt x="171" y="26"/>
                  </a:lnTo>
                  <a:lnTo>
                    <a:pt x="167" y="27"/>
                  </a:lnTo>
                  <a:lnTo>
                    <a:pt x="169" y="27"/>
                  </a:lnTo>
                  <a:lnTo>
                    <a:pt x="169" y="28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1" y="31"/>
                  </a:lnTo>
                  <a:lnTo>
                    <a:pt x="171" y="33"/>
                  </a:lnTo>
                  <a:lnTo>
                    <a:pt x="170" y="34"/>
                  </a:lnTo>
                  <a:lnTo>
                    <a:pt x="171" y="34"/>
                  </a:lnTo>
                  <a:lnTo>
                    <a:pt x="173" y="33"/>
                  </a:lnTo>
                  <a:lnTo>
                    <a:pt x="173" y="33"/>
                  </a:lnTo>
                  <a:lnTo>
                    <a:pt x="173" y="31"/>
                  </a:lnTo>
                  <a:lnTo>
                    <a:pt x="174" y="31"/>
                  </a:lnTo>
                  <a:lnTo>
                    <a:pt x="174" y="33"/>
                  </a:lnTo>
                  <a:lnTo>
                    <a:pt x="176" y="36"/>
                  </a:lnTo>
                  <a:lnTo>
                    <a:pt x="177" y="38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7"/>
                  </a:lnTo>
                  <a:lnTo>
                    <a:pt x="180" y="37"/>
                  </a:lnTo>
                  <a:lnTo>
                    <a:pt x="180" y="37"/>
                  </a:lnTo>
                  <a:lnTo>
                    <a:pt x="180" y="38"/>
                  </a:lnTo>
                  <a:lnTo>
                    <a:pt x="180" y="37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4" y="37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87" y="41"/>
                  </a:lnTo>
                  <a:lnTo>
                    <a:pt x="187" y="40"/>
                  </a:lnTo>
                  <a:lnTo>
                    <a:pt x="186" y="38"/>
                  </a:lnTo>
                  <a:lnTo>
                    <a:pt x="186" y="38"/>
                  </a:lnTo>
                  <a:lnTo>
                    <a:pt x="189" y="38"/>
                  </a:lnTo>
                  <a:lnTo>
                    <a:pt x="189" y="37"/>
                  </a:lnTo>
                  <a:lnTo>
                    <a:pt x="190" y="37"/>
                  </a:lnTo>
                  <a:lnTo>
                    <a:pt x="193" y="41"/>
                  </a:lnTo>
                  <a:lnTo>
                    <a:pt x="194" y="41"/>
                  </a:lnTo>
                  <a:lnTo>
                    <a:pt x="199" y="43"/>
                  </a:lnTo>
                  <a:lnTo>
                    <a:pt x="200" y="44"/>
                  </a:lnTo>
                  <a:lnTo>
                    <a:pt x="201" y="46"/>
                  </a:lnTo>
                  <a:lnTo>
                    <a:pt x="201" y="47"/>
                  </a:lnTo>
                  <a:lnTo>
                    <a:pt x="199" y="47"/>
                  </a:lnTo>
                  <a:lnTo>
                    <a:pt x="199" y="48"/>
                  </a:lnTo>
                  <a:lnTo>
                    <a:pt x="197" y="50"/>
                  </a:lnTo>
                  <a:lnTo>
                    <a:pt x="197" y="50"/>
                  </a:lnTo>
                  <a:lnTo>
                    <a:pt x="197" y="51"/>
                  </a:lnTo>
                  <a:lnTo>
                    <a:pt x="197" y="53"/>
                  </a:lnTo>
                  <a:lnTo>
                    <a:pt x="197" y="54"/>
                  </a:lnTo>
                  <a:lnTo>
                    <a:pt x="196" y="56"/>
                  </a:lnTo>
                  <a:lnTo>
                    <a:pt x="194" y="57"/>
                  </a:lnTo>
                  <a:lnTo>
                    <a:pt x="189" y="57"/>
                  </a:lnTo>
                  <a:lnTo>
                    <a:pt x="190" y="58"/>
                  </a:lnTo>
                  <a:lnTo>
                    <a:pt x="191" y="58"/>
                  </a:lnTo>
                  <a:lnTo>
                    <a:pt x="194" y="61"/>
                  </a:lnTo>
                  <a:lnTo>
                    <a:pt x="196" y="60"/>
                  </a:lnTo>
                  <a:lnTo>
                    <a:pt x="199" y="60"/>
                  </a:lnTo>
                  <a:lnTo>
                    <a:pt x="200" y="58"/>
                  </a:lnTo>
                  <a:lnTo>
                    <a:pt x="201" y="57"/>
                  </a:lnTo>
                  <a:lnTo>
                    <a:pt x="207" y="58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11" y="57"/>
                  </a:lnTo>
                  <a:lnTo>
                    <a:pt x="214" y="58"/>
                  </a:lnTo>
                  <a:close/>
                  <a:moveTo>
                    <a:pt x="153" y="17"/>
                  </a:moveTo>
                  <a:lnTo>
                    <a:pt x="153" y="18"/>
                  </a:lnTo>
                  <a:lnTo>
                    <a:pt x="153" y="20"/>
                  </a:lnTo>
                  <a:lnTo>
                    <a:pt x="151" y="21"/>
                  </a:lnTo>
                  <a:lnTo>
                    <a:pt x="150" y="21"/>
                  </a:lnTo>
                  <a:lnTo>
                    <a:pt x="150" y="21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7" y="18"/>
                  </a:lnTo>
                  <a:lnTo>
                    <a:pt x="149" y="18"/>
                  </a:lnTo>
                  <a:lnTo>
                    <a:pt x="150" y="18"/>
                  </a:lnTo>
                  <a:lnTo>
                    <a:pt x="150" y="17"/>
                  </a:lnTo>
                  <a:lnTo>
                    <a:pt x="153" y="16"/>
                  </a:lnTo>
                  <a:lnTo>
                    <a:pt x="153" y="17"/>
                  </a:lnTo>
                  <a:close/>
                  <a:moveTo>
                    <a:pt x="131" y="20"/>
                  </a:moveTo>
                  <a:lnTo>
                    <a:pt x="130" y="21"/>
                  </a:lnTo>
                  <a:lnTo>
                    <a:pt x="129" y="20"/>
                  </a:lnTo>
                  <a:lnTo>
                    <a:pt x="127" y="20"/>
                  </a:lnTo>
                  <a:lnTo>
                    <a:pt x="129" y="20"/>
                  </a:lnTo>
                  <a:lnTo>
                    <a:pt x="130" y="20"/>
                  </a:lnTo>
                  <a:lnTo>
                    <a:pt x="131" y="20"/>
                  </a:lnTo>
                  <a:lnTo>
                    <a:pt x="131" y="20"/>
                  </a:lnTo>
                  <a:close/>
                  <a:moveTo>
                    <a:pt x="201" y="48"/>
                  </a:moveTo>
                  <a:lnTo>
                    <a:pt x="200" y="50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201" y="48"/>
                  </a:lnTo>
                  <a:lnTo>
                    <a:pt x="201" y="48"/>
                  </a:lnTo>
                  <a:lnTo>
                    <a:pt x="201" y="47"/>
                  </a:lnTo>
                  <a:lnTo>
                    <a:pt x="203" y="47"/>
                  </a:lnTo>
                  <a:lnTo>
                    <a:pt x="203" y="48"/>
                  </a:lnTo>
                  <a:lnTo>
                    <a:pt x="201" y="48"/>
                  </a:lnTo>
                  <a:lnTo>
                    <a:pt x="201" y="48"/>
                  </a:lnTo>
                  <a:close/>
                  <a:moveTo>
                    <a:pt x="199" y="53"/>
                  </a:moveTo>
                  <a:lnTo>
                    <a:pt x="197" y="54"/>
                  </a:lnTo>
                  <a:lnTo>
                    <a:pt x="197" y="53"/>
                  </a:lnTo>
                  <a:lnTo>
                    <a:pt x="197" y="51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200" y="51"/>
                  </a:lnTo>
                  <a:lnTo>
                    <a:pt x="201" y="51"/>
                  </a:lnTo>
                  <a:lnTo>
                    <a:pt x="201" y="51"/>
                  </a:lnTo>
                  <a:lnTo>
                    <a:pt x="200" y="53"/>
                  </a:lnTo>
                  <a:lnTo>
                    <a:pt x="199" y="5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8" name="Google Shape;338;p3"/>
            <p:cNvSpPr/>
            <p:nvPr/>
          </p:nvSpPr>
          <p:spPr>
            <a:xfrm>
              <a:off x="3225587" y="4182088"/>
              <a:ext cx="4208" cy="3767"/>
            </a:xfrm>
            <a:custGeom>
              <a:rect b="b" l="l" r="r" t="t"/>
              <a:pathLst>
                <a:path extrusionOk="0" h="6"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4" y="5"/>
                  </a:lnTo>
                  <a:close/>
                  <a:moveTo>
                    <a:pt x="1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9" name="Google Shape;339;p3"/>
            <p:cNvSpPr/>
            <p:nvPr/>
          </p:nvSpPr>
          <p:spPr>
            <a:xfrm>
              <a:off x="3221379" y="4185855"/>
              <a:ext cx="4909" cy="6906"/>
            </a:xfrm>
            <a:custGeom>
              <a:rect b="b" l="l" r="r" t="t"/>
              <a:pathLst>
                <a:path extrusionOk="0" h="11" w="7">
                  <a:moveTo>
                    <a:pt x="3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1"/>
                  </a:lnTo>
                  <a:close/>
                  <a:moveTo>
                    <a:pt x="6" y="0"/>
                  </a:moveTo>
                  <a:lnTo>
                    <a:pt x="5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5" y="0"/>
                  </a:lnTo>
                  <a:lnTo>
                    <a:pt x="6" y="0"/>
                  </a:lnTo>
                  <a:close/>
                  <a:moveTo>
                    <a:pt x="5" y="10"/>
                  </a:moveTo>
                  <a:lnTo>
                    <a:pt x="6" y="10"/>
                  </a:lnTo>
                  <a:lnTo>
                    <a:pt x="7" y="10"/>
                  </a:lnTo>
                  <a:lnTo>
                    <a:pt x="6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5" y="1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0" name="Google Shape;340;p3"/>
            <p:cNvSpPr/>
            <p:nvPr/>
          </p:nvSpPr>
          <p:spPr>
            <a:xfrm>
              <a:off x="5098053" y="4133121"/>
              <a:ext cx="82052" cy="153807"/>
            </a:xfrm>
            <a:custGeom>
              <a:rect b="b" l="l" r="r" t="t"/>
              <a:pathLst>
                <a:path extrusionOk="0" h="245" w="117">
                  <a:moveTo>
                    <a:pt x="94" y="31"/>
                  </a:moveTo>
                  <a:lnTo>
                    <a:pt x="93" y="31"/>
                  </a:lnTo>
                  <a:lnTo>
                    <a:pt x="92" y="31"/>
                  </a:lnTo>
                  <a:lnTo>
                    <a:pt x="90" y="33"/>
                  </a:lnTo>
                  <a:lnTo>
                    <a:pt x="89" y="34"/>
                  </a:lnTo>
                  <a:lnTo>
                    <a:pt x="87" y="34"/>
                  </a:lnTo>
                  <a:lnTo>
                    <a:pt x="86" y="36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1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6" y="41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5" y="43"/>
                  </a:lnTo>
                  <a:lnTo>
                    <a:pt x="75" y="44"/>
                  </a:lnTo>
                  <a:lnTo>
                    <a:pt x="72" y="48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69" y="53"/>
                  </a:lnTo>
                  <a:lnTo>
                    <a:pt x="66" y="57"/>
                  </a:lnTo>
                  <a:lnTo>
                    <a:pt x="63" y="57"/>
                  </a:lnTo>
                  <a:lnTo>
                    <a:pt x="63" y="58"/>
                  </a:lnTo>
                  <a:lnTo>
                    <a:pt x="60" y="64"/>
                  </a:lnTo>
                  <a:lnTo>
                    <a:pt x="60" y="65"/>
                  </a:lnTo>
                  <a:lnTo>
                    <a:pt x="59" y="67"/>
                  </a:lnTo>
                  <a:lnTo>
                    <a:pt x="59" y="68"/>
                  </a:lnTo>
                  <a:lnTo>
                    <a:pt x="59" y="71"/>
                  </a:lnTo>
                  <a:lnTo>
                    <a:pt x="57" y="73"/>
                  </a:lnTo>
                  <a:lnTo>
                    <a:pt x="57" y="74"/>
                  </a:lnTo>
                  <a:lnTo>
                    <a:pt x="59" y="77"/>
                  </a:lnTo>
                  <a:lnTo>
                    <a:pt x="59" y="78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2" y="83"/>
                  </a:lnTo>
                  <a:lnTo>
                    <a:pt x="63" y="85"/>
                  </a:lnTo>
                  <a:lnTo>
                    <a:pt x="65" y="85"/>
                  </a:lnTo>
                  <a:lnTo>
                    <a:pt x="66" y="87"/>
                  </a:lnTo>
                  <a:lnTo>
                    <a:pt x="69" y="90"/>
                  </a:lnTo>
                  <a:lnTo>
                    <a:pt x="70" y="91"/>
                  </a:lnTo>
                  <a:lnTo>
                    <a:pt x="70" y="93"/>
                  </a:lnTo>
                  <a:lnTo>
                    <a:pt x="70" y="95"/>
                  </a:lnTo>
                  <a:lnTo>
                    <a:pt x="69" y="94"/>
                  </a:lnTo>
                  <a:lnTo>
                    <a:pt x="69" y="94"/>
                  </a:lnTo>
                  <a:lnTo>
                    <a:pt x="72" y="95"/>
                  </a:lnTo>
                  <a:lnTo>
                    <a:pt x="75" y="101"/>
                  </a:lnTo>
                  <a:lnTo>
                    <a:pt x="77" y="104"/>
                  </a:lnTo>
                  <a:lnTo>
                    <a:pt x="80" y="107"/>
                  </a:lnTo>
                  <a:lnTo>
                    <a:pt x="82" y="108"/>
                  </a:lnTo>
                  <a:lnTo>
                    <a:pt x="84" y="111"/>
                  </a:lnTo>
                  <a:lnTo>
                    <a:pt x="87" y="113"/>
                  </a:lnTo>
                  <a:lnTo>
                    <a:pt x="87" y="114"/>
                  </a:lnTo>
                  <a:lnTo>
                    <a:pt x="89" y="114"/>
                  </a:lnTo>
                  <a:lnTo>
                    <a:pt x="90" y="115"/>
                  </a:lnTo>
                  <a:lnTo>
                    <a:pt x="92" y="117"/>
                  </a:lnTo>
                  <a:lnTo>
                    <a:pt x="92" y="118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94" y="118"/>
                  </a:lnTo>
                  <a:lnTo>
                    <a:pt x="96" y="118"/>
                  </a:lnTo>
                  <a:lnTo>
                    <a:pt x="96" y="120"/>
                  </a:lnTo>
                  <a:lnTo>
                    <a:pt x="97" y="121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4"/>
                  </a:lnTo>
                  <a:lnTo>
                    <a:pt x="99" y="124"/>
                  </a:lnTo>
                  <a:lnTo>
                    <a:pt x="102" y="125"/>
                  </a:lnTo>
                  <a:lnTo>
                    <a:pt x="102" y="128"/>
                  </a:lnTo>
                  <a:lnTo>
                    <a:pt x="104" y="131"/>
                  </a:lnTo>
                  <a:lnTo>
                    <a:pt x="106" y="133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9" y="137"/>
                  </a:lnTo>
                  <a:lnTo>
                    <a:pt x="110" y="140"/>
                  </a:lnTo>
                  <a:lnTo>
                    <a:pt x="112" y="144"/>
                  </a:lnTo>
                  <a:lnTo>
                    <a:pt x="112" y="145"/>
                  </a:lnTo>
                  <a:lnTo>
                    <a:pt x="112" y="148"/>
                  </a:lnTo>
                  <a:lnTo>
                    <a:pt x="113" y="151"/>
                  </a:lnTo>
                  <a:lnTo>
                    <a:pt x="114" y="153"/>
                  </a:lnTo>
                  <a:lnTo>
                    <a:pt x="114" y="154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6" y="160"/>
                  </a:lnTo>
                  <a:lnTo>
                    <a:pt x="116" y="161"/>
                  </a:lnTo>
                  <a:lnTo>
                    <a:pt x="114" y="160"/>
                  </a:lnTo>
                  <a:lnTo>
                    <a:pt x="114" y="164"/>
                  </a:lnTo>
                  <a:lnTo>
                    <a:pt x="116" y="165"/>
                  </a:lnTo>
                  <a:lnTo>
                    <a:pt x="114" y="168"/>
                  </a:lnTo>
                  <a:lnTo>
                    <a:pt x="116" y="170"/>
                  </a:lnTo>
                  <a:lnTo>
                    <a:pt x="117" y="173"/>
                  </a:lnTo>
                  <a:lnTo>
                    <a:pt x="117" y="174"/>
                  </a:lnTo>
                  <a:lnTo>
                    <a:pt x="117" y="178"/>
                  </a:lnTo>
                  <a:lnTo>
                    <a:pt x="117" y="180"/>
                  </a:lnTo>
                  <a:lnTo>
                    <a:pt x="117" y="178"/>
                  </a:lnTo>
                  <a:lnTo>
                    <a:pt x="116" y="177"/>
                  </a:lnTo>
                  <a:lnTo>
                    <a:pt x="116" y="178"/>
                  </a:lnTo>
                  <a:lnTo>
                    <a:pt x="114" y="178"/>
                  </a:lnTo>
                  <a:lnTo>
                    <a:pt x="116" y="183"/>
                  </a:lnTo>
                  <a:lnTo>
                    <a:pt x="114" y="183"/>
                  </a:lnTo>
                  <a:lnTo>
                    <a:pt x="114" y="188"/>
                  </a:lnTo>
                  <a:lnTo>
                    <a:pt x="114" y="190"/>
                  </a:lnTo>
                  <a:lnTo>
                    <a:pt x="114" y="190"/>
                  </a:lnTo>
                  <a:lnTo>
                    <a:pt x="114" y="191"/>
                  </a:lnTo>
                  <a:lnTo>
                    <a:pt x="114" y="190"/>
                  </a:lnTo>
                  <a:lnTo>
                    <a:pt x="114" y="190"/>
                  </a:lnTo>
                  <a:lnTo>
                    <a:pt x="114" y="190"/>
                  </a:lnTo>
                  <a:lnTo>
                    <a:pt x="114" y="190"/>
                  </a:lnTo>
                  <a:lnTo>
                    <a:pt x="113" y="191"/>
                  </a:lnTo>
                  <a:lnTo>
                    <a:pt x="113" y="193"/>
                  </a:lnTo>
                  <a:lnTo>
                    <a:pt x="114" y="193"/>
                  </a:lnTo>
                  <a:lnTo>
                    <a:pt x="114" y="194"/>
                  </a:lnTo>
                  <a:lnTo>
                    <a:pt x="113" y="195"/>
                  </a:lnTo>
                  <a:lnTo>
                    <a:pt x="113" y="195"/>
                  </a:lnTo>
                  <a:lnTo>
                    <a:pt x="112" y="197"/>
                  </a:lnTo>
                  <a:lnTo>
                    <a:pt x="112" y="198"/>
                  </a:lnTo>
                  <a:lnTo>
                    <a:pt x="110" y="200"/>
                  </a:lnTo>
                  <a:lnTo>
                    <a:pt x="107" y="201"/>
                  </a:lnTo>
                  <a:lnTo>
                    <a:pt x="106" y="203"/>
                  </a:lnTo>
                  <a:lnTo>
                    <a:pt x="103" y="203"/>
                  </a:lnTo>
                  <a:lnTo>
                    <a:pt x="102" y="205"/>
                  </a:lnTo>
                  <a:lnTo>
                    <a:pt x="99" y="207"/>
                  </a:lnTo>
                  <a:lnTo>
                    <a:pt x="97" y="207"/>
                  </a:lnTo>
                  <a:lnTo>
                    <a:pt x="96" y="207"/>
                  </a:lnTo>
                  <a:lnTo>
                    <a:pt x="94" y="210"/>
                  </a:lnTo>
                  <a:lnTo>
                    <a:pt x="92" y="211"/>
                  </a:lnTo>
                  <a:lnTo>
                    <a:pt x="87" y="213"/>
                  </a:lnTo>
                  <a:lnTo>
                    <a:pt x="86" y="214"/>
                  </a:lnTo>
                  <a:lnTo>
                    <a:pt x="84" y="214"/>
                  </a:lnTo>
                  <a:lnTo>
                    <a:pt x="83" y="215"/>
                  </a:lnTo>
                  <a:lnTo>
                    <a:pt x="83" y="215"/>
                  </a:lnTo>
                  <a:lnTo>
                    <a:pt x="82" y="214"/>
                  </a:lnTo>
                  <a:lnTo>
                    <a:pt x="80" y="214"/>
                  </a:lnTo>
                  <a:lnTo>
                    <a:pt x="79" y="213"/>
                  </a:lnTo>
                  <a:lnTo>
                    <a:pt x="79" y="211"/>
                  </a:lnTo>
                  <a:lnTo>
                    <a:pt x="79" y="211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7" y="215"/>
                  </a:lnTo>
                  <a:lnTo>
                    <a:pt x="77" y="215"/>
                  </a:lnTo>
                  <a:lnTo>
                    <a:pt x="76" y="215"/>
                  </a:lnTo>
                  <a:lnTo>
                    <a:pt x="75" y="214"/>
                  </a:lnTo>
                  <a:lnTo>
                    <a:pt x="73" y="214"/>
                  </a:lnTo>
                  <a:lnTo>
                    <a:pt x="73" y="214"/>
                  </a:lnTo>
                  <a:lnTo>
                    <a:pt x="75" y="214"/>
                  </a:lnTo>
                  <a:lnTo>
                    <a:pt x="75" y="215"/>
                  </a:lnTo>
                  <a:lnTo>
                    <a:pt x="75" y="215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3" y="217"/>
                  </a:lnTo>
                  <a:lnTo>
                    <a:pt x="70" y="217"/>
                  </a:lnTo>
                  <a:lnTo>
                    <a:pt x="70" y="217"/>
                  </a:lnTo>
                  <a:lnTo>
                    <a:pt x="73" y="218"/>
                  </a:lnTo>
                  <a:lnTo>
                    <a:pt x="75" y="218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75" y="221"/>
                  </a:lnTo>
                  <a:lnTo>
                    <a:pt x="73" y="223"/>
                  </a:lnTo>
                  <a:lnTo>
                    <a:pt x="73" y="223"/>
                  </a:lnTo>
                  <a:lnTo>
                    <a:pt x="73" y="224"/>
                  </a:lnTo>
                  <a:lnTo>
                    <a:pt x="72" y="224"/>
                  </a:lnTo>
                  <a:lnTo>
                    <a:pt x="72" y="224"/>
                  </a:lnTo>
                  <a:lnTo>
                    <a:pt x="70" y="223"/>
                  </a:lnTo>
                  <a:lnTo>
                    <a:pt x="65" y="218"/>
                  </a:lnTo>
                  <a:lnTo>
                    <a:pt x="66" y="220"/>
                  </a:lnTo>
                  <a:lnTo>
                    <a:pt x="70" y="225"/>
                  </a:lnTo>
                  <a:lnTo>
                    <a:pt x="72" y="227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66" y="227"/>
                  </a:lnTo>
                  <a:lnTo>
                    <a:pt x="62" y="223"/>
                  </a:lnTo>
                  <a:lnTo>
                    <a:pt x="60" y="223"/>
                  </a:lnTo>
                  <a:lnTo>
                    <a:pt x="65" y="227"/>
                  </a:lnTo>
                  <a:lnTo>
                    <a:pt x="66" y="228"/>
                  </a:lnTo>
                  <a:lnTo>
                    <a:pt x="66" y="230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55" y="237"/>
                  </a:lnTo>
                  <a:lnTo>
                    <a:pt x="53" y="238"/>
                  </a:lnTo>
                  <a:lnTo>
                    <a:pt x="52" y="241"/>
                  </a:lnTo>
                  <a:lnTo>
                    <a:pt x="50" y="243"/>
                  </a:lnTo>
                  <a:lnTo>
                    <a:pt x="49" y="244"/>
                  </a:lnTo>
                  <a:lnTo>
                    <a:pt x="45" y="245"/>
                  </a:lnTo>
                  <a:lnTo>
                    <a:pt x="43" y="244"/>
                  </a:lnTo>
                  <a:lnTo>
                    <a:pt x="45" y="243"/>
                  </a:lnTo>
                  <a:lnTo>
                    <a:pt x="43" y="241"/>
                  </a:lnTo>
                  <a:lnTo>
                    <a:pt x="43" y="235"/>
                  </a:lnTo>
                  <a:lnTo>
                    <a:pt x="45" y="228"/>
                  </a:lnTo>
                  <a:lnTo>
                    <a:pt x="45" y="225"/>
                  </a:lnTo>
                  <a:lnTo>
                    <a:pt x="46" y="224"/>
                  </a:lnTo>
                  <a:lnTo>
                    <a:pt x="49" y="224"/>
                  </a:lnTo>
                  <a:lnTo>
                    <a:pt x="49" y="223"/>
                  </a:lnTo>
                  <a:lnTo>
                    <a:pt x="47" y="223"/>
                  </a:lnTo>
                  <a:lnTo>
                    <a:pt x="47" y="221"/>
                  </a:lnTo>
                  <a:lnTo>
                    <a:pt x="46" y="220"/>
                  </a:lnTo>
                  <a:lnTo>
                    <a:pt x="45" y="220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2" y="220"/>
                  </a:lnTo>
                  <a:lnTo>
                    <a:pt x="40" y="218"/>
                  </a:lnTo>
                  <a:lnTo>
                    <a:pt x="40" y="218"/>
                  </a:lnTo>
                  <a:lnTo>
                    <a:pt x="39" y="217"/>
                  </a:lnTo>
                  <a:lnTo>
                    <a:pt x="37" y="215"/>
                  </a:lnTo>
                  <a:lnTo>
                    <a:pt x="39" y="215"/>
                  </a:lnTo>
                  <a:lnTo>
                    <a:pt x="39" y="214"/>
                  </a:lnTo>
                  <a:lnTo>
                    <a:pt x="40" y="214"/>
                  </a:lnTo>
                  <a:lnTo>
                    <a:pt x="42" y="214"/>
                  </a:lnTo>
                  <a:lnTo>
                    <a:pt x="43" y="214"/>
                  </a:lnTo>
                  <a:lnTo>
                    <a:pt x="45" y="214"/>
                  </a:lnTo>
                  <a:lnTo>
                    <a:pt x="45" y="213"/>
                  </a:lnTo>
                  <a:lnTo>
                    <a:pt x="46" y="211"/>
                  </a:lnTo>
                  <a:lnTo>
                    <a:pt x="47" y="211"/>
                  </a:lnTo>
                  <a:lnTo>
                    <a:pt x="47" y="210"/>
                  </a:lnTo>
                  <a:lnTo>
                    <a:pt x="47" y="208"/>
                  </a:lnTo>
                  <a:lnTo>
                    <a:pt x="47" y="208"/>
                  </a:lnTo>
                  <a:lnTo>
                    <a:pt x="47" y="207"/>
                  </a:lnTo>
                  <a:lnTo>
                    <a:pt x="49" y="207"/>
                  </a:lnTo>
                  <a:lnTo>
                    <a:pt x="52" y="208"/>
                  </a:lnTo>
                  <a:lnTo>
                    <a:pt x="52" y="208"/>
                  </a:lnTo>
                  <a:lnTo>
                    <a:pt x="53" y="207"/>
                  </a:lnTo>
                  <a:lnTo>
                    <a:pt x="53" y="207"/>
                  </a:lnTo>
                  <a:lnTo>
                    <a:pt x="55" y="207"/>
                  </a:lnTo>
                  <a:lnTo>
                    <a:pt x="56" y="207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0" y="207"/>
                  </a:lnTo>
                  <a:lnTo>
                    <a:pt x="60" y="208"/>
                  </a:lnTo>
                  <a:lnTo>
                    <a:pt x="60" y="208"/>
                  </a:lnTo>
                  <a:lnTo>
                    <a:pt x="62" y="208"/>
                  </a:lnTo>
                  <a:lnTo>
                    <a:pt x="63" y="208"/>
                  </a:lnTo>
                  <a:lnTo>
                    <a:pt x="65" y="210"/>
                  </a:lnTo>
                  <a:lnTo>
                    <a:pt x="66" y="210"/>
                  </a:lnTo>
                  <a:lnTo>
                    <a:pt x="65" y="207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5" y="204"/>
                  </a:lnTo>
                  <a:lnTo>
                    <a:pt x="62" y="201"/>
                  </a:lnTo>
                  <a:lnTo>
                    <a:pt x="60" y="201"/>
                  </a:lnTo>
                  <a:lnTo>
                    <a:pt x="60" y="200"/>
                  </a:lnTo>
                  <a:lnTo>
                    <a:pt x="60" y="198"/>
                  </a:lnTo>
                  <a:lnTo>
                    <a:pt x="60" y="197"/>
                  </a:lnTo>
                  <a:lnTo>
                    <a:pt x="60" y="195"/>
                  </a:lnTo>
                  <a:lnTo>
                    <a:pt x="60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3" y="194"/>
                  </a:lnTo>
                  <a:lnTo>
                    <a:pt x="65" y="194"/>
                  </a:lnTo>
                  <a:lnTo>
                    <a:pt x="66" y="194"/>
                  </a:lnTo>
                  <a:lnTo>
                    <a:pt x="69" y="195"/>
                  </a:lnTo>
                  <a:lnTo>
                    <a:pt x="69" y="194"/>
                  </a:lnTo>
                  <a:lnTo>
                    <a:pt x="69" y="194"/>
                  </a:lnTo>
                  <a:lnTo>
                    <a:pt x="69" y="194"/>
                  </a:lnTo>
                  <a:lnTo>
                    <a:pt x="69" y="191"/>
                  </a:lnTo>
                  <a:lnTo>
                    <a:pt x="69" y="190"/>
                  </a:lnTo>
                  <a:lnTo>
                    <a:pt x="70" y="190"/>
                  </a:lnTo>
                  <a:lnTo>
                    <a:pt x="73" y="190"/>
                  </a:lnTo>
                  <a:lnTo>
                    <a:pt x="75" y="190"/>
                  </a:lnTo>
                  <a:lnTo>
                    <a:pt x="75" y="188"/>
                  </a:lnTo>
                  <a:lnTo>
                    <a:pt x="77" y="188"/>
                  </a:lnTo>
                  <a:lnTo>
                    <a:pt x="80" y="187"/>
                  </a:lnTo>
                  <a:lnTo>
                    <a:pt x="82" y="185"/>
                  </a:lnTo>
                  <a:lnTo>
                    <a:pt x="82" y="184"/>
                  </a:lnTo>
                  <a:lnTo>
                    <a:pt x="83" y="184"/>
                  </a:lnTo>
                  <a:lnTo>
                    <a:pt x="84" y="184"/>
                  </a:lnTo>
                  <a:lnTo>
                    <a:pt x="84" y="185"/>
                  </a:lnTo>
                  <a:lnTo>
                    <a:pt x="86" y="185"/>
                  </a:lnTo>
                  <a:lnTo>
                    <a:pt x="87" y="184"/>
                  </a:lnTo>
                  <a:lnTo>
                    <a:pt x="87" y="183"/>
                  </a:lnTo>
                  <a:lnTo>
                    <a:pt x="87" y="181"/>
                  </a:lnTo>
                  <a:lnTo>
                    <a:pt x="87" y="178"/>
                  </a:lnTo>
                  <a:lnTo>
                    <a:pt x="87" y="175"/>
                  </a:lnTo>
                  <a:lnTo>
                    <a:pt x="86" y="174"/>
                  </a:lnTo>
                  <a:lnTo>
                    <a:pt x="86" y="173"/>
                  </a:lnTo>
                  <a:lnTo>
                    <a:pt x="87" y="170"/>
                  </a:lnTo>
                  <a:lnTo>
                    <a:pt x="89" y="165"/>
                  </a:lnTo>
                  <a:lnTo>
                    <a:pt x="89" y="164"/>
                  </a:lnTo>
                  <a:lnTo>
                    <a:pt x="87" y="163"/>
                  </a:lnTo>
                  <a:lnTo>
                    <a:pt x="86" y="160"/>
                  </a:lnTo>
                  <a:lnTo>
                    <a:pt x="84" y="157"/>
                  </a:lnTo>
                  <a:lnTo>
                    <a:pt x="84" y="157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6" y="150"/>
                  </a:lnTo>
                  <a:lnTo>
                    <a:pt x="87" y="148"/>
                  </a:lnTo>
                  <a:lnTo>
                    <a:pt x="87" y="147"/>
                  </a:lnTo>
                  <a:lnTo>
                    <a:pt x="87" y="145"/>
                  </a:lnTo>
                  <a:lnTo>
                    <a:pt x="87" y="144"/>
                  </a:lnTo>
                  <a:lnTo>
                    <a:pt x="87" y="143"/>
                  </a:lnTo>
                  <a:lnTo>
                    <a:pt x="87" y="141"/>
                  </a:lnTo>
                  <a:lnTo>
                    <a:pt x="86" y="141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9" y="138"/>
                  </a:lnTo>
                  <a:lnTo>
                    <a:pt x="89" y="137"/>
                  </a:lnTo>
                  <a:lnTo>
                    <a:pt x="89" y="137"/>
                  </a:lnTo>
                  <a:lnTo>
                    <a:pt x="89" y="135"/>
                  </a:lnTo>
                  <a:lnTo>
                    <a:pt x="87" y="134"/>
                  </a:lnTo>
                  <a:lnTo>
                    <a:pt x="86" y="133"/>
                  </a:lnTo>
                  <a:lnTo>
                    <a:pt x="84" y="131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2" y="128"/>
                  </a:lnTo>
                  <a:lnTo>
                    <a:pt x="82" y="127"/>
                  </a:lnTo>
                  <a:lnTo>
                    <a:pt x="82" y="127"/>
                  </a:lnTo>
                  <a:lnTo>
                    <a:pt x="84" y="125"/>
                  </a:lnTo>
                  <a:lnTo>
                    <a:pt x="84" y="124"/>
                  </a:lnTo>
                  <a:lnTo>
                    <a:pt x="86" y="124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3" y="123"/>
                  </a:lnTo>
                  <a:lnTo>
                    <a:pt x="82" y="121"/>
                  </a:lnTo>
                  <a:lnTo>
                    <a:pt x="80" y="120"/>
                  </a:lnTo>
                  <a:lnTo>
                    <a:pt x="79" y="118"/>
                  </a:lnTo>
                  <a:lnTo>
                    <a:pt x="77" y="118"/>
                  </a:lnTo>
                  <a:lnTo>
                    <a:pt x="77" y="117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5" y="117"/>
                  </a:lnTo>
                  <a:lnTo>
                    <a:pt x="75" y="117"/>
                  </a:lnTo>
                  <a:lnTo>
                    <a:pt x="73" y="115"/>
                  </a:lnTo>
                  <a:lnTo>
                    <a:pt x="73" y="115"/>
                  </a:lnTo>
                  <a:lnTo>
                    <a:pt x="72" y="114"/>
                  </a:lnTo>
                  <a:lnTo>
                    <a:pt x="72" y="113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0" y="108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69" y="105"/>
                  </a:lnTo>
                  <a:lnTo>
                    <a:pt x="67" y="104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2" y="98"/>
                  </a:lnTo>
                  <a:lnTo>
                    <a:pt x="59" y="97"/>
                  </a:lnTo>
                  <a:lnTo>
                    <a:pt x="57" y="95"/>
                  </a:lnTo>
                  <a:lnTo>
                    <a:pt x="57" y="93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5" y="90"/>
                  </a:lnTo>
                  <a:lnTo>
                    <a:pt x="55" y="88"/>
                  </a:lnTo>
                  <a:lnTo>
                    <a:pt x="53" y="87"/>
                  </a:lnTo>
                  <a:lnTo>
                    <a:pt x="52" y="87"/>
                  </a:lnTo>
                  <a:lnTo>
                    <a:pt x="52" y="87"/>
                  </a:lnTo>
                  <a:lnTo>
                    <a:pt x="49" y="85"/>
                  </a:lnTo>
                  <a:lnTo>
                    <a:pt x="49" y="84"/>
                  </a:lnTo>
                  <a:lnTo>
                    <a:pt x="47" y="83"/>
                  </a:lnTo>
                  <a:lnTo>
                    <a:pt x="49" y="83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46" y="78"/>
                  </a:lnTo>
                  <a:lnTo>
                    <a:pt x="42" y="77"/>
                  </a:lnTo>
                  <a:lnTo>
                    <a:pt x="40" y="75"/>
                  </a:lnTo>
                  <a:lnTo>
                    <a:pt x="39" y="75"/>
                  </a:lnTo>
                  <a:lnTo>
                    <a:pt x="37" y="74"/>
                  </a:lnTo>
                  <a:lnTo>
                    <a:pt x="33" y="70"/>
                  </a:lnTo>
                  <a:lnTo>
                    <a:pt x="30" y="70"/>
                  </a:lnTo>
                  <a:lnTo>
                    <a:pt x="29" y="70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30" y="67"/>
                  </a:lnTo>
                  <a:lnTo>
                    <a:pt x="32" y="67"/>
                  </a:lnTo>
                  <a:lnTo>
                    <a:pt x="32" y="65"/>
                  </a:lnTo>
                  <a:lnTo>
                    <a:pt x="32" y="64"/>
                  </a:lnTo>
                  <a:lnTo>
                    <a:pt x="30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9" y="64"/>
                  </a:lnTo>
                  <a:lnTo>
                    <a:pt x="40" y="63"/>
                  </a:lnTo>
                  <a:lnTo>
                    <a:pt x="43" y="61"/>
                  </a:lnTo>
                  <a:lnTo>
                    <a:pt x="43" y="60"/>
                  </a:lnTo>
                  <a:lnTo>
                    <a:pt x="43" y="58"/>
                  </a:lnTo>
                  <a:lnTo>
                    <a:pt x="45" y="58"/>
                  </a:lnTo>
                  <a:lnTo>
                    <a:pt x="46" y="57"/>
                  </a:lnTo>
                  <a:lnTo>
                    <a:pt x="46" y="55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3" y="53"/>
                  </a:lnTo>
                  <a:lnTo>
                    <a:pt x="42" y="54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2" y="51"/>
                  </a:lnTo>
                  <a:lnTo>
                    <a:pt x="40" y="50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6" y="50"/>
                  </a:lnTo>
                  <a:lnTo>
                    <a:pt x="37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4"/>
                  </a:lnTo>
                  <a:lnTo>
                    <a:pt x="36" y="43"/>
                  </a:lnTo>
                  <a:lnTo>
                    <a:pt x="35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29" y="43"/>
                  </a:lnTo>
                  <a:lnTo>
                    <a:pt x="27" y="43"/>
                  </a:lnTo>
                  <a:lnTo>
                    <a:pt x="26" y="44"/>
                  </a:lnTo>
                  <a:lnTo>
                    <a:pt x="25" y="46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17" y="43"/>
                  </a:lnTo>
                  <a:lnTo>
                    <a:pt x="16" y="41"/>
                  </a:lnTo>
                  <a:lnTo>
                    <a:pt x="13" y="37"/>
                  </a:lnTo>
                  <a:lnTo>
                    <a:pt x="12" y="36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3" y="20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10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1"/>
                  </a:lnTo>
                  <a:lnTo>
                    <a:pt x="32" y="10"/>
                  </a:lnTo>
                  <a:lnTo>
                    <a:pt x="33" y="8"/>
                  </a:lnTo>
                  <a:lnTo>
                    <a:pt x="35" y="8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6" y="4"/>
                  </a:lnTo>
                  <a:lnTo>
                    <a:pt x="57" y="6"/>
                  </a:lnTo>
                  <a:lnTo>
                    <a:pt x="59" y="6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9" y="8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6" y="10"/>
                  </a:lnTo>
                  <a:lnTo>
                    <a:pt x="75" y="10"/>
                  </a:lnTo>
                  <a:lnTo>
                    <a:pt x="75" y="11"/>
                  </a:lnTo>
                  <a:lnTo>
                    <a:pt x="73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3" y="28"/>
                  </a:lnTo>
                  <a:lnTo>
                    <a:pt x="84" y="30"/>
                  </a:lnTo>
                  <a:lnTo>
                    <a:pt x="86" y="28"/>
                  </a:lnTo>
                  <a:lnTo>
                    <a:pt x="86" y="30"/>
                  </a:lnTo>
                  <a:lnTo>
                    <a:pt x="89" y="30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3" y="30"/>
                  </a:lnTo>
                  <a:lnTo>
                    <a:pt x="94" y="31"/>
                  </a:lnTo>
                  <a:close/>
                  <a:moveTo>
                    <a:pt x="89" y="36"/>
                  </a:moveTo>
                  <a:lnTo>
                    <a:pt x="86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7" y="36"/>
                  </a:lnTo>
                  <a:lnTo>
                    <a:pt x="89" y="36"/>
                  </a:lnTo>
                  <a:close/>
                  <a:moveTo>
                    <a:pt x="87" y="41"/>
                  </a:moveTo>
                  <a:lnTo>
                    <a:pt x="86" y="41"/>
                  </a:lnTo>
                  <a:lnTo>
                    <a:pt x="84" y="41"/>
                  </a:lnTo>
                  <a:lnTo>
                    <a:pt x="86" y="41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41"/>
                  </a:lnTo>
                  <a:close/>
                  <a:moveTo>
                    <a:pt x="76" y="43"/>
                  </a:move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6" y="41"/>
                  </a:lnTo>
                  <a:lnTo>
                    <a:pt x="76" y="43"/>
                  </a:lnTo>
                  <a:lnTo>
                    <a:pt x="76" y="43"/>
                  </a:lnTo>
                  <a:close/>
                  <a:moveTo>
                    <a:pt x="79" y="44"/>
                  </a:moveTo>
                  <a:lnTo>
                    <a:pt x="79" y="44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9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9" y="44"/>
                  </a:lnTo>
                  <a:lnTo>
                    <a:pt x="79" y="44"/>
                  </a:lnTo>
                  <a:close/>
                  <a:moveTo>
                    <a:pt x="82" y="215"/>
                  </a:moveTo>
                  <a:lnTo>
                    <a:pt x="80" y="217"/>
                  </a:lnTo>
                  <a:lnTo>
                    <a:pt x="80" y="215"/>
                  </a:lnTo>
                  <a:lnTo>
                    <a:pt x="82" y="215"/>
                  </a:lnTo>
                  <a:lnTo>
                    <a:pt x="82" y="215"/>
                  </a:lnTo>
                  <a:lnTo>
                    <a:pt x="82" y="215"/>
                  </a:lnTo>
                  <a:lnTo>
                    <a:pt x="82" y="215"/>
                  </a:lnTo>
                  <a:close/>
                  <a:moveTo>
                    <a:pt x="32" y="215"/>
                  </a:moveTo>
                  <a:lnTo>
                    <a:pt x="32" y="217"/>
                  </a:lnTo>
                  <a:lnTo>
                    <a:pt x="32" y="218"/>
                  </a:lnTo>
                  <a:lnTo>
                    <a:pt x="32" y="220"/>
                  </a:lnTo>
                  <a:lnTo>
                    <a:pt x="32" y="221"/>
                  </a:lnTo>
                  <a:lnTo>
                    <a:pt x="32" y="221"/>
                  </a:lnTo>
                  <a:lnTo>
                    <a:pt x="30" y="218"/>
                  </a:lnTo>
                  <a:lnTo>
                    <a:pt x="29" y="217"/>
                  </a:lnTo>
                  <a:lnTo>
                    <a:pt x="29" y="215"/>
                  </a:lnTo>
                  <a:lnTo>
                    <a:pt x="29" y="215"/>
                  </a:lnTo>
                  <a:lnTo>
                    <a:pt x="30" y="215"/>
                  </a:lnTo>
                  <a:lnTo>
                    <a:pt x="32" y="215"/>
                  </a:lnTo>
                  <a:lnTo>
                    <a:pt x="32" y="215"/>
                  </a:lnTo>
                  <a:close/>
                  <a:moveTo>
                    <a:pt x="73" y="243"/>
                  </a:moveTo>
                  <a:lnTo>
                    <a:pt x="72" y="244"/>
                  </a:lnTo>
                  <a:lnTo>
                    <a:pt x="72" y="243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3" y="243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1" name="Google Shape;341;p3"/>
            <p:cNvSpPr/>
            <p:nvPr/>
          </p:nvSpPr>
          <p:spPr>
            <a:xfrm>
              <a:off x="5821792" y="4511047"/>
              <a:ext cx="37870" cy="68429"/>
            </a:xfrm>
            <a:custGeom>
              <a:rect b="b" l="l" r="r" t="t"/>
              <a:pathLst>
                <a:path extrusionOk="0" h="109" w="54">
                  <a:moveTo>
                    <a:pt x="15" y="3"/>
                  </a:moveTo>
                  <a:lnTo>
                    <a:pt x="15" y="3"/>
                  </a:lnTo>
                  <a:lnTo>
                    <a:pt x="15" y="3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15" y="3"/>
                  </a:lnTo>
                  <a:close/>
                  <a:moveTo>
                    <a:pt x="17" y="9"/>
                  </a:moveTo>
                  <a:lnTo>
                    <a:pt x="17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7" y="9"/>
                  </a:lnTo>
                  <a:lnTo>
                    <a:pt x="17" y="9"/>
                  </a:lnTo>
                  <a:close/>
                  <a:moveTo>
                    <a:pt x="4" y="19"/>
                  </a:moveTo>
                  <a:lnTo>
                    <a:pt x="4" y="25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0"/>
                  </a:lnTo>
                  <a:lnTo>
                    <a:pt x="10" y="32"/>
                  </a:lnTo>
                  <a:lnTo>
                    <a:pt x="7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3" y="30"/>
                  </a:lnTo>
                  <a:lnTo>
                    <a:pt x="1" y="29"/>
                  </a:lnTo>
                  <a:lnTo>
                    <a:pt x="3" y="25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3" y="17"/>
                  </a:lnTo>
                  <a:lnTo>
                    <a:pt x="4" y="19"/>
                  </a:lnTo>
                  <a:close/>
                  <a:moveTo>
                    <a:pt x="27" y="27"/>
                  </a:moveTo>
                  <a:lnTo>
                    <a:pt x="27" y="27"/>
                  </a:lnTo>
                  <a:lnTo>
                    <a:pt x="25" y="27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7" y="25"/>
                  </a:lnTo>
                  <a:lnTo>
                    <a:pt x="27" y="27"/>
                  </a:lnTo>
                  <a:close/>
                  <a:moveTo>
                    <a:pt x="22" y="29"/>
                  </a:moveTo>
                  <a:lnTo>
                    <a:pt x="21" y="29"/>
                  </a:lnTo>
                  <a:lnTo>
                    <a:pt x="20" y="29"/>
                  </a:lnTo>
                  <a:lnTo>
                    <a:pt x="18" y="29"/>
                  </a:lnTo>
                  <a:lnTo>
                    <a:pt x="21" y="27"/>
                  </a:lnTo>
                  <a:lnTo>
                    <a:pt x="24" y="26"/>
                  </a:lnTo>
                  <a:lnTo>
                    <a:pt x="22" y="29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lnTo>
                    <a:pt x="25" y="33"/>
                  </a:lnTo>
                  <a:lnTo>
                    <a:pt x="27" y="29"/>
                  </a:lnTo>
                  <a:lnTo>
                    <a:pt x="27" y="30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7" y="37"/>
                  </a:lnTo>
                  <a:close/>
                  <a:moveTo>
                    <a:pt x="11" y="33"/>
                  </a:moveTo>
                  <a:lnTo>
                    <a:pt x="11" y="35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1" y="32"/>
                  </a:lnTo>
                  <a:lnTo>
                    <a:pt x="11" y="33"/>
                  </a:lnTo>
                  <a:close/>
                  <a:moveTo>
                    <a:pt x="14" y="40"/>
                  </a:move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17" y="46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4" y="46"/>
                  </a:lnTo>
                  <a:lnTo>
                    <a:pt x="15" y="46"/>
                  </a:lnTo>
                  <a:lnTo>
                    <a:pt x="14" y="45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39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2" y="37"/>
                  </a:lnTo>
                  <a:lnTo>
                    <a:pt x="14" y="40"/>
                  </a:lnTo>
                  <a:close/>
                  <a:moveTo>
                    <a:pt x="28" y="43"/>
                  </a:moveTo>
                  <a:lnTo>
                    <a:pt x="27" y="45"/>
                  </a:lnTo>
                  <a:lnTo>
                    <a:pt x="24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7" y="39"/>
                  </a:lnTo>
                  <a:lnTo>
                    <a:pt x="27" y="40"/>
                  </a:lnTo>
                  <a:lnTo>
                    <a:pt x="27" y="42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close/>
                  <a:moveTo>
                    <a:pt x="31" y="52"/>
                  </a:moveTo>
                  <a:lnTo>
                    <a:pt x="31" y="52"/>
                  </a:lnTo>
                  <a:lnTo>
                    <a:pt x="31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9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30" y="50"/>
                  </a:lnTo>
                  <a:lnTo>
                    <a:pt x="31" y="52"/>
                  </a:lnTo>
                  <a:close/>
                  <a:moveTo>
                    <a:pt x="31" y="63"/>
                  </a:moveTo>
                  <a:lnTo>
                    <a:pt x="32" y="66"/>
                  </a:lnTo>
                  <a:lnTo>
                    <a:pt x="32" y="66"/>
                  </a:lnTo>
                  <a:lnTo>
                    <a:pt x="32" y="67"/>
                  </a:lnTo>
                  <a:lnTo>
                    <a:pt x="30" y="69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7" y="66"/>
                  </a:lnTo>
                  <a:lnTo>
                    <a:pt x="27" y="67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30" y="65"/>
                  </a:lnTo>
                  <a:lnTo>
                    <a:pt x="31" y="63"/>
                  </a:lnTo>
                  <a:close/>
                  <a:moveTo>
                    <a:pt x="45" y="87"/>
                  </a:moveTo>
                  <a:lnTo>
                    <a:pt x="44" y="87"/>
                  </a:lnTo>
                  <a:lnTo>
                    <a:pt x="44" y="87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0" y="83"/>
                  </a:lnTo>
                  <a:lnTo>
                    <a:pt x="40" y="82"/>
                  </a:lnTo>
                  <a:lnTo>
                    <a:pt x="41" y="82"/>
                  </a:lnTo>
                  <a:lnTo>
                    <a:pt x="42" y="82"/>
                  </a:lnTo>
                  <a:lnTo>
                    <a:pt x="42" y="83"/>
                  </a:lnTo>
                  <a:lnTo>
                    <a:pt x="44" y="85"/>
                  </a:lnTo>
                  <a:lnTo>
                    <a:pt x="42" y="85"/>
                  </a:lnTo>
                  <a:lnTo>
                    <a:pt x="44" y="86"/>
                  </a:lnTo>
                  <a:lnTo>
                    <a:pt x="45" y="87"/>
                  </a:lnTo>
                  <a:close/>
                  <a:moveTo>
                    <a:pt x="48" y="97"/>
                  </a:moveTo>
                  <a:lnTo>
                    <a:pt x="47" y="99"/>
                  </a:lnTo>
                  <a:lnTo>
                    <a:pt x="45" y="99"/>
                  </a:lnTo>
                  <a:lnTo>
                    <a:pt x="44" y="97"/>
                  </a:lnTo>
                  <a:lnTo>
                    <a:pt x="42" y="96"/>
                  </a:lnTo>
                  <a:lnTo>
                    <a:pt x="44" y="94"/>
                  </a:lnTo>
                  <a:lnTo>
                    <a:pt x="44" y="93"/>
                  </a:lnTo>
                  <a:lnTo>
                    <a:pt x="45" y="93"/>
                  </a:lnTo>
                  <a:lnTo>
                    <a:pt x="45" y="96"/>
                  </a:lnTo>
                  <a:lnTo>
                    <a:pt x="48" y="97"/>
                  </a:lnTo>
                  <a:close/>
                  <a:moveTo>
                    <a:pt x="54" y="109"/>
                  </a:moveTo>
                  <a:lnTo>
                    <a:pt x="54" y="109"/>
                  </a:lnTo>
                  <a:lnTo>
                    <a:pt x="52" y="109"/>
                  </a:lnTo>
                  <a:lnTo>
                    <a:pt x="51" y="109"/>
                  </a:lnTo>
                  <a:lnTo>
                    <a:pt x="51" y="107"/>
                  </a:lnTo>
                  <a:lnTo>
                    <a:pt x="52" y="107"/>
                  </a:lnTo>
                  <a:lnTo>
                    <a:pt x="54" y="107"/>
                  </a:lnTo>
                  <a:lnTo>
                    <a:pt x="54" y="109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2" name="Google Shape;342;p3"/>
            <p:cNvSpPr/>
            <p:nvPr/>
          </p:nvSpPr>
          <p:spPr>
            <a:xfrm>
              <a:off x="6054623" y="4508536"/>
              <a:ext cx="14026" cy="6278"/>
            </a:xfrm>
            <a:custGeom>
              <a:rect b="b" l="l" r="r" t="t"/>
              <a:pathLst>
                <a:path extrusionOk="0" h="10" w="20">
                  <a:moveTo>
                    <a:pt x="7" y="0"/>
                  </a:moveTo>
                  <a:lnTo>
                    <a:pt x="9" y="1"/>
                  </a:lnTo>
                  <a:lnTo>
                    <a:pt x="9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1"/>
                  </a:lnTo>
                  <a:lnTo>
                    <a:pt x="4" y="0"/>
                  </a:lnTo>
                  <a:lnTo>
                    <a:pt x="7" y="0"/>
                  </a:lnTo>
                  <a:close/>
                  <a:moveTo>
                    <a:pt x="20" y="10"/>
                  </a:moveTo>
                  <a:lnTo>
                    <a:pt x="16" y="10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0"/>
                  </a:lnTo>
                  <a:lnTo>
                    <a:pt x="20" y="1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3" name="Google Shape;343;p3"/>
            <p:cNvSpPr/>
            <p:nvPr/>
          </p:nvSpPr>
          <p:spPr>
            <a:xfrm>
              <a:off x="4429014" y="4179577"/>
              <a:ext cx="135351" cy="69056"/>
            </a:xfrm>
            <a:custGeom>
              <a:rect b="b" l="l" r="r" t="t"/>
              <a:pathLst>
                <a:path extrusionOk="0" h="110" w="193">
                  <a:moveTo>
                    <a:pt x="170" y="39"/>
                  </a:moveTo>
                  <a:lnTo>
                    <a:pt x="161" y="41"/>
                  </a:lnTo>
                  <a:lnTo>
                    <a:pt x="160" y="43"/>
                  </a:lnTo>
                  <a:lnTo>
                    <a:pt x="157" y="44"/>
                  </a:lnTo>
                  <a:lnTo>
                    <a:pt x="156" y="47"/>
                  </a:lnTo>
                  <a:lnTo>
                    <a:pt x="156" y="50"/>
                  </a:lnTo>
                  <a:lnTo>
                    <a:pt x="156" y="54"/>
                  </a:lnTo>
                  <a:lnTo>
                    <a:pt x="156" y="56"/>
                  </a:lnTo>
                  <a:lnTo>
                    <a:pt x="154" y="57"/>
                  </a:lnTo>
                  <a:lnTo>
                    <a:pt x="151" y="57"/>
                  </a:lnTo>
                  <a:lnTo>
                    <a:pt x="150" y="59"/>
                  </a:lnTo>
                  <a:lnTo>
                    <a:pt x="148" y="59"/>
                  </a:lnTo>
                  <a:lnTo>
                    <a:pt x="147" y="60"/>
                  </a:lnTo>
                  <a:lnTo>
                    <a:pt x="146" y="61"/>
                  </a:lnTo>
                  <a:lnTo>
                    <a:pt x="141" y="63"/>
                  </a:lnTo>
                  <a:lnTo>
                    <a:pt x="136" y="64"/>
                  </a:lnTo>
                  <a:lnTo>
                    <a:pt x="128" y="66"/>
                  </a:lnTo>
                  <a:lnTo>
                    <a:pt x="126" y="67"/>
                  </a:lnTo>
                  <a:lnTo>
                    <a:pt x="123" y="69"/>
                  </a:lnTo>
                  <a:lnTo>
                    <a:pt x="118" y="69"/>
                  </a:lnTo>
                  <a:lnTo>
                    <a:pt x="113" y="71"/>
                  </a:lnTo>
                  <a:lnTo>
                    <a:pt x="110" y="73"/>
                  </a:lnTo>
                  <a:lnTo>
                    <a:pt x="106" y="74"/>
                  </a:lnTo>
                  <a:lnTo>
                    <a:pt x="104" y="76"/>
                  </a:lnTo>
                  <a:lnTo>
                    <a:pt x="104" y="77"/>
                  </a:lnTo>
                  <a:lnTo>
                    <a:pt x="103" y="79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7" y="81"/>
                  </a:lnTo>
                  <a:lnTo>
                    <a:pt x="96" y="83"/>
                  </a:lnTo>
                  <a:lnTo>
                    <a:pt x="93" y="83"/>
                  </a:lnTo>
                  <a:lnTo>
                    <a:pt x="88" y="81"/>
                  </a:lnTo>
                  <a:lnTo>
                    <a:pt x="87" y="83"/>
                  </a:lnTo>
                  <a:lnTo>
                    <a:pt x="86" y="83"/>
                  </a:lnTo>
                  <a:lnTo>
                    <a:pt x="83" y="86"/>
                  </a:lnTo>
                  <a:lnTo>
                    <a:pt x="79" y="89"/>
                  </a:lnTo>
                  <a:lnTo>
                    <a:pt x="76" y="89"/>
                  </a:lnTo>
                  <a:lnTo>
                    <a:pt x="71" y="90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4" y="93"/>
                  </a:lnTo>
                  <a:lnTo>
                    <a:pt x="59" y="93"/>
                  </a:lnTo>
                  <a:lnTo>
                    <a:pt x="54" y="93"/>
                  </a:lnTo>
                  <a:lnTo>
                    <a:pt x="50" y="94"/>
                  </a:lnTo>
                  <a:lnTo>
                    <a:pt x="49" y="96"/>
                  </a:lnTo>
                  <a:lnTo>
                    <a:pt x="46" y="99"/>
                  </a:lnTo>
                  <a:lnTo>
                    <a:pt x="43" y="99"/>
                  </a:lnTo>
                  <a:lnTo>
                    <a:pt x="41" y="100"/>
                  </a:lnTo>
                  <a:lnTo>
                    <a:pt x="40" y="103"/>
                  </a:lnTo>
                  <a:lnTo>
                    <a:pt x="39" y="103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30" y="104"/>
                  </a:lnTo>
                  <a:lnTo>
                    <a:pt x="29" y="106"/>
                  </a:lnTo>
                  <a:lnTo>
                    <a:pt x="26" y="106"/>
                  </a:lnTo>
                  <a:lnTo>
                    <a:pt x="24" y="106"/>
                  </a:lnTo>
                  <a:lnTo>
                    <a:pt x="23" y="106"/>
                  </a:lnTo>
                  <a:lnTo>
                    <a:pt x="21" y="104"/>
                  </a:lnTo>
                  <a:lnTo>
                    <a:pt x="19" y="103"/>
                  </a:lnTo>
                  <a:lnTo>
                    <a:pt x="16" y="104"/>
                  </a:lnTo>
                  <a:lnTo>
                    <a:pt x="16" y="101"/>
                  </a:lnTo>
                  <a:lnTo>
                    <a:pt x="11" y="94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1" y="86"/>
                  </a:lnTo>
                  <a:lnTo>
                    <a:pt x="10" y="83"/>
                  </a:lnTo>
                  <a:lnTo>
                    <a:pt x="10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3" y="56"/>
                  </a:lnTo>
                  <a:lnTo>
                    <a:pt x="6" y="50"/>
                  </a:lnTo>
                  <a:lnTo>
                    <a:pt x="4" y="44"/>
                  </a:lnTo>
                  <a:lnTo>
                    <a:pt x="7" y="41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6"/>
                  </a:lnTo>
                  <a:lnTo>
                    <a:pt x="19" y="26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30" y="26"/>
                  </a:lnTo>
                  <a:lnTo>
                    <a:pt x="33" y="27"/>
                  </a:lnTo>
                  <a:lnTo>
                    <a:pt x="36" y="26"/>
                  </a:lnTo>
                  <a:lnTo>
                    <a:pt x="39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4" y="27"/>
                  </a:lnTo>
                  <a:lnTo>
                    <a:pt x="47" y="29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7" y="29"/>
                  </a:lnTo>
                  <a:lnTo>
                    <a:pt x="61" y="30"/>
                  </a:lnTo>
                  <a:lnTo>
                    <a:pt x="64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9" y="30"/>
                  </a:lnTo>
                  <a:lnTo>
                    <a:pt x="70" y="31"/>
                  </a:lnTo>
                  <a:lnTo>
                    <a:pt x="71" y="34"/>
                  </a:lnTo>
                  <a:lnTo>
                    <a:pt x="74" y="34"/>
                  </a:lnTo>
                  <a:lnTo>
                    <a:pt x="76" y="33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0" y="29"/>
                  </a:lnTo>
                  <a:lnTo>
                    <a:pt x="81" y="26"/>
                  </a:lnTo>
                  <a:lnTo>
                    <a:pt x="83" y="23"/>
                  </a:lnTo>
                  <a:lnTo>
                    <a:pt x="86" y="21"/>
                  </a:lnTo>
                  <a:lnTo>
                    <a:pt x="87" y="19"/>
                  </a:lnTo>
                  <a:lnTo>
                    <a:pt x="88" y="17"/>
                  </a:lnTo>
                  <a:lnTo>
                    <a:pt x="91" y="14"/>
                  </a:lnTo>
                  <a:lnTo>
                    <a:pt x="93" y="13"/>
                  </a:lnTo>
                  <a:lnTo>
                    <a:pt x="97" y="10"/>
                  </a:lnTo>
                  <a:lnTo>
                    <a:pt x="101" y="9"/>
                  </a:lnTo>
                  <a:lnTo>
                    <a:pt x="104" y="7"/>
                  </a:lnTo>
                  <a:lnTo>
                    <a:pt x="107" y="6"/>
                  </a:lnTo>
                  <a:lnTo>
                    <a:pt x="111" y="6"/>
                  </a:lnTo>
                  <a:lnTo>
                    <a:pt x="116" y="4"/>
                  </a:lnTo>
                  <a:lnTo>
                    <a:pt x="121" y="4"/>
                  </a:lnTo>
                  <a:lnTo>
                    <a:pt x="126" y="3"/>
                  </a:lnTo>
                  <a:lnTo>
                    <a:pt x="131" y="3"/>
                  </a:lnTo>
                  <a:lnTo>
                    <a:pt x="136" y="1"/>
                  </a:lnTo>
                  <a:lnTo>
                    <a:pt x="140" y="1"/>
                  </a:lnTo>
                  <a:lnTo>
                    <a:pt x="144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53" y="1"/>
                  </a:lnTo>
                  <a:lnTo>
                    <a:pt x="153" y="3"/>
                  </a:lnTo>
                  <a:lnTo>
                    <a:pt x="154" y="4"/>
                  </a:lnTo>
                  <a:lnTo>
                    <a:pt x="154" y="7"/>
                  </a:lnTo>
                  <a:lnTo>
                    <a:pt x="156" y="9"/>
                  </a:lnTo>
                  <a:lnTo>
                    <a:pt x="156" y="10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8" y="14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0" y="20"/>
                  </a:lnTo>
                  <a:lnTo>
                    <a:pt x="161" y="21"/>
                  </a:lnTo>
                  <a:lnTo>
                    <a:pt x="161" y="23"/>
                  </a:lnTo>
                  <a:lnTo>
                    <a:pt x="163" y="24"/>
                  </a:lnTo>
                  <a:lnTo>
                    <a:pt x="163" y="27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30"/>
                  </a:lnTo>
                  <a:lnTo>
                    <a:pt x="167" y="33"/>
                  </a:lnTo>
                  <a:lnTo>
                    <a:pt x="167" y="34"/>
                  </a:lnTo>
                  <a:lnTo>
                    <a:pt x="168" y="37"/>
                  </a:lnTo>
                  <a:lnTo>
                    <a:pt x="170" y="39"/>
                  </a:lnTo>
                  <a:close/>
                  <a:moveTo>
                    <a:pt x="1" y="61"/>
                  </a:moveTo>
                  <a:lnTo>
                    <a:pt x="1" y="61"/>
                  </a:lnTo>
                  <a:lnTo>
                    <a:pt x="0" y="61"/>
                  </a:lnTo>
                  <a:lnTo>
                    <a:pt x="1" y="60"/>
                  </a:lnTo>
                  <a:lnTo>
                    <a:pt x="1" y="59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1"/>
                  </a:lnTo>
                  <a:close/>
                  <a:moveTo>
                    <a:pt x="4" y="83"/>
                  </a:moveTo>
                  <a:lnTo>
                    <a:pt x="4" y="84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4" y="81"/>
                  </a:ln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4" y="87"/>
                  </a:moveTo>
                  <a:lnTo>
                    <a:pt x="3" y="89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close/>
                  <a:moveTo>
                    <a:pt x="180" y="106"/>
                  </a:moveTo>
                  <a:lnTo>
                    <a:pt x="181" y="106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3" y="107"/>
                  </a:lnTo>
                  <a:lnTo>
                    <a:pt x="191" y="107"/>
                  </a:lnTo>
                  <a:lnTo>
                    <a:pt x="191" y="107"/>
                  </a:lnTo>
                  <a:lnTo>
                    <a:pt x="188" y="109"/>
                  </a:lnTo>
                  <a:lnTo>
                    <a:pt x="185" y="110"/>
                  </a:lnTo>
                  <a:lnTo>
                    <a:pt x="180" y="110"/>
                  </a:lnTo>
                  <a:lnTo>
                    <a:pt x="178" y="110"/>
                  </a:lnTo>
                  <a:lnTo>
                    <a:pt x="176" y="109"/>
                  </a:lnTo>
                  <a:lnTo>
                    <a:pt x="173" y="107"/>
                  </a:lnTo>
                  <a:lnTo>
                    <a:pt x="174" y="106"/>
                  </a:lnTo>
                  <a:lnTo>
                    <a:pt x="174" y="106"/>
                  </a:lnTo>
                  <a:lnTo>
                    <a:pt x="176" y="104"/>
                  </a:lnTo>
                  <a:lnTo>
                    <a:pt x="177" y="104"/>
                  </a:lnTo>
                  <a:lnTo>
                    <a:pt x="178" y="104"/>
                  </a:lnTo>
                  <a:lnTo>
                    <a:pt x="180" y="10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4" name="Google Shape;344;p3"/>
            <p:cNvSpPr/>
            <p:nvPr/>
          </p:nvSpPr>
          <p:spPr>
            <a:xfrm>
              <a:off x="4135872" y="4600193"/>
              <a:ext cx="241246" cy="306359"/>
            </a:xfrm>
            <a:custGeom>
              <a:rect b="b" l="l" r="r" t="t"/>
              <a:pathLst>
                <a:path extrusionOk="0" h="488" w="344">
                  <a:moveTo>
                    <a:pt x="238" y="4"/>
                  </a:moveTo>
                  <a:lnTo>
                    <a:pt x="238" y="5"/>
                  </a:lnTo>
                  <a:lnTo>
                    <a:pt x="238" y="5"/>
                  </a:lnTo>
                  <a:lnTo>
                    <a:pt x="240" y="8"/>
                  </a:lnTo>
                  <a:lnTo>
                    <a:pt x="241" y="11"/>
                  </a:lnTo>
                  <a:lnTo>
                    <a:pt x="241" y="15"/>
                  </a:lnTo>
                  <a:lnTo>
                    <a:pt x="243" y="20"/>
                  </a:lnTo>
                  <a:lnTo>
                    <a:pt x="243" y="22"/>
                  </a:lnTo>
                  <a:lnTo>
                    <a:pt x="243" y="22"/>
                  </a:lnTo>
                  <a:lnTo>
                    <a:pt x="244" y="24"/>
                  </a:lnTo>
                  <a:lnTo>
                    <a:pt x="244" y="27"/>
                  </a:lnTo>
                  <a:lnTo>
                    <a:pt x="245" y="27"/>
                  </a:lnTo>
                  <a:lnTo>
                    <a:pt x="245" y="28"/>
                  </a:lnTo>
                  <a:lnTo>
                    <a:pt x="247" y="30"/>
                  </a:lnTo>
                  <a:lnTo>
                    <a:pt x="247" y="32"/>
                  </a:lnTo>
                  <a:lnTo>
                    <a:pt x="248" y="35"/>
                  </a:lnTo>
                  <a:lnTo>
                    <a:pt x="248" y="38"/>
                  </a:lnTo>
                  <a:lnTo>
                    <a:pt x="250" y="38"/>
                  </a:lnTo>
                  <a:lnTo>
                    <a:pt x="250" y="40"/>
                  </a:lnTo>
                  <a:lnTo>
                    <a:pt x="250" y="42"/>
                  </a:lnTo>
                  <a:lnTo>
                    <a:pt x="250" y="47"/>
                  </a:lnTo>
                  <a:lnTo>
                    <a:pt x="250" y="51"/>
                  </a:lnTo>
                  <a:lnTo>
                    <a:pt x="250" y="54"/>
                  </a:lnTo>
                  <a:lnTo>
                    <a:pt x="250" y="55"/>
                  </a:lnTo>
                  <a:lnTo>
                    <a:pt x="250" y="61"/>
                  </a:lnTo>
                  <a:lnTo>
                    <a:pt x="248" y="62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4" y="65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37" y="64"/>
                  </a:lnTo>
                  <a:lnTo>
                    <a:pt x="235" y="67"/>
                  </a:lnTo>
                  <a:lnTo>
                    <a:pt x="234" y="68"/>
                  </a:lnTo>
                  <a:lnTo>
                    <a:pt x="233" y="71"/>
                  </a:lnTo>
                  <a:lnTo>
                    <a:pt x="231" y="74"/>
                  </a:lnTo>
                  <a:lnTo>
                    <a:pt x="230" y="75"/>
                  </a:lnTo>
                  <a:lnTo>
                    <a:pt x="230" y="78"/>
                  </a:lnTo>
                  <a:lnTo>
                    <a:pt x="231" y="81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84"/>
                  </a:lnTo>
                  <a:lnTo>
                    <a:pt x="235" y="87"/>
                  </a:lnTo>
                  <a:lnTo>
                    <a:pt x="238" y="90"/>
                  </a:lnTo>
                  <a:lnTo>
                    <a:pt x="241" y="90"/>
                  </a:lnTo>
                  <a:lnTo>
                    <a:pt x="245" y="91"/>
                  </a:lnTo>
                  <a:lnTo>
                    <a:pt x="250" y="91"/>
                  </a:lnTo>
                  <a:lnTo>
                    <a:pt x="248" y="88"/>
                  </a:lnTo>
                  <a:lnTo>
                    <a:pt x="250" y="84"/>
                  </a:lnTo>
                  <a:lnTo>
                    <a:pt x="250" y="81"/>
                  </a:lnTo>
                  <a:lnTo>
                    <a:pt x="250" y="81"/>
                  </a:lnTo>
                  <a:lnTo>
                    <a:pt x="251" y="82"/>
                  </a:lnTo>
                  <a:lnTo>
                    <a:pt x="251" y="82"/>
                  </a:lnTo>
                  <a:lnTo>
                    <a:pt x="253" y="82"/>
                  </a:lnTo>
                  <a:lnTo>
                    <a:pt x="255" y="82"/>
                  </a:lnTo>
                  <a:lnTo>
                    <a:pt x="257" y="82"/>
                  </a:lnTo>
                  <a:lnTo>
                    <a:pt x="260" y="82"/>
                  </a:lnTo>
                  <a:lnTo>
                    <a:pt x="263" y="82"/>
                  </a:lnTo>
                  <a:lnTo>
                    <a:pt x="264" y="82"/>
                  </a:lnTo>
                  <a:lnTo>
                    <a:pt x="264" y="87"/>
                  </a:lnTo>
                  <a:lnTo>
                    <a:pt x="261" y="92"/>
                  </a:lnTo>
                  <a:lnTo>
                    <a:pt x="260" y="95"/>
                  </a:lnTo>
                  <a:lnTo>
                    <a:pt x="258" y="107"/>
                  </a:lnTo>
                  <a:lnTo>
                    <a:pt x="255" y="112"/>
                  </a:lnTo>
                  <a:lnTo>
                    <a:pt x="254" y="114"/>
                  </a:lnTo>
                  <a:lnTo>
                    <a:pt x="250" y="118"/>
                  </a:lnTo>
                  <a:lnTo>
                    <a:pt x="250" y="120"/>
                  </a:lnTo>
                  <a:lnTo>
                    <a:pt x="248" y="120"/>
                  </a:lnTo>
                  <a:lnTo>
                    <a:pt x="247" y="120"/>
                  </a:lnTo>
                  <a:lnTo>
                    <a:pt x="240" y="128"/>
                  </a:lnTo>
                  <a:lnTo>
                    <a:pt x="237" y="132"/>
                  </a:lnTo>
                  <a:lnTo>
                    <a:pt x="234" y="138"/>
                  </a:lnTo>
                  <a:lnTo>
                    <a:pt x="231" y="141"/>
                  </a:lnTo>
                  <a:lnTo>
                    <a:pt x="228" y="147"/>
                  </a:lnTo>
                  <a:lnTo>
                    <a:pt x="225" y="152"/>
                  </a:lnTo>
                  <a:lnTo>
                    <a:pt x="223" y="157"/>
                  </a:lnTo>
                  <a:lnTo>
                    <a:pt x="217" y="164"/>
                  </a:lnTo>
                  <a:lnTo>
                    <a:pt x="216" y="165"/>
                  </a:lnTo>
                  <a:lnTo>
                    <a:pt x="214" y="167"/>
                  </a:lnTo>
                  <a:lnTo>
                    <a:pt x="210" y="171"/>
                  </a:lnTo>
                  <a:lnTo>
                    <a:pt x="204" y="177"/>
                  </a:lnTo>
                  <a:lnTo>
                    <a:pt x="200" y="182"/>
                  </a:lnTo>
                  <a:lnTo>
                    <a:pt x="193" y="188"/>
                  </a:lnTo>
                  <a:lnTo>
                    <a:pt x="190" y="191"/>
                  </a:lnTo>
                  <a:lnTo>
                    <a:pt x="184" y="197"/>
                  </a:lnTo>
                  <a:lnTo>
                    <a:pt x="181" y="197"/>
                  </a:lnTo>
                  <a:lnTo>
                    <a:pt x="176" y="202"/>
                  </a:lnTo>
                  <a:lnTo>
                    <a:pt x="171" y="205"/>
                  </a:lnTo>
                  <a:lnTo>
                    <a:pt x="164" y="209"/>
                  </a:lnTo>
                  <a:lnTo>
                    <a:pt x="161" y="209"/>
                  </a:lnTo>
                  <a:lnTo>
                    <a:pt x="154" y="209"/>
                  </a:lnTo>
                  <a:lnTo>
                    <a:pt x="151" y="209"/>
                  </a:lnTo>
                  <a:lnTo>
                    <a:pt x="148" y="212"/>
                  </a:lnTo>
                  <a:lnTo>
                    <a:pt x="148" y="215"/>
                  </a:lnTo>
                  <a:lnTo>
                    <a:pt x="147" y="215"/>
                  </a:lnTo>
                  <a:lnTo>
                    <a:pt x="146" y="215"/>
                  </a:lnTo>
                  <a:lnTo>
                    <a:pt x="140" y="214"/>
                  </a:lnTo>
                  <a:lnTo>
                    <a:pt x="137" y="214"/>
                  </a:lnTo>
                  <a:lnTo>
                    <a:pt x="136" y="215"/>
                  </a:lnTo>
                  <a:lnTo>
                    <a:pt x="136" y="218"/>
                  </a:lnTo>
                  <a:lnTo>
                    <a:pt x="131" y="218"/>
                  </a:lnTo>
                  <a:lnTo>
                    <a:pt x="124" y="215"/>
                  </a:lnTo>
                  <a:lnTo>
                    <a:pt x="117" y="214"/>
                  </a:lnTo>
                  <a:lnTo>
                    <a:pt x="116" y="214"/>
                  </a:lnTo>
                  <a:lnTo>
                    <a:pt x="111" y="215"/>
                  </a:lnTo>
                  <a:lnTo>
                    <a:pt x="110" y="217"/>
                  </a:lnTo>
                  <a:lnTo>
                    <a:pt x="104" y="215"/>
                  </a:lnTo>
                  <a:lnTo>
                    <a:pt x="101" y="215"/>
                  </a:lnTo>
                  <a:lnTo>
                    <a:pt x="99" y="215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86" y="222"/>
                  </a:lnTo>
                  <a:lnTo>
                    <a:pt x="83" y="222"/>
                  </a:lnTo>
                  <a:lnTo>
                    <a:pt x="79" y="222"/>
                  </a:lnTo>
                  <a:lnTo>
                    <a:pt x="77" y="222"/>
                  </a:lnTo>
                  <a:lnTo>
                    <a:pt x="74" y="221"/>
                  </a:lnTo>
                  <a:lnTo>
                    <a:pt x="73" y="221"/>
                  </a:lnTo>
                  <a:lnTo>
                    <a:pt x="71" y="222"/>
                  </a:lnTo>
                  <a:lnTo>
                    <a:pt x="70" y="222"/>
                  </a:lnTo>
                  <a:lnTo>
                    <a:pt x="66" y="224"/>
                  </a:lnTo>
                  <a:lnTo>
                    <a:pt x="64" y="224"/>
                  </a:lnTo>
                  <a:lnTo>
                    <a:pt x="59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1" y="229"/>
                  </a:lnTo>
                  <a:lnTo>
                    <a:pt x="49" y="227"/>
                  </a:lnTo>
                  <a:lnTo>
                    <a:pt x="46" y="227"/>
                  </a:lnTo>
                  <a:lnTo>
                    <a:pt x="47" y="225"/>
                  </a:lnTo>
                  <a:lnTo>
                    <a:pt x="47" y="224"/>
                  </a:lnTo>
                  <a:lnTo>
                    <a:pt x="46" y="222"/>
                  </a:lnTo>
                  <a:lnTo>
                    <a:pt x="46" y="222"/>
                  </a:lnTo>
                  <a:lnTo>
                    <a:pt x="44" y="222"/>
                  </a:lnTo>
                  <a:lnTo>
                    <a:pt x="43" y="221"/>
                  </a:lnTo>
                  <a:lnTo>
                    <a:pt x="41" y="221"/>
                  </a:lnTo>
                  <a:lnTo>
                    <a:pt x="40" y="221"/>
                  </a:lnTo>
                  <a:lnTo>
                    <a:pt x="39" y="221"/>
                  </a:lnTo>
                  <a:lnTo>
                    <a:pt x="39" y="221"/>
                  </a:lnTo>
                  <a:lnTo>
                    <a:pt x="39" y="219"/>
                  </a:lnTo>
                  <a:lnTo>
                    <a:pt x="39" y="218"/>
                  </a:lnTo>
                  <a:lnTo>
                    <a:pt x="39" y="217"/>
                  </a:lnTo>
                  <a:lnTo>
                    <a:pt x="37" y="217"/>
                  </a:lnTo>
                  <a:lnTo>
                    <a:pt x="37" y="215"/>
                  </a:lnTo>
                  <a:lnTo>
                    <a:pt x="36" y="217"/>
                  </a:lnTo>
                  <a:lnTo>
                    <a:pt x="34" y="217"/>
                  </a:lnTo>
                  <a:lnTo>
                    <a:pt x="33" y="217"/>
                  </a:lnTo>
                  <a:lnTo>
                    <a:pt x="33" y="218"/>
                  </a:lnTo>
                  <a:lnTo>
                    <a:pt x="33" y="221"/>
                  </a:lnTo>
                  <a:lnTo>
                    <a:pt x="31" y="221"/>
                  </a:lnTo>
                  <a:lnTo>
                    <a:pt x="31" y="218"/>
                  </a:lnTo>
                  <a:lnTo>
                    <a:pt x="31" y="217"/>
                  </a:lnTo>
                  <a:lnTo>
                    <a:pt x="31" y="214"/>
                  </a:lnTo>
                  <a:lnTo>
                    <a:pt x="33" y="212"/>
                  </a:lnTo>
                  <a:lnTo>
                    <a:pt x="33" y="211"/>
                  </a:lnTo>
                  <a:lnTo>
                    <a:pt x="33" y="209"/>
                  </a:lnTo>
                  <a:lnTo>
                    <a:pt x="30" y="205"/>
                  </a:lnTo>
                  <a:lnTo>
                    <a:pt x="30" y="204"/>
                  </a:lnTo>
                  <a:lnTo>
                    <a:pt x="29" y="202"/>
                  </a:lnTo>
                  <a:lnTo>
                    <a:pt x="27" y="199"/>
                  </a:lnTo>
                  <a:lnTo>
                    <a:pt x="26" y="198"/>
                  </a:lnTo>
                  <a:lnTo>
                    <a:pt x="24" y="197"/>
                  </a:lnTo>
                  <a:lnTo>
                    <a:pt x="24" y="195"/>
                  </a:lnTo>
                  <a:lnTo>
                    <a:pt x="23" y="192"/>
                  </a:lnTo>
                  <a:lnTo>
                    <a:pt x="24" y="191"/>
                  </a:lnTo>
                  <a:lnTo>
                    <a:pt x="24" y="189"/>
                  </a:lnTo>
                  <a:lnTo>
                    <a:pt x="26" y="191"/>
                  </a:lnTo>
                  <a:lnTo>
                    <a:pt x="27" y="191"/>
                  </a:lnTo>
                  <a:lnTo>
                    <a:pt x="30" y="189"/>
                  </a:lnTo>
                  <a:lnTo>
                    <a:pt x="31" y="187"/>
                  </a:lnTo>
                  <a:lnTo>
                    <a:pt x="31" y="181"/>
                  </a:lnTo>
                  <a:lnTo>
                    <a:pt x="30" y="179"/>
                  </a:lnTo>
                  <a:lnTo>
                    <a:pt x="29" y="172"/>
                  </a:lnTo>
                  <a:lnTo>
                    <a:pt x="29" y="169"/>
                  </a:lnTo>
                  <a:lnTo>
                    <a:pt x="24" y="165"/>
                  </a:lnTo>
                  <a:lnTo>
                    <a:pt x="20" y="158"/>
                  </a:lnTo>
                  <a:lnTo>
                    <a:pt x="16" y="148"/>
                  </a:lnTo>
                  <a:lnTo>
                    <a:pt x="13" y="141"/>
                  </a:lnTo>
                  <a:lnTo>
                    <a:pt x="9" y="128"/>
                  </a:lnTo>
                  <a:lnTo>
                    <a:pt x="6" y="121"/>
                  </a:lnTo>
                  <a:lnTo>
                    <a:pt x="2" y="114"/>
                  </a:lnTo>
                  <a:lnTo>
                    <a:pt x="0" y="114"/>
                  </a:lnTo>
                  <a:lnTo>
                    <a:pt x="2" y="114"/>
                  </a:lnTo>
                  <a:lnTo>
                    <a:pt x="3" y="111"/>
                  </a:lnTo>
                  <a:lnTo>
                    <a:pt x="4" y="111"/>
                  </a:lnTo>
                  <a:lnTo>
                    <a:pt x="6" y="111"/>
                  </a:lnTo>
                  <a:lnTo>
                    <a:pt x="6" y="111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7" y="108"/>
                  </a:lnTo>
                  <a:lnTo>
                    <a:pt x="7" y="107"/>
                  </a:lnTo>
                  <a:lnTo>
                    <a:pt x="7" y="105"/>
                  </a:lnTo>
                  <a:lnTo>
                    <a:pt x="9" y="104"/>
                  </a:lnTo>
                  <a:lnTo>
                    <a:pt x="10" y="104"/>
                  </a:lnTo>
                  <a:lnTo>
                    <a:pt x="12" y="104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4" y="107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4"/>
                  </a:lnTo>
                  <a:lnTo>
                    <a:pt x="17" y="115"/>
                  </a:lnTo>
                  <a:lnTo>
                    <a:pt x="20" y="117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6" y="118"/>
                  </a:lnTo>
                  <a:lnTo>
                    <a:pt x="27" y="118"/>
                  </a:lnTo>
                  <a:lnTo>
                    <a:pt x="30" y="120"/>
                  </a:lnTo>
                  <a:lnTo>
                    <a:pt x="36" y="118"/>
                  </a:lnTo>
                  <a:lnTo>
                    <a:pt x="39" y="118"/>
                  </a:lnTo>
                  <a:lnTo>
                    <a:pt x="41" y="120"/>
                  </a:lnTo>
                  <a:lnTo>
                    <a:pt x="44" y="120"/>
                  </a:lnTo>
                  <a:lnTo>
                    <a:pt x="46" y="120"/>
                  </a:lnTo>
                  <a:lnTo>
                    <a:pt x="46" y="118"/>
                  </a:lnTo>
                  <a:lnTo>
                    <a:pt x="46" y="117"/>
                  </a:lnTo>
                  <a:lnTo>
                    <a:pt x="47" y="117"/>
                  </a:lnTo>
                  <a:lnTo>
                    <a:pt x="49" y="115"/>
                  </a:lnTo>
                  <a:lnTo>
                    <a:pt x="50" y="115"/>
                  </a:lnTo>
                  <a:lnTo>
                    <a:pt x="50" y="114"/>
                  </a:lnTo>
                  <a:lnTo>
                    <a:pt x="53" y="112"/>
                  </a:lnTo>
                  <a:lnTo>
                    <a:pt x="56" y="111"/>
                  </a:lnTo>
                  <a:lnTo>
                    <a:pt x="57" y="111"/>
                  </a:lnTo>
                  <a:lnTo>
                    <a:pt x="57" y="108"/>
                  </a:lnTo>
                  <a:lnTo>
                    <a:pt x="57" y="101"/>
                  </a:lnTo>
                  <a:lnTo>
                    <a:pt x="57" y="92"/>
                  </a:lnTo>
                  <a:lnTo>
                    <a:pt x="57" y="84"/>
                  </a:lnTo>
                  <a:lnTo>
                    <a:pt x="57" y="77"/>
                  </a:lnTo>
                  <a:lnTo>
                    <a:pt x="57" y="68"/>
                  </a:lnTo>
                  <a:lnTo>
                    <a:pt x="57" y="61"/>
                  </a:lnTo>
                  <a:lnTo>
                    <a:pt x="57" y="52"/>
                  </a:lnTo>
                  <a:lnTo>
                    <a:pt x="57" y="45"/>
                  </a:lnTo>
                  <a:lnTo>
                    <a:pt x="59" y="45"/>
                  </a:lnTo>
                  <a:lnTo>
                    <a:pt x="63" y="50"/>
                  </a:lnTo>
                  <a:lnTo>
                    <a:pt x="64" y="52"/>
                  </a:lnTo>
                  <a:lnTo>
                    <a:pt x="66" y="54"/>
                  </a:lnTo>
                  <a:lnTo>
                    <a:pt x="67" y="58"/>
                  </a:lnTo>
                  <a:lnTo>
                    <a:pt x="69" y="62"/>
                  </a:lnTo>
                  <a:lnTo>
                    <a:pt x="70" y="65"/>
                  </a:lnTo>
                  <a:lnTo>
                    <a:pt x="70" y="67"/>
                  </a:lnTo>
                  <a:lnTo>
                    <a:pt x="70" y="68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71"/>
                  </a:lnTo>
                  <a:lnTo>
                    <a:pt x="69" y="72"/>
                  </a:lnTo>
                  <a:lnTo>
                    <a:pt x="67" y="75"/>
                  </a:lnTo>
                  <a:lnTo>
                    <a:pt x="67" y="77"/>
                  </a:lnTo>
                  <a:lnTo>
                    <a:pt x="69" y="80"/>
                  </a:lnTo>
                  <a:lnTo>
                    <a:pt x="69" y="81"/>
                  </a:lnTo>
                  <a:lnTo>
                    <a:pt x="70" y="82"/>
                  </a:lnTo>
                  <a:lnTo>
                    <a:pt x="71" y="81"/>
                  </a:lnTo>
                  <a:lnTo>
                    <a:pt x="73" y="81"/>
                  </a:lnTo>
                  <a:lnTo>
                    <a:pt x="74" y="82"/>
                  </a:lnTo>
                  <a:lnTo>
                    <a:pt x="81" y="82"/>
                  </a:lnTo>
                  <a:lnTo>
                    <a:pt x="81" y="82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86" y="81"/>
                  </a:lnTo>
                  <a:lnTo>
                    <a:pt x="86" y="80"/>
                  </a:lnTo>
                  <a:lnTo>
                    <a:pt x="87" y="80"/>
                  </a:lnTo>
                  <a:lnTo>
                    <a:pt x="89" y="78"/>
                  </a:lnTo>
                  <a:lnTo>
                    <a:pt x="90" y="78"/>
                  </a:lnTo>
                  <a:lnTo>
                    <a:pt x="91" y="77"/>
                  </a:lnTo>
                  <a:lnTo>
                    <a:pt x="93" y="74"/>
                  </a:lnTo>
                  <a:lnTo>
                    <a:pt x="97" y="71"/>
                  </a:lnTo>
                  <a:lnTo>
                    <a:pt x="99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1" y="64"/>
                  </a:lnTo>
                  <a:lnTo>
                    <a:pt x="103" y="61"/>
                  </a:lnTo>
                  <a:lnTo>
                    <a:pt x="103" y="60"/>
                  </a:lnTo>
                  <a:lnTo>
                    <a:pt x="104" y="57"/>
                  </a:lnTo>
                  <a:lnTo>
                    <a:pt x="104" y="55"/>
                  </a:lnTo>
                  <a:lnTo>
                    <a:pt x="106" y="55"/>
                  </a:lnTo>
                  <a:lnTo>
                    <a:pt x="107" y="55"/>
                  </a:lnTo>
                  <a:lnTo>
                    <a:pt x="109" y="54"/>
                  </a:lnTo>
                  <a:lnTo>
                    <a:pt x="110" y="54"/>
                  </a:lnTo>
                  <a:lnTo>
                    <a:pt x="111" y="54"/>
                  </a:lnTo>
                  <a:lnTo>
                    <a:pt x="114" y="55"/>
                  </a:lnTo>
                  <a:lnTo>
                    <a:pt x="117" y="57"/>
                  </a:lnTo>
                  <a:lnTo>
                    <a:pt x="119" y="60"/>
                  </a:lnTo>
                  <a:lnTo>
                    <a:pt x="120" y="60"/>
                  </a:lnTo>
                  <a:lnTo>
                    <a:pt x="121" y="61"/>
                  </a:lnTo>
                  <a:lnTo>
                    <a:pt x="123" y="61"/>
                  </a:lnTo>
                  <a:lnTo>
                    <a:pt x="124" y="61"/>
                  </a:lnTo>
                  <a:lnTo>
                    <a:pt x="127" y="62"/>
                  </a:lnTo>
                  <a:lnTo>
                    <a:pt x="128" y="62"/>
                  </a:lnTo>
                  <a:lnTo>
                    <a:pt x="131" y="62"/>
                  </a:lnTo>
                  <a:lnTo>
                    <a:pt x="134" y="64"/>
                  </a:lnTo>
                  <a:lnTo>
                    <a:pt x="136" y="64"/>
                  </a:lnTo>
                  <a:lnTo>
                    <a:pt x="137" y="62"/>
                  </a:lnTo>
                  <a:lnTo>
                    <a:pt x="140" y="62"/>
                  </a:lnTo>
                  <a:lnTo>
                    <a:pt x="141" y="62"/>
                  </a:lnTo>
                  <a:lnTo>
                    <a:pt x="143" y="62"/>
                  </a:lnTo>
                  <a:lnTo>
                    <a:pt x="144" y="62"/>
                  </a:lnTo>
                  <a:lnTo>
                    <a:pt x="146" y="61"/>
                  </a:lnTo>
                  <a:lnTo>
                    <a:pt x="147" y="60"/>
                  </a:lnTo>
                  <a:lnTo>
                    <a:pt x="148" y="57"/>
                  </a:lnTo>
                  <a:lnTo>
                    <a:pt x="148" y="55"/>
                  </a:lnTo>
                  <a:lnTo>
                    <a:pt x="150" y="52"/>
                  </a:lnTo>
                  <a:lnTo>
                    <a:pt x="151" y="48"/>
                  </a:lnTo>
                  <a:lnTo>
                    <a:pt x="151" y="45"/>
                  </a:lnTo>
                  <a:lnTo>
                    <a:pt x="153" y="45"/>
                  </a:lnTo>
                  <a:lnTo>
                    <a:pt x="154" y="44"/>
                  </a:lnTo>
                  <a:lnTo>
                    <a:pt x="156" y="44"/>
                  </a:lnTo>
                  <a:lnTo>
                    <a:pt x="160" y="42"/>
                  </a:lnTo>
                  <a:lnTo>
                    <a:pt x="161" y="42"/>
                  </a:lnTo>
                  <a:lnTo>
                    <a:pt x="161" y="41"/>
                  </a:lnTo>
                  <a:lnTo>
                    <a:pt x="164" y="38"/>
                  </a:lnTo>
                  <a:lnTo>
                    <a:pt x="166" y="37"/>
                  </a:lnTo>
                  <a:lnTo>
                    <a:pt x="167" y="35"/>
                  </a:lnTo>
                  <a:lnTo>
                    <a:pt x="170" y="28"/>
                  </a:lnTo>
                  <a:lnTo>
                    <a:pt x="170" y="27"/>
                  </a:lnTo>
                  <a:lnTo>
                    <a:pt x="171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6" y="21"/>
                  </a:lnTo>
                  <a:lnTo>
                    <a:pt x="178" y="21"/>
                  </a:lnTo>
                  <a:lnTo>
                    <a:pt x="178" y="20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83" y="17"/>
                  </a:lnTo>
                  <a:lnTo>
                    <a:pt x="183" y="17"/>
                  </a:lnTo>
                  <a:lnTo>
                    <a:pt x="184" y="15"/>
                  </a:lnTo>
                  <a:lnTo>
                    <a:pt x="184" y="15"/>
                  </a:lnTo>
                  <a:lnTo>
                    <a:pt x="184" y="14"/>
                  </a:lnTo>
                  <a:lnTo>
                    <a:pt x="186" y="12"/>
                  </a:lnTo>
                  <a:lnTo>
                    <a:pt x="190" y="10"/>
                  </a:lnTo>
                  <a:lnTo>
                    <a:pt x="191" y="7"/>
                  </a:lnTo>
                  <a:lnTo>
                    <a:pt x="194" y="7"/>
                  </a:lnTo>
                  <a:lnTo>
                    <a:pt x="197" y="7"/>
                  </a:lnTo>
                  <a:lnTo>
                    <a:pt x="200" y="5"/>
                  </a:lnTo>
                  <a:lnTo>
                    <a:pt x="201" y="4"/>
                  </a:lnTo>
                  <a:lnTo>
                    <a:pt x="203" y="2"/>
                  </a:lnTo>
                  <a:lnTo>
                    <a:pt x="204" y="1"/>
                  </a:lnTo>
                  <a:lnTo>
                    <a:pt x="207" y="1"/>
                  </a:lnTo>
                  <a:lnTo>
                    <a:pt x="208" y="1"/>
                  </a:lnTo>
                  <a:lnTo>
                    <a:pt x="213" y="0"/>
                  </a:lnTo>
                  <a:lnTo>
                    <a:pt x="217" y="0"/>
                  </a:lnTo>
                  <a:lnTo>
                    <a:pt x="221" y="2"/>
                  </a:lnTo>
                  <a:lnTo>
                    <a:pt x="225" y="2"/>
                  </a:lnTo>
                  <a:lnTo>
                    <a:pt x="230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7" y="2"/>
                  </a:lnTo>
                  <a:lnTo>
                    <a:pt x="238" y="4"/>
                  </a:lnTo>
                  <a:close/>
                  <a:moveTo>
                    <a:pt x="197" y="141"/>
                  </a:moveTo>
                  <a:lnTo>
                    <a:pt x="200" y="140"/>
                  </a:lnTo>
                  <a:lnTo>
                    <a:pt x="201" y="140"/>
                  </a:lnTo>
                  <a:lnTo>
                    <a:pt x="203" y="138"/>
                  </a:lnTo>
                  <a:lnTo>
                    <a:pt x="203" y="138"/>
                  </a:lnTo>
                  <a:lnTo>
                    <a:pt x="204" y="135"/>
                  </a:lnTo>
                  <a:lnTo>
                    <a:pt x="204" y="134"/>
                  </a:lnTo>
                  <a:lnTo>
                    <a:pt x="206" y="132"/>
                  </a:lnTo>
                  <a:lnTo>
                    <a:pt x="206" y="132"/>
                  </a:lnTo>
                  <a:lnTo>
                    <a:pt x="207" y="131"/>
                  </a:lnTo>
                  <a:lnTo>
                    <a:pt x="207" y="130"/>
                  </a:lnTo>
                  <a:lnTo>
                    <a:pt x="208" y="127"/>
                  </a:lnTo>
                  <a:lnTo>
                    <a:pt x="208" y="125"/>
                  </a:lnTo>
                  <a:lnTo>
                    <a:pt x="208" y="125"/>
                  </a:lnTo>
                  <a:lnTo>
                    <a:pt x="207" y="124"/>
                  </a:lnTo>
                  <a:lnTo>
                    <a:pt x="207" y="122"/>
                  </a:lnTo>
                  <a:lnTo>
                    <a:pt x="206" y="122"/>
                  </a:lnTo>
                  <a:lnTo>
                    <a:pt x="204" y="121"/>
                  </a:lnTo>
                  <a:lnTo>
                    <a:pt x="203" y="120"/>
                  </a:lnTo>
                  <a:lnTo>
                    <a:pt x="201" y="118"/>
                  </a:lnTo>
                  <a:lnTo>
                    <a:pt x="200" y="117"/>
                  </a:lnTo>
                  <a:lnTo>
                    <a:pt x="198" y="117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193" y="114"/>
                  </a:lnTo>
                  <a:lnTo>
                    <a:pt x="190" y="115"/>
                  </a:lnTo>
                  <a:lnTo>
                    <a:pt x="187" y="117"/>
                  </a:lnTo>
                  <a:lnTo>
                    <a:pt x="186" y="118"/>
                  </a:lnTo>
                  <a:lnTo>
                    <a:pt x="183" y="120"/>
                  </a:lnTo>
                  <a:lnTo>
                    <a:pt x="181" y="120"/>
                  </a:lnTo>
                  <a:lnTo>
                    <a:pt x="180" y="122"/>
                  </a:lnTo>
                  <a:lnTo>
                    <a:pt x="180" y="124"/>
                  </a:lnTo>
                  <a:lnTo>
                    <a:pt x="178" y="125"/>
                  </a:lnTo>
                  <a:lnTo>
                    <a:pt x="177" y="127"/>
                  </a:lnTo>
                  <a:lnTo>
                    <a:pt x="177" y="127"/>
                  </a:lnTo>
                  <a:lnTo>
                    <a:pt x="177" y="128"/>
                  </a:lnTo>
                  <a:lnTo>
                    <a:pt x="176" y="130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0" y="134"/>
                  </a:lnTo>
                  <a:lnTo>
                    <a:pt x="171" y="135"/>
                  </a:lnTo>
                  <a:lnTo>
                    <a:pt x="171" y="137"/>
                  </a:lnTo>
                  <a:lnTo>
                    <a:pt x="173" y="138"/>
                  </a:lnTo>
                  <a:lnTo>
                    <a:pt x="174" y="140"/>
                  </a:lnTo>
                  <a:lnTo>
                    <a:pt x="174" y="141"/>
                  </a:lnTo>
                  <a:lnTo>
                    <a:pt x="176" y="142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6" y="145"/>
                  </a:lnTo>
                  <a:lnTo>
                    <a:pt x="176" y="145"/>
                  </a:lnTo>
                  <a:lnTo>
                    <a:pt x="177" y="145"/>
                  </a:lnTo>
                  <a:lnTo>
                    <a:pt x="177" y="147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1" y="151"/>
                  </a:lnTo>
                  <a:lnTo>
                    <a:pt x="184" y="151"/>
                  </a:lnTo>
                  <a:lnTo>
                    <a:pt x="186" y="151"/>
                  </a:lnTo>
                  <a:lnTo>
                    <a:pt x="187" y="151"/>
                  </a:lnTo>
                  <a:lnTo>
                    <a:pt x="187" y="150"/>
                  </a:lnTo>
                  <a:lnTo>
                    <a:pt x="188" y="150"/>
                  </a:lnTo>
                  <a:lnTo>
                    <a:pt x="188" y="148"/>
                  </a:lnTo>
                  <a:lnTo>
                    <a:pt x="188" y="147"/>
                  </a:lnTo>
                  <a:lnTo>
                    <a:pt x="191" y="144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4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7" y="141"/>
                  </a:lnTo>
                  <a:close/>
                  <a:moveTo>
                    <a:pt x="344" y="488"/>
                  </a:moveTo>
                  <a:lnTo>
                    <a:pt x="342" y="488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40" y="485"/>
                  </a:lnTo>
                  <a:lnTo>
                    <a:pt x="341" y="485"/>
                  </a:lnTo>
                  <a:lnTo>
                    <a:pt x="342" y="485"/>
                  </a:lnTo>
                  <a:lnTo>
                    <a:pt x="344" y="486"/>
                  </a:lnTo>
                  <a:lnTo>
                    <a:pt x="344" y="486"/>
                  </a:lnTo>
                  <a:lnTo>
                    <a:pt x="344" y="488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5" name="Google Shape;345;p3"/>
            <p:cNvSpPr/>
            <p:nvPr/>
          </p:nvSpPr>
          <p:spPr>
            <a:xfrm>
              <a:off x="4198989" y="4454547"/>
              <a:ext cx="131143" cy="101701"/>
            </a:xfrm>
            <a:custGeom>
              <a:rect b="b" l="l" r="r" t="t"/>
              <a:pathLst>
                <a:path extrusionOk="0" h="162" w="187">
                  <a:moveTo>
                    <a:pt x="174" y="20"/>
                  </a:moveTo>
                  <a:lnTo>
                    <a:pt x="174" y="20"/>
                  </a:lnTo>
                  <a:lnTo>
                    <a:pt x="175" y="22"/>
                  </a:lnTo>
                  <a:lnTo>
                    <a:pt x="175" y="22"/>
                  </a:lnTo>
                  <a:lnTo>
                    <a:pt x="175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78" y="25"/>
                  </a:lnTo>
                  <a:lnTo>
                    <a:pt x="180" y="25"/>
                  </a:lnTo>
                  <a:lnTo>
                    <a:pt x="180" y="26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9"/>
                  </a:lnTo>
                  <a:lnTo>
                    <a:pt x="181" y="30"/>
                  </a:lnTo>
                  <a:lnTo>
                    <a:pt x="183" y="32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5" y="37"/>
                  </a:lnTo>
                  <a:lnTo>
                    <a:pt x="187" y="39"/>
                  </a:lnTo>
                  <a:lnTo>
                    <a:pt x="187" y="39"/>
                  </a:lnTo>
                  <a:lnTo>
                    <a:pt x="183" y="43"/>
                  </a:lnTo>
                  <a:lnTo>
                    <a:pt x="183" y="43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80" y="45"/>
                  </a:lnTo>
                  <a:lnTo>
                    <a:pt x="180" y="45"/>
                  </a:lnTo>
                  <a:lnTo>
                    <a:pt x="181" y="46"/>
                  </a:lnTo>
                  <a:lnTo>
                    <a:pt x="181" y="47"/>
                  </a:lnTo>
                  <a:lnTo>
                    <a:pt x="183" y="49"/>
                  </a:lnTo>
                  <a:lnTo>
                    <a:pt x="181" y="50"/>
                  </a:lnTo>
                  <a:lnTo>
                    <a:pt x="180" y="53"/>
                  </a:lnTo>
                  <a:lnTo>
                    <a:pt x="180" y="53"/>
                  </a:lnTo>
                  <a:lnTo>
                    <a:pt x="180" y="55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1" y="57"/>
                  </a:lnTo>
                  <a:lnTo>
                    <a:pt x="181" y="59"/>
                  </a:lnTo>
                  <a:lnTo>
                    <a:pt x="181" y="60"/>
                  </a:lnTo>
                  <a:lnTo>
                    <a:pt x="180" y="65"/>
                  </a:lnTo>
                  <a:lnTo>
                    <a:pt x="181" y="67"/>
                  </a:lnTo>
                  <a:lnTo>
                    <a:pt x="181" y="67"/>
                  </a:lnTo>
                  <a:lnTo>
                    <a:pt x="184" y="67"/>
                  </a:lnTo>
                  <a:lnTo>
                    <a:pt x="184" y="67"/>
                  </a:lnTo>
                  <a:lnTo>
                    <a:pt x="184" y="69"/>
                  </a:lnTo>
                  <a:lnTo>
                    <a:pt x="183" y="70"/>
                  </a:lnTo>
                  <a:lnTo>
                    <a:pt x="183" y="70"/>
                  </a:lnTo>
                  <a:lnTo>
                    <a:pt x="180" y="72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5" y="76"/>
                  </a:lnTo>
                  <a:lnTo>
                    <a:pt x="175" y="76"/>
                  </a:lnTo>
                  <a:lnTo>
                    <a:pt x="175" y="77"/>
                  </a:lnTo>
                  <a:lnTo>
                    <a:pt x="175" y="79"/>
                  </a:lnTo>
                  <a:lnTo>
                    <a:pt x="175" y="80"/>
                  </a:lnTo>
                  <a:lnTo>
                    <a:pt x="175" y="82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4" y="85"/>
                  </a:lnTo>
                  <a:lnTo>
                    <a:pt x="174" y="86"/>
                  </a:lnTo>
                  <a:lnTo>
                    <a:pt x="173" y="87"/>
                  </a:lnTo>
                  <a:lnTo>
                    <a:pt x="173" y="87"/>
                  </a:lnTo>
                  <a:lnTo>
                    <a:pt x="171" y="89"/>
                  </a:lnTo>
                  <a:lnTo>
                    <a:pt x="171" y="89"/>
                  </a:lnTo>
                  <a:lnTo>
                    <a:pt x="173" y="89"/>
                  </a:lnTo>
                  <a:lnTo>
                    <a:pt x="173" y="90"/>
                  </a:lnTo>
                  <a:lnTo>
                    <a:pt x="173" y="90"/>
                  </a:lnTo>
                  <a:lnTo>
                    <a:pt x="173" y="90"/>
                  </a:lnTo>
                  <a:lnTo>
                    <a:pt x="173" y="92"/>
                  </a:lnTo>
                  <a:lnTo>
                    <a:pt x="173" y="92"/>
                  </a:lnTo>
                  <a:lnTo>
                    <a:pt x="174" y="92"/>
                  </a:lnTo>
                  <a:lnTo>
                    <a:pt x="174" y="93"/>
                  </a:lnTo>
                  <a:lnTo>
                    <a:pt x="175" y="95"/>
                  </a:lnTo>
                  <a:lnTo>
                    <a:pt x="175" y="96"/>
                  </a:lnTo>
                  <a:lnTo>
                    <a:pt x="175" y="96"/>
                  </a:lnTo>
                  <a:lnTo>
                    <a:pt x="175" y="96"/>
                  </a:lnTo>
                  <a:lnTo>
                    <a:pt x="177" y="96"/>
                  </a:lnTo>
                  <a:lnTo>
                    <a:pt x="177" y="95"/>
                  </a:lnTo>
                  <a:lnTo>
                    <a:pt x="178" y="95"/>
                  </a:lnTo>
                  <a:lnTo>
                    <a:pt x="180" y="96"/>
                  </a:lnTo>
                  <a:lnTo>
                    <a:pt x="175" y="96"/>
                  </a:lnTo>
                  <a:lnTo>
                    <a:pt x="174" y="97"/>
                  </a:lnTo>
                  <a:lnTo>
                    <a:pt x="168" y="99"/>
                  </a:lnTo>
                  <a:lnTo>
                    <a:pt x="164" y="100"/>
                  </a:lnTo>
                  <a:lnTo>
                    <a:pt x="163" y="100"/>
                  </a:lnTo>
                  <a:lnTo>
                    <a:pt x="161" y="102"/>
                  </a:lnTo>
                  <a:lnTo>
                    <a:pt x="160" y="102"/>
                  </a:lnTo>
                  <a:lnTo>
                    <a:pt x="155" y="103"/>
                  </a:lnTo>
                  <a:lnTo>
                    <a:pt x="154" y="105"/>
                  </a:lnTo>
                  <a:lnTo>
                    <a:pt x="153" y="105"/>
                  </a:lnTo>
                  <a:lnTo>
                    <a:pt x="148" y="106"/>
                  </a:lnTo>
                  <a:lnTo>
                    <a:pt x="145" y="106"/>
                  </a:lnTo>
                  <a:lnTo>
                    <a:pt x="143" y="107"/>
                  </a:lnTo>
                  <a:lnTo>
                    <a:pt x="138" y="109"/>
                  </a:lnTo>
                  <a:lnTo>
                    <a:pt x="137" y="109"/>
                  </a:lnTo>
                  <a:lnTo>
                    <a:pt x="135" y="110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6"/>
                  </a:lnTo>
                  <a:lnTo>
                    <a:pt x="134" y="117"/>
                  </a:lnTo>
                  <a:lnTo>
                    <a:pt x="134" y="120"/>
                  </a:lnTo>
                  <a:lnTo>
                    <a:pt x="134" y="122"/>
                  </a:lnTo>
                  <a:lnTo>
                    <a:pt x="131" y="122"/>
                  </a:lnTo>
                  <a:lnTo>
                    <a:pt x="128" y="122"/>
                  </a:lnTo>
                  <a:lnTo>
                    <a:pt x="124" y="122"/>
                  </a:lnTo>
                  <a:lnTo>
                    <a:pt x="120" y="123"/>
                  </a:lnTo>
                  <a:lnTo>
                    <a:pt x="117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10" y="127"/>
                  </a:lnTo>
                  <a:lnTo>
                    <a:pt x="110" y="129"/>
                  </a:lnTo>
                  <a:lnTo>
                    <a:pt x="110" y="130"/>
                  </a:lnTo>
                  <a:lnTo>
                    <a:pt x="110" y="133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7"/>
                  </a:lnTo>
                  <a:lnTo>
                    <a:pt x="103" y="139"/>
                  </a:lnTo>
                  <a:lnTo>
                    <a:pt x="98" y="140"/>
                  </a:lnTo>
                  <a:lnTo>
                    <a:pt x="94" y="143"/>
                  </a:lnTo>
                  <a:lnTo>
                    <a:pt x="91" y="146"/>
                  </a:lnTo>
                  <a:lnTo>
                    <a:pt x="90" y="149"/>
                  </a:lnTo>
                  <a:lnTo>
                    <a:pt x="87" y="153"/>
                  </a:lnTo>
                  <a:lnTo>
                    <a:pt x="84" y="157"/>
                  </a:lnTo>
                  <a:lnTo>
                    <a:pt x="80" y="160"/>
                  </a:lnTo>
                  <a:lnTo>
                    <a:pt x="76" y="162"/>
                  </a:lnTo>
                  <a:lnTo>
                    <a:pt x="73" y="162"/>
                  </a:lnTo>
                  <a:lnTo>
                    <a:pt x="68" y="160"/>
                  </a:lnTo>
                  <a:lnTo>
                    <a:pt x="66" y="160"/>
                  </a:lnTo>
                  <a:lnTo>
                    <a:pt x="64" y="160"/>
                  </a:lnTo>
                  <a:lnTo>
                    <a:pt x="61" y="160"/>
                  </a:lnTo>
                  <a:lnTo>
                    <a:pt x="60" y="159"/>
                  </a:lnTo>
                  <a:lnTo>
                    <a:pt x="58" y="159"/>
                  </a:lnTo>
                  <a:lnTo>
                    <a:pt x="57" y="159"/>
                  </a:lnTo>
                  <a:lnTo>
                    <a:pt x="56" y="159"/>
                  </a:lnTo>
                  <a:lnTo>
                    <a:pt x="51" y="157"/>
                  </a:lnTo>
                  <a:lnTo>
                    <a:pt x="48" y="156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3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29" y="155"/>
                  </a:lnTo>
                  <a:lnTo>
                    <a:pt x="26" y="155"/>
                  </a:lnTo>
                  <a:lnTo>
                    <a:pt x="21" y="156"/>
                  </a:lnTo>
                  <a:lnTo>
                    <a:pt x="19" y="153"/>
                  </a:lnTo>
                  <a:lnTo>
                    <a:pt x="14" y="149"/>
                  </a:lnTo>
                  <a:lnTo>
                    <a:pt x="11" y="146"/>
                  </a:lnTo>
                  <a:lnTo>
                    <a:pt x="9" y="143"/>
                  </a:lnTo>
                  <a:lnTo>
                    <a:pt x="7" y="142"/>
                  </a:lnTo>
                  <a:lnTo>
                    <a:pt x="4" y="140"/>
                  </a:lnTo>
                  <a:lnTo>
                    <a:pt x="3" y="139"/>
                  </a:lnTo>
                  <a:lnTo>
                    <a:pt x="1" y="137"/>
                  </a:lnTo>
                  <a:lnTo>
                    <a:pt x="0" y="133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0" y="113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97"/>
                  </a:lnTo>
                  <a:lnTo>
                    <a:pt x="0" y="92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9"/>
                  </a:lnTo>
                  <a:lnTo>
                    <a:pt x="3" y="79"/>
                  </a:lnTo>
                  <a:lnTo>
                    <a:pt x="7" y="79"/>
                  </a:lnTo>
                  <a:lnTo>
                    <a:pt x="11" y="79"/>
                  </a:lnTo>
                  <a:lnTo>
                    <a:pt x="16" y="79"/>
                  </a:lnTo>
                  <a:lnTo>
                    <a:pt x="21" y="79"/>
                  </a:lnTo>
                  <a:lnTo>
                    <a:pt x="26" y="79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1" y="79"/>
                  </a:lnTo>
                  <a:lnTo>
                    <a:pt x="31" y="77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30" y="73"/>
                  </a:lnTo>
                  <a:lnTo>
                    <a:pt x="31" y="72"/>
                  </a:lnTo>
                  <a:lnTo>
                    <a:pt x="31" y="69"/>
                  </a:lnTo>
                  <a:lnTo>
                    <a:pt x="31" y="67"/>
                  </a:lnTo>
                  <a:lnTo>
                    <a:pt x="31" y="65"/>
                  </a:lnTo>
                  <a:lnTo>
                    <a:pt x="31" y="62"/>
                  </a:lnTo>
                  <a:lnTo>
                    <a:pt x="31" y="60"/>
                  </a:lnTo>
                  <a:lnTo>
                    <a:pt x="31" y="57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5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31" y="49"/>
                  </a:lnTo>
                  <a:lnTo>
                    <a:pt x="31" y="46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3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7" y="47"/>
                  </a:lnTo>
                  <a:lnTo>
                    <a:pt x="37" y="49"/>
                  </a:lnTo>
                  <a:lnTo>
                    <a:pt x="38" y="50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3"/>
                  </a:lnTo>
                  <a:lnTo>
                    <a:pt x="38" y="53"/>
                  </a:lnTo>
                  <a:lnTo>
                    <a:pt x="40" y="53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48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2"/>
                  </a:lnTo>
                  <a:lnTo>
                    <a:pt x="53" y="53"/>
                  </a:lnTo>
                  <a:lnTo>
                    <a:pt x="53" y="55"/>
                  </a:lnTo>
                  <a:lnTo>
                    <a:pt x="53" y="56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7" y="59"/>
                  </a:lnTo>
                  <a:lnTo>
                    <a:pt x="61" y="59"/>
                  </a:lnTo>
                  <a:lnTo>
                    <a:pt x="63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8" y="62"/>
                  </a:lnTo>
                  <a:lnTo>
                    <a:pt x="70" y="62"/>
                  </a:lnTo>
                  <a:lnTo>
                    <a:pt x="73" y="62"/>
                  </a:lnTo>
                  <a:lnTo>
                    <a:pt x="76" y="62"/>
                  </a:lnTo>
                  <a:lnTo>
                    <a:pt x="77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80" y="59"/>
                  </a:lnTo>
                  <a:lnTo>
                    <a:pt x="80" y="57"/>
                  </a:lnTo>
                  <a:lnTo>
                    <a:pt x="80" y="56"/>
                  </a:lnTo>
                  <a:lnTo>
                    <a:pt x="81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4" y="59"/>
                  </a:lnTo>
                  <a:lnTo>
                    <a:pt x="87" y="62"/>
                  </a:lnTo>
                  <a:lnTo>
                    <a:pt x="87" y="63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90" y="67"/>
                  </a:lnTo>
                  <a:lnTo>
                    <a:pt x="91" y="67"/>
                  </a:lnTo>
                  <a:lnTo>
                    <a:pt x="94" y="67"/>
                  </a:lnTo>
                  <a:lnTo>
                    <a:pt x="97" y="69"/>
                  </a:lnTo>
                  <a:lnTo>
                    <a:pt x="100" y="69"/>
                  </a:lnTo>
                  <a:lnTo>
                    <a:pt x="101" y="70"/>
                  </a:lnTo>
                  <a:lnTo>
                    <a:pt x="103" y="70"/>
                  </a:lnTo>
                  <a:lnTo>
                    <a:pt x="103" y="72"/>
                  </a:lnTo>
                  <a:lnTo>
                    <a:pt x="103" y="73"/>
                  </a:lnTo>
                  <a:lnTo>
                    <a:pt x="104" y="75"/>
                  </a:lnTo>
                  <a:lnTo>
                    <a:pt x="104" y="76"/>
                  </a:lnTo>
                  <a:lnTo>
                    <a:pt x="106" y="76"/>
                  </a:lnTo>
                  <a:lnTo>
                    <a:pt x="107" y="76"/>
                  </a:lnTo>
                  <a:lnTo>
                    <a:pt x="107" y="77"/>
                  </a:lnTo>
                  <a:lnTo>
                    <a:pt x="108" y="79"/>
                  </a:lnTo>
                  <a:lnTo>
                    <a:pt x="110" y="80"/>
                  </a:lnTo>
                  <a:lnTo>
                    <a:pt x="110" y="82"/>
                  </a:lnTo>
                  <a:lnTo>
                    <a:pt x="111" y="83"/>
                  </a:lnTo>
                  <a:lnTo>
                    <a:pt x="113" y="85"/>
                  </a:lnTo>
                  <a:lnTo>
                    <a:pt x="114" y="85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8" y="85"/>
                  </a:lnTo>
                  <a:lnTo>
                    <a:pt x="120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3" y="85"/>
                  </a:lnTo>
                  <a:lnTo>
                    <a:pt x="123" y="86"/>
                  </a:lnTo>
                  <a:lnTo>
                    <a:pt x="123" y="86"/>
                  </a:lnTo>
                  <a:lnTo>
                    <a:pt x="124" y="86"/>
                  </a:lnTo>
                  <a:lnTo>
                    <a:pt x="124" y="85"/>
                  </a:lnTo>
                  <a:lnTo>
                    <a:pt x="124" y="85"/>
                  </a:lnTo>
                  <a:lnTo>
                    <a:pt x="124" y="82"/>
                  </a:lnTo>
                  <a:lnTo>
                    <a:pt x="124" y="79"/>
                  </a:lnTo>
                  <a:lnTo>
                    <a:pt x="124" y="76"/>
                  </a:lnTo>
                  <a:lnTo>
                    <a:pt x="124" y="73"/>
                  </a:lnTo>
                  <a:lnTo>
                    <a:pt x="124" y="70"/>
                  </a:lnTo>
                  <a:lnTo>
                    <a:pt x="124" y="67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0" y="66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18" y="69"/>
                  </a:lnTo>
                  <a:lnTo>
                    <a:pt x="117" y="69"/>
                  </a:lnTo>
                  <a:lnTo>
                    <a:pt x="114" y="69"/>
                  </a:lnTo>
                  <a:lnTo>
                    <a:pt x="113" y="67"/>
                  </a:lnTo>
                  <a:lnTo>
                    <a:pt x="111" y="66"/>
                  </a:lnTo>
                  <a:lnTo>
                    <a:pt x="110" y="65"/>
                  </a:lnTo>
                  <a:lnTo>
                    <a:pt x="108" y="63"/>
                  </a:lnTo>
                  <a:lnTo>
                    <a:pt x="106" y="60"/>
                  </a:lnTo>
                  <a:lnTo>
                    <a:pt x="104" y="60"/>
                  </a:lnTo>
                  <a:lnTo>
                    <a:pt x="104" y="59"/>
                  </a:lnTo>
                  <a:lnTo>
                    <a:pt x="103" y="57"/>
                  </a:lnTo>
                  <a:lnTo>
                    <a:pt x="103" y="56"/>
                  </a:lnTo>
                  <a:lnTo>
                    <a:pt x="101" y="56"/>
                  </a:lnTo>
                  <a:lnTo>
                    <a:pt x="101" y="55"/>
                  </a:lnTo>
                  <a:lnTo>
                    <a:pt x="103" y="52"/>
                  </a:lnTo>
                  <a:lnTo>
                    <a:pt x="103" y="47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6" y="40"/>
                  </a:lnTo>
                  <a:lnTo>
                    <a:pt x="106" y="39"/>
                  </a:lnTo>
                  <a:lnTo>
                    <a:pt x="106" y="36"/>
                  </a:lnTo>
                  <a:lnTo>
                    <a:pt x="106" y="35"/>
                  </a:lnTo>
                  <a:lnTo>
                    <a:pt x="106" y="32"/>
                  </a:lnTo>
                  <a:lnTo>
                    <a:pt x="106" y="29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4" y="22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4" y="16"/>
                  </a:lnTo>
                  <a:lnTo>
                    <a:pt x="106" y="15"/>
                  </a:lnTo>
                  <a:lnTo>
                    <a:pt x="107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10" y="10"/>
                  </a:lnTo>
                  <a:lnTo>
                    <a:pt x="110" y="9"/>
                  </a:lnTo>
                  <a:lnTo>
                    <a:pt x="111" y="7"/>
                  </a:lnTo>
                  <a:lnTo>
                    <a:pt x="110" y="6"/>
                  </a:lnTo>
                  <a:lnTo>
                    <a:pt x="111" y="5"/>
                  </a:lnTo>
                  <a:lnTo>
                    <a:pt x="116" y="5"/>
                  </a:lnTo>
                  <a:lnTo>
                    <a:pt x="120" y="5"/>
                  </a:lnTo>
                  <a:lnTo>
                    <a:pt x="124" y="3"/>
                  </a:lnTo>
                  <a:lnTo>
                    <a:pt x="128" y="3"/>
                  </a:lnTo>
                  <a:lnTo>
                    <a:pt x="133" y="2"/>
                  </a:lnTo>
                  <a:lnTo>
                    <a:pt x="137" y="2"/>
                  </a:lnTo>
                  <a:lnTo>
                    <a:pt x="140" y="0"/>
                  </a:lnTo>
                  <a:lnTo>
                    <a:pt x="140" y="2"/>
                  </a:lnTo>
                  <a:lnTo>
                    <a:pt x="141" y="5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4" y="7"/>
                  </a:lnTo>
                  <a:lnTo>
                    <a:pt x="145" y="7"/>
                  </a:lnTo>
                  <a:lnTo>
                    <a:pt x="150" y="7"/>
                  </a:lnTo>
                  <a:lnTo>
                    <a:pt x="151" y="9"/>
                  </a:lnTo>
                  <a:lnTo>
                    <a:pt x="153" y="9"/>
                  </a:lnTo>
                  <a:lnTo>
                    <a:pt x="153" y="10"/>
                  </a:lnTo>
                  <a:lnTo>
                    <a:pt x="154" y="12"/>
                  </a:lnTo>
                  <a:lnTo>
                    <a:pt x="154" y="12"/>
                  </a:lnTo>
                  <a:lnTo>
                    <a:pt x="155" y="13"/>
                  </a:lnTo>
                  <a:lnTo>
                    <a:pt x="155" y="12"/>
                  </a:lnTo>
                  <a:lnTo>
                    <a:pt x="157" y="12"/>
                  </a:lnTo>
                  <a:lnTo>
                    <a:pt x="158" y="13"/>
                  </a:lnTo>
                  <a:lnTo>
                    <a:pt x="158" y="13"/>
                  </a:lnTo>
                  <a:lnTo>
                    <a:pt x="158" y="15"/>
                  </a:lnTo>
                  <a:lnTo>
                    <a:pt x="158" y="15"/>
                  </a:lnTo>
                  <a:lnTo>
                    <a:pt x="160" y="15"/>
                  </a:lnTo>
                  <a:lnTo>
                    <a:pt x="161" y="15"/>
                  </a:lnTo>
                  <a:lnTo>
                    <a:pt x="164" y="16"/>
                  </a:lnTo>
                  <a:lnTo>
                    <a:pt x="165" y="16"/>
                  </a:lnTo>
                  <a:lnTo>
                    <a:pt x="167" y="16"/>
                  </a:lnTo>
                  <a:lnTo>
                    <a:pt x="168" y="17"/>
                  </a:lnTo>
                  <a:lnTo>
                    <a:pt x="170" y="19"/>
                  </a:lnTo>
                  <a:lnTo>
                    <a:pt x="173" y="19"/>
                  </a:lnTo>
                  <a:lnTo>
                    <a:pt x="174" y="20"/>
                  </a:lnTo>
                  <a:lnTo>
                    <a:pt x="174" y="2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6" name="Google Shape;346;p3"/>
            <p:cNvSpPr/>
            <p:nvPr/>
          </p:nvSpPr>
          <p:spPr>
            <a:xfrm>
              <a:off x="4234755" y="4531136"/>
              <a:ext cx="86961" cy="71567"/>
            </a:xfrm>
            <a:custGeom>
              <a:rect b="b" l="l" r="r" t="t"/>
              <a:pathLst>
                <a:path extrusionOk="0" h="114" w="124">
                  <a:moveTo>
                    <a:pt x="97" y="114"/>
                  </a:moveTo>
                  <a:lnTo>
                    <a:pt x="96" y="112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89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5" y="111"/>
                  </a:lnTo>
                  <a:lnTo>
                    <a:pt x="72" y="110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6" y="110"/>
                  </a:lnTo>
                  <a:lnTo>
                    <a:pt x="65" y="108"/>
                  </a:lnTo>
                  <a:lnTo>
                    <a:pt x="63" y="108"/>
                  </a:lnTo>
                  <a:lnTo>
                    <a:pt x="62" y="108"/>
                  </a:lnTo>
                  <a:lnTo>
                    <a:pt x="62" y="108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2" y="104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59" y="104"/>
                  </a:lnTo>
                  <a:lnTo>
                    <a:pt x="57" y="102"/>
                  </a:lnTo>
                  <a:lnTo>
                    <a:pt x="53" y="101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3" y="97"/>
                  </a:lnTo>
                  <a:lnTo>
                    <a:pt x="42" y="94"/>
                  </a:lnTo>
                  <a:lnTo>
                    <a:pt x="40" y="92"/>
                  </a:lnTo>
                  <a:lnTo>
                    <a:pt x="39" y="91"/>
                  </a:lnTo>
                  <a:lnTo>
                    <a:pt x="40" y="90"/>
                  </a:lnTo>
                  <a:lnTo>
                    <a:pt x="40" y="88"/>
                  </a:lnTo>
                  <a:lnTo>
                    <a:pt x="40" y="87"/>
                  </a:lnTo>
                  <a:lnTo>
                    <a:pt x="40" y="85"/>
                  </a:lnTo>
                  <a:lnTo>
                    <a:pt x="40" y="84"/>
                  </a:lnTo>
                  <a:lnTo>
                    <a:pt x="40" y="82"/>
                  </a:lnTo>
                  <a:lnTo>
                    <a:pt x="40" y="81"/>
                  </a:lnTo>
                  <a:lnTo>
                    <a:pt x="39" y="81"/>
                  </a:lnTo>
                  <a:lnTo>
                    <a:pt x="36" y="81"/>
                  </a:lnTo>
                  <a:lnTo>
                    <a:pt x="33" y="81"/>
                  </a:lnTo>
                  <a:lnTo>
                    <a:pt x="33" y="80"/>
                  </a:lnTo>
                  <a:lnTo>
                    <a:pt x="33" y="77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0" y="74"/>
                  </a:lnTo>
                  <a:lnTo>
                    <a:pt x="27" y="72"/>
                  </a:lnTo>
                  <a:lnTo>
                    <a:pt x="23" y="71"/>
                  </a:lnTo>
                  <a:lnTo>
                    <a:pt x="20" y="68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5" y="62"/>
                  </a:lnTo>
                  <a:lnTo>
                    <a:pt x="12" y="58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6" y="47"/>
                  </a:lnTo>
                  <a:lnTo>
                    <a:pt x="5" y="45"/>
                  </a:lnTo>
                  <a:lnTo>
                    <a:pt x="3" y="44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9" y="37"/>
                  </a:lnTo>
                  <a:lnTo>
                    <a:pt x="10" y="38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2" y="40"/>
                  </a:lnTo>
                  <a:lnTo>
                    <a:pt x="25" y="40"/>
                  </a:lnTo>
                  <a:lnTo>
                    <a:pt x="29" y="38"/>
                  </a:lnTo>
                  <a:lnTo>
                    <a:pt x="33" y="35"/>
                  </a:lnTo>
                  <a:lnTo>
                    <a:pt x="36" y="31"/>
                  </a:lnTo>
                  <a:lnTo>
                    <a:pt x="39" y="27"/>
                  </a:lnTo>
                  <a:lnTo>
                    <a:pt x="40" y="24"/>
                  </a:lnTo>
                  <a:lnTo>
                    <a:pt x="43" y="21"/>
                  </a:lnTo>
                  <a:lnTo>
                    <a:pt x="47" y="18"/>
                  </a:lnTo>
                  <a:lnTo>
                    <a:pt x="52" y="17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9" y="11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2" y="4"/>
                  </a:lnTo>
                  <a:lnTo>
                    <a:pt x="66" y="3"/>
                  </a:lnTo>
                  <a:lnTo>
                    <a:pt x="69" y="1"/>
                  </a:lnTo>
                  <a:lnTo>
                    <a:pt x="73" y="0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3" y="3"/>
                  </a:lnTo>
                  <a:lnTo>
                    <a:pt x="83" y="5"/>
                  </a:lnTo>
                  <a:lnTo>
                    <a:pt x="84" y="5"/>
                  </a:lnTo>
                  <a:lnTo>
                    <a:pt x="87" y="5"/>
                  </a:lnTo>
                  <a:lnTo>
                    <a:pt x="92" y="7"/>
                  </a:lnTo>
                  <a:lnTo>
                    <a:pt x="96" y="7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4" y="10"/>
                  </a:lnTo>
                  <a:lnTo>
                    <a:pt x="107" y="13"/>
                  </a:lnTo>
                  <a:lnTo>
                    <a:pt x="113" y="14"/>
                  </a:lnTo>
                  <a:lnTo>
                    <a:pt x="116" y="14"/>
                  </a:lnTo>
                  <a:lnTo>
                    <a:pt x="119" y="15"/>
                  </a:lnTo>
                  <a:lnTo>
                    <a:pt x="120" y="17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20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4" y="27"/>
                  </a:lnTo>
                  <a:lnTo>
                    <a:pt x="124" y="30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24" y="43"/>
                  </a:lnTo>
                  <a:lnTo>
                    <a:pt x="124" y="44"/>
                  </a:lnTo>
                  <a:lnTo>
                    <a:pt x="124" y="44"/>
                  </a:lnTo>
                  <a:lnTo>
                    <a:pt x="124" y="45"/>
                  </a:lnTo>
                  <a:lnTo>
                    <a:pt x="124" y="48"/>
                  </a:lnTo>
                  <a:lnTo>
                    <a:pt x="123" y="50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53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5"/>
                  </a:lnTo>
                  <a:lnTo>
                    <a:pt x="120" y="57"/>
                  </a:lnTo>
                  <a:lnTo>
                    <a:pt x="122" y="57"/>
                  </a:lnTo>
                  <a:lnTo>
                    <a:pt x="122" y="57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2" y="60"/>
                  </a:lnTo>
                  <a:lnTo>
                    <a:pt x="122" y="62"/>
                  </a:lnTo>
                  <a:lnTo>
                    <a:pt x="122" y="65"/>
                  </a:lnTo>
                  <a:lnTo>
                    <a:pt x="123" y="68"/>
                  </a:lnTo>
                  <a:lnTo>
                    <a:pt x="124" y="70"/>
                  </a:lnTo>
                  <a:lnTo>
                    <a:pt x="124" y="71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3" y="77"/>
                  </a:lnTo>
                  <a:lnTo>
                    <a:pt x="122" y="80"/>
                  </a:lnTo>
                  <a:lnTo>
                    <a:pt x="120" y="82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6" y="85"/>
                  </a:lnTo>
                  <a:lnTo>
                    <a:pt x="116" y="87"/>
                  </a:lnTo>
                  <a:lnTo>
                    <a:pt x="116" y="90"/>
                  </a:lnTo>
                  <a:lnTo>
                    <a:pt x="114" y="92"/>
                  </a:lnTo>
                  <a:lnTo>
                    <a:pt x="116" y="95"/>
                  </a:lnTo>
                  <a:lnTo>
                    <a:pt x="116" y="95"/>
                  </a:lnTo>
                  <a:lnTo>
                    <a:pt x="114" y="95"/>
                  </a:lnTo>
                  <a:lnTo>
                    <a:pt x="112" y="100"/>
                  </a:lnTo>
                  <a:lnTo>
                    <a:pt x="109" y="102"/>
                  </a:lnTo>
                  <a:lnTo>
                    <a:pt x="107" y="104"/>
                  </a:lnTo>
                  <a:lnTo>
                    <a:pt x="104" y="107"/>
                  </a:lnTo>
                  <a:lnTo>
                    <a:pt x="102" y="110"/>
                  </a:lnTo>
                  <a:lnTo>
                    <a:pt x="100" y="112"/>
                  </a:lnTo>
                  <a:lnTo>
                    <a:pt x="97" y="11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47" name="Google Shape;347;p3"/>
          <p:cNvSpPr/>
          <p:nvPr/>
        </p:nvSpPr>
        <p:spPr>
          <a:xfrm>
            <a:off x="10797870" y="3761580"/>
            <a:ext cx="1188719" cy="1188720"/>
          </a:xfrm>
          <a:prstGeom prst="ellipse">
            <a:avLst/>
          </a:prstGeom>
          <a:noFill/>
          <a:ln cap="flat" cmpd="sng" w="1905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28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8" name="Google Shape;348;p3"/>
          <p:cNvSpPr/>
          <p:nvPr/>
        </p:nvSpPr>
        <p:spPr>
          <a:xfrm>
            <a:off x="8019106" y="3123205"/>
            <a:ext cx="2132078" cy="2131041"/>
          </a:xfrm>
          <a:prstGeom prst="arc">
            <a:avLst>
              <a:gd fmla="val 12045891" name="adj1"/>
              <a:gd fmla="val 15420811" name="adj2"/>
            </a:avLst>
          </a:prstGeom>
          <a:noFill/>
          <a:ln cap="flat" cmpd="sng" w="12700">
            <a:solidFill>
              <a:schemeClr val="accent1"/>
            </a:solidFill>
            <a:prstDash val="dash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9" name="Google Shape;349;p3"/>
          <p:cNvCxnSpPr>
            <a:endCxn id="350" idx="5"/>
          </p:cNvCxnSpPr>
          <p:nvPr/>
        </p:nvCxnSpPr>
        <p:spPr>
          <a:xfrm rot="10800000">
            <a:off x="8303498" y="3264872"/>
            <a:ext cx="94200" cy="795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51" name="Google Shape;351;p3"/>
          <p:cNvSpPr/>
          <p:nvPr/>
        </p:nvSpPr>
        <p:spPr>
          <a:xfrm>
            <a:off x="8292216" y="3389691"/>
            <a:ext cx="1598845" cy="1598067"/>
          </a:xfrm>
          <a:prstGeom prst="arc">
            <a:avLst>
              <a:gd fmla="val 13843369" name="adj1"/>
              <a:gd fmla="val 18083146" name="adj2"/>
            </a:avLst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2" name="Google Shape;352;p3"/>
          <p:cNvSpPr/>
          <p:nvPr/>
        </p:nvSpPr>
        <p:spPr>
          <a:xfrm>
            <a:off x="7936287" y="3040427"/>
            <a:ext cx="2297714" cy="2296598"/>
          </a:xfrm>
          <a:prstGeom prst="arc">
            <a:avLst>
              <a:gd fmla="val 20639132" name="adj1"/>
              <a:gd fmla="val 1589180" name="adj2"/>
            </a:avLst>
          </a:prstGeom>
          <a:noFill/>
          <a:ln cap="flat" cmpd="sng" w="19050">
            <a:solidFill>
              <a:schemeClr val="accent1"/>
            </a:solidFill>
            <a:prstDash val="dash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3"/>
          <p:cNvSpPr/>
          <p:nvPr/>
        </p:nvSpPr>
        <p:spPr>
          <a:xfrm>
            <a:off x="8127872" y="3231919"/>
            <a:ext cx="1914543" cy="1913613"/>
          </a:xfrm>
          <a:prstGeom prst="arc">
            <a:avLst>
              <a:gd fmla="val 20639132" name="adj1"/>
              <a:gd fmla="val 4033735" name="adj2"/>
            </a:avLst>
          </a:prstGeom>
          <a:noFill/>
          <a:ln cap="flat" cmpd="sng" w="1905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54" name="Google Shape;354;p3"/>
          <p:cNvCxnSpPr>
            <a:endCxn id="347" idx="2"/>
          </p:cNvCxnSpPr>
          <p:nvPr/>
        </p:nvCxnSpPr>
        <p:spPr>
          <a:xfrm>
            <a:off x="10244970" y="4205040"/>
            <a:ext cx="552900" cy="150900"/>
          </a:xfrm>
          <a:prstGeom prst="straightConnector1">
            <a:avLst/>
          </a:prstGeom>
          <a:noFill/>
          <a:ln cap="flat" cmpd="sng" w="1905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55" name="Google Shape;355;p3"/>
          <p:cNvSpPr/>
          <p:nvPr/>
        </p:nvSpPr>
        <p:spPr>
          <a:xfrm>
            <a:off x="8461781" y="3575792"/>
            <a:ext cx="1322371" cy="1321728"/>
          </a:xfrm>
          <a:prstGeom prst="arc">
            <a:avLst>
              <a:gd fmla="val 2786938" name="adj1"/>
              <a:gd fmla="val 7966635" name="adj2"/>
            </a:avLst>
          </a:prstGeom>
          <a:noFill/>
          <a:ln cap="flat" cmpd="sng" w="19050">
            <a:solidFill>
              <a:schemeClr val="accent1"/>
            </a:solidFill>
            <a:prstDash val="dash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6" name="Google Shape;356;p3"/>
          <p:cNvSpPr/>
          <p:nvPr/>
        </p:nvSpPr>
        <p:spPr>
          <a:xfrm>
            <a:off x="8292215" y="3389691"/>
            <a:ext cx="1598067" cy="1598067"/>
          </a:xfrm>
          <a:prstGeom prst="arc">
            <a:avLst>
              <a:gd fmla="val 6497325" name="adj1"/>
              <a:gd fmla="val 9404896" name="adj2"/>
            </a:avLst>
          </a:prstGeom>
          <a:noFill/>
          <a:ln cap="flat" cmpd="sng" w="1905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57" name="Google Shape;357;p3"/>
          <p:cNvCxnSpPr>
            <a:endCxn id="358" idx="7"/>
          </p:cNvCxnSpPr>
          <p:nvPr/>
        </p:nvCxnSpPr>
        <p:spPr>
          <a:xfrm>
            <a:off x="8554585" y="4778671"/>
            <a:ext cx="129900" cy="2283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58" name="Google Shape;358;p3"/>
          <p:cNvSpPr/>
          <p:nvPr/>
        </p:nvSpPr>
        <p:spPr>
          <a:xfrm>
            <a:off x="7669850" y="4832887"/>
            <a:ext cx="1188719" cy="1188720"/>
          </a:xfrm>
          <a:prstGeom prst="ellipse">
            <a:avLst/>
          </a:prstGeom>
          <a:noFill/>
          <a:ln cap="flat" cmpd="sng" w="1905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4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0" name="Google Shape;350;p3"/>
          <p:cNvSpPr/>
          <p:nvPr/>
        </p:nvSpPr>
        <p:spPr>
          <a:xfrm>
            <a:off x="7288863" y="2250236"/>
            <a:ext cx="1188719" cy="1188720"/>
          </a:xfrm>
          <a:prstGeom prst="ellipse">
            <a:avLst/>
          </a:prstGeom>
          <a:noFill/>
          <a:ln cap="flat" cmpd="sng" w="19050">
            <a:solidFill>
              <a:schemeClr val="accen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28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9" name="Google Shape;359;p3"/>
          <p:cNvSpPr/>
          <p:nvPr/>
        </p:nvSpPr>
        <p:spPr>
          <a:xfrm>
            <a:off x="7756601" y="5178033"/>
            <a:ext cx="1016510" cy="525401"/>
          </a:xfrm>
          <a:prstGeom prst="rect">
            <a:avLst/>
          </a:prstGeom>
          <a:noFill/>
          <a:ln>
            <a:noFill/>
          </a:ln>
        </p:spPr>
        <p:txBody>
          <a:bodyPr anchorCtr="0" anchor="b" bIns="46800" lIns="90000" spcFirstLastPara="1" rIns="90000" wrap="square" tIns="468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Shopping</a:t>
            </a:r>
            <a:endParaRPr/>
          </a:p>
        </p:txBody>
      </p:sp>
      <p:sp>
        <p:nvSpPr>
          <p:cNvPr id="360" name="Google Shape;360;p3"/>
          <p:cNvSpPr/>
          <p:nvPr/>
        </p:nvSpPr>
        <p:spPr>
          <a:xfrm>
            <a:off x="7578675" y="6045775"/>
            <a:ext cx="1449600" cy="743100"/>
          </a:xfrm>
          <a:prstGeom prst="rect">
            <a:avLst/>
          </a:prstGeom>
          <a:noFill/>
          <a:ln>
            <a:noFill/>
          </a:ln>
        </p:spPr>
        <p:txBody>
          <a:bodyPr anchorCtr="0" anchor="t" bIns="46800" lIns="90000" spcFirstLastPara="1" rIns="90000" wrap="square" tIns="46800">
            <a:spAutoFit/>
          </a:bodyPr>
          <a:lstStyle/>
          <a:p>
            <a:pPr indent="0" lvl="0" marL="0" marR="0" rt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rect sales to end users</a:t>
            </a:r>
            <a:endParaRPr/>
          </a:p>
        </p:txBody>
      </p:sp>
      <p:sp>
        <p:nvSpPr>
          <p:cNvPr id="361" name="Google Shape;361;p3"/>
          <p:cNvSpPr/>
          <p:nvPr/>
        </p:nvSpPr>
        <p:spPr>
          <a:xfrm>
            <a:off x="7333082" y="2399062"/>
            <a:ext cx="1094107" cy="956288"/>
          </a:xfrm>
          <a:prstGeom prst="rect">
            <a:avLst/>
          </a:prstGeom>
          <a:noFill/>
          <a:ln>
            <a:noFill/>
          </a:ln>
        </p:spPr>
        <p:txBody>
          <a:bodyPr anchorCtr="0" anchor="b" bIns="46800" lIns="90000" spcFirstLastPara="1" rIns="90000" wrap="square" tIns="468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lobal expansion of customer base</a:t>
            </a:r>
            <a:endParaRPr/>
          </a:p>
        </p:txBody>
      </p:sp>
      <p:sp>
        <p:nvSpPr>
          <p:cNvPr id="362" name="Google Shape;362;p3"/>
          <p:cNvSpPr/>
          <p:nvPr/>
        </p:nvSpPr>
        <p:spPr>
          <a:xfrm>
            <a:off x="8461781" y="2557051"/>
            <a:ext cx="3459620" cy="384273"/>
          </a:xfrm>
          <a:prstGeom prst="rect">
            <a:avLst/>
          </a:prstGeom>
          <a:noFill/>
          <a:ln>
            <a:noFill/>
          </a:ln>
        </p:spPr>
        <p:txBody>
          <a:bodyPr anchorCtr="0" anchor="t" bIns="46800" lIns="90000" spcFirstLastPara="1" rIns="90000" wrap="square" tIns="46800">
            <a:spAutoFit/>
          </a:bodyPr>
          <a:lstStyle/>
          <a:p>
            <a:pPr indent="0" lvl="0" marL="0" marR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arget group-oriented product marketing</a:t>
            </a:r>
            <a:endParaRPr/>
          </a:p>
        </p:txBody>
      </p:sp>
      <p:sp>
        <p:nvSpPr>
          <p:cNvPr id="363" name="Google Shape;363;p3"/>
          <p:cNvSpPr/>
          <p:nvPr/>
        </p:nvSpPr>
        <p:spPr>
          <a:xfrm>
            <a:off x="10554159" y="4047519"/>
            <a:ext cx="1676141" cy="525401"/>
          </a:xfrm>
          <a:prstGeom prst="rect">
            <a:avLst/>
          </a:prstGeom>
          <a:noFill/>
          <a:ln>
            <a:noFill/>
          </a:ln>
        </p:spPr>
        <p:txBody>
          <a:bodyPr anchorCtr="0" anchor="b" bIns="46800" lIns="90000" spcFirstLastPara="1" rIns="90000" wrap="square" tIns="468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erformance Measurement</a:t>
            </a:r>
            <a:endParaRPr/>
          </a:p>
        </p:txBody>
      </p:sp>
      <p:sp>
        <p:nvSpPr>
          <p:cNvPr id="364" name="Google Shape;364;p3"/>
          <p:cNvSpPr/>
          <p:nvPr/>
        </p:nvSpPr>
        <p:spPr>
          <a:xfrm>
            <a:off x="10458675" y="5047000"/>
            <a:ext cx="1713900" cy="1598100"/>
          </a:xfrm>
          <a:prstGeom prst="rect">
            <a:avLst/>
          </a:prstGeom>
          <a:noFill/>
          <a:ln>
            <a:noFill/>
          </a:ln>
        </p:spPr>
        <p:txBody>
          <a:bodyPr anchorCtr="0" anchor="t" bIns="46800" lIns="90000" spcFirstLastPara="1" rIns="90000" wrap="square" tIns="46800">
            <a:spAutoFit/>
          </a:bodyPr>
          <a:lstStyle/>
          <a:p>
            <a:pPr indent="0" lvl="0" marL="0" marR="0" rt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tity-Relationship Diagram as a base, continuous improvement of the product range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368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9" name="Google Shape;369;p4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369" name="Google Shape;369;p4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" name="Google Shape;370;p4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Building a relational model - 6 steps to Business Intelligence</a:t>
            </a:r>
            <a:endParaRPr/>
          </a:p>
        </p:txBody>
      </p:sp>
      <p:sp>
        <p:nvSpPr>
          <p:cNvPr id="371" name="Google Shape;371;p4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rPr lang="en-US"/>
              <a:t>Source: Whitepaper: KPIs im E-Commerce [dotsource], 2018</a:t>
            </a:r>
            <a:endParaRPr/>
          </a:p>
        </p:txBody>
      </p:sp>
      <p:sp>
        <p:nvSpPr>
          <p:cNvPr id="372" name="Google Shape;372;p4"/>
          <p:cNvSpPr/>
          <p:nvPr/>
        </p:nvSpPr>
        <p:spPr>
          <a:xfrm>
            <a:off x="335889" y="2105098"/>
            <a:ext cx="3086252" cy="906679"/>
          </a:xfrm>
          <a:prstGeom prst="rect">
            <a:avLst/>
          </a:prstGeom>
          <a:solidFill>
            <a:srgbClr val="8F9491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ow do you visualize the data?</a:t>
            </a:r>
            <a:endParaRPr/>
          </a:p>
        </p:txBody>
      </p:sp>
      <p:sp>
        <p:nvSpPr>
          <p:cNvPr id="373" name="Google Shape;373;p4"/>
          <p:cNvSpPr/>
          <p:nvPr/>
        </p:nvSpPr>
        <p:spPr>
          <a:xfrm>
            <a:off x="8769221" y="2105098"/>
            <a:ext cx="3086250" cy="906679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hich &amp; how many key figures are important?</a:t>
            </a:r>
            <a:endParaRPr/>
          </a:p>
        </p:txBody>
      </p:sp>
      <p:sp>
        <p:nvSpPr>
          <p:cNvPr id="374" name="Google Shape;374;p4"/>
          <p:cNvSpPr/>
          <p:nvPr/>
        </p:nvSpPr>
        <p:spPr>
          <a:xfrm>
            <a:off x="4551421" y="4826801"/>
            <a:ext cx="3086250" cy="906679"/>
          </a:xfrm>
          <a:prstGeom prst="rect">
            <a:avLst/>
          </a:prstGeom>
          <a:solidFill>
            <a:srgbClr val="D4B483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here does the data come from?</a:t>
            </a:r>
            <a:endParaRPr/>
          </a:p>
        </p:txBody>
      </p:sp>
      <p:sp>
        <p:nvSpPr>
          <p:cNvPr id="375" name="Google Shape;375;p4"/>
          <p:cNvSpPr/>
          <p:nvPr/>
        </p:nvSpPr>
        <p:spPr>
          <a:xfrm>
            <a:off x="335889" y="3918456"/>
            <a:ext cx="3086252" cy="906679"/>
          </a:xfrm>
          <a:prstGeom prst="rect">
            <a:avLst/>
          </a:prstGeom>
          <a:solidFill>
            <a:srgbClr val="555358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t what point do you introduce the reports?</a:t>
            </a:r>
            <a:endParaRPr/>
          </a:p>
        </p:txBody>
      </p:sp>
      <p:sp>
        <p:nvSpPr>
          <p:cNvPr id="376" name="Google Shape;376;p4"/>
          <p:cNvSpPr/>
          <p:nvPr/>
        </p:nvSpPr>
        <p:spPr>
          <a:xfrm>
            <a:off x="8769221" y="3918456"/>
            <a:ext cx="3086250" cy="906679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ow often should you report?</a:t>
            </a:r>
            <a:endParaRPr/>
          </a:p>
        </p:txBody>
      </p:sp>
      <p:sp>
        <p:nvSpPr>
          <p:cNvPr id="377" name="Google Shape;377;p4"/>
          <p:cNvSpPr/>
          <p:nvPr/>
        </p:nvSpPr>
        <p:spPr>
          <a:xfrm>
            <a:off x="5787281" y="2330101"/>
            <a:ext cx="616797" cy="530007"/>
          </a:xfrm>
          <a:prstGeom prst="upArrow">
            <a:avLst>
              <a:gd fmla="val 54407" name="adj1"/>
              <a:gd fmla="val 50000" name="adj2"/>
            </a:avLst>
          </a:prstGeom>
          <a:solidFill>
            <a:srgbClr val="4281A4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4"/>
          <p:cNvSpPr/>
          <p:nvPr/>
        </p:nvSpPr>
        <p:spPr>
          <a:xfrm rot="-3600000">
            <a:off x="3823606" y="2472917"/>
            <a:ext cx="453339" cy="721107"/>
          </a:xfrm>
          <a:prstGeom prst="upArrow">
            <a:avLst>
              <a:gd fmla="val 54407" name="adj1"/>
              <a:gd fmla="val 50000" name="adj2"/>
            </a:avLst>
          </a:prstGeom>
          <a:solidFill>
            <a:srgbClr val="8F9491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4"/>
          <p:cNvSpPr/>
          <p:nvPr/>
        </p:nvSpPr>
        <p:spPr>
          <a:xfrm flipH="1" rot="3600000">
            <a:off x="7914418" y="2472917"/>
            <a:ext cx="453339" cy="721107"/>
          </a:xfrm>
          <a:prstGeom prst="upArrow">
            <a:avLst>
              <a:gd fmla="val 54407" name="adj1"/>
              <a:gd fmla="val 50000" name="adj2"/>
            </a:avLst>
          </a:prstGeom>
          <a:solidFill>
            <a:srgbClr val="48A9A6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4"/>
          <p:cNvSpPr/>
          <p:nvPr/>
        </p:nvSpPr>
        <p:spPr>
          <a:xfrm flipH="1" rot="10800000">
            <a:off x="5785014" y="4060124"/>
            <a:ext cx="616797" cy="530007"/>
          </a:xfrm>
          <a:prstGeom prst="upArrow">
            <a:avLst>
              <a:gd fmla="val 54407" name="adj1"/>
              <a:gd fmla="val 50000" name="adj2"/>
            </a:avLst>
          </a:prstGeom>
          <a:solidFill>
            <a:srgbClr val="D4B483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1" name="Google Shape;381;p4"/>
          <p:cNvSpPr/>
          <p:nvPr/>
        </p:nvSpPr>
        <p:spPr>
          <a:xfrm flipH="1" rot="-7200000">
            <a:off x="3821338" y="3735984"/>
            <a:ext cx="453339" cy="721107"/>
          </a:xfrm>
          <a:prstGeom prst="upArrow">
            <a:avLst>
              <a:gd fmla="val 54407" name="adj1"/>
              <a:gd fmla="val 50000" name="adj2"/>
            </a:avLst>
          </a:prstGeom>
          <a:solidFill>
            <a:srgbClr val="555358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4"/>
          <p:cNvSpPr/>
          <p:nvPr/>
        </p:nvSpPr>
        <p:spPr>
          <a:xfrm rot="7200000">
            <a:off x="7912150" y="3735984"/>
            <a:ext cx="453339" cy="721107"/>
          </a:xfrm>
          <a:prstGeom prst="upArrow">
            <a:avLst>
              <a:gd fmla="val 54407" name="adj1"/>
              <a:gd fmla="val 50000" name="adj2"/>
            </a:avLst>
          </a:prstGeom>
          <a:solidFill>
            <a:srgbClr val="C1666B"/>
          </a:solidFill>
          <a:ln>
            <a:noFill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83" name="Google Shape;383;p4"/>
          <p:cNvGrpSpPr/>
          <p:nvPr/>
        </p:nvGrpSpPr>
        <p:grpSpPr>
          <a:xfrm>
            <a:off x="4478884" y="1088740"/>
            <a:ext cx="3158787" cy="1014691"/>
            <a:chOff x="4478884" y="1088740"/>
            <a:chExt cx="3158787" cy="1014691"/>
          </a:xfrm>
        </p:grpSpPr>
        <p:sp>
          <p:nvSpPr>
            <p:cNvPr id="384" name="Google Shape;384;p4"/>
            <p:cNvSpPr/>
            <p:nvPr/>
          </p:nvSpPr>
          <p:spPr>
            <a:xfrm>
              <a:off x="4551421" y="1196752"/>
              <a:ext cx="3086250" cy="906679"/>
            </a:xfrm>
            <a:prstGeom prst="rect">
              <a:avLst/>
            </a:prstGeom>
            <a:solidFill>
              <a:srgbClr val="4281A4"/>
            </a:solidFill>
            <a:ln>
              <a:noFill/>
            </a:ln>
          </p:spPr>
          <p:txBody>
            <a:bodyPr anchorCtr="0" anchor="ctr" bIns="46800" lIns="90000" spcFirstLastPara="1" rIns="90000" wrap="square" tIns="46800">
              <a:noAutofit/>
            </a:bodyPr>
            <a:lstStyle/>
            <a:p>
              <a:pPr indent="0" lvl="0" marL="0" marR="0" rtl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How is a key figure system to be set up?</a:t>
              </a:r>
              <a:endParaRPr/>
            </a:p>
          </p:txBody>
        </p:sp>
        <p:sp>
          <p:nvSpPr>
            <p:cNvPr id="385" name="Google Shape;385;p4"/>
            <p:cNvSpPr/>
            <p:nvPr/>
          </p:nvSpPr>
          <p:spPr>
            <a:xfrm>
              <a:off x="4478884" y="1088740"/>
              <a:ext cx="288000" cy="287337"/>
            </a:xfrm>
            <a:prstGeom prst="ellipse">
              <a:avLst/>
            </a:prstGeom>
            <a:solidFill>
              <a:srgbClr val="4281A4"/>
            </a:solidFill>
            <a:ln cap="flat" cmpd="sng" w="28575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1" anchor="ctr" bIns="36000" lIns="54000" spcFirstLastPara="1" rIns="54000" wrap="square" tIns="36000">
              <a:noAutofit/>
            </a:bodyPr>
            <a:lstStyle/>
            <a:p>
              <a:pPr indent="-182563" lvl="0" marL="182563" marR="0" rtl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</p:grpSp>
      <p:sp>
        <p:nvSpPr>
          <p:cNvPr id="386" name="Google Shape;386;p4"/>
          <p:cNvSpPr/>
          <p:nvPr/>
        </p:nvSpPr>
        <p:spPr>
          <a:xfrm>
            <a:off x="8694414" y="1995420"/>
            <a:ext cx="288000" cy="287337"/>
          </a:xfrm>
          <a:prstGeom prst="ellipse">
            <a:avLst/>
          </a:prstGeom>
          <a:solidFill>
            <a:srgbClr val="48A9A6"/>
          </a:solidFill>
          <a:ln cap="flat" cmpd="sng" w="28575">
            <a:solidFill>
              <a:schemeClr val="l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1" anchor="ctr" bIns="36000" lIns="54000" spcFirstLastPara="1" rIns="54000" wrap="square" tIns="36000">
            <a:noAutofit/>
          </a:bodyPr>
          <a:lstStyle/>
          <a:p>
            <a:pPr indent="-182563" lvl="0" marL="182563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387" name="Google Shape;387;p4"/>
          <p:cNvSpPr/>
          <p:nvPr/>
        </p:nvSpPr>
        <p:spPr>
          <a:xfrm>
            <a:off x="8694414" y="3808444"/>
            <a:ext cx="288000" cy="287337"/>
          </a:xfrm>
          <a:prstGeom prst="ellipse">
            <a:avLst/>
          </a:prstGeom>
          <a:solidFill>
            <a:srgbClr val="C1666B"/>
          </a:solidFill>
          <a:ln cap="flat" cmpd="sng" w="28575">
            <a:solidFill>
              <a:schemeClr val="l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1" anchor="ctr" bIns="36000" lIns="54000" spcFirstLastPara="1" rIns="54000" wrap="square" tIns="36000">
            <a:noAutofit/>
          </a:bodyPr>
          <a:lstStyle/>
          <a:p>
            <a:pPr indent="-182563" lvl="0" marL="182563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sp>
        <p:nvSpPr>
          <p:cNvPr id="388" name="Google Shape;388;p4"/>
          <p:cNvSpPr/>
          <p:nvPr/>
        </p:nvSpPr>
        <p:spPr>
          <a:xfrm>
            <a:off x="4478884" y="4717124"/>
            <a:ext cx="288000" cy="287337"/>
          </a:xfrm>
          <a:prstGeom prst="ellipse">
            <a:avLst/>
          </a:prstGeom>
          <a:solidFill>
            <a:srgbClr val="D4B483"/>
          </a:solidFill>
          <a:ln cap="flat" cmpd="sng" w="28575">
            <a:solidFill>
              <a:schemeClr val="l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1" anchor="ctr" bIns="36000" lIns="54000" spcFirstLastPara="1" rIns="54000" wrap="square" tIns="36000">
            <a:noAutofit/>
          </a:bodyPr>
          <a:lstStyle/>
          <a:p>
            <a:pPr indent="-182563" lvl="0" marL="182563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/>
          </a:p>
        </p:txBody>
      </p:sp>
      <p:sp>
        <p:nvSpPr>
          <p:cNvPr id="389" name="Google Shape;389;p4"/>
          <p:cNvSpPr/>
          <p:nvPr/>
        </p:nvSpPr>
        <p:spPr>
          <a:xfrm>
            <a:off x="266096" y="3808444"/>
            <a:ext cx="288000" cy="287337"/>
          </a:xfrm>
          <a:prstGeom prst="ellipse">
            <a:avLst/>
          </a:prstGeom>
          <a:solidFill>
            <a:srgbClr val="555358"/>
          </a:solidFill>
          <a:ln cap="flat" cmpd="sng" w="28575">
            <a:solidFill>
              <a:schemeClr val="l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1" anchor="ctr" bIns="36000" lIns="54000" spcFirstLastPara="1" rIns="54000" wrap="square" tIns="36000">
            <a:noAutofit/>
          </a:bodyPr>
          <a:lstStyle/>
          <a:p>
            <a:pPr indent="-182563" lvl="0" marL="182563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endParaRPr/>
          </a:p>
        </p:txBody>
      </p:sp>
      <p:sp>
        <p:nvSpPr>
          <p:cNvPr id="390" name="Google Shape;390;p4"/>
          <p:cNvSpPr/>
          <p:nvPr/>
        </p:nvSpPr>
        <p:spPr>
          <a:xfrm>
            <a:off x="263352" y="1995419"/>
            <a:ext cx="288000" cy="287337"/>
          </a:xfrm>
          <a:prstGeom prst="ellipse">
            <a:avLst/>
          </a:prstGeom>
          <a:solidFill>
            <a:srgbClr val="8F9491"/>
          </a:solidFill>
          <a:ln cap="flat" cmpd="sng" w="28575">
            <a:solidFill>
              <a:schemeClr val="lt1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1" anchor="ctr" bIns="36000" lIns="54000" spcFirstLastPara="1" rIns="54000" wrap="square" tIns="36000">
            <a:noAutofit/>
          </a:bodyPr>
          <a:lstStyle/>
          <a:p>
            <a:pPr indent="-182563" lvl="0" marL="182563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6</a:t>
            </a:r>
            <a:endParaRPr/>
          </a:p>
        </p:txBody>
      </p:sp>
      <p:cxnSp>
        <p:nvCxnSpPr>
          <p:cNvPr id="391" name="Google Shape;391;p4"/>
          <p:cNvCxnSpPr>
            <a:stCxn id="384" idx="3"/>
            <a:endCxn id="373" idx="0"/>
          </p:cNvCxnSpPr>
          <p:nvPr/>
        </p:nvCxnSpPr>
        <p:spPr>
          <a:xfrm>
            <a:off x="7637671" y="1650091"/>
            <a:ext cx="2674800" cy="455100"/>
          </a:xfrm>
          <a:prstGeom prst="curvedConnector2">
            <a:avLst/>
          </a:prstGeom>
          <a:noFill/>
          <a:ln cap="flat" cmpd="sng" w="9525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392" name="Google Shape;392;p4"/>
          <p:cNvCxnSpPr>
            <a:stCxn id="376" idx="0"/>
            <a:endCxn id="373" idx="2"/>
          </p:cNvCxnSpPr>
          <p:nvPr/>
        </p:nvCxnSpPr>
        <p:spPr>
          <a:xfrm rot="10800000">
            <a:off x="10312346" y="3011856"/>
            <a:ext cx="0" cy="906600"/>
          </a:xfrm>
          <a:prstGeom prst="straightConnector1">
            <a:avLst/>
          </a:prstGeom>
          <a:noFill/>
          <a:ln cap="flat" cmpd="sng" w="9525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393" name="Google Shape;393;p4"/>
          <p:cNvCxnSpPr>
            <a:stCxn id="376" idx="2"/>
            <a:endCxn id="374" idx="3"/>
          </p:cNvCxnSpPr>
          <p:nvPr/>
        </p:nvCxnSpPr>
        <p:spPr>
          <a:xfrm rot="5400000">
            <a:off x="8747396" y="3715285"/>
            <a:ext cx="455100" cy="2674800"/>
          </a:xfrm>
          <a:prstGeom prst="curvedConnector2">
            <a:avLst/>
          </a:prstGeom>
          <a:noFill/>
          <a:ln cap="flat" cmpd="sng" w="9525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394" name="Google Shape;394;p4"/>
          <p:cNvCxnSpPr>
            <a:stCxn id="374" idx="1"/>
            <a:endCxn id="375" idx="2"/>
          </p:cNvCxnSpPr>
          <p:nvPr/>
        </p:nvCxnSpPr>
        <p:spPr>
          <a:xfrm rot="10800000">
            <a:off x="1879021" y="4825041"/>
            <a:ext cx="2672400" cy="455100"/>
          </a:xfrm>
          <a:prstGeom prst="curvedConnector2">
            <a:avLst/>
          </a:prstGeom>
          <a:noFill/>
          <a:ln cap="flat" cmpd="sng" w="9525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cxnSp>
        <p:nvCxnSpPr>
          <p:cNvPr id="395" name="Google Shape;395;p4"/>
          <p:cNvCxnSpPr>
            <a:stCxn id="372" idx="2"/>
            <a:endCxn id="375" idx="0"/>
          </p:cNvCxnSpPr>
          <p:nvPr/>
        </p:nvCxnSpPr>
        <p:spPr>
          <a:xfrm>
            <a:off x="1879015" y="3011777"/>
            <a:ext cx="0" cy="906600"/>
          </a:xfrm>
          <a:prstGeom prst="straightConnector1">
            <a:avLst/>
          </a:prstGeom>
          <a:noFill/>
          <a:ln cap="flat" cmpd="sng" w="9525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</p:cxnSp>
      <p:sp>
        <p:nvSpPr>
          <p:cNvPr id="396" name="Google Shape;396;p4"/>
          <p:cNvSpPr/>
          <p:nvPr/>
        </p:nvSpPr>
        <p:spPr>
          <a:xfrm>
            <a:off x="4245290" y="2860107"/>
            <a:ext cx="3700781" cy="1210016"/>
          </a:xfrm>
          <a:prstGeom prst="roundRect">
            <a:avLst>
              <a:gd fmla="val 16667" name="adj"/>
            </a:avLst>
          </a:prstGeom>
          <a:solidFill>
            <a:schemeClr val="lt1"/>
          </a:solidFill>
          <a:ln cap="flat" cmpd="sng" w="9525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6800" lIns="90000" spcFirstLastPara="1" rIns="90000" wrap="square" tIns="468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6 steps to Business Intelligence</a:t>
            </a:r>
            <a:endParaRPr sz="18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0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2" name="Google Shape;402;p5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402" name="Google Shape;402;p5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3" name="Google Shape;403;p5"/>
          <p:cNvSpPr txBox="1"/>
          <p:nvPr>
            <p:ph type="title"/>
          </p:nvPr>
        </p:nvSpPr>
        <p:spPr>
          <a:xfrm>
            <a:off x="151925" y="259200"/>
            <a:ext cx="9490800" cy="3387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6 perspectives of the performance measurement system– Balance Scorecard</a:t>
            </a:r>
            <a:endParaRPr/>
          </a:p>
        </p:txBody>
      </p:sp>
      <p:grpSp>
        <p:nvGrpSpPr>
          <p:cNvPr id="404" name="Google Shape;404;p5"/>
          <p:cNvGrpSpPr/>
          <p:nvPr/>
        </p:nvGrpSpPr>
        <p:grpSpPr>
          <a:xfrm>
            <a:off x="9642697" y="82720"/>
            <a:ext cx="2437004" cy="1017863"/>
            <a:chOff x="8939787" y="36402"/>
            <a:chExt cx="3122363" cy="1625979"/>
          </a:xfrm>
        </p:grpSpPr>
        <p:sp>
          <p:nvSpPr>
            <p:cNvPr id="405" name="Google Shape;405;p5"/>
            <p:cNvSpPr/>
            <p:nvPr/>
          </p:nvSpPr>
          <p:spPr>
            <a:xfrm>
              <a:off x="8976049" y="629781"/>
              <a:ext cx="3086100" cy="1032600"/>
            </a:xfrm>
            <a:prstGeom prst="rect">
              <a:avLst/>
            </a:prstGeom>
            <a:solidFill>
              <a:srgbClr val="4281A4"/>
            </a:solidFill>
            <a:ln>
              <a:noFill/>
            </a:ln>
          </p:spPr>
          <p:txBody>
            <a:bodyPr anchorCtr="0" anchor="ctr" bIns="46800" lIns="90000" spcFirstLastPara="1" rIns="90000" wrap="square" tIns="46800">
              <a:noAutofit/>
            </a:bodyPr>
            <a:lstStyle/>
            <a:p>
              <a:pPr indent="0" lvl="0" marL="0" marR="0" rtl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How is a key figure system to be set up?</a:t>
              </a:r>
              <a:endParaRPr/>
            </a:p>
          </p:txBody>
        </p:sp>
        <p:sp>
          <p:nvSpPr>
            <p:cNvPr id="406" name="Google Shape;406;p5"/>
            <p:cNvSpPr/>
            <p:nvPr/>
          </p:nvSpPr>
          <p:spPr>
            <a:xfrm>
              <a:off x="8939787" y="36402"/>
              <a:ext cx="288000" cy="287337"/>
            </a:xfrm>
            <a:prstGeom prst="ellipse">
              <a:avLst/>
            </a:prstGeom>
            <a:solidFill>
              <a:srgbClr val="4281A4"/>
            </a:solidFill>
            <a:ln cap="flat" cmpd="sng" w="28575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1" anchor="ctr" bIns="36000" lIns="54000" spcFirstLastPara="1" rIns="54000" wrap="square" tIns="36000">
              <a:noAutofit/>
            </a:bodyPr>
            <a:lstStyle/>
            <a:p>
              <a:pPr indent="-182563" lvl="0" marL="182563" marR="0" rtl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</p:grpSp>
      <p:sp>
        <p:nvSpPr>
          <p:cNvPr id="407" name="Google Shape;407;p5"/>
          <p:cNvSpPr txBox="1"/>
          <p:nvPr/>
        </p:nvSpPr>
        <p:spPr>
          <a:xfrm>
            <a:off x="7330230" y="4769572"/>
            <a:ext cx="3204356" cy="2492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Customer Perspective</a:t>
            </a:r>
            <a:endParaRPr/>
          </a:p>
        </p:txBody>
      </p:sp>
      <p:cxnSp>
        <p:nvCxnSpPr>
          <p:cNvPr id="408" name="Google Shape;408;p5"/>
          <p:cNvCxnSpPr/>
          <p:nvPr/>
        </p:nvCxnSpPr>
        <p:spPr>
          <a:xfrm flipH="1" rot="10800000">
            <a:off x="7294226" y="5018871"/>
            <a:ext cx="2844000" cy="4421"/>
          </a:xfrm>
          <a:prstGeom prst="straightConnector1">
            <a:avLst/>
          </a:prstGeom>
          <a:noFill/>
          <a:ln cap="flat" cmpd="sng" w="12700">
            <a:solidFill>
              <a:schemeClr val="accent5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409" name="Google Shape;409;p5"/>
          <p:cNvSpPr txBox="1"/>
          <p:nvPr/>
        </p:nvSpPr>
        <p:spPr>
          <a:xfrm>
            <a:off x="7291692" y="5096917"/>
            <a:ext cx="4924988" cy="646331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ustomer base</a:t>
            </a:r>
            <a:endParaRPr/>
          </a:p>
          <a:p>
            <a:pPr indent="-342900" lvl="1" marL="8001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ustomer index, subscriptions etc.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chemeClr val="dk1"/>
                </a:solidFill>
              </a:rPr>
              <a:t>C</a:t>
            </a: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tomer support</a:t>
            </a:r>
            <a:endParaRPr/>
          </a:p>
        </p:txBody>
      </p:sp>
      <p:sp>
        <p:nvSpPr>
          <p:cNvPr id="410" name="Google Shape;410;p5"/>
          <p:cNvSpPr txBox="1"/>
          <p:nvPr/>
        </p:nvSpPr>
        <p:spPr>
          <a:xfrm>
            <a:off x="1526026" y="4760741"/>
            <a:ext cx="3204356" cy="2492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Online-Marketing</a:t>
            </a:r>
            <a:endParaRPr/>
          </a:p>
        </p:txBody>
      </p:sp>
      <p:cxnSp>
        <p:nvCxnSpPr>
          <p:cNvPr id="411" name="Google Shape;411;p5"/>
          <p:cNvCxnSpPr/>
          <p:nvPr/>
        </p:nvCxnSpPr>
        <p:spPr>
          <a:xfrm flipH="1" rot="10800000">
            <a:off x="1490022" y="5010040"/>
            <a:ext cx="2844000" cy="4421"/>
          </a:xfrm>
          <a:prstGeom prst="straightConnector1">
            <a:avLst/>
          </a:prstGeom>
          <a:noFill/>
          <a:ln cap="flat" cmpd="sng" w="12700">
            <a:solidFill>
              <a:schemeClr val="accent5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412" name="Google Shape;412;p5"/>
          <p:cNvSpPr txBox="1"/>
          <p:nvPr/>
        </p:nvSpPr>
        <p:spPr>
          <a:xfrm>
            <a:off x="1487488" y="5088086"/>
            <a:ext cx="3890439" cy="646331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affic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version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ustomer Communication</a:t>
            </a:r>
            <a:endParaRPr sz="1400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3" name="Google Shape;413;p5"/>
          <p:cNvSpPr txBox="1"/>
          <p:nvPr/>
        </p:nvSpPr>
        <p:spPr>
          <a:xfrm>
            <a:off x="8272186" y="3032956"/>
            <a:ext cx="3204356" cy="2492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process perspective</a:t>
            </a:r>
            <a:endParaRPr/>
          </a:p>
        </p:txBody>
      </p:sp>
      <p:cxnSp>
        <p:nvCxnSpPr>
          <p:cNvPr id="414" name="Google Shape;414;p5"/>
          <p:cNvCxnSpPr/>
          <p:nvPr/>
        </p:nvCxnSpPr>
        <p:spPr>
          <a:xfrm flipH="1" rot="10800000">
            <a:off x="8236182" y="3279949"/>
            <a:ext cx="2844000" cy="6728"/>
          </a:xfrm>
          <a:prstGeom prst="straightConnector1">
            <a:avLst/>
          </a:prstGeom>
          <a:noFill/>
          <a:ln cap="flat" cmpd="sng" w="12700">
            <a:solidFill>
              <a:schemeClr val="accent5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415" name="Google Shape;415;p5"/>
          <p:cNvSpPr txBox="1"/>
          <p:nvPr/>
        </p:nvSpPr>
        <p:spPr>
          <a:xfrm>
            <a:off x="8233648" y="3360301"/>
            <a:ext cx="3514980" cy="430887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coming orders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ces</a:t>
            </a:r>
            <a:endParaRPr/>
          </a:p>
        </p:txBody>
      </p:sp>
      <p:sp>
        <p:nvSpPr>
          <p:cNvPr id="416" name="Google Shape;416;p5"/>
          <p:cNvSpPr txBox="1"/>
          <p:nvPr/>
        </p:nvSpPr>
        <p:spPr>
          <a:xfrm>
            <a:off x="190472" y="3031969"/>
            <a:ext cx="3204356" cy="2492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asic key figures</a:t>
            </a:r>
            <a:endParaRPr/>
          </a:p>
        </p:txBody>
      </p:sp>
      <p:cxnSp>
        <p:nvCxnSpPr>
          <p:cNvPr id="417" name="Google Shape;417;p5"/>
          <p:cNvCxnSpPr/>
          <p:nvPr/>
        </p:nvCxnSpPr>
        <p:spPr>
          <a:xfrm flipH="1" rot="10800000">
            <a:off x="154468" y="3281268"/>
            <a:ext cx="2844000" cy="4421"/>
          </a:xfrm>
          <a:prstGeom prst="straightConnector1">
            <a:avLst/>
          </a:prstGeom>
          <a:noFill/>
          <a:ln cap="flat" cmpd="sng" w="12700">
            <a:solidFill>
              <a:schemeClr val="accent5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418" name="Google Shape;418;p5"/>
          <p:cNvSpPr txBox="1"/>
          <p:nvPr/>
        </p:nvSpPr>
        <p:spPr>
          <a:xfrm>
            <a:off x="151934" y="3359313"/>
            <a:ext cx="3767880" cy="430887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ales per day, cost-sales ratio, number of returns, shopping cart, number of orders... </a:t>
            </a:r>
            <a:endParaRPr/>
          </a:p>
        </p:txBody>
      </p:sp>
      <p:sp>
        <p:nvSpPr>
          <p:cNvPr id="419" name="Google Shape;419;p5"/>
          <p:cNvSpPr txBox="1"/>
          <p:nvPr/>
        </p:nvSpPr>
        <p:spPr>
          <a:xfrm>
            <a:off x="7322670" y="1196752"/>
            <a:ext cx="3204356" cy="2492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Frontend</a:t>
            </a:r>
            <a:endParaRPr/>
          </a:p>
        </p:txBody>
      </p:sp>
      <p:cxnSp>
        <p:nvCxnSpPr>
          <p:cNvPr id="420" name="Google Shape;420;p5"/>
          <p:cNvCxnSpPr/>
          <p:nvPr/>
        </p:nvCxnSpPr>
        <p:spPr>
          <a:xfrm flipH="1" rot="10800000">
            <a:off x="7286666" y="1446051"/>
            <a:ext cx="2844000" cy="4421"/>
          </a:xfrm>
          <a:prstGeom prst="straightConnector1">
            <a:avLst/>
          </a:prstGeom>
          <a:noFill/>
          <a:ln cap="flat" cmpd="sng" w="12700">
            <a:solidFill>
              <a:schemeClr val="accent5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421" name="Google Shape;421;p5"/>
          <p:cNvSpPr txBox="1"/>
          <p:nvPr/>
        </p:nvSpPr>
        <p:spPr>
          <a:xfrm>
            <a:off x="7284132" y="1524097"/>
            <a:ext cx="4824536" cy="86177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chnical metrics</a:t>
            </a:r>
            <a:endParaRPr/>
          </a:p>
          <a:p>
            <a:pPr indent="-342900" lvl="1" marL="8001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b="0" i="0" lang="en-US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l key figures to evaluate the size &amp; performance of the shop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ss numbers &amp; dropout rates</a:t>
            </a:r>
            <a:endParaRPr/>
          </a:p>
        </p:txBody>
      </p:sp>
      <p:sp>
        <p:nvSpPr>
          <p:cNvPr id="422" name="Google Shape;422;p5"/>
          <p:cNvSpPr txBox="1"/>
          <p:nvPr/>
        </p:nvSpPr>
        <p:spPr>
          <a:xfrm>
            <a:off x="1598034" y="1196752"/>
            <a:ext cx="3204356" cy="249299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Financial Perspective</a:t>
            </a:r>
            <a:endParaRPr/>
          </a:p>
        </p:txBody>
      </p:sp>
      <p:cxnSp>
        <p:nvCxnSpPr>
          <p:cNvPr id="423" name="Google Shape;423;p5"/>
          <p:cNvCxnSpPr/>
          <p:nvPr/>
        </p:nvCxnSpPr>
        <p:spPr>
          <a:xfrm flipH="1" rot="10800000">
            <a:off x="1562030" y="1446051"/>
            <a:ext cx="2844000" cy="4421"/>
          </a:xfrm>
          <a:prstGeom prst="straightConnector1">
            <a:avLst/>
          </a:prstGeom>
          <a:noFill/>
          <a:ln cap="flat" cmpd="sng" w="12700">
            <a:solidFill>
              <a:schemeClr val="accent5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424" name="Google Shape;424;p5"/>
          <p:cNvSpPr txBox="1"/>
          <p:nvPr/>
        </p:nvSpPr>
        <p:spPr>
          <a:xfrm>
            <a:off x="1559496" y="1524097"/>
            <a:ext cx="3405289" cy="646331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ales volume &amp; revenue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urchasing &amp; logistic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earnings figures</a:t>
            </a:r>
            <a:endParaRPr sz="1400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5" name="Google Shape;425;p5"/>
          <p:cNvGrpSpPr/>
          <p:nvPr/>
        </p:nvGrpSpPr>
        <p:grpSpPr>
          <a:xfrm>
            <a:off x="3914137" y="1894601"/>
            <a:ext cx="3939353" cy="3439302"/>
            <a:chOff x="4159463" y="1911152"/>
            <a:chExt cx="3916204" cy="3419092"/>
          </a:xfrm>
        </p:grpSpPr>
        <p:grpSp>
          <p:nvGrpSpPr>
            <p:cNvPr id="426" name="Google Shape;426;p5"/>
            <p:cNvGrpSpPr/>
            <p:nvPr/>
          </p:nvGrpSpPr>
          <p:grpSpPr>
            <a:xfrm>
              <a:off x="4159463" y="2848655"/>
              <a:ext cx="1447256" cy="1499375"/>
              <a:chOff x="2609586" y="2857281"/>
              <a:chExt cx="1447256" cy="1499375"/>
            </a:xfrm>
          </p:grpSpPr>
          <p:sp>
            <p:nvSpPr>
              <p:cNvPr id="427" name="Google Shape;427;p5"/>
              <p:cNvSpPr/>
              <p:nvPr/>
            </p:nvSpPr>
            <p:spPr>
              <a:xfrm rot="5400000">
                <a:off x="3090667" y="3799402"/>
                <a:ext cx="705588" cy="408921"/>
              </a:xfrm>
              <a:custGeom>
                <a:rect b="b" l="l" r="r" t="t"/>
                <a:pathLst>
                  <a:path extrusionOk="0" h="204" w="352">
                    <a:moveTo>
                      <a:pt x="306" y="204"/>
                    </a:moveTo>
                    <a:lnTo>
                      <a:pt x="0" y="202"/>
                    </a:lnTo>
                    <a:lnTo>
                      <a:pt x="18" y="0"/>
                    </a:lnTo>
                    <a:lnTo>
                      <a:pt x="352" y="10"/>
                    </a:lnTo>
                    <a:lnTo>
                      <a:pt x="306" y="204"/>
                    </a:lnTo>
                    <a:close/>
                  </a:path>
                </a:pathLst>
              </a:custGeom>
              <a:solidFill>
                <a:srgbClr val="99959B">
                  <a:alpha val="60784"/>
                </a:srgbClr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8" name="Google Shape;428;p5"/>
              <p:cNvSpPr/>
              <p:nvPr/>
            </p:nvSpPr>
            <p:spPr>
              <a:xfrm rot="5400000">
                <a:off x="2629630" y="2837237"/>
                <a:ext cx="1407168" cy="1447256"/>
              </a:xfrm>
              <a:custGeom>
                <a:rect b="b" l="l" r="r" t="t"/>
                <a:pathLst>
                  <a:path extrusionOk="0" h="722" w="702">
                    <a:moveTo>
                      <a:pt x="702" y="408"/>
                    </a:moveTo>
                    <a:lnTo>
                      <a:pt x="374" y="722"/>
                    </a:lnTo>
                    <a:lnTo>
                      <a:pt x="0" y="0"/>
                    </a:lnTo>
                    <a:lnTo>
                      <a:pt x="702" y="408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29" name="Google Shape;429;p5"/>
            <p:cNvGrpSpPr/>
            <p:nvPr/>
          </p:nvGrpSpPr>
          <p:grpSpPr>
            <a:xfrm>
              <a:off x="5121628" y="3678526"/>
              <a:ext cx="1158606" cy="1627664"/>
              <a:chOff x="3571751" y="3687152"/>
              <a:chExt cx="1158606" cy="1627664"/>
            </a:xfrm>
          </p:grpSpPr>
          <p:sp>
            <p:nvSpPr>
              <p:cNvPr id="430" name="Google Shape;430;p5"/>
              <p:cNvSpPr/>
              <p:nvPr/>
            </p:nvSpPr>
            <p:spPr>
              <a:xfrm rot="5400000">
                <a:off x="4006729" y="4378706"/>
                <a:ext cx="641443" cy="805814"/>
              </a:xfrm>
              <a:custGeom>
                <a:rect b="b" l="l" r="r" t="t"/>
                <a:pathLst>
                  <a:path extrusionOk="0" h="402" w="320">
                    <a:moveTo>
                      <a:pt x="320" y="138"/>
                    </a:moveTo>
                    <a:lnTo>
                      <a:pt x="166" y="402"/>
                    </a:lnTo>
                    <a:lnTo>
                      <a:pt x="0" y="284"/>
                    </a:lnTo>
                    <a:lnTo>
                      <a:pt x="174" y="0"/>
                    </a:lnTo>
                    <a:lnTo>
                      <a:pt x="320" y="138"/>
                    </a:lnTo>
                    <a:close/>
                  </a:path>
                </a:pathLst>
              </a:custGeom>
              <a:solidFill>
                <a:srgbClr val="E5D1B2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1" name="Google Shape;431;p5"/>
              <p:cNvSpPr/>
              <p:nvPr/>
            </p:nvSpPr>
            <p:spPr>
              <a:xfrm rot="5400000">
                <a:off x="3198912" y="4059992"/>
                <a:ext cx="1627664" cy="881985"/>
              </a:xfrm>
              <a:custGeom>
                <a:rect b="b" l="l" r="r" t="t"/>
                <a:pathLst>
                  <a:path extrusionOk="0" h="440" w="812">
                    <a:moveTo>
                      <a:pt x="706" y="0"/>
                    </a:moveTo>
                    <a:lnTo>
                      <a:pt x="812" y="440"/>
                    </a:lnTo>
                    <a:lnTo>
                      <a:pt x="0" y="402"/>
                    </a:lnTo>
                    <a:lnTo>
                      <a:pt x="70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32" name="Google Shape;432;p5"/>
            <p:cNvGrpSpPr/>
            <p:nvPr/>
          </p:nvGrpSpPr>
          <p:grpSpPr>
            <a:xfrm>
              <a:off x="5710954" y="4075417"/>
              <a:ext cx="1627662" cy="1254827"/>
              <a:chOff x="4161077" y="4084042"/>
              <a:chExt cx="1627662" cy="1254827"/>
            </a:xfrm>
          </p:grpSpPr>
          <p:sp>
            <p:nvSpPr>
              <p:cNvPr id="433" name="Google Shape;433;p5"/>
              <p:cNvSpPr/>
              <p:nvPr/>
            </p:nvSpPr>
            <p:spPr>
              <a:xfrm rot="5400000">
                <a:off x="5093173" y="4078029"/>
                <a:ext cx="689552" cy="701578"/>
              </a:xfrm>
              <a:custGeom>
                <a:rect b="b" l="l" r="r" t="t"/>
                <a:pathLst>
                  <a:path extrusionOk="0" h="350" w="344">
                    <a:moveTo>
                      <a:pt x="192" y="0"/>
                    </a:moveTo>
                    <a:lnTo>
                      <a:pt x="344" y="266"/>
                    </a:lnTo>
                    <a:lnTo>
                      <a:pt x="158" y="350"/>
                    </a:lnTo>
                    <a:lnTo>
                      <a:pt x="0" y="56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D9A2A5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4" name="Google Shape;434;p5"/>
              <p:cNvSpPr/>
              <p:nvPr/>
            </p:nvSpPr>
            <p:spPr>
              <a:xfrm rot="5400000">
                <a:off x="4535920" y="4086050"/>
                <a:ext cx="877976" cy="1627662"/>
              </a:xfrm>
              <a:custGeom>
                <a:rect b="b" l="l" r="r" t="t"/>
                <a:pathLst>
                  <a:path extrusionOk="0" h="812" w="438">
                    <a:moveTo>
                      <a:pt x="4" y="0"/>
                    </a:moveTo>
                    <a:lnTo>
                      <a:pt x="438" y="128"/>
                    </a:lnTo>
                    <a:lnTo>
                      <a:pt x="0" y="81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35" name="Google Shape;435;p5"/>
            <p:cNvGrpSpPr/>
            <p:nvPr/>
          </p:nvGrpSpPr>
          <p:grpSpPr>
            <a:xfrm>
              <a:off x="6628409" y="2896763"/>
              <a:ext cx="1447258" cy="1495369"/>
              <a:chOff x="5087158" y="2905389"/>
              <a:chExt cx="1447258" cy="1495369"/>
            </a:xfrm>
          </p:grpSpPr>
          <p:sp>
            <p:nvSpPr>
              <p:cNvPr id="436" name="Google Shape;436;p5"/>
              <p:cNvSpPr/>
              <p:nvPr/>
            </p:nvSpPr>
            <p:spPr>
              <a:xfrm rot="5400000">
                <a:off x="5349750" y="3051719"/>
                <a:ext cx="705588" cy="412929"/>
              </a:xfrm>
              <a:custGeom>
                <a:rect b="b" l="l" r="r" t="t"/>
                <a:pathLst>
                  <a:path extrusionOk="0" h="206" w="352">
                    <a:moveTo>
                      <a:pt x="46" y="0"/>
                    </a:moveTo>
                    <a:lnTo>
                      <a:pt x="352" y="2"/>
                    </a:lnTo>
                    <a:lnTo>
                      <a:pt x="332" y="206"/>
                    </a:lnTo>
                    <a:lnTo>
                      <a:pt x="0" y="19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8DCECC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7" name="Google Shape;437;p5"/>
              <p:cNvSpPr/>
              <p:nvPr/>
            </p:nvSpPr>
            <p:spPr>
              <a:xfrm rot="5400000">
                <a:off x="5109208" y="2975550"/>
                <a:ext cx="1403158" cy="1447258"/>
              </a:xfrm>
              <a:custGeom>
                <a:rect b="b" l="l" r="r" t="t"/>
                <a:pathLst>
                  <a:path extrusionOk="0" h="722" w="700">
                    <a:moveTo>
                      <a:pt x="0" y="312"/>
                    </a:moveTo>
                    <a:lnTo>
                      <a:pt x="328" y="0"/>
                    </a:lnTo>
                    <a:lnTo>
                      <a:pt x="700" y="722"/>
                    </a:lnTo>
                    <a:lnTo>
                      <a:pt x="0" y="31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38" name="Google Shape;438;p5"/>
            <p:cNvGrpSpPr/>
            <p:nvPr/>
          </p:nvGrpSpPr>
          <p:grpSpPr>
            <a:xfrm>
              <a:off x="5967531" y="1943226"/>
              <a:ext cx="1158606" cy="1627664"/>
              <a:chOff x="4417654" y="1943226"/>
              <a:chExt cx="1158606" cy="1627664"/>
            </a:xfrm>
          </p:grpSpPr>
          <p:sp>
            <p:nvSpPr>
              <p:cNvPr id="439" name="Google Shape;439;p5"/>
              <p:cNvSpPr/>
              <p:nvPr/>
            </p:nvSpPr>
            <p:spPr>
              <a:xfrm rot="5400000">
                <a:off x="4497834" y="2075522"/>
                <a:ext cx="645453" cy="805814"/>
              </a:xfrm>
              <a:custGeom>
                <a:rect b="b" l="l" r="r" t="t"/>
                <a:pathLst>
                  <a:path extrusionOk="0" h="402" w="322">
                    <a:moveTo>
                      <a:pt x="0" y="264"/>
                    </a:moveTo>
                    <a:lnTo>
                      <a:pt x="156" y="0"/>
                    </a:lnTo>
                    <a:lnTo>
                      <a:pt x="322" y="118"/>
                    </a:lnTo>
                    <a:lnTo>
                      <a:pt x="144" y="402"/>
                    </a:lnTo>
                    <a:lnTo>
                      <a:pt x="0" y="264"/>
                    </a:lnTo>
                    <a:close/>
                  </a:path>
                </a:pathLst>
              </a:custGeom>
              <a:solidFill>
                <a:srgbClr val="86B4CE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0" name="Google Shape;440;p5"/>
              <p:cNvSpPr/>
              <p:nvPr/>
            </p:nvSpPr>
            <p:spPr>
              <a:xfrm rot="5400000">
                <a:off x="4321435" y="2316065"/>
                <a:ext cx="1627664" cy="881985"/>
              </a:xfrm>
              <a:custGeom>
                <a:rect b="b" l="l" r="r" t="t"/>
                <a:pathLst>
                  <a:path extrusionOk="0" h="440" w="812">
                    <a:moveTo>
                      <a:pt x="106" y="440"/>
                    </a:moveTo>
                    <a:lnTo>
                      <a:pt x="0" y="0"/>
                    </a:lnTo>
                    <a:lnTo>
                      <a:pt x="812" y="40"/>
                    </a:lnTo>
                    <a:lnTo>
                      <a:pt x="106" y="44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41" name="Google Shape;441;p5"/>
            <p:cNvGrpSpPr/>
            <p:nvPr/>
          </p:nvGrpSpPr>
          <p:grpSpPr>
            <a:xfrm>
              <a:off x="4909148" y="1911152"/>
              <a:ext cx="1627664" cy="1254825"/>
              <a:chOff x="3359271" y="1911152"/>
              <a:chExt cx="1627664" cy="1254825"/>
            </a:xfrm>
          </p:grpSpPr>
          <p:sp>
            <p:nvSpPr>
              <p:cNvPr id="442" name="Google Shape;442;p5"/>
              <p:cNvSpPr/>
              <p:nvPr/>
            </p:nvSpPr>
            <p:spPr>
              <a:xfrm rot="5400000">
                <a:off x="3365285" y="2474420"/>
                <a:ext cx="685543" cy="697570"/>
              </a:xfrm>
              <a:custGeom>
                <a:rect b="b" l="l" r="r" t="t"/>
                <a:pathLst>
                  <a:path extrusionOk="0" h="348" w="342">
                    <a:moveTo>
                      <a:pt x="152" y="348"/>
                    </a:moveTo>
                    <a:lnTo>
                      <a:pt x="0" y="80"/>
                    </a:lnTo>
                    <a:lnTo>
                      <a:pt x="188" y="0"/>
                    </a:lnTo>
                    <a:lnTo>
                      <a:pt x="342" y="292"/>
                    </a:lnTo>
                    <a:lnTo>
                      <a:pt x="152" y="348"/>
                    </a:lnTo>
                    <a:close/>
                  </a:path>
                </a:pathLst>
              </a:custGeom>
              <a:solidFill>
                <a:srgbClr val="BBBEBC">
                  <a:alpha val="83921"/>
                </a:srgbClr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3" name="Google Shape;443;p5"/>
              <p:cNvSpPr/>
              <p:nvPr/>
            </p:nvSpPr>
            <p:spPr>
              <a:xfrm rot="5400000">
                <a:off x="3728102" y="1542323"/>
                <a:ext cx="890004" cy="1627662"/>
              </a:xfrm>
              <a:custGeom>
                <a:rect b="b" l="l" r="r" t="t"/>
                <a:pathLst>
                  <a:path extrusionOk="0" h="812" w="444">
                    <a:moveTo>
                      <a:pt x="436" y="812"/>
                    </a:moveTo>
                    <a:lnTo>
                      <a:pt x="0" y="682"/>
                    </a:lnTo>
                    <a:lnTo>
                      <a:pt x="444" y="0"/>
                    </a:lnTo>
                    <a:lnTo>
                      <a:pt x="436" y="81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anchorCtr="0" anchor="t" bIns="45700" lIns="91425" spcFirstLastPara="1" rIns="91425" wrap="square" tIns="45700">
                <a:noAutofit/>
              </a:bodyPr>
              <a:lstStyle/>
              <a:p>
                <a:pPr indent="0" lvl="0" marL="0" marR="0" rtl="0" algn="l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t/>
                </a: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444" name="Google Shape;444;p5"/>
            <p:cNvSpPr/>
            <p:nvPr/>
          </p:nvSpPr>
          <p:spPr>
            <a:xfrm>
              <a:off x="5233906" y="4712832"/>
              <a:ext cx="303541" cy="307852"/>
            </a:xfrm>
            <a:custGeom>
              <a:rect b="b" l="l" r="r" t="t"/>
              <a:pathLst>
                <a:path extrusionOk="0" h="178" w="176">
                  <a:moveTo>
                    <a:pt x="36" y="82"/>
                  </a:moveTo>
                  <a:cubicBezTo>
                    <a:pt x="28" y="82"/>
                    <a:pt x="28" y="82"/>
                    <a:pt x="28" y="82"/>
                  </a:cubicBezTo>
                  <a:cubicBezTo>
                    <a:pt x="26" y="82"/>
                    <a:pt x="24" y="84"/>
                    <a:pt x="24" y="86"/>
                  </a:cubicBezTo>
                  <a:cubicBezTo>
                    <a:pt x="24" y="88"/>
                    <a:pt x="26" y="90"/>
                    <a:pt x="28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8" y="90"/>
                    <a:pt x="40" y="88"/>
                    <a:pt x="40" y="86"/>
                  </a:cubicBezTo>
                  <a:cubicBezTo>
                    <a:pt x="40" y="84"/>
                    <a:pt x="38" y="82"/>
                    <a:pt x="36" y="82"/>
                  </a:cubicBezTo>
                  <a:moveTo>
                    <a:pt x="60" y="154"/>
                  </a:moveTo>
                  <a:cubicBezTo>
                    <a:pt x="52" y="154"/>
                    <a:pt x="52" y="154"/>
                    <a:pt x="52" y="154"/>
                  </a:cubicBezTo>
                  <a:cubicBezTo>
                    <a:pt x="50" y="154"/>
                    <a:pt x="48" y="156"/>
                    <a:pt x="48" y="158"/>
                  </a:cubicBezTo>
                  <a:cubicBezTo>
                    <a:pt x="48" y="160"/>
                    <a:pt x="50" y="162"/>
                    <a:pt x="52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2" y="162"/>
                    <a:pt x="64" y="160"/>
                    <a:pt x="64" y="158"/>
                  </a:cubicBezTo>
                  <a:cubicBezTo>
                    <a:pt x="64" y="156"/>
                    <a:pt x="62" y="154"/>
                    <a:pt x="60" y="154"/>
                  </a:cubicBezTo>
                  <a:moveTo>
                    <a:pt x="36" y="154"/>
                  </a:moveTo>
                  <a:cubicBezTo>
                    <a:pt x="28" y="154"/>
                    <a:pt x="28" y="154"/>
                    <a:pt x="28" y="154"/>
                  </a:cubicBezTo>
                  <a:cubicBezTo>
                    <a:pt x="26" y="154"/>
                    <a:pt x="24" y="156"/>
                    <a:pt x="24" y="158"/>
                  </a:cubicBezTo>
                  <a:cubicBezTo>
                    <a:pt x="24" y="160"/>
                    <a:pt x="26" y="162"/>
                    <a:pt x="28" y="162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38" y="162"/>
                    <a:pt x="40" y="160"/>
                    <a:pt x="40" y="158"/>
                  </a:cubicBezTo>
                  <a:cubicBezTo>
                    <a:pt x="40" y="156"/>
                    <a:pt x="38" y="154"/>
                    <a:pt x="36" y="154"/>
                  </a:cubicBezTo>
                  <a:moveTo>
                    <a:pt x="124" y="90"/>
                  </a:moveTo>
                  <a:cubicBezTo>
                    <a:pt x="132" y="90"/>
                    <a:pt x="132" y="90"/>
                    <a:pt x="132" y="90"/>
                  </a:cubicBezTo>
                  <a:cubicBezTo>
                    <a:pt x="134" y="90"/>
                    <a:pt x="136" y="88"/>
                    <a:pt x="136" y="86"/>
                  </a:cubicBezTo>
                  <a:cubicBezTo>
                    <a:pt x="136" y="84"/>
                    <a:pt x="134" y="82"/>
                    <a:pt x="132" y="82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2" y="82"/>
                    <a:pt x="120" y="84"/>
                    <a:pt x="120" y="86"/>
                  </a:cubicBezTo>
                  <a:cubicBezTo>
                    <a:pt x="120" y="88"/>
                    <a:pt x="122" y="90"/>
                    <a:pt x="124" y="90"/>
                  </a:cubicBezTo>
                  <a:moveTo>
                    <a:pt x="132" y="154"/>
                  </a:moveTo>
                  <a:cubicBezTo>
                    <a:pt x="124" y="154"/>
                    <a:pt x="124" y="154"/>
                    <a:pt x="124" y="154"/>
                  </a:cubicBezTo>
                  <a:cubicBezTo>
                    <a:pt x="122" y="154"/>
                    <a:pt x="120" y="156"/>
                    <a:pt x="120" y="158"/>
                  </a:cubicBezTo>
                  <a:cubicBezTo>
                    <a:pt x="120" y="160"/>
                    <a:pt x="122" y="162"/>
                    <a:pt x="124" y="162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4" y="162"/>
                    <a:pt x="136" y="160"/>
                    <a:pt x="136" y="158"/>
                  </a:cubicBezTo>
                  <a:cubicBezTo>
                    <a:pt x="136" y="156"/>
                    <a:pt x="134" y="154"/>
                    <a:pt x="132" y="154"/>
                  </a:cubicBezTo>
                  <a:moveTo>
                    <a:pt x="140" y="118"/>
                  </a:moveTo>
                  <a:cubicBezTo>
                    <a:pt x="138" y="118"/>
                    <a:pt x="136" y="120"/>
                    <a:pt x="136" y="122"/>
                  </a:cubicBezTo>
                  <a:cubicBezTo>
                    <a:pt x="136" y="124"/>
                    <a:pt x="138" y="126"/>
                    <a:pt x="140" y="126"/>
                  </a:cubicBezTo>
                  <a:cubicBezTo>
                    <a:pt x="142" y="126"/>
                    <a:pt x="144" y="124"/>
                    <a:pt x="144" y="122"/>
                  </a:cubicBezTo>
                  <a:cubicBezTo>
                    <a:pt x="144" y="120"/>
                    <a:pt x="142" y="118"/>
                    <a:pt x="140" y="118"/>
                  </a:cubicBezTo>
                  <a:moveTo>
                    <a:pt x="60" y="82"/>
                  </a:moveTo>
                  <a:cubicBezTo>
                    <a:pt x="52" y="82"/>
                    <a:pt x="52" y="82"/>
                    <a:pt x="52" y="82"/>
                  </a:cubicBezTo>
                  <a:cubicBezTo>
                    <a:pt x="50" y="82"/>
                    <a:pt x="48" y="84"/>
                    <a:pt x="48" y="86"/>
                  </a:cubicBezTo>
                  <a:cubicBezTo>
                    <a:pt x="48" y="88"/>
                    <a:pt x="50" y="90"/>
                    <a:pt x="52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2" y="90"/>
                    <a:pt x="64" y="88"/>
                    <a:pt x="64" y="86"/>
                  </a:cubicBezTo>
                  <a:cubicBezTo>
                    <a:pt x="64" y="84"/>
                    <a:pt x="62" y="82"/>
                    <a:pt x="60" y="82"/>
                  </a:cubicBezTo>
                  <a:moveTo>
                    <a:pt x="108" y="82"/>
                  </a:moveTo>
                  <a:cubicBezTo>
                    <a:pt x="100" y="82"/>
                    <a:pt x="100" y="82"/>
                    <a:pt x="100" y="82"/>
                  </a:cubicBezTo>
                  <a:cubicBezTo>
                    <a:pt x="98" y="82"/>
                    <a:pt x="96" y="84"/>
                    <a:pt x="96" y="86"/>
                  </a:cubicBezTo>
                  <a:cubicBezTo>
                    <a:pt x="96" y="88"/>
                    <a:pt x="98" y="90"/>
                    <a:pt x="100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10" y="90"/>
                    <a:pt x="112" y="88"/>
                    <a:pt x="112" y="86"/>
                  </a:cubicBezTo>
                  <a:cubicBezTo>
                    <a:pt x="112" y="84"/>
                    <a:pt x="110" y="82"/>
                    <a:pt x="108" y="82"/>
                  </a:cubicBezTo>
                  <a:moveTo>
                    <a:pt x="160" y="98"/>
                  </a:moveTo>
                  <a:cubicBezTo>
                    <a:pt x="160" y="66"/>
                    <a:pt x="160" y="66"/>
                    <a:pt x="160" y="66"/>
                  </a:cubicBezTo>
                  <a:cubicBezTo>
                    <a:pt x="160" y="57"/>
                    <a:pt x="153" y="50"/>
                    <a:pt x="144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29" y="14"/>
                    <a:pt x="129" y="14"/>
                    <a:pt x="129" y="14"/>
                  </a:cubicBezTo>
                  <a:cubicBezTo>
                    <a:pt x="126" y="5"/>
                    <a:pt x="118" y="0"/>
                    <a:pt x="109" y="3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0" y="26"/>
                    <a:pt x="15" y="35"/>
                    <a:pt x="17" y="44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57"/>
                    <a:pt x="0" y="66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71"/>
                    <a:pt x="7" y="178"/>
                    <a:pt x="16" y="178"/>
                  </a:cubicBezTo>
                  <a:cubicBezTo>
                    <a:pt x="144" y="178"/>
                    <a:pt x="144" y="178"/>
                    <a:pt x="144" y="178"/>
                  </a:cubicBezTo>
                  <a:cubicBezTo>
                    <a:pt x="153" y="178"/>
                    <a:pt x="160" y="171"/>
                    <a:pt x="160" y="162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69" y="146"/>
                    <a:pt x="176" y="139"/>
                    <a:pt x="176" y="130"/>
                  </a:cubicBezTo>
                  <a:cubicBezTo>
                    <a:pt x="176" y="114"/>
                    <a:pt x="176" y="114"/>
                    <a:pt x="176" y="114"/>
                  </a:cubicBezTo>
                  <a:cubicBezTo>
                    <a:pt x="176" y="105"/>
                    <a:pt x="169" y="98"/>
                    <a:pt x="160" y="98"/>
                  </a:cubicBezTo>
                  <a:moveTo>
                    <a:pt x="144" y="58"/>
                  </a:moveTo>
                  <a:cubicBezTo>
                    <a:pt x="148" y="58"/>
                    <a:pt x="152" y="62"/>
                    <a:pt x="152" y="66"/>
                  </a:cubicBezTo>
                  <a:cubicBezTo>
                    <a:pt x="152" y="68"/>
                    <a:pt x="152" y="68"/>
                    <a:pt x="152" y="68"/>
                  </a:cubicBezTo>
                  <a:cubicBezTo>
                    <a:pt x="150" y="67"/>
                    <a:pt x="147" y="66"/>
                    <a:pt x="144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140" y="58"/>
                    <a:pt x="140" y="58"/>
                    <a:pt x="140" y="58"/>
                  </a:cubicBezTo>
                  <a:lnTo>
                    <a:pt x="144" y="58"/>
                  </a:lnTo>
                  <a:close/>
                  <a:moveTo>
                    <a:pt x="129" y="47"/>
                  </a:moveTo>
                  <a:cubicBezTo>
                    <a:pt x="134" y="66"/>
                    <a:pt x="134" y="66"/>
                    <a:pt x="134" y="66"/>
                  </a:cubicBezTo>
                  <a:cubicBezTo>
                    <a:pt x="57" y="66"/>
                    <a:pt x="57" y="66"/>
                    <a:pt x="57" y="66"/>
                  </a:cubicBezTo>
                  <a:lnTo>
                    <a:pt x="129" y="47"/>
                  </a:lnTo>
                  <a:close/>
                  <a:moveTo>
                    <a:pt x="30" y="32"/>
                  </a:moveTo>
                  <a:cubicBezTo>
                    <a:pt x="111" y="10"/>
                    <a:pt x="111" y="10"/>
                    <a:pt x="111" y="10"/>
                  </a:cubicBezTo>
                  <a:cubicBezTo>
                    <a:pt x="115" y="9"/>
                    <a:pt x="120" y="12"/>
                    <a:pt x="121" y="16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4" y="37"/>
                    <a:pt x="26" y="33"/>
                    <a:pt x="30" y="32"/>
                  </a:cubicBezTo>
                  <a:moveTo>
                    <a:pt x="8" y="66"/>
                  </a:moveTo>
                  <a:cubicBezTo>
                    <a:pt x="8" y="62"/>
                    <a:pt x="12" y="58"/>
                    <a:pt x="16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3" y="66"/>
                    <a:pt x="10" y="67"/>
                    <a:pt x="8" y="68"/>
                  </a:cubicBezTo>
                  <a:lnTo>
                    <a:pt x="8" y="66"/>
                  </a:lnTo>
                  <a:close/>
                  <a:moveTo>
                    <a:pt x="152" y="162"/>
                  </a:moveTo>
                  <a:cubicBezTo>
                    <a:pt x="152" y="166"/>
                    <a:pt x="148" y="170"/>
                    <a:pt x="144" y="170"/>
                  </a:cubicBezTo>
                  <a:cubicBezTo>
                    <a:pt x="16" y="170"/>
                    <a:pt x="16" y="170"/>
                    <a:pt x="16" y="170"/>
                  </a:cubicBezTo>
                  <a:cubicBezTo>
                    <a:pt x="12" y="170"/>
                    <a:pt x="8" y="166"/>
                    <a:pt x="8" y="16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78"/>
                    <a:pt x="12" y="74"/>
                    <a:pt x="16" y="74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8" y="74"/>
                    <a:pt x="152" y="78"/>
                    <a:pt x="152" y="82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36" y="98"/>
                    <a:pt x="136" y="98"/>
                    <a:pt x="136" y="98"/>
                  </a:cubicBezTo>
                  <a:cubicBezTo>
                    <a:pt x="127" y="98"/>
                    <a:pt x="120" y="105"/>
                    <a:pt x="120" y="114"/>
                  </a:cubicBezTo>
                  <a:cubicBezTo>
                    <a:pt x="120" y="130"/>
                    <a:pt x="120" y="130"/>
                    <a:pt x="120" y="130"/>
                  </a:cubicBezTo>
                  <a:cubicBezTo>
                    <a:pt x="120" y="139"/>
                    <a:pt x="127" y="146"/>
                    <a:pt x="136" y="146"/>
                  </a:cubicBezTo>
                  <a:cubicBezTo>
                    <a:pt x="152" y="146"/>
                    <a:pt x="152" y="146"/>
                    <a:pt x="152" y="146"/>
                  </a:cubicBezTo>
                  <a:lnTo>
                    <a:pt x="152" y="162"/>
                  </a:lnTo>
                  <a:close/>
                  <a:moveTo>
                    <a:pt x="168" y="130"/>
                  </a:moveTo>
                  <a:cubicBezTo>
                    <a:pt x="168" y="134"/>
                    <a:pt x="164" y="138"/>
                    <a:pt x="160" y="138"/>
                  </a:cubicBezTo>
                  <a:cubicBezTo>
                    <a:pt x="136" y="138"/>
                    <a:pt x="136" y="138"/>
                    <a:pt x="136" y="138"/>
                  </a:cubicBezTo>
                  <a:cubicBezTo>
                    <a:pt x="132" y="138"/>
                    <a:pt x="128" y="134"/>
                    <a:pt x="128" y="130"/>
                  </a:cubicBezTo>
                  <a:cubicBezTo>
                    <a:pt x="128" y="114"/>
                    <a:pt x="128" y="114"/>
                    <a:pt x="128" y="114"/>
                  </a:cubicBezTo>
                  <a:cubicBezTo>
                    <a:pt x="128" y="110"/>
                    <a:pt x="132" y="106"/>
                    <a:pt x="136" y="106"/>
                  </a:cubicBezTo>
                  <a:cubicBezTo>
                    <a:pt x="160" y="106"/>
                    <a:pt x="160" y="106"/>
                    <a:pt x="160" y="106"/>
                  </a:cubicBezTo>
                  <a:cubicBezTo>
                    <a:pt x="164" y="106"/>
                    <a:pt x="168" y="110"/>
                    <a:pt x="168" y="114"/>
                  </a:cubicBezTo>
                  <a:lnTo>
                    <a:pt x="168" y="130"/>
                  </a:lnTo>
                  <a:close/>
                  <a:moveTo>
                    <a:pt x="84" y="154"/>
                  </a:moveTo>
                  <a:cubicBezTo>
                    <a:pt x="76" y="154"/>
                    <a:pt x="76" y="154"/>
                    <a:pt x="76" y="154"/>
                  </a:cubicBezTo>
                  <a:cubicBezTo>
                    <a:pt x="74" y="154"/>
                    <a:pt x="72" y="156"/>
                    <a:pt x="72" y="158"/>
                  </a:cubicBezTo>
                  <a:cubicBezTo>
                    <a:pt x="72" y="160"/>
                    <a:pt x="74" y="162"/>
                    <a:pt x="76" y="162"/>
                  </a:cubicBezTo>
                  <a:cubicBezTo>
                    <a:pt x="84" y="162"/>
                    <a:pt x="84" y="162"/>
                    <a:pt x="84" y="162"/>
                  </a:cubicBezTo>
                  <a:cubicBezTo>
                    <a:pt x="86" y="162"/>
                    <a:pt x="88" y="160"/>
                    <a:pt x="88" y="158"/>
                  </a:cubicBezTo>
                  <a:cubicBezTo>
                    <a:pt x="88" y="156"/>
                    <a:pt x="86" y="154"/>
                    <a:pt x="84" y="154"/>
                  </a:cubicBezTo>
                  <a:moveTo>
                    <a:pt x="108" y="154"/>
                  </a:moveTo>
                  <a:cubicBezTo>
                    <a:pt x="100" y="154"/>
                    <a:pt x="100" y="154"/>
                    <a:pt x="100" y="154"/>
                  </a:cubicBezTo>
                  <a:cubicBezTo>
                    <a:pt x="98" y="154"/>
                    <a:pt x="96" y="156"/>
                    <a:pt x="96" y="158"/>
                  </a:cubicBezTo>
                  <a:cubicBezTo>
                    <a:pt x="96" y="160"/>
                    <a:pt x="98" y="162"/>
                    <a:pt x="100" y="162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10" y="162"/>
                    <a:pt x="112" y="160"/>
                    <a:pt x="112" y="158"/>
                  </a:cubicBezTo>
                  <a:cubicBezTo>
                    <a:pt x="112" y="156"/>
                    <a:pt x="110" y="154"/>
                    <a:pt x="108" y="154"/>
                  </a:cubicBezTo>
                  <a:moveTo>
                    <a:pt x="84" y="82"/>
                  </a:moveTo>
                  <a:cubicBezTo>
                    <a:pt x="76" y="82"/>
                    <a:pt x="76" y="82"/>
                    <a:pt x="76" y="82"/>
                  </a:cubicBezTo>
                  <a:cubicBezTo>
                    <a:pt x="74" y="82"/>
                    <a:pt x="72" y="84"/>
                    <a:pt x="72" y="86"/>
                  </a:cubicBezTo>
                  <a:cubicBezTo>
                    <a:pt x="72" y="88"/>
                    <a:pt x="74" y="90"/>
                    <a:pt x="76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6" y="90"/>
                    <a:pt x="88" y="88"/>
                    <a:pt x="88" y="86"/>
                  </a:cubicBezTo>
                  <a:cubicBezTo>
                    <a:pt x="88" y="84"/>
                    <a:pt x="86" y="82"/>
                    <a:pt x="84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Ctr="0" anchor="t" bIns="68575" lIns="137175" spcFirstLastPara="1" rIns="137175" wrap="square" tIns="68575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2700">
                <a:solidFill>
                  <a:srgbClr val="2E2E2E"/>
                </a:solidFill>
                <a:latin typeface="Raleway Thin"/>
                <a:ea typeface="Raleway Thin"/>
                <a:cs typeface="Raleway Thin"/>
                <a:sym typeface="Raleway Thin"/>
              </a:endParaRPr>
            </a:p>
          </p:txBody>
        </p:sp>
        <p:sp>
          <p:nvSpPr>
            <p:cNvPr id="445" name="Google Shape;445;p5"/>
            <p:cNvSpPr/>
            <p:nvPr/>
          </p:nvSpPr>
          <p:spPr>
            <a:xfrm>
              <a:off x="5204552" y="2349673"/>
              <a:ext cx="346903" cy="191736"/>
            </a:xfrm>
            <a:custGeom>
              <a:rect b="b" l="l" r="r" t="t"/>
              <a:pathLst>
                <a:path extrusionOk="0" h="96" w="176">
                  <a:moveTo>
                    <a:pt x="44" y="16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34" y="16"/>
                    <a:pt x="32" y="18"/>
                    <a:pt x="32" y="20"/>
                  </a:cubicBezTo>
                  <a:cubicBezTo>
                    <a:pt x="32" y="22"/>
                    <a:pt x="34" y="24"/>
                    <a:pt x="36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6" y="24"/>
                    <a:pt x="48" y="22"/>
                    <a:pt x="48" y="20"/>
                  </a:cubicBezTo>
                  <a:cubicBezTo>
                    <a:pt x="48" y="18"/>
                    <a:pt x="46" y="16"/>
                    <a:pt x="44" y="16"/>
                  </a:cubicBezTo>
                  <a:moveTo>
                    <a:pt x="88" y="16"/>
                  </a:moveTo>
                  <a:cubicBezTo>
                    <a:pt x="70" y="16"/>
                    <a:pt x="56" y="30"/>
                    <a:pt x="56" y="48"/>
                  </a:cubicBezTo>
                  <a:cubicBezTo>
                    <a:pt x="56" y="66"/>
                    <a:pt x="70" y="80"/>
                    <a:pt x="88" y="80"/>
                  </a:cubicBezTo>
                  <a:cubicBezTo>
                    <a:pt x="106" y="80"/>
                    <a:pt x="120" y="66"/>
                    <a:pt x="120" y="48"/>
                  </a:cubicBezTo>
                  <a:cubicBezTo>
                    <a:pt x="120" y="30"/>
                    <a:pt x="106" y="16"/>
                    <a:pt x="88" y="16"/>
                  </a:cubicBezTo>
                  <a:moveTo>
                    <a:pt x="101" y="61"/>
                  </a:moveTo>
                  <a:cubicBezTo>
                    <a:pt x="100" y="63"/>
                    <a:pt x="99" y="64"/>
                    <a:pt x="98" y="65"/>
                  </a:cubicBezTo>
                  <a:cubicBezTo>
                    <a:pt x="97" y="66"/>
                    <a:pt x="96" y="67"/>
                    <a:pt x="94" y="67"/>
                  </a:cubicBezTo>
                  <a:cubicBezTo>
                    <a:pt x="93" y="68"/>
                    <a:pt x="91" y="68"/>
                    <a:pt x="90" y="68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4" y="68"/>
                    <a:pt x="83" y="68"/>
                    <a:pt x="82" y="67"/>
                  </a:cubicBezTo>
                  <a:cubicBezTo>
                    <a:pt x="80" y="67"/>
                    <a:pt x="79" y="66"/>
                    <a:pt x="77" y="65"/>
                  </a:cubicBezTo>
                  <a:cubicBezTo>
                    <a:pt x="76" y="64"/>
                    <a:pt x="75" y="62"/>
                    <a:pt x="75" y="61"/>
                  </a:cubicBezTo>
                  <a:cubicBezTo>
                    <a:pt x="74" y="59"/>
                    <a:pt x="74" y="58"/>
                    <a:pt x="7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8"/>
                    <a:pt x="80" y="60"/>
                    <a:pt x="82" y="61"/>
                  </a:cubicBezTo>
                  <a:cubicBezTo>
                    <a:pt x="83" y="63"/>
                    <a:pt x="84" y="63"/>
                    <a:pt x="86" y="6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5" y="50"/>
                    <a:pt x="84" y="49"/>
                    <a:pt x="82" y="49"/>
                  </a:cubicBezTo>
                  <a:cubicBezTo>
                    <a:pt x="81" y="48"/>
                    <a:pt x="80" y="47"/>
                    <a:pt x="79" y="47"/>
                  </a:cubicBezTo>
                  <a:cubicBezTo>
                    <a:pt x="77" y="46"/>
                    <a:pt x="76" y="45"/>
                    <a:pt x="76" y="43"/>
                  </a:cubicBezTo>
                  <a:cubicBezTo>
                    <a:pt x="75" y="42"/>
                    <a:pt x="75" y="40"/>
                    <a:pt x="75" y="38"/>
                  </a:cubicBezTo>
                  <a:cubicBezTo>
                    <a:pt x="75" y="37"/>
                    <a:pt x="75" y="35"/>
                    <a:pt x="76" y="34"/>
                  </a:cubicBezTo>
                  <a:cubicBezTo>
                    <a:pt x="76" y="32"/>
                    <a:pt x="77" y="31"/>
                    <a:pt x="78" y="30"/>
                  </a:cubicBezTo>
                  <a:cubicBezTo>
                    <a:pt x="79" y="29"/>
                    <a:pt x="81" y="29"/>
                    <a:pt x="82" y="28"/>
                  </a:cubicBezTo>
                  <a:cubicBezTo>
                    <a:pt x="84" y="28"/>
                    <a:pt x="85" y="28"/>
                    <a:pt x="86" y="28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1" y="28"/>
                    <a:pt x="92" y="28"/>
                    <a:pt x="94" y="28"/>
                  </a:cubicBezTo>
                  <a:cubicBezTo>
                    <a:pt x="95" y="29"/>
                    <a:pt x="96" y="29"/>
                    <a:pt x="97" y="30"/>
                  </a:cubicBezTo>
                  <a:cubicBezTo>
                    <a:pt x="99" y="31"/>
                    <a:pt x="99" y="32"/>
                    <a:pt x="100" y="34"/>
                  </a:cubicBezTo>
                  <a:cubicBezTo>
                    <a:pt x="101" y="35"/>
                    <a:pt x="101" y="36"/>
                    <a:pt x="101" y="38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6"/>
                    <a:pt x="94" y="35"/>
                    <a:pt x="93" y="34"/>
                  </a:cubicBezTo>
                  <a:cubicBezTo>
                    <a:pt x="93" y="33"/>
                    <a:pt x="92" y="32"/>
                    <a:pt x="90" y="32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1" y="44"/>
                    <a:pt x="92" y="45"/>
                    <a:pt x="94" y="45"/>
                  </a:cubicBezTo>
                  <a:cubicBezTo>
                    <a:pt x="95" y="46"/>
                    <a:pt x="97" y="47"/>
                    <a:pt x="98" y="48"/>
                  </a:cubicBezTo>
                  <a:cubicBezTo>
                    <a:pt x="99" y="49"/>
                    <a:pt x="100" y="50"/>
                    <a:pt x="101" y="51"/>
                  </a:cubicBezTo>
                  <a:cubicBezTo>
                    <a:pt x="102" y="52"/>
                    <a:pt x="102" y="54"/>
                    <a:pt x="102" y="56"/>
                  </a:cubicBezTo>
                  <a:cubicBezTo>
                    <a:pt x="102" y="58"/>
                    <a:pt x="102" y="60"/>
                    <a:pt x="101" y="61"/>
                  </a:cubicBezTo>
                  <a:moveTo>
                    <a:pt x="16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168" y="96"/>
                    <a:pt x="168" y="96"/>
                    <a:pt x="168" y="96"/>
                  </a:cubicBezTo>
                  <a:cubicBezTo>
                    <a:pt x="172" y="96"/>
                    <a:pt x="176" y="92"/>
                    <a:pt x="176" y="88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76" y="4"/>
                    <a:pt x="172" y="0"/>
                    <a:pt x="168" y="0"/>
                  </a:cubicBezTo>
                  <a:moveTo>
                    <a:pt x="12" y="8"/>
                  </a:moveTo>
                  <a:cubicBezTo>
                    <a:pt x="14" y="8"/>
                    <a:pt x="16" y="10"/>
                    <a:pt x="16" y="12"/>
                  </a:cubicBezTo>
                  <a:cubicBezTo>
                    <a:pt x="16" y="14"/>
                    <a:pt x="14" y="16"/>
                    <a:pt x="12" y="16"/>
                  </a:cubicBezTo>
                  <a:cubicBezTo>
                    <a:pt x="10" y="16"/>
                    <a:pt x="8" y="14"/>
                    <a:pt x="8" y="12"/>
                  </a:cubicBezTo>
                  <a:cubicBezTo>
                    <a:pt x="8" y="10"/>
                    <a:pt x="10" y="8"/>
                    <a:pt x="12" y="8"/>
                  </a:cubicBezTo>
                  <a:moveTo>
                    <a:pt x="12" y="88"/>
                  </a:moveTo>
                  <a:cubicBezTo>
                    <a:pt x="10" y="88"/>
                    <a:pt x="8" y="86"/>
                    <a:pt x="8" y="84"/>
                  </a:cubicBezTo>
                  <a:cubicBezTo>
                    <a:pt x="8" y="82"/>
                    <a:pt x="10" y="80"/>
                    <a:pt x="12" y="80"/>
                  </a:cubicBezTo>
                  <a:cubicBezTo>
                    <a:pt x="14" y="80"/>
                    <a:pt x="16" y="82"/>
                    <a:pt x="16" y="84"/>
                  </a:cubicBezTo>
                  <a:cubicBezTo>
                    <a:pt x="16" y="86"/>
                    <a:pt x="14" y="88"/>
                    <a:pt x="12" y="88"/>
                  </a:cubicBezTo>
                  <a:moveTo>
                    <a:pt x="164" y="88"/>
                  </a:moveTo>
                  <a:cubicBezTo>
                    <a:pt x="162" y="88"/>
                    <a:pt x="160" y="86"/>
                    <a:pt x="160" y="84"/>
                  </a:cubicBezTo>
                  <a:cubicBezTo>
                    <a:pt x="160" y="82"/>
                    <a:pt x="162" y="80"/>
                    <a:pt x="164" y="80"/>
                  </a:cubicBezTo>
                  <a:cubicBezTo>
                    <a:pt x="166" y="80"/>
                    <a:pt x="168" y="82"/>
                    <a:pt x="168" y="84"/>
                  </a:cubicBezTo>
                  <a:cubicBezTo>
                    <a:pt x="168" y="86"/>
                    <a:pt x="166" y="88"/>
                    <a:pt x="164" y="88"/>
                  </a:cubicBezTo>
                  <a:moveTo>
                    <a:pt x="168" y="73"/>
                  </a:moveTo>
                  <a:cubicBezTo>
                    <a:pt x="167" y="72"/>
                    <a:pt x="165" y="72"/>
                    <a:pt x="164" y="72"/>
                  </a:cubicBezTo>
                  <a:cubicBezTo>
                    <a:pt x="157" y="72"/>
                    <a:pt x="152" y="77"/>
                    <a:pt x="152" y="84"/>
                  </a:cubicBezTo>
                  <a:cubicBezTo>
                    <a:pt x="152" y="85"/>
                    <a:pt x="152" y="87"/>
                    <a:pt x="15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7"/>
                    <a:pt x="24" y="85"/>
                    <a:pt x="24" y="84"/>
                  </a:cubicBezTo>
                  <a:cubicBezTo>
                    <a:pt x="24" y="77"/>
                    <a:pt x="19" y="72"/>
                    <a:pt x="12" y="72"/>
                  </a:cubicBezTo>
                  <a:cubicBezTo>
                    <a:pt x="11" y="72"/>
                    <a:pt x="9" y="72"/>
                    <a:pt x="8" y="7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9" y="24"/>
                    <a:pt x="11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11"/>
                    <a:pt x="24" y="9"/>
                    <a:pt x="23" y="8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52" y="9"/>
                    <a:pt x="152" y="11"/>
                    <a:pt x="152" y="12"/>
                  </a:cubicBezTo>
                  <a:cubicBezTo>
                    <a:pt x="152" y="19"/>
                    <a:pt x="157" y="24"/>
                    <a:pt x="164" y="24"/>
                  </a:cubicBezTo>
                  <a:cubicBezTo>
                    <a:pt x="165" y="24"/>
                    <a:pt x="167" y="24"/>
                    <a:pt x="168" y="23"/>
                  </a:cubicBezTo>
                  <a:lnTo>
                    <a:pt x="168" y="73"/>
                  </a:lnTo>
                  <a:close/>
                  <a:moveTo>
                    <a:pt x="164" y="16"/>
                  </a:moveTo>
                  <a:cubicBezTo>
                    <a:pt x="162" y="16"/>
                    <a:pt x="160" y="14"/>
                    <a:pt x="160" y="12"/>
                  </a:cubicBezTo>
                  <a:cubicBezTo>
                    <a:pt x="160" y="10"/>
                    <a:pt x="162" y="8"/>
                    <a:pt x="164" y="8"/>
                  </a:cubicBezTo>
                  <a:cubicBezTo>
                    <a:pt x="166" y="8"/>
                    <a:pt x="168" y="10"/>
                    <a:pt x="168" y="12"/>
                  </a:cubicBezTo>
                  <a:cubicBezTo>
                    <a:pt x="168" y="14"/>
                    <a:pt x="166" y="16"/>
                    <a:pt x="164" y="16"/>
                  </a:cubicBezTo>
                  <a:moveTo>
                    <a:pt x="81" y="38"/>
                  </a:moveTo>
                  <a:cubicBezTo>
                    <a:pt x="81" y="39"/>
                    <a:pt x="81" y="39"/>
                    <a:pt x="81" y="40"/>
                  </a:cubicBezTo>
                  <a:cubicBezTo>
                    <a:pt x="82" y="41"/>
                    <a:pt x="82" y="41"/>
                    <a:pt x="83" y="42"/>
                  </a:cubicBezTo>
                  <a:cubicBezTo>
                    <a:pt x="83" y="42"/>
                    <a:pt x="84" y="42"/>
                    <a:pt x="85" y="43"/>
                  </a:cubicBezTo>
                  <a:cubicBezTo>
                    <a:pt x="85" y="43"/>
                    <a:pt x="86" y="43"/>
                    <a:pt x="86" y="43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4" y="32"/>
                    <a:pt x="83" y="33"/>
                    <a:pt x="82" y="34"/>
                  </a:cubicBezTo>
                  <a:cubicBezTo>
                    <a:pt x="81" y="35"/>
                    <a:pt x="81" y="36"/>
                    <a:pt x="81" y="38"/>
                  </a:cubicBezTo>
                  <a:moveTo>
                    <a:pt x="140" y="72"/>
                  </a:moveTo>
                  <a:cubicBezTo>
                    <a:pt x="132" y="72"/>
                    <a:pt x="132" y="72"/>
                    <a:pt x="132" y="72"/>
                  </a:cubicBezTo>
                  <a:cubicBezTo>
                    <a:pt x="130" y="72"/>
                    <a:pt x="128" y="74"/>
                    <a:pt x="128" y="76"/>
                  </a:cubicBezTo>
                  <a:cubicBezTo>
                    <a:pt x="128" y="78"/>
                    <a:pt x="130" y="80"/>
                    <a:pt x="132" y="80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2" y="80"/>
                    <a:pt x="144" y="78"/>
                    <a:pt x="144" y="76"/>
                  </a:cubicBezTo>
                  <a:cubicBezTo>
                    <a:pt x="144" y="74"/>
                    <a:pt x="142" y="72"/>
                    <a:pt x="140" y="72"/>
                  </a:cubicBezTo>
                  <a:moveTo>
                    <a:pt x="94" y="53"/>
                  </a:moveTo>
                  <a:cubicBezTo>
                    <a:pt x="93" y="52"/>
                    <a:pt x="92" y="52"/>
                    <a:pt x="92" y="51"/>
                  </a:cubicBezTo>
                  <a:cubicBezTo>
                    <a:pt x="91" y="51"/>
                    <a:pt x="90" y="51"/>
                    <a:pt x="90" y="51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2" y="63"/>
                    <a:pt x="93" y="63"/>
                    <a:pt x="94" y="62"/>
                  </a:cubicBezTo>
                  <a:cubicBezTo>
                    <a:pt x="95" y="61"/>
                    <a:pt x="96" y="59"/>
                    <a:pt x="96" y="57"/>
                  </a:cubicBezTo>
                  <a:cubicBezTo>
                    <a:pt x="96" y="56"/>
                    <a:pt x="96" y="55"/>
                    <a:pt x="95" y="54"/>
                  </a:cubicBezTo>
                  <a:cubicBezTo>
                    <a:pt x="95" y="54"/>
                    <a:pt x="94" y="53"/>
                    <a:pt x="94" y="53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Ctr="0" anchor="t" bIns="68575" lIns="137175" spcFirstLastPara="1" rIns="137175" wrap="square" tIns="68575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2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6" name="Google Shape;446;p5"/>
            <p:cNvSpPr/>
            <p:nvPr/>
          </p:nvSpPr>
          <p:spPr>
            <a:xfrm>
              <a:off x="6598468" y="2243834"/>
              <a:ext cx="305330" cy="305331"/>
            </a:xfrm>
            <a:custGeom>
              <a:rect b="b" l="l" r="r" t="t"/>
              <a:pathLst>
                <a:path extrusionOk="0" h="176" w="176">
                  <a:moveTo>
                    <a:pt x="91" y="33"/>
                  </a:moveTo>
                  <a:cubicBezTo>
                    <a:pt x="90" y="32"/>
                    <a:pt x="89" y="32"/>
                    <a:pt x="88" y="32"/>
                  </a:cubicBezTo>
                  <a:cubicBezTo>
                    <a:pt x="87" y="32"/>
                    <a:pt x="86" y="32"/>
                    <a:pt x="85" y="33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8" y="50"/>
                    <a:pt x="68" y="51"/>
                    <a:pt x="68" y="52"/>
                  </a:cubicBezTo>
                  <a:cubicBezTo>
                    <a:pt x="68" y="54"/>
                    <a:pt x="70" y="56"/>
                    <a:pt x="72" y="56"/>
                  </a:cubicBezTo>
                  <a:cubicBezTo>
                    <a:pt x="73" y="56"/>
                    <a:pt x="74" y="56"/>
                    <a:pt x="75" y="55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84" y="94"/>
                    <a:pt x="86" y="96"/>
                    <a:pt x="88" y="96"/>
                  </a:cubicBezTo>
                  <a:cubicBezTo>
                    <a:pt x="90" y="96"/>
                    <a:pt x="92" y="94"/>
                    <a:pt x="92" y="92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2" y="56"/>
                    <a:pt x="103" y="56"/>
                    <a:pt x="104" y="56"/>
                  </a:cubicBezTo>
                  <a:cubicBezTo>
                    <a:pt x="106" y="56"/>
                    <a:pt x="108" y="54"/>
                    <a:pt x="108" y="52"/>
                  </a:cubicBezTo>
                  <a:cubicBezTo>
                    <a:pt x="108" y="51"/>
                    <a:pt x="108" y="50"/>
                    <a:pt x="107" y="49"/>
                  </a:cubicBezTo>
                  <a:lnTo>
                    <a:pt x="91" y="33"/>
                  </a:lnTo>
                  <a:close/>
                  <a:moveTo>
                    <a:pt x="160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5"/>
                    <a:pt x="7" y="152"/>
                    <a:pt x="16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60" y="168"/>
                    <a:pt x="60" y="168"/>
                    <a:pt x="60" y="168"/>
                  </a:cubicBezTo>
                  <a:cubicBezTo>
                    <a:pt x="58" y="168"/>
                    <a:pt x="56" y="170"/>
                    <a:pt x="56" y="172"/>
                  </a:cubicBezTo>
                  <a:cubicBezTo>
                    <a:pt x="56" y="174"/>
                    <a:pt x="58" y="176"/>
                    <a:pt x="60" y="176"/>
                  </a:cubicBezTo>
                  <a:cubicBezTo>
                    <a:pt x="116" y="176"/>
                    <a:pt x="116" y="176"/>
                    <a:pt x="116" y="176"/>
                  </a:cubicBezTo>
                  <a:cubicBezTo>
                    <a:pt x="118" y="176"/>
                    <a:pt x="120" y="174"/>
                    <a:pt x="120" y="172"/>
                  </a:cubicBezTo>
                  <a:cubicBezTo>
                    <a:pt x="120" y="170"/>
                    <a:pt x="118" y="168"/>
                    <a:pt x="116" y="168"/>
                  </a:cubicBezTo>
                  <a:cubicBezTo>
                    <a:pt x="104" y="168"/>
                    <a:pt x="104" y="168"/>
                    <a:pt x="104" y="168"/>
                  </a:cubicBezTo>
                  <a:cubicBezTo>
                    <a:pt x="104" y="152"/>
                    <a:pt x="104" y="152"/>
                    <a:pt x="104" y="152"/>
                  </a:cubicBezTo>
                  <a:cubicBezTo>
                    <a:pt x="160" y="152"/>
                    <a:pt x="160" y="152"/>
                    <a:pt x="160" y="152"/>
                  </a:cubicBezTo>
                  <a:cubicBezTo>
                    <a:pt x="169" y="152"/>
                    <a:pt x="176" y="145"/>
                    <a:pt x="176" y="136"/>
                  </a:cubicBezTo>
                  <a:cubicBezTo>
                    <a:pt x="176" y="16"/>
                    <a:pt x="176" y="16"/>
                    <a:pt x="176" y="16"/>
                  </a:cubicBezTo>
                  <a:cubicBezTo>
                    <a:pt x="176" y="7"/>
                    <a:pt x="169" y="0"/>
                    <a:pt x="160" y="0"/>
                  </a:cubicBezTo>
                  <a:moveTo>
                    <a:pt x="96" y="168"/>
                  </a:moveTo>
                  <a:cubicBezTo>
                    <a:pt x="80" y="168"/>
                    <a:pt x="80" y="168"/>
                    <a:pt x="80" y="168"/>
                  </a:cubicBezTo>
                  <a:cubicBezTo>
                    <a:pt x="80" y="152"/>
                    <a:pt x="80" y="152"/>
                    <a:pt x="80" y="152"/>
                  </a:cubicBezTo>
                  <a:cubicBezTo>
                    <a:pt x="96" y="152"/>
                    <a:pt x="96" y="152"/>
                    <a:pt x="96" y="152"/>
                  </a:cubicBezTo>
                  <a:lnTo>
                    <a:pt x="96" y="168"/>
                  </a:lnTo>
                  <a:close/>
                  <a:moveTo>
                    <a:pt x="168" y="136"/>
                  </a:moveTo>
                  <a:cubicBezTo>
                    <a:pt x="168" y="140"/>
                    <a:pt x="164" y="144"/>
                    <a:pt x="160" y="144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2" y="144"/>
                    <a:pt x="8" y="140"/>
                    <a:pt x="8" y="136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168" y="128"/>
                    <a:pt x="168" y="128"/>
                    <a:pt x="168" y="128"/>
                  </a:cubicBezTo>
                  <a:lnTo>
                    <a:pt x="168" y="136"/>
                  </a:lnTo>
                  <a:close/>
                  <a:moveTo>
                    <a:pt x="168" y="120"/>
                  </a:moveTo>
                  <a:cubicBezTo>
                    <a:pt x="8" y="120"/>
                    <a:pt x="8" y="120"/>
                    <a:pt x="8" y="12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12" y="8"/>
                    <a:pt x="16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4" y="8"/>
                    <a:pt x="168" y="12"/>
                    <a:pt x="168" y="16"/>
                  </a:cubicBezTo>
                  <a:lnTo>
                    <a:pt x="168" y="12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Ctr="0" anchor="t" bIns="68575" lIns="137175" spcFirstLastPara="1" rIns="137175" wrap="square" tIns="68575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2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7" name="Google Shape;447;p5"/>
            <p:cNvSpPr/>
            <p:nvPr/>
          </p:nvSpPr>
          <p:spPr>
            <a:xfrm>
              <a:off x="7368605" y="3364916"/>
              <a:ext cx="332906" cy="326418"/>
            </a:xfrm>
            <a:custGeom>
              <a:rect b="b" l="l" r="r" t="t"/>
              <a:pathLst>
                <a:path extrusionOk="0" h="176" w="179">
                  <a:moveTo>
                    <a:pt x="170" y="35"/>
                  </a:moveTo>
                  <a:cubicBezTo>
                    <a:pt x="166" y="38"/>
                    <a:pt x="166" y="38"/>
                    <a:pt x="166" y="38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46" y="58"/>
                    <a:pt x="146" y="58"/>
                    <a:pt x="146" y="58"/>
                  </a:cubicBezTo>
                  <a:cubicBezTo>
                    <a:pt x="146" y="58"/>
                    <a:pt x="146" y="58"/>
                    <a:pt x="146" y="58"/>
                  </a:cubicBezTo>
                  <a:cubicBezTo>
                    <a:pt x="142" y="62"/>
                    <a:pt x="137" y="64"/>
                    <a:pt x="132" y="64"/>
                  </a:cubicBezTo>
                  <a:cubicBezTo>
                    <a:pt x="121" y="64"/>
                    <a:pt x="112" y="55"/>
                    <a:pt x="112" y="44"/>
                  </a:cubicBezTo>
                  <a:cubicBezTo>
                    <a:pt x="112" y="38"/>
                    <a:pt x="114" y="34"/>
                    <a:pt x="118" y="30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07" y="29"/>
                    <a:pt x="104" y="36"/>
                    <a:pt x="104" y="44"/>
                  </a:cubicBezTo>
                  <a:cubicBezTo>
                    <a:pt x="104" y="59"/>
                    <a:pt x="117" y="72"/>
                    <a:pt x="132" y="72"/>
                  </a:cubicBezTo>
                  <a:cubicBezTo>
                    <a:pt x="140" y="72"/>
                    <a:pt x="147" y="69"/>
                    <a:pt x="152" y="64"/>
                  </a:cubicBezTo>
                  <a:cubicBezTo>
                    <a:pt x="152" y="64"/>
                    <a:pt x="152" y="64"/>
                    <a:pt x="152" y="64"/>
                  </a:cubicBezTo>
                  <a:cubicBezTo>
                    <a:pt x="167" y="49"/>
                    <a:pt x="167" y="49"/>
                    <a:pt x="167" y="49"/>
                  </a:cubicBezTo>
                  <a:cubicBezTo>
                    <a:pt x="170" y="60"/>
                    <a:pt x="168" y="71"/>
                    <a:pt x="162" y="77"/>
                  </a:cubicBezTo>
                  <a:cubicBezTo>
                    <a:pt x="140" y="99"/>
                    <a:pt x="140" y="99"/>
                    <a:pt x="140" y="99"/>
                  </a:cubicBezTo>
                  <a:cubicBezTo>
                    <a:pt x="137" y="102"/>
                    <a:pt x="133" y="104"/>
                    <a:pt x="129" y="104"/>
                  </a:cubicBezTo>
                  <a:cubicBezTo>
                    <a:pt x="129" y="104"/>
                    <a:pt x="115" y="103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1" y="94"/>
                    <a:pt x="101" y="94"/>
                    <a:pt x="100" y="94"/>
                  </a:cubicBezTo>
                  <a:cubicBezTo>
                    <a:pt x="98" y="94"/>
                    <a:pt x="97" y="95"/>
                    <a:pt x="97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2" y="166"/>
                    <a:pt x="28" y="168"/>
                    <a:pt x="24" y="168"/>
                  </a:cubicBezTo>
                  <a:cubicBezTo>
                    <a:pt x="15" y="168"/>
                    <a:pt x="8" y="161"/>
                    <a:pt x="8" y="152"/>
                  </a:cubicBezTo>
                  <a:cubicBezTo>
                    <a:pt x="8" y="148"/>
                    <a:pt x="10" y="144"/>
                    <a:pt x="13" y="141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1" y="79"/>
                    <a:pt x="82" y="78"/>
                    <a:pt x="82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9" y="59"/>
                    <a:pt x="69" y="47"/>
                    <a:pt x="79" y="37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6" y="9"/>
                    <a:pt x="113" y="8"/>
                    <a:pt x="118" y="8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21" y="8"/>
                    <a:pt x="124" y="8"/>
                    <a:pt x="127" y="9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33" y="2"/>
                    <a:pt x="125" y="0"/>
                    <a:pt x="118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0"/>
                    <a:pt x="101" y="3"/>
                    <a:pt x="95" y="9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59" y="46"/>
                    <a:pt x="63" y="62"/>
                    <a:pt x="73" y="76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3" y="139"/>
                    <a:pt x="0" y="145"/>
                    <a:pt x="0" y="152"/>
                  </a:cubicBezTo>
                  <a:cubicBezTo>
                    <a:pt x="0" y="165"/>
                    <a:pt x="11" y="176"/>
                    <a:pt x="24" y="176"/>
                  </a:cubicBezTo>
                  <a:cubicBezTo>
                    <a:pt x="31" y="176"/>
                    <a:pt x="37" y="173"/>
                    <a:pt x="41" y="169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114" y="111"/>
                    <a:pt x="127" y="112"/>
                    <a:pt x="129" y="112"/>
                  </a:cubicBezTo>
                  <a:cubicBezTo>
                    <a:pt x="135" y="112"/>
                    <a:pt x="141" y="110"/>
                    <a:pt x="146" y="105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78" y="72"/>
                    <a:pt x="179" y="52"/>
                    <a:pt x="170" y="35"/>
                  </a:cubicBezTo>
                  <a:moveTo>
                    <a:pt x="21" y="149"/>
                  </a:moveTo>
                  <a:cubicBezTo>
                    <a:pt x="20" y="150"/>
                    <a:pt x="20" y="151"/>
                    <a:pt x="20" y="152"/>
                  </a:cubicBezTo>
                  <a:cubicBezTo>
                    <a:pt x="20" y="154"/>
                    <a:pt x="22" y="156"/>
                    <a:pt x="24" y="156"/>
                  </a:cubicBezTo>
                  <a:cubicBezTo>
                    <a:pt x="26" y="156"/>
                    <a:pt x="28" y="154"/>
                    <a:pt x="28" y="152"/>
                  </a:cubicBezTo>
                  <a:cubicBezTo>
                    <a:pt x="28" y="150"/>
                    <a:pt x="26" y="148"/>
                    <a:pt x="24" y="148"/>
                  </a:cubicBezTo>
                  <a:cubicBezTo>
                    <a:pt x="23" y="148"/>
                    <a:pt x="22" y="148"/>
                    <a:pt x="21" y="149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Ctr="0" anchor="t" bIns="68575" lIns="137175" spcFirstLastPara="1" rIns="137175" wrap="square" tIns="68575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2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8" name="Google Shape;448;p5"/>
            <p:cNvSpPr/>
            <p:nvPr/>
          </p:nvSpPr>
          <p:spPr>
            <a:xfrm>
              <a:off x="6705121" y="4666586"/>
              <a:ext cx="328880" cy="299834"/>
            </a:xfrm>
            <a:custGeom>
              <a:rect b="b" l="l" r="r" t="t"/>
              <a:pathLst>
                <a:path extrusionOk="0" h="160" w="176">
                  <a:moveTo>
                    <a:pt x="147" y="117"/>
                  </a:moveTo>
                  <a:cubicBezTo>
                    <a:pt x="147" y="117"/>
                    <a:pt x="132" y="113"/>
                    <a:pt x="132" y="98"/>
                  </a:cubicBezTo>
                  <a:cubicBezTo>
                    <a:pt x="132" y="85"/>
                    <a:pt x="139" y="81"/>
                    <a:pt x="142" y="77"/>
                  </a:cubicBezTo>
                  <a:cubicBezTo>
                    <a:pt x="142" y="77"/>
                    <a:pt x="146" y="73"/>
                    <a:pt x="143" y="60"/>
                  </a:cubicBezTo>
                  <a:cubicBezTo>
                    <a:pt x="149" y="53"/>
                    <a:pt x="150" y="40"/>
                    <a:pt x="144" y="27"/>
                  </a:cubicBezTo>
                  <a:cubicBezTo>
                    <a:pt x="140" y="18"/>
                    <a:pt x="136" y="13"/>
                    <a:pt x="131" y="11"/>
                  </a:cubicBezTo>
                  <a:cubicBezTo>
                    <a:pt x="127" y="9"/>
                    <a:pt x="123" y="8"/>
                    <a:pt x="119" y="8"/>
                  </a:cubicBezTo>
                  <a:cubicBezTo>
                    <a:pt x="113" y="8"/>
                    <a:pt x="107" y="10"/>
                    <a:pt x="104" y="11"/>
                  </a:cubicBezTo>
                  <a:cubicBezTo>
                    <a:pt x="105" y="13"/>
                    <a:pt x="106" y="15"/>
                    <a:pt x="107" y="18"/>
                  </a:cubicBezTo>
                  <a:cubicBezTo>
                    <a:pt x="107" y="18"/>
                    <a:pt x="107" y="18"/>
                    <a:pt x="107" y="18"/>
                  </a:cubicBezTo>
                  <a:cubicBezTo>
                    <a:pt x="109" y="17"/>
                    <a:pt x="114" y="16"/>
                    <a:pt x="119" y="16"/>
                  </a:cubicBezTo>
                  <a:cubicBezTo>
                    <a:pt x="122" y="16"/>
                    <a:pt x="125" y="17"/>
                    <a:pt x="127" y="18"/>
                  </a:cubicBezTo>
                  <a:cubicBezTo>
                    <a:pt x="129" y="19"/>
                    <a:pt x="133" y="22"/>
                    <a:pt x="137" y="30"/>
                  </a:cubicBezTo>
                  <a:cubicBezTo>
                    <a:pt x="142" y="41"/>
                    <a:pt x="140" y="51"/>
                    <a:pt x="137" y="55"/>
                  </a:cubicBezTo>
                  <a:cubicBezTo>
                    <a:pt x="135" y="57"/>
                    <a:pt x="135" y="60"/>
                    <a:pt x="135" y="62"/>
                  </a:cubicBezTo>
                  <a:cubicBezTo>
                    <a:pt x="137" y="69"/>
                    <a:pt x="136" y="71"/>
                    <a:pt x="136" y="72"/>
                  </a:cubicBezTo>
                  <a:cubicBezTo>
                    <a:pt x="136" y="72"/>
                    <a:pt x="135" y="72"/>
                    <a:pt x="135" y="73"/>
                  </a:cubicBezTo>
                  <a:cubicBezTo>
                    <a:pt x="135" y="73"/>
                    <a:pt x="134" y="74"/>
                    <a:pt x="134" y="74"/>
                  </a:cubicBezTo>
                  <a:cubicBezTo>
                    <a:pt x="131" y="78"/>
                    <a:pt x="124" y="85"/>
                    <a:pt x="124" y="98"/>
                  </a:cubicBezTo>
                  <a:cubicBezTo>
                    <a:pt x="124" y="115"/>
                    <a:pt x="137" y="123"/>
                    <a:pt x="145" y="125"/>
                  </a:cubicBezTo>
                  <a:cubicBezTo>
                    <a:pt x="155" y="128"/>
                    <a:pt x="166" y="133"/>
                    <a:pt x="168" y="144"/>
                  </a:cubicBezTo>
                  <a:cubicBezTo>
                    <a:pt x="142" y="144"/>
                    <a:pt x="142" y="144"/>
                    <a:pt x="142" y="144"/>
                  </a:cubicBezTo>
                  <a:cubicBezTo>
                    <a:pt x="143" y="146"/>
                    <a:pt x="144" y="149"/>
                    <a:pt x="144" y="152"/>
                  </a:cubicBezTo>
                  <a:cubicBezTo>
                    <a:pt x="172" y="152"/>
                    <a:pt x="172" y="152"/>
                    <a:pt x="172" y="152"/>
                  </a:cubicBezTo>
                  <a:cubicBezTo>
                    <a:pt x="176" y="152"/>
                    <a:pt x="176" y="148"/>
                    <a:pt x="176" y="148"/>
                  </a:cubicBezTo>
                  <a:cubicBezTo>
                    <a:pt x="176" y="127"/>
                    <a:pt x="156" y="120"/>
                    <a:pt x="147" y="117"/>
                  </a:cubicBezTo>
                  <a:moveTo>
                    <a:pt x="104" y="121"/>
                  </a:moveTo>
                  <a:cubicBezTo>
                    <a:pt x="104" y="121"/>
                    <a:pt x="88" y="117"/>
                    <a:pt x="88" y="101"/>
                  </a:cubicBezTo>
                  <a:cubicBezTo>
                    <a:pt x="88" y="86"/>
                    <a:pt x="95" y="81"/>
                    <a:pt x="97" y="77"/>
                  </a:cubicBezTo>
                  <a:cubicBezTo>
                    <a:pt x="97" y="77"/>
                    <a:pt x="102" y="73"/>
                    <a:pt x="99" y="58"/>
                  </a:cubicBezTo>
                  <a:cubicBezTo>
                    <a:pt x="105" y="50"/>
                    <a:pt x="106" y="36"/>
                    <a:pt x="100" y="21"/>
                  </a:cubicBezTo>
                  <a:cubicBezTo>
                    <a:pt x="95" y="11"/>
                    <a:pt x="92" y="6"/>
                    <a:pt x="86" y="3"/>
                  </a:cubicBezTo>
                  <a:cubicBezTo>
                    <a:pt x="82" y="1"/>
                    <a:pt x="78" y="0"/>
                    <a:pt x="74" y="0"/>
                  </a:cubicBezTo>
                  <a:cubicBezTo>
                    <a:pt x="65" y="0"/>
                    <a:pt x="58" y="3"/>
                    <a:pt x="55" y="5"/>
                  </a:cubicBezTo>
                  <a:cubicBezTo>
                    <a:pt x="45" y="9"/>
                    <a:pt x="39" y="12"/>
                    <a:pt x="34" y="26"/>
                  </a:cubicBezTo>
                  <a:cubicBezTo>
                    <a:pt x="29" y="38"/>
                    <a:pt x="35" y="51"/>
                    <a:pt x="37" y="57"/>
                  </a:cubicBezTo>
                  <a:cubicBezTo>
                    <a:pt x="34" y="72"/>
                    <a:pt x="39" y="77"/>
                    <a:pt x="39" y="77"/>
                  </a:cubicBezTo>
                  <a:cubicBezTo>
                    <a:pt x="41" y="81"/>
                    <a:pt x="48" y="86"/>
                    <a:pt x="48" y="101"/>
                  </a:cubicBezTo>
                  <a:cubicBezTo>
                    <a:pt x="48" y="117"/>
                    <a:pt x="32" y="121"/>
                    <a:pt x="32" y="121"/>
                  </a:cubicBezTo>
                  <a:cubicBezTo>
                    <a:pt x="22" y="125"/>
                    <a:pt x="0" y="132"/>
                    <a:pt x="0" y="156"/>
                  </a:cubicBezTo>
                  <a:cubicBezTo>
                    <a:pt x="0" y="156"/>
                    <a:pt x="0" y="160"/>
                    <a:pt x="4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36" y="160"/>
                    <a:pt x="136" y="156"/>
                    <a:pt x="136" y="156"/>
                  </a:cubicBezTo>
                  <a:cubicBezTo>
                    <a:pt x="136" y="132"/>
                    <a:pt x="114" y="125"/>
                    <a:pt x="104" y="121"/>
                  </a:cubicBezTo>
                  <a:moveTo>
                    <a:pt x="8" y="152"/>
                  </a:moveTo>
                  <a:cubicBezTo>
                    <a:pt x="10" y="138"/>
                    <a:pt x="22" y="133"/>
                    <a:pt x="34" y="129"/>
                  </a:cubicBezTo>
                  <a:cubicBezTo>
                    <a:pt x="42" y="127"/>
                    <a:pt x="56" y="118"/>
                    <a:pt x="56" y="101"/>
                  </a:cubicBezTo>
                  <a:cubicBezTo>
                    <a:pt x="56" y="85"/>
                    <a:pt x="50" y="78"/>
                    <a:pt x="46" y="74"/>
                  </a:cubicBezTo>
                  <a:cubicBezTo>
                    <a:pt x="46" y="73"/>
                    <a:pt x="46" y="73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3" y="68"/>
                    <a:pt x="45" y="59"/>
                  </a:cubicBezTo>
                  <a:cubicBezTo>
                    <a:pt x="46" y="58"/>
                    <a:pt x="45" y="56"/>
                    <a:pt x="45" y="54"/>
                  </a:cubicBezTo>
                  <a:cubicBezTo>
                    <a:pt x="43" y="50"/>
                    <a:pt x="38" y="38"/>
                    <a:pt x="41" y="30"/>
                  </a:cubicBezTo>
                  <a:cubicBezTo>
                    <a:pt x="46" y="18"/>
                    <a:pt x="50" y="16"/>
                    <a:pt x="58" y="12"/>
                  </a:cubicBezTo>
                  <a:cubicBezTo>
                    <a:pt x="58" y="12"/>
                    <a:pt x="58" y="12"/>
                    <a:pt x="59" y="12"/>
                  </a:cubicBezTo>
                  <a:cubicBezTo>
                    <a:pt x="61" y="10"/>
                    <a:pt x="67" y="8"/>
                    <a:pt x="74" y="8"/>
                  </a:cubicBezTo>
                  <a:cubicBezTo>
                    <a:pt x="77" y="8"/>
                    <a:pt x="80" y="9"/>
                    <a:pt x="83" y="10"/>
                  </a:cubicBezTo>
                  <a:cubicBezTo>
                    <a:pt x="85" y="12"/>
                    <a:pt x="88" y="15"/>
                    <a:pt x="92" y="24"/>
                  </a:cubicBezTo>
                  <a:cubicBezTo>
                    <a:pt x="98" y="37"/>
                    <a:pt x="96" y="48"/>
                    <a:pt x="92" y="53"/>
                  </a:cubicBezTo>
                  <a:cubicBezTo>
                    <a:pt x="91" y="55"/>
                    <a:pt x="91" y="58"/>
                    <a:pt x="91" y="60"/>
                  </a:cubicBezTo>
                  <a:cubicBezTo>
                    <a:pt x="93" y="68"/>
                    <a:pt x="92" y="71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0" y="73"/>
                    <a:pt x="90" y="73"/>
                    <a:pt x="90" y="74"/>
                  </a:cubicBezTo>
                  <a:cubicBezTo>
                    <a:pt x="86" y="78"/>
                    <a:pt x="80" y="85"/>
                    <a:pt x="80" y="101"/>
                  </a:cubicBezTo>
                  <a:cubicBezTo>
                    <a:pt x="80" y="118"/>
                    <a:pt x="94" y="127"/>
                    <a:pt x="102" y="129"/>
                  </a:cubicBezTo>
                  <a:cubicBezTo>
                    <a:pt x="113" y="133"/>
                    <a:pt x="126" y="138"/>
                    <a:pt x="128" y="152"/>
                  </a:cubicBezTo>
                  <a:lnTo>
                    <a:pt x="8" y="15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Ctr="0" anchor="t" bIns="68575" lIns="137175" spcFirstLastPara="1" rIns="137175" wrap="square" tIns="68575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2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9" name="Google Shape;449;p5"/>
            <p:cNvSpPr/>
            <p:nvPr/>
          </p:nvSpPr>
          <p:spPr>
            <a:xfrm>
              <a:off x="4531197" y="3552239"/>
              <a:ext cx="294242" cy="295077"/>
            </a:xfrm>
            <a:custGeom>
              <a:rect b="b" l="l" r="r" t="t"/>
              <a:pathLst>
                <a:path extrusionOk="0" h="176" w="176">
                  <a:moveTo>
                    <a:pt x="175" y="85"/>
                  </a:moveTo>
                  <a:cubicBezTo>
                    <a:pt x="144" y="54"/>
                    <a:pt x="144" y="54"/>
                    <a:pt x="144" y="54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44" y="10"/>
                    <a:pt x="142" y="8"/>
                    <a:pt x="140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4" y="8"/>
                    <a:pt x="112" y="10"/>
                    <a:pt x="112" y="1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0"/>
                    <a:pt x="89" y="0"/>
                    <a:pt x="88" y="0"/>
                  </a:cubicBezTo>
                  <a:cubicBezTo>
                    <a:pt x="87" y="0"/>
                    <a:pt x="86" y="0"/>
                    <a:pt x="85" y="1"/>
                  </a:cubicBezTo>
                  <a:cubicBezTo>
                    <a:pt x="1" y="85"/>
                    <a:pt x="1" y="85"/>
                    <a:pt x="1" y="85"/>
                  </a:cubicBezTo>
                  <a:cubicBezTo>
                    <a:pt x="0" y="86"/>
                    <a:pt x="0" y="87"/>
                    <a:pt x="0" y="88"/>
                  </a:cubicBezTo>
                  <a:cubicBezTo>
                    <a:pt x="0" y="90"/>
                    <a:pt x="2" y="92"/>
                    <a:pt x="4" y="92"/>
                  </a:cubicBezTo>
                  <a:cubicBezTo>
                    <a:pt x="5" y="92"/>
                    <a:pt x="6" y="92"/>
                    <a:pt x="7" y="91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172"/>
                    <a:pt x="24" y="172"/>
                    <a:pt x="24" y="172"/>
                  </a:cubicBezTo>
                  <a:cubicBezTo>
                    <a:pt x="24" y="174"/>
                    <a:pt x="26" y="176"/>
                    <a:pt x="28" y="176"/>
                  </a:cubicBezTo>
                  <a:cubicBezTo>
                    <a:pt x="148" y="176"/>
                    <a:pt x="148" y="176"/>
                    <a:pt x="148" y="176"/>
                  </a:cubicBezTo>
                  <a:cubicBezTo>
                    <a:pt x="150" y="176"/>
                    <a:pt x="152" y="174"/>
                    <a:pt x="152" y="172"/>
                  </a:cubicBezTo>
                  <a:cubicBezTo>
                    <a:pt x="152" y="74"/>
                    <a:pt x="152" y="74"/>
                    <a:pt x="152" y="74"/>
                  </a:cubicBezTo>
                  <a:cubicBezTo>
                    <a:pt x="169" y="91"/>
                    <a:pt x="169" y="91"/>
                    <a:pt x="169" y="91"/>
                  </a:cubicBezTo>
                  <a:cubicBezTo>
                    <a:pt x="170" y="92"/>
                    <a:pt x="171" y="92"/>
                    <a:pt x="172" y="92"/>
                  </a:cubicBezTo>
                  <a:cubicBezTo>
                    <a:pt x="174" y="92"/>
                    <a:pt x="176" y="90"/>
                    <a:pt x="176" y="88"/>
                  </a:cubicBezTo>
                  <a:cubicBezTo>
                    <a:pt x="176" y="87"/>
                    <a:pt x="176" y="86"/>
                    <a:pt x="175" y="85"/>
                  </a:cubicBezTo>
                  <a:moveTo>
                    <a:pt x="120" y="16"/>
                  </a:moveTo>
                  <a:cubicBezTo>
                    <a:pt x="136" y="16"/>
                    <a:pt x="136" y="16"/>
                    <a:pt x="136" y="1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20" y="30"/>
                    <a:pt x="120" y="30"/>
                    <a:pt x="120" y="30"/>
                  </a:cubicBezTo>
                  <a:lnTo>
                    <a:pt x="120" y="16"/>
                  </a:lnTo>
                  <a:close/>
                  <a:moveTo>
                    <a:pt x="64" y="168"/>
                  </a:moveTo>
                  <a:cubicBezTo>
                    <a:pt x="32" y="168"/>
                    <a:pt x="32" y="168"/>
                    <a:pt x="32" y="168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64" y="160"/>
                    <a:pt x="64" y="160"/>
                    <a:pt x="64" y="160"/>
                  </a:cubicBezTo>
                  <a:lnTo>
                    <a:pt x="64" y="168"/>
                  </a:lnTo>
                  <a:close/>
                  <a:moveTo>
                    <a:pt x="104" y="168"/>
                  </a:moveTo>
                  <a:cubicBezTo>
                    <a:pt x="72" y="168"/>
                    <a:pt x="72" y="168"/>
                    <a:pt x="72" y="168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104" y="104"/>
                    <a:pt x="104" y="104"/>
                    <a:pt x="104" y="104"/>
                  </a:cubicBezTo>
                  <a:lnTo>
                    <a:pt x="104" y="168"/>
                  </a:lnTo>
                  <a:close/>
                  <a:moveTo>
                    <a:pt x="144" y="168"/>
                  </a:moveTo>
                  <a:cubicBezTo>
                    <a:pt x="112" y="168"/>
                    <a:pt x="112" y="168"/>
                    <a:pt x="112" y="168"/>
                  </a:cubicBezTo>
                  <a:cubicBezTo>
                    <a:pt x="112" y="160"/>
                    <a:pt x="112" y="160"/>
                    <a:pt x="112" y="160"/>
                  </a:cubicBezTo>
                  <a:cubicBezTo>
                    <a:pt x="144" y="160"/>
                    <a:pt x="144" y="160"/>
                    <a:pt x="144" y="160"/>
                  </a:cubicBezTo>
                  <a:lnTo>
                    <a:pt x="144" y="168"/>
                  </a:lnTo>
                  <a:close/>
                  <a:moveTo>
                    <a:pt x="144" y="152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2" y="98"/>
                    <a:pt x="110" y="96"/>
                    <a:pt x="108" y="96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6" y="96"/>
                    <a:pt x="64" y="98"/>
                    <a:pt x="64" y="100"/>
                  </a:cubicBezTo>
                  <a:cubicBezTo>
                    <a:pt x="64" y="152"/>
                    <a:pt x="64" y="152"/>
                    <a:pt x="64" y="152"/>
                  </a:cubicBezTo>
                  <a:cubicBezTo>
                    <a:pt x="32" y="152"/>
                    <a:pt x="32" y="152"/>
                    <a:pt x="32" y="152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144" y="66"/>
                    <a:pt x="144" y="66"/>
                    <a:pt x="144" y="66"/>
                  </a:cubicBezTo>
                  <a:lnTo>
                    <a:pt x="144" y="152"/>
                  </a:lnTo>
                  <a:close/>
                  <a:moveTo>
                    <a:pt x="92" y="144"/>
                  </a:moveTo>
                  <a:cubicBezTo>
                    <a:pt x="94" y="144"/>
                    <a:pt x="96" y="142"/>
                    <a:pt x="96" y="140"/>
                  </a:cubicBezTo>
                  <a:cubicBezTo>
                    <a:pt x="96" y="138"/>
                    <a:pt x="94" y="136"/>
                    <a:pt x="92" y="136"/>
                  </a:cubicBezTo>
                  <a:cubicBezTo>
                    <a:pt x="90" y="136"/>
                    <a:pt x="88" y="138"/>
                    <a:pt x="88" y="140"/>
                  </a:cubicBezTo>
                  <a:cubicBezTo>
                    <a:pt x="88" y="142"/>
                    <a:pt x="90" y="144"/>
                    <a:pt x="92" y="14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anchorCtr="0" anchor="t" bIns="68575" lIns="137175" spcFirstLastPara="1" rIns="137175" wrap="square" tIns="68575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2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53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4" name="Google Shape;454;p6"/>
          <p:cNvGraphicFramePr/>
          <p:nvPr/>
        </p:nvGraphicFramePr>
        <p:xfrm>
          <a:off x="491716" y="597754"/>
          <a:ext cx="11208568" cy="9938904"/>
        </p:xfrm>
        <a:graphic>
          <a:graphicData uri="http://schemas.openxmlformats.org/presentationml/2006/ole">
            <mc:AlternateContent>
              <mc:Choice Requires="v">
                <p:oleObj r:id="rId4" imgH="9938904" imgW="11208568" progId="Excel.Sheet.12" spid="_x0000_s1">
                  <p:embed/>
                </p:oleObj>
              </mc:Choice>
              <mc:Fallback>
                <p:oleObj r:id="rId5" imgH="9938904" imgW="11208568" progId="Excel.Sheet.12">
                  <p:embed/>
                  <p:pic>
                    <p:nvPicPr>
                      <p:cNvPr id="454" name="Google Shape;454;p6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491716" y="597754"/>
                        <a:ext cx="11208568" cy="99389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5" name="Google Shape;455;p6"/>
          <p:cNvSpPr/>
          <p:nvPr/>
        </p:nvSpPr>
        <p:spPr>
          <a:xfrm>
            <a:off x="0" y="0"/>
            <a:ext cx="12192000" cy="728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6" name="Google Shape;456;p6"/>
          <p:cNvSpPr txBox="1"/>
          <p:nvPr>
            <p:ph type="title"/>
          </p:nvPr>
        </p:nvSpPr>
        <p:spPr>
          <a:xfrm>
            <a:off x="336000" y="259200"/>
            <a:ext cx="11520000" cy="67710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Definition of the KPI’s for an Online Shop</a:t>
            </a:r>
            <a:br>
              <a:rPr lang="en-US"/>
            </a:b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60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7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t/>
            </a:r>
            <a:endParaRPr/>
          </a:p>
        </p:txBody>
      </p:sp>
      <p:sp>
        <p:nvSpPr>
          <p:cNvPr id="462" name="Google Shape;462;p7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t/>
            </a:r>
            <a:endParaRPr/>
          </a:p>
        </p:txBody>
      </p:sp>
      <p:graphicFrame>
        <p:nvGraphicFramePr>
          <p:cNvPr id="463" name="Google Shape;463;p7"/>
          <p:cNvGraphicFramePr/>
          <p:nvPr/>
        </p:nvGraphicFramePr>
        <p:xfrm>
          <a:off x="14288" y="1025525"/>
          <a:ext cx="12172950" cy="3395663"/>
        </p:xfrm>
        <a:graphic>
          <a:graphicData uri="http://schemas.openxmlformats.org/presentationml/2006/ole">
            <mc:AlternateContent>
              <mc:Choice Requires="v">
                <p:oleObj r:id="rId4" imgH="3395663" imgW="12172950" progId="Excel.Sheet.12" spid="_x0000_s1">
                  <p:embed/>
                </p:oleObj>
              </mc:Choice>
              <mc:Fallback>
                <p:oleObj r:id="rId5" imgH="3395663" imgW="12172950" progId="Excel.Sheet.12">
                  <p:embed/>
                  <p:pic>
                    <p:nvPicPr>
                      <p:cNvPr id="463" name="Google Shape;463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4288" y="1025525"/>
                        <a:ext cx="12172950" cy="3395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4" name="Google Shape;464;p7"/>
          <p:cNvCxnSpPr/>
          <p:nvPr/>
        </p:nvCxnSpPr>
        <p:spPr>
          <a:xfrm flipH="1" rot="10800000">
            <a:off x="1235460" y="1484800"/>
            <a:ext cx="1152000" cy="144000"/>
          </a:xfrm>
          <a:prstGeom prst="bentConnector3">
            <a:avLst>
              <a:gd fmla="val 525" name="adj1"/>
            </a:avLst>
          </a:prstGeom>
          <a:noFill/>
          <a:ln cap="flat" cmpd="sng" w="9525">
            <a:solidFill>
              <a:srgbClr val="3D7EA2"/>
            </a:solidFill>
            <a:prstDash val="solid"/>
            <a:round/>
            <a:headEnd len="sm" w="sm" type="none"/>
            <a:tailEnd len="med" w="med" type="triangle"/>
          </a:ln>
        </p:spPr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68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8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Database in DBeaver</a:t>
            </a:r>
            <a:endParaRPr/>
          </a:p>
        </p:txBody>
      </p:sp>
      <p:sp>
        <p:nvSpPr>
          <p:cNvPr id="470" name="Google Shape;470;p8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t/>
            </a:r>
            <a:endParaRPr/>
          </a:p>
        </p:txBody>
      </p:sp>
      <p:pic>
        <p:nvPicPr>
          <p:cNvPr id="471" name="Google Shape;471;p8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911350" y="742950"/>
            <a:ext cx="8369300" cy="5372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>
  <p:cSld>
    <p:spTree>
      <p:nvGrpSpPr>
        <p:cNvPr id="475" name="Shape 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Google Shape;476;p9"/>
          <p:cNvSpPr txBox="1"/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200"/>
              <a:buFont typeface="Arial"/>
              <a:buNone/>
            </a:pPr>
            <a:r>
              <a:rPr lang="en-US"/>
              <a:t>SQL statements</a:t>
            </a:r>
            <a:endParaRPr/>
          </a:p>
        </p:txBody>
      </p:sp>
      <p:sp>
        <p:nvSpPr>
          <p:cNvPr id="477" name="Google Shape;477;p9"/>
          <p:cNvSpPr txBox="1"/>
          <p:nvPr>
            <p:ph idx="2" type="body"/>
          </p:nvPr>
        </p:nvSpPr>
        <p:spPr>
          <a:xfrm>
            <a:off x="335999" y="6163200"/>
            <a:ext cx="10704000" cy="1440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t/>
            </a:r>
            <a:endParaRPr/>
          </a:p>
        </p:txBody>
      </p:sp>
      <p:pic>
        <p:nvPicPr>
          <p:cNvPr id="478" name="Google Shape;478;p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7437" y="845455"/>
            <a:ext cx="4746415" cy="28070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79" name="Google Shape;479;p9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5484832" y="831523"/>
            <a:ext cx="6689731" cy="197147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80" name="Google Shape;480;p9"/>
          <p:cNvGrpSpPr/>
          <p:nvPr/>
        </p:nvGrpSpPr>
        <p:grpSpPr>
          <a:xfrm rot="5400000">
            <a:off x="1607803" y="3269905"/>
            <a:ext cx="6858000" cy="318193"/>
            <a:chOff x="1" y="4291088"/>
            <a:chExt cx="9144000" cy="513850"/>
          </a:xfrm>
        </p:grpSpPr>
        <p:pic>
          <p:nvPicPr>
            <p:cNvPr id="481" name="Google Shape;481;p9"/>
            <p:cNvPicPr preferRelativeResize="0"/>
            <p:nvPr/>
          </p:nvPicPr>
          <p:blipFill rotWithShape="1">
            <a:blip r:embed="rId5">
              <a:alphaModFix/>
            </a:blip>
            <a:srcRect b="0" l="0" r="0" t="0"/>
            <a:stretch/>
          </p:blipFill>
          <p:spPr>
            <a:xfrm>
              <a:off x="1" y="4291088"/>
              <a:ext cx="9144000" cy="5138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82" name="Google Shape;482;p9"/>
            <p:cNvSpPr/>
            <p:nvPr/>
          </p:nvSpPr>
          <p:spPr>
            <a:xfrm>
              <a:off x="1" y="4291088"/>
              <a:ext cx="9143998" cy="441325"/>
            </a:xfrm>
            <a:custGeom>
              <a:rect b="b" l="l" r="r" t="t"/>
              <a:pathLst>
                <a:path extrusionOk="0" h="148" w="2704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anchorCtr="0" anchor="t" bIns="46800" lIns="90000" spcFirstLastPara="1" rIns="90000" wrap="square" tIns="46800">
              <a:noAutofit/>
            </a:bodyPr>
            <a:lstStyle/>
            <a:p>
              <a:pPr indent="0" lvl="0" marL="0" marR="0" rtl="0" algn="l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sz="3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483" name="Google Shape;483;p9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5484832" y="3743522"/>
            <a:ext cx="6524169" cy="19714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xmlns:r="http://schemas.openxmlformats.org/officeDocument/2006/relationships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160229_1150_Master_16 9_ENGL">
  <a:themeElements>
    <a:clrScheme name="Crocus Light - 01-Multicolour">
      <a:dk1>
        <a:srgbClr val="2E2E2E"/>
      </a:dk1>
      <a:lt1>
        <a:srgbClr val="FFFFFF"/>
      </a:lt1>
      <a:dk2>
        <a:srgbClr val="737373"/>
      </a:dk2>
      <a:lt2>
        <a:srgbClr val="D8D8D8"/>
      </a:lt2>
      <a:accent1>
        <a:srgbClr val="4281A4"/>
      </a:accent1>
      <a:accent2>
        <a:srgbClr val="48A9A6"/>
      </a:accent2>
      <a:accent3>
        <a:srgbClr val="C1666B"/>
      </a:accent3>
      <a:accent4>
        <a:srgbClr val="D4B483"/>
      </a:accent4>
      <a:accent5>
        <a:srgbClr val="555358"/>
      </a:accent5>
      <a:accent6>
        <a:srgbClr val="8F9491"/>
      </a:accent6>
      <a:hlink>
        <a:srgbClr val="4281A4"/>
      </a:hlink>
      <a:folHlink>
        <a:srgbClr val="FFC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6-02-29T11:32:33Z</dcterms:created>
  <dc:creator>Mika, Sebastian</dc:creator>
</cp:coreProperties>
</file>